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3.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4.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50" r:id="rId1"/>
  </p:sldMasterIdLst>
  <p:notesMasterIdLst>
    <p:notesMasterId r:id="rId17"/>
  </p:notesMasterIdLst>
  <p:handoutMasterIdLst>
    <p:handoutMasterId r:id="rId18"/>
  </p:handoutMasterIdLst>
  <p:sldIdLst>
    <p:sldId id="553" r:id="rId2"/>
    <p:sldId id="627" r:id="rId3"/>
    <p:sldId id="610" r:id="rId4"/>
    <p:sldId id="621" r:id="rId5"/>
    <p:sldId id="612" r:id="rId6"/>
    <p:sldId id="626" r:id="rId7"/>
    <p:sldId id="616" r:id="rId8"/>
    <p:sldId id="615" r:id="rId9"/>
    <p:sldId id="622" r:id="rId10"/>
    <p:sldId id="618" r:id="rId11"/>
    <p:sldId id="619" r:id="rId12"/>
    <p:sldId id="625" r:id="rId13"/>
    <p:sldId id="628" r:id="rId14"/>
    <p:sldId id="630" r:id="rId15"/>
    <p:sldId id="620" r:id="rId16"/>
  </p:sldIdLst>
  <p:sldSz cx="24384000" cy="13716000"/>
  <p:notesSz cx="7077075" cy="9363075"/>
  <p:defaultTextStyle>
    <a:defPPr>
      <a:defRPr lang="en-US"/>
    </a:defPPr>
    <a:lvl1pPr algn="ctr" rtl="0" fontAlgn="base">
      <a:spcBef>
        <a:spcPct val="0"/>
      </a:spcBef>
      <a:spcAft>
        <a:spcPct val="0"/>
      </a:spcAft>
      <a:defRPr sz="5600" kern="1200">
        <a:solidFill>
          <a:srgbClr val="000000"/>
        </a:solidFill>
        <a:latin typeface="Gill Sans" charset="0"/>
        <a:ea typeface="Heiti SC Light" charset="0"/>
        <a:cs typeface="Heiti SC Light" charset="0"/>
        <a:sym typeface="Gill Sans" charset="0"/>
      </a:defRPr>
    </a:lvl1pPr>
    <a:lvl2pPr marL="457200" algn="ctr" rtl="0" fontAlgn="base">
      <a:spcBef>
        <a:spcPct val="0"/>
      </a:spcBef>
      <a:spcAft>
        <a:spcPct val="0"/>
      </a:spcAft>
      <a:defRPr sz="5600" kern="1200">
        <a:solidFill>
          <a:srgbClr val="000000"/>
        </a:solidFill>
        <a:latin typeface="Gill Sans" charset="0"/>
        <a:ea typeface="Heiti SC Light" charset="0"/>
        <a:cs typeface="Heiti SC Light" charset="0"/>
        <a:sym typeface="Gill Sans" charset="0"/>
      </a:defRPr>
    </a:lvl2pPr>
    <a:lvl3pPr marL="914400" algn="ctr" rtl="0" fontAlgn="base">
      <a:spcBef>
        <a:spcPct val="0"/>
      </a:spcBef>
      <a:spcAft>
        <a:spcPct val="0"/>
      </a:spcAft>
      <a:defRPr sz="5600" kern="1200">
        <a:solidFill>
          <a:srgbClr val="000000"/>
        </a:solidFill>
        <a:latin typeface="Gill Sans" charset="0"/>
        <a:ea typeface="Heiti SC Light" charset="0"/>
        <a:cs typeface="Heiti SC Light" charset="0"/>
        <a:sym typeface="Gill Sans" charset="0"/>
      </a:defRPr>
    </a:lvl3pPr>
    <a:lvl4pPr marL="1371600" algn="ctr" rtl="0" fontAlgn="base">
      <a:spcBef>
        <a:spcPct val="0"/>
      </a:spcBef>
      <a:spcAft>
        <a:spcPct val="0"/>
      </a:spcAft>
      <a:defRPr sz="5600" kern="1200">
        <a:solidFill>
          <a:srgbClr val="000000"/>
        </a:solidFill>
        <a:latin typeface="Gill Sans" charset="0"/>
        <a:ea typeface="Heiti SC Light" charset="0"/>
        <a:cs typeface="Heiti SC Light" charset="0"/>
        <a:sym typeface="Gill Sans" charset="0"/>
      </a:defRPr>
    </a:lvl4pPr>
    <a:lvl5pPr marL="1828800" algn="ctr" rtl="0" fontAlgn="base">
      <a:spcBef>
        <a:spcPct val="0"/>
      </a:spcBef>
      <a:spcAft>
        <a:spcPct val="0"/>
      </a:spcAft>
      <a:defRPr sz="5600" kern="1200">
        <a:solidFill>
          <a:srgbClr val="000000"/>
        </a:solidFill>
        <a:latin typeface="Gill Sans" charset="0"/>
        <a:ea typeface="Heiti SC Light" charset="0"/>
        <a:cs typeface="Heiti SC Light" charset="0"/>
        <a:sym typeface="Gill Sans" charset="0"/>
      </a:defRPr>
    </a:lvl5pPr>
    <a:lvl6pPr marL="2286000" algn="l" defTabSz="914400" rtl="0" eaLnBrk="1" latinLnBrk="0" hangingPunct="1">
      <a:defRPr sz="5600" kern="1200">
        <a:solidFill>
          <a:srgbClr val="000000"/>
        </a:solidFill>
        <a:latin typeface="Gill Sans" charset="0"/>
        <a:ea typeface="Heiti SC Light" charset="0"/>
        <a:cs typeface="Heiti SC Light" charset="0"/>
        <a:sym typeface="Gill Sans" charset="0"/>
      </a:defRPr>
    </a:lvl6pPr>
    <a:lvl7pPr marL="2743200" algn="l" defTabSz="914400" rtl="0" eaLnBrk="1" latinLnBrk="0" hangingPunct="1">
      <a:defRPr sz="5600" kern="1200">
        <a:solidFill>
          <a:srgbClr val="000000"/>
        </a:solidFill>
        <a:latin typeface="Gill Sans" charset="0"/>
        <a:ea typeface="Heiti SC Light" charset="0"/>
        <a:cs typeface="Heiti SC Light" charset="0"/>
        <a:sym typeface="Gill Sans" charset="0"/>
      </a:defRPr>
    </a:lvl7pPr>
    <a:lvl8pPr marL="3200400" algn="l" defTabSz="914400" rtl="0" eaLnBrk="1" latinLnBrk="0" hangingPunct="1">
      <a:defRPr sz="5600" kern="1200">
        <a:solidFill>
          <a:srgbClr val="000000"/>
        </a:solidFill>
        <a:latin typeface="Gill Sans" charset="0"/>
        <a:ea typeface="Heiti SC Light" charset="0"/>
        <a:cs typeface="Heiti SC Light" charset="0"/>
        <a:sym typeface="Gill Sans" charset="0"/>
      </a:defRPr>
    </a:lvl8pPr>
    <a:lvl9pPr marL="3657600" algn="l" defTabSz="914400" rtl="0" eaLnBrk="1" latinLnBrk="0" hangingPunct="1">
      <a:defRPr sz="5600" kern="1200">
        <a:solidFill>
          <a:srgbClr val="000000"/>
        </a:solidFill>
        <a:latin typeface="Gill Sans" charset="0"/>
        <a:ea typeface="Heiti SC Light" charset="0"/>
        <a:cs typeface="Heiti SC Light" charset="0"/>
        <a:sym typeface="Gill Sans" charset="0"/>
      </a:defRPr>
    </a:lvl9pPr>
  </p:defaultTextStyle>
  <p:extLst>
    <p:ext uri="{521415D9-36F7-43E2-AB2F-B90AF26B5E84}">
      <p14:sectionLst xmlns:p14="http://schemas.microsoft.com/office/powerpoint/2010/main">
        <p14:section name="Default Section" id="{C9697BB5-7272-44D9-9C09-D8285FE6F3FF}">
          <p14:sldIdLst>
            <p14:sldId id="553"/>
            <p14:sldId id="627"/>
            <p14:sldId id="610"/>
            <p14:sldId id="621"/>
            <p14:sldId id="612"/>
            <p14:sldId id="626"/>
            <p14:sldId id="616"/>
            <p14:sldId id="615"/>
            <p14:sldId id="622"/>
            <p14:sldId id="618"/>
            <p14:sldId id="619"/>
            <p14:sldId id="625"/>
            <p14:sldId id="628"/>
            <p14:sldId id="630"/>
            <p14:sldId id="620"/>
          </p14:sldIdLst>
        </p14:section>
        <p14:section name="BACKUP ADR" id="{2D6C439B-7557-461B-8994-71D804A20D0F}">
          <p14:sldIdLst/>
        </p14:section>
      </p14:sectionLst>
    </p:ext>
    <p:ext uri="{EFAFB233-063F-42B5-8137-9DF3F51BA10A}">
      <p15:sldGuideLst xmlns:p15="http://schemas.microsoft.com/office/powerpoint/2012/main">
        <p15:guide id="1" orient="horz" pos="7087" userDrawn="1">
          <p15:clr>
            <a:srgbClr val="A4A3A4"/>
          </p15:clr>
        </p15:guide>
        <p15:guide id="2" pos="695" userDrawn="1">
          <p15:clr>
            <a:srgbClr val="A4A3A4"/>
          </p15:clr>
        </p15:guide>
        <p15:guide id="3" pos="14665" userDrawn="1">
          <p15:clr>
            <a:srgbClr val="A4A3A4"/>
          </p15:clr>
        </p15:guide>
        <p15:guide id="4" orient="horz" pos="8538" userDrawn="1">
          <p15:clr>
            <a:srgbClr val="A4A3A4"/>
          </p15:clr>
        </p15:guide>
        <p15:guide id="5" pos="9540" userDrawn="1">
          <p15:clr>
            <a:srgbClr val="A4A3A4"/>
          </p15:clr>
        </p15:guide>
        <p15:guide id="6" orient="horz" pos="8357" userDrawn="1">
          <p15:clr>
            <a:srgbClr val="A4A3A4"/>
          </p15:clr>
        </p15:guide>
        <p15:guide id="7" pos="6047" userDrawn="1">
          <p15:clr>
            <a:srgbClr val="A4A3A4"/>
          </p15:clr>
        </p15:guide>
        <p15:guide id="8" orient="horz" pos="7541" userDrawn="1">
          <p15:clr>
            <a:srgbClr val="A4A3A4"/>
          </p15:clr>
        </p15:guide>
        <p15:guide id="9" pos="2328" userDrawn="1">
          <p15:clr>
            <a:srgbClr val="A4A3A4"/>
          </p15:clr>
        </p15:guide>
        <p15:guide id="10" orient="horz" pos="2143" userDrawn="1">
          <p15:clr>
            <a:srgbClr val="A4A3A4"/>
          </p15:clr>
        </p15:guide>
        <p15:guide id="11" orient="horz" pos="2959" userDrawn="1">
          <p15:clr>
            <a:srgbClr val="A4A3A4"/>
          </p15:clr>
        </p15:guide>
        <p15:guide id="12" pos="14166" userDrawn="1">
          <p15:clr>
            <a:srgbClr val="A4A3A4"/>
          </p15:clr>
        </p15:guide>
        <p15:guide id="13" pos="7771" userDrawn="1">
          <p15:clr>
            <a:srgbClr val="A4A3A4"/>
          </p15:clr>
        </p15:guide>
        <p15:guide id="14" pos="2645" userDrawn="1">
          <p15:clr>
            <a:srgbClr val="A4A3A4"/>
          </p15:clr>
        </p15:guide>
        <p15:guide id="15" pos="7090" userDrawn="1">
          <p15:clr>
            <a:srgbClr val="A4A3A4"/>
          </p15:clr>
        </p15:guide>
        <p15:guide id="16" pos="586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408"/>
    <a:srgbClr val="004494"/>
    <a:srgbClr val="8D9399"/>
    <a:srgbClr val="338FFF"/>
    <a:srgbClr val="CC6600"/>
    <a:srgbClr val="FF7C80"/>
    <a:srgbClr val="F6AA34"/>
    <a:srgbClr val="2190CC"/>
    <a:srgbClr val="0081C7"/>
    <a:srgbClr val="3DA7A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912"/>
    <p:restoredTop sz="84729" autoAdjust="0"/>
  </p:normalViewPr>
  <p:slideViewPr>
    <p:cSldViewPr>
      <p:cViewPr varScale="1">
        <p:scale>
          <a:sx n="70" d="100"/>
          <a:sy n="70" d="100"/>
        </p:scale>
        <p:origin x="966" y="84"/>
      </p:cViewPr>
      <p:guideLst>
        <p:guide orient="horz" pos="7087"/>
        <p:guide pos="695"/>
        <p:guide pos="14665"/>
        <p:guide orient="horz" pos="8538"/>
        <p:guide pos="9540"/>
        <p:guide orient="horz" pos="8357"/>
        <p:guide pos="6047"/>
        <p:guide orient="horz" pos="7541"/>
        <p:guide pos="2328"/>
        <p:guide orient="horz" pos="2143"/>
        <p:guide orient="horz" pos="2959"/>
        <p:guide pos="14166"/>
        <p:guide pos="7771"/>
        <p:guide pos="2645"/>
        <p:guide pos="7090"/>
        <p:guide pos="5866"/>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130" d="100"/>
          <a:sy n="130" d="100"/>
        </p:scale>
        <p:origin x="4240" y="1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49"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vml.rels><?xml version="1.0" encoding="UTF-8" standalone="yes"?>
<Relationships xmlns="http://schemas.openxmlformats.org/package/2006/relationships"><Relationship Id="rId3" Type="http://schemas.openxmlformats.org/officeDocument/2006/relationships/image" Target="../media/image105.emf"/><Relationship Id="rId2" Type="http://schemas.openxmlformats.org/officeDocument/2006/relationships/image" Target="../media/image104.emf"/><Relationship Id="rId1" Type="http://schemas.openxmlformats.org/officeDocument/2006/relationships/image" Target="../media/image27.emf"/></Relationships>
</file>

<file path=ppt/drawings/_rels/vmlDrawing3.vml.rels><?xml version="1.0" encoding="UTF-8" standalone="yes"?>
<Relationships xmlns="http://schemas.openxmlformats.org/package/2006/relationships"><Relationship Id="rId3" Type="http://schemas.openxmlformats.org/officeDocument/2006/relationships/image" Target="../media/image108.emf"/><Relationship Id="rId7" Type="http://schemas.openxmlformats.org/officeDocument/2006/relationships/image" Target="../media/image112.emf"/><Relationship Id="rId2" Type="http://schemas.openxmlformats.org/officeDocument/2006/relationships/image" Target="../media/image107.emf"/><Relationship Id="rId1" Type="http://schemas.openxmlformats.org/officeDocument/2006/relationships/image" Target="../media/image106.emf"/><Relationship Id="rId6" Type="http://schemas.openxmlformats.org/officeDocument/2006/relationships/image" Target="../media/image111.emf"/><Relationship Id="rId5" Type="http://schemas.openxmlformats.org/officeDocument/2006/relationships/image" Target="../media/image110.emf"/><Relationship Id="rId4" Type="http://schemas.openxmlformats.org/officeDocument/2006/relationships/image" Target="../media/image109.emf"/></Relationships>
</file>

<file path=ppt/drawings/_rels/vmlDrawing4.vml.rels><?xml version="1.0" encoding="UTF-8" standalone="yes"?>
<Relationships xmlns="http://schemas.openxmlformats.org/package/2006/relationships"><Relationship Id="rId3" Type="http://schemas.openxmlformats.org/officeDocument/2006/relationships/image" Target="../media/image114.emf"/><Relationship Id="rId2" Type="http://schemas.openxmlformats.org/officeDocument/2006/relationships/image" Target="../media/image113.emf"/><Relationship Id="rId1" Type="http://schemas.openxmlformats.org/officeDocument/2006/relationships/image" Target="../media/image27.emf"/></Relationships>
</file>

<file path=ppt/drawings/_rels/vmlDrawing5.vml.rels><?xml version="1.0" encoding="UTF-8" standalone="yes"?>
<Relationships xmlns="http://schemas.openxmlformats.org/package/2006/relationships"><Relationship Id="rId2" Type="http://schemas.openxmlformats.org/officeDocument/2006/relationships/image" Target="../media/image118.emf"/><Relationship Id="rId1" Type="http://schemas.openxmlformats.org/officeDocument/2006/relationships/image" Target="../media/image11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2" y="2"/>
            <a:ext cx="3066732" cy="469780"/>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sz="quarter" idx="1"/>
          </p:nvPr>
        </p:nvSpPr>
        <p:spPr>
          <a:xfrm>
            <a:off x="4008706" y="2"/>
            <a:ext cx="3066732" cy="469780"/>
          </a:xfrm>
          <a:prstGeom prst="rect">
            <a:avLst/>
          </a:prstGeom>
        </p:spPr>
        <p:txBody>
          <a:bodyPr vert="horz" lIns="91440" tIns="45720" rIns="91440" bIns="45720" rtlCol="0"/>
          <a:lstStyle>
            <a:lvl1pPr algn="r">
              <a:defRPr sz="1200"/>
            </a:lvl1pPr>
          </a:lstStyle>
          <a:p>
            <a:fld id="{894B1E01-3AE2-2A4A-9955-66F7822CA254}" type="datetimeFigureOut">
              <a:rPr lang="fr-FR" smtClean="0"/>
              <a:t>07/03/2018</a:t>
            </a:fld>
            <a:endParaRPr lang="fr-FR"/>
          </a:p>
        </p:txBody>
      </p:sp>
      <p:sp>
        <p:nvSpPr>
          <p:cNvPr id="4" name="Espace réservé du pied de page 3"/>
          <p:cNvSpPr>
            <a:spLocks noGrp="1"/>
          </p:cNvSpPr>
          <p:nvPr>
            <p:ph type="ftr" sz="quarter" idx="2"/>
          </p:nvPr>
        </p:nvSpPr>
        <p:spPr>
          <a:xfrm>
            <a:off x="2" y="8893299"/>
            <a:ext cx="3066732" cy="469779"/>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p:cNvSpPr>
            <a:spLocks noGrp="1"/>
          </p:cNvSpPr>
          <p:nvPr>
            <p:ph type="sldNum" sz="quarter" idx="3"/>
          </p:nvPr>
        </p:nvSpPr>
        <p:spPr>
          <a:xfrm>
            <a:off x="4008706" y="8893299"/>
            <a:ext cx="3066732" cy="469779"/>
          </a:xfrm>
          <a:prstGeom prst="rect">
            <a:avLst/>
          </a:prstGeom>
        </p:spPr>
        <p:txBody>
          <a:bodyPr vert="horz" lIns="91440" tIns="45720" rIns="91440" bIns="45720" rtlCol="0" anchor="b"/>
          <a:lstStyle>
            <a:lvl1pPr algn="r">
              <a:defRPr sz="1200"/>
            </a:lvl1pPr>
          </a:lstStyle>
          <a:p>
            <a:fld id="{3229CA31-EC58-6049-824D-8AFDD64CA90E}" type="slidenum">
              <a:rPr lang="fr-FR" smtClean="0"/>
              <a:t>‹#›</a:t>
            </a:fld>
            <a:endParaRPr lang="fr-FR"/>
          </a:p>
        </p:txBody>
      </p:sp>
    </p:spTree>
    <p:extLst>
      <p:ext uri="{BB962C8B-B14F-4D97-AF65-F5344CB8AC3E}">
        <p14:creationId xmlns:p14="http://schemas.microsoft.com/office/powerpoint/2010/main" val="200880435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3066732" cy="46978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4008706" y="2"/>
            <a:ext cx="3066732" cy="469780"/>
          </a:xfrm>
          <a:prstGeom prst="rect">
            <a:avLst/>
          </a:prstGeom>
        </p:spPr>
        <p:txBody>
          <a:bodyPr vert="horz" lIns="91440" tIns="45720" rIns="91440" bIns="45720" rtlCol="0"/>
          <a:lstStyle>
            <a:lvl1pPr algn="r">
              <a:defRPr sz="1200"/>
            </a:lvl1pPr>
          </a:lstStyle>
          <a:p>
            <a:fld id="{A5465C6E-F727-A04A-B75A-7CD07C0D603D}" type="datetimeFigureOut">
              <a:rPr lang="en-US" smtClean="0"/>
              <a:t>3/7/2018</a:t>
            </a:fld>
            <a:endParaRPr lang="en-US"/>
          </a:p>
        </p:txBody>
      </p:sp>
      <p:sp>
        <p:nvSpPr>
          <p:cNvPr id="4" name="Slide Image Placeholder 3"/>
          <p:cNvSpPr>
            <a:spLocks noGrp="1" noRot="1" noChangeAspect="1"/>
          </p:cNvSpPr>
          <p:nvPr>
            <p:ph type="sldImg" idx="2"/>
          </p:nvPr>
        </p:nvSpPr>
        <p:spPr>
          <a:xfrm>
            <a:off x="730250" y="1171575"/>
            <a:ext cx="5616575" cy="31591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7708" y="4505982"/>
            <a:ext cx="5661660" cy="368671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8893299"/>
            <a:ext cx="3066732" cy="469779"/>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4008706" y="8893299"/>
            <a:ext cx="3066732" cy="469779"/>
          </a:xfrm>
          <a:prstGeom prst="rect">
            <a:avLst/>
          </a:prstGeom>
        </p:spPr>
        <p:txBody>
          <a:bodyPr vert="horz" lIns="91440" tIns="45720" rIns="91440" bIns="45720" rtlCol="0" anchor="b"/>
          <a:lstStyle>
            <a:lvl1pPr algn="r">
              <a:defRPr sz="1200"/>
            </a:lvl1pPr>
          </a:lstStyle>
          <a:p>
            <a:fld id="{B0EB86CB-EBFE-E942-9D09-F1B023EE1BB7}" type="slidenum">
              <a:rPr lang="en-US" smtClean="0"/>
              <a:t>‹#›</a:t>
            </a:fld>
            <a:endParaRPr lang="en-US"/>
          </a:p>
        </p:txBody>
      </p:sp>
    </p:spTree>
    <p:extLst>
      <p:ext uri="{BB962C8B-B14F-4D97-AF65-F5344CB8AC3E}">
        <p14:creationId xmlns:p14="http://schemas.microsoft.com/office/powerpoint/2010/main" val="5458485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B0EB86CB-EBFE-E942-9D09-F1B023EE1BB7}" type="slidenum">
              <a:rPr lang="en-US" smtClean="0"/>
              <a:t>1</a:t>
            </a:fld>
            <a:endParaRPr lang="en-US"/>
          </a:p>
        </p:txBody>
      </p:sp>
    </p:spTree>
    <p:extLst>
      <p:ext uri="{BB962C8B-B14F-4D97-AF65-F5344CB8AC3E}">
        <p14:creationId xmlns:p14="http://schemas.microsoft.com/office/powerpoint/2010/main" val="33900374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0EB86CB-EBFE-E942-9D09-F1B023EE1BB7}" type="slidenum">
              <a:rPr kumimoji="0" lang="en-US" sz="1200" b="0" i="0" u="none" strike="noStrike" kern="1200" cap="none" spc="0" normalizeH="0" baseline="0" noProof="0" smtClean="0">
                <a:ln>
                  <a:noFill/>
                </a:ln>
                <a:solidFill>
                  <a:srgbClr val="000000"/>
                </a:solidFill>
                <a:effectLst/>
                <a:uLnTx/>
                <a:uFillTx/>
                <a:latin typeface="Gill Sans" charset="0"/>
                <a:sym typeface="Gill Sans" charset="0"/>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sz="1200" b="0" i="0" u="none" strike="noStrike" kern="1200" cap="none" spc="0" normalizeH="0" baseline="0" noProof="0">
              <a:ln>
                <a:noFill/>
              </a:ln>
              <a:solidFill>
                <a:srgbClr val="000000"/>
              </a:solidFill>
              <a:effectLst/>
              <a:uLnTx/>
              <a:uFillTx/>
              <a:latin typeface="Gill Sans" charset="0"/>
              <a:sym typeface="Gill Sans" charset="0"/>
            </a:endParaRPr>
          </a:p>
        </p:txBody>
      </p:sp>
    </p:spTree>
    <p:extLst>
      <p:ext uri="{BB962C8B-B14F-4D97-AF65-F5344CB8AC3E}">
        <p14:creationId xmlns:p14="http://schemas.microsoft.com/office/powerpoint/2010/main" val="37693244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P to FCH: </a:t>
            </a:r>
            <a:r>
              <a:rPr lang="en-US" baseline="0" dirty="0" smtClean="0"/>
              <a:t>Please adapt and highlight the countries accordingly</a:t>
            </a:r>
            <a:endParaRPr lang="en-US" dirty="0"/>
          </a:p>
        </p:txBody>
      </p:sp>
      <p:sp>
        <p:nvSpPr>
          <p:cNvPr id="4" name="Slide Number Placeholder 3"/>
          <p:cNvSpPr>
            <a:spLocks noGrp="1"/>
          </p:cNvSpPr>
          <p:nvPr>
            <p:ph type="sldNum" sz="quarter" idx="10"/>
          </p:nvPr>
        </p:nvSpPr>
        <p:spPr/>
        <p:txBody>
          <a:bodyPr/>
          <a:lstStyle/>
          <a:p>
            <a:fld id="{B0EB86CB-EBFE-E942-9D09-F1B023EE1BB7}" type="slidenum">
              <a:rPr lang="en-US" smtClean="0"/>
              <a:t>4</a:t>
            </a:fld>
            <a:endParaRPr lang="en-US"/>
          </a:p>
        </p:txBody>
      </p:sp>
    </p:spTree>
    <p:extLst>
      <p:ext uri="{BB962C8B-B14F-4D97-AF65-F5344CB8AC3E}">
        <p14:creationId xmlns:p14="http://schemas.microsoft.com/office/powerpoint/2010/main" val="14095585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0EB86CB-EBFE-E942-9D09-F1B023EE1BB7}" type="slidenum">
              <a:rPr kumimoji="0" lang="en-US" sz="1200" b="0" i="0" u="none" strike="noStrike" kern="1200" cap="none" spc="0" normalizeH="0" baseline="0" noProof="0" smtClean="0">
                <a:ln>
                  <a:noFill/>
                </a:ln>
                <a:solidFill>
                  <a:srgbClr val="000000"/>
                </a:solidFill>
                <a:effectLst/>
                <a:uLnTx/>
                <a:uFillTx/>
                <a:latin typeface="Gill Sans" charset="0"/>
                <a:sym typeface="Gill Sans" charset="0"/>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US" sz="1200" b="0" i="0" u="none" strike="noStrike" kern="1200" cap="none" spc="0" normalizeH="0" baseline="0" noProof="0">
              <a:ln>
                <a:noFill/>
              </a:ln>
              <a:solidFill>
                <a:srgbClr val="000000"/>
              </a:solidFill>
              <a:effectLst/>
              <a:uLnTx/>
              <a:uFillTx/>
              <a:latin typeface="Gill Sans" charset="0"/>
              <a:sym typeface="Gill Sans" charset="0"/>
            </a:endParaRPr>
          </a:p>
        </p:txBody>
      </p:sp>
    </p:spTree>
    <p:extLst>
      <p:ext uri="{BB962C8B-B14F-4D97-AF65-F5344CB8AC3E}">
        <p14:creationId xmlns:p14="http://schemas.microsoft.com/office/powerpoint/2010/main" val="7739885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kern="1200" dirty="0" smtClean="0">
                <a:solidFill>
                  <a:schemeClr val="tx1"/>
                </a:solidFill>
                <a:effectLst/>
                <a:latin typeface="+mn-lt"/>
                <a:ea typeface="+mn-ea"/>
                <a:cs typeface="+mn-cs"/>
              </a:rPr>
              <a:t>EU map on European Structural and Investment Funds (ESIF) during 2014-2020 for “043 - Clean urban transport infrastructure and promotion (including equipment and rolling stock)” </a:t>
            </a:r>
            <a:r>
              <a:rPr lang="en-GB" sz="1200" kern="1200" dirty="0" smtClean="0">
                <a:solidFill>
                  <a:schemeClr val="tx1"/>
                </a:solidFill>
                <a:effectLst/>
                <a:latin typeface="+mn-lt"/>
                <a:ea typeface="+mn-ea"/>
                <a:cs typeface="+mn-cs"/>
              </a:rPr>
              <a:t>– I extracted this map from the ESIF viewer at the S3Platform (i.e. Smart Specialisation (Strategy) Platform). It highlights the huge discrepancy between the level of EU funding for Cohesion Countries plus Spain and Italy compared to the remaining 11 (richest) Member States because the latter have</a:t>
            </a:r>
            <a:r>
              <a:rPr lang="en-GB" sz="1200" kern="1200" baseline="0" dirty="0" smtClean="0">
                <a:solidFill>
                  <a:schemeClr val="tx1"/>
                </a:solidFill>
                <a:effectLst/>
                <a:latin typeface="+mn-lt"/>
                <a:ea typeface="+mn-ea"/>
                <a:cs typeface="+mn-cs"/>
              </a:rPr>
              <a:t> higher GDP and GNI and thus face reduced eligibility for ESIF (mostly the Cohesion Fund and the European Regional Development Fund (ERDF)</a:t>
            </a:r>
            <a:r>
              <a:rPr lang="en-GB" sz="1200" kern="1200" dirty="0" smtClean="0">
                <a:solidFill>
                  <a:schemeClr val="tx1"/>
                </a:solidFill>
                <a:effectLst/>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effectLst/>
                <a:latin typeface="+mn-lt"/>
                <a:ea typeface="+mn-ea"/>
                <a:cs typeface="+mn-cs"/>
              </a:rPr>
              <a:t>Regions in the EUcc15+2 seem good candidates to deploy clean urban transport projects on the back of the ESIF budget for the whole 2014-2020 period as they are eligible for 93% of the EU28 budget allocated to this category</a:t>
            </a:r>
            <a:r>
              <a:rPr lang="en-GB" sz="1200" kern="1200" baseline="0" dirty="0" smtClean="0">
                <a:solidFill>
                  <a:schemeClr val="tx1"/>
                </a:solidFill>
                <a:effectLst/>
                <a:latin typeface="+mn-lt"/>
                <a:ea typeface="+mn-ea"/>
                <a:cs typeface="+mn-cs"/>
              </a:rPr>
              <a:t> of intervention until 2020: </a:t>
            </a:r>
            <a:r>
              <a:rPr lang="en-US" dirty="0" smtClean="0">
                <a:effectLst/>
              </a:rPr>
              <a:t>043 - Clean urban transport infrastructure and promotion (including equipment and rolling stock)</a:t>
            </a:r>
            <a:r>
              <a:rPr lang="en-GB" sz="1200" kern="1200" dirty="0" smtClean="0">
                <a:solidFill>
                  <a:schemeClr val="tx1"/>
                </a:solidFill>
                <a:effectLst/>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effectLst/>
                <a:latin typeface="+mn-lt"/>
                <a:ea typeface="+mn-ea"/>
                <a:cs typeface="+mn-cs"/>
              </a:rPr>
              <a:t>http://s3platform.jrc.ec.europa.eu/esif-viewer?p_auth=GEiQ57ui&amp;p_p_id=generalesifviewertool_WAR_generalesifviewertoolportlet_INSTANCE_uQEMgwAStPS9&amp;p_p_lifecycle=1&amp;p_p_state=normal&amp;p_p_mode=view&amp;p_p_col_id=column-1&amp;p_p_col_count=2&amp;_generalesifviewertool_WAR_generalesifviewertoolportlet_INSTANCE_uQEMgwAStPS9_javax.portlet.action=performSearch</a:t>
            </a:r>
          </a:p>
          <a:p>
            <a:endParaRPr lang="pt-PT" dirty="0" smtClean="0"/>
          </a:p>
          <a:p>
            <a:r>
              <a:rPr lang="en-US" sz="1200" b="0" i="0" kern="1200" dirty="0" smtClean="0">
                <a:solidFill>
                  <a:schemeClr val="tx1"/>
                </a:solidFill>
                <a:effectLst/>
                <a:latin typeface="+mn-lt"/>
                <a:ea typeface="+mn-ea"/>
                <a:cs typeface="+mn-cs"/>
              </a:rPr>
              <a:t>By thematic objective:</a:t>
            </a:r>
          </a:p>
          <a:p>
            <a:r>
              <a:rPr lang="en-US" sz="1200" b="1" i="0" kern="1200" dirty="0" smtClean="0">
                <a:solidFill>
                  <a:schemeClr val="tx1"/>
                </a:solidFill>
                <a:effectLst/>
                <a:latin typeface="+mn-lt"/>
                <a:ea typeface="+mn-ea"/>
                <a:cs typeface="+mn-cs"/>
              </a:rPr>
              <a:t>04 - Supporting the shift towards a low-carbon economy in all sectors</a:t>
            </a:r>
            <a:r>
              <a:rPr lang="en-US" sz="1200" b="0" i="0" kern="1200" dirty="0" smtClean="0">
                <a:solidFill>
                  <a:schemeClr val="tx1"/>
                </a:solidFill>
                <a:effectLst/>
                <a:latin typeface="+mn-lt"/>
                <a:ea typeface="+mn-ea"/>
                <a:cs typeface="+mn-cs"/>
              </a:rPr>
              <a:t> EUR 7,218 </a:t>
            </a:r>
            <a:r>
              <a:rPr lang="en-US" sz="1200" b="0" i="0" kern="1200" dirty="0" err="1" smtClean="0">
                <a:solidFill>
                  <a:schemeClr val="tx1"/>
                </a:solidFill>
                <a:effectLst/>
                <a:latin typeface="+mn-lt"/>
                <a:ea typeface="+mn-ea"/>
                <a:cs typeface="+mn-cs"/>
              </a:rPr>
              <a:t>mn</a:t>
            </a:r>
            <a:endParaRPr lang="en-US" sz="1200" b="0" i="0" kern="1200" dirty="0" smtClean="0">
              <a:solidFill>
                <a:schemeClr val="tx1"/>
              </a:solidFill>
              <a:effectLst/>
              <a:latin typeface="+mn-lt"/>
              <a:ea typeface="+mn-ea"/>
              <a:cs typeface="+mn-cs"/>
            </a:endParaRPr>
          </a:p>
          <a:p>
            <a:r>
              <a:rPr lang="en-US" sz="1200" b="1" i="0" kern="1200" dirty="0" smtClean="0">
                <a:solidFill>
                  <a:schemeClr val="tx1"/>
                </a:solidFill>
                <a:effectLst/>
                <a:latin typeface="+mn-lt"/>
                <a:ea typeface="+mn-ea"/>
                <a:cs typeface="+mn-cs"/>
              </a:rPr>
              <a:t>MULTI - Multi-thematic objective </a:t>
            </a:r>
            <a:r>
              <a:rPr lang="en-US" sz="1200" b="0" i="0" kern="1200" dirty="0" smtClean="0">
                <a:solidFill>
                  <a:schemeClr val="tx1"/>
                </a:solidFill>
                <a:effectLst/>
                <a:latin typeface="+mn-lt"/>
                <a:ea typeface="+mn-ea"/>
                <a:cs typeface="+mn-cs"/>
              </a:rPr>
              <a:t>EUR 2,804 </a:t>
            </a:r>
            <a:r>
              <a:rPr lang="en-US" sz="1200" b="0" i="0" kern="1200" dirty="0" err="1" smtClean="0">
                <a:solidFill>
                  <a:schemeClr val="tx1"/>
                </a:solidFill>
                <a:effectLst/>
                <a:latin typeface="+mn-lt"/>
                <a:ea typeface="+mn-ea"/>
                <a:cs typeface="+mn-cs"/>
              </a:rPr>
              <a:t>mn</a:t>
            </a:r>
            <a:endParaRPr lang="en-US" sz="1200" b="0" i="0" kern="1200" dirty="0" smtClean="0">
              <a:solidFill>
                <a:schemeClr val="tx1"/>
              </a:solidFill>
              <a:effectLst/>
              <a:latin typeface="+mn-lt"/>
              <a:ea typeface="+mn-ea"/>
              <a:cs typeface="+mn-cs"/>
            </a:endParaRPr>
          </a:p>
          <a:p>
            <a:r>
              <a:rPr lang="en-US" sz="1200" b="1" i="0" kern="1200" dirty="0" smtClean="0">
                <a:solidFill>
                  <a:schemeClr val="tx1"/>
                </a:solidFill>
                <a:effectLst/>
                <a:latin typeface="+mn-lt"/>
                <a:ea typeface="+mn-ea"/>
                <a:cs typeface="+mn-cs"/>
              </a:rPr>
              <a:t>07 - Promoting sustainable transport and removing bottlenecks in key network infrastructures </a:t>
            </a:r>
            <a:r>
              <a:rPr lang="en-US" sz="1200" b="0" i="0" kern="1200" dirty="0" smtClean="0">
                <a:solidFill>
                  <a:schemeClr val="tx1"/>
                </a:solidFill>
                <a:effectLst/>
                <a:latin typeface="+mn-lt"/>
                <a:ea typeface="+mn-ea"/>
                <a:cs typeface="+mn-cs"/>
              </a:rPr>
              <a:t>EUR 2,332 </a:t>
            </a:r>
            <a:r>
              <a:rPr lang="en-US" sz="1200" b="0" i="0" kern="1200" dirty="0" err="1" smtClean="0">
                <a:solidFill>
                  <a:schemeClr val="tx1"/>
                </a:solidFill>
                <a:effectLst/>
                <a:latin typeface="+mn-lt"/>
                <a:ea typeface="+mn-ea"/>
                <a:cs typeface="+mn-cs"/>
              </a:rPr>
              <a:t>mn</a:t>
            </a:r>
            <a:r>
              <a:rPr lang="en-US" sz="1200" b="0" i="0" kern="1200" dirty="0" smtClean="0">
                <a:solidFill>
                  <a:schemeClr val="tx1"/>
                </a:solidFill>
                <a:effectLst/>
                <a:latin typeface="+mn-lt"/>
                <a:ea typeface="+mn-ea"/>
                <a:cs typeface="+mn-cs"/>
              </a:rPr>
              <a:t> </a:t>
            </a:r>
          </a:p>
          <a:p>
            <a:r>
              <a:rPr lang="en-US" sz="1200" b="0" i="0" kern="1200" dirty="0" smtClean="0">
                <a:solidFill>
                  <a:schemeClr val="tx1"/>
                </a:solidFill>
                <a:effectLst/>
                <a:latin typeface="+mn-lt"/>
                <a:ea typeface="+mn-ea"/>
                <a:cs typeface="+mn-cs"/>
              </a:rPr>
              <a:t>M08 - Promoting sustainable and quality employment and supporting </a:t>
            </a:r>
            <a:r>
              <a:rPr lang="en-US" sz="1200" b="0" i="0" kern="1200" dirty="0" err="1" smtClean="0">
                <a:solidFill>
                  <a:schemeClr val="tx1"/>
                </a:solidFill>
                <a:effectLst/>
                <a:latin typeface="+mn-lt"/>
                <a:ea typeface="+mn-ea"/>
                <a:cs typeface="+mn-cs"/>
              </a:rPr>
              <a:t>labour</a:t>
            </a:r>
            <a:r>
              <a:rPr lang="en-US" sz="1200" b="0" i="0" kern="1200" dirty="0" smtClean="0">
                <a:solidFill>
                  <a:schemeClr val="tx1"/>
                </a:solidFill>
                <a:effectLst/>
                <a:latin typeface="+mn-lt"/>
                <a:ea typeface="+mn-ea"/>
                <a:cs typeface="+mn-cs"/>
              </a:rPr>
              <a:t> mobility EUR 7 </a:t>
            </a:r>
            <a:r>
              <a:rPr lang="en-US" sz="1200" b="0" i="0" kern="1200" dirty="0" err="1" smtClean="0">
                <a:solidFill>
                  <a:schemeClr val="tx1"/>
                </a:solidFill>
                <a:effectLst/>
                <a:latin typeface="+mn-lt"/>
                <a:ea typeface="+mn-ea"/>
                <a:cs typeface="+mn-cs"/>
              </a:rPr>
              <a:t>mn</a:t>
            </a:r>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11 - Enhancing institutional capacity of public authorities and stakeholders and efficient public administration EUR 6 </a:t>
            </a:r>
            <a:r>
              <a:rPr lang="en-US" sz="1200" b="0" i="0" kern="1200" dirty="0" err="1" smtClean="0">
                <a:solidFill>
                  <a:schemeClr val="tx1"/>
                </a:solidFill>
                <a:effectLst/>
                <a:latin typeface="+mn-lt"/>
                <a:ea typeface="+mn-ea"/>
                <a:cs typeface="+mn-cs"/>
              </a:rPr>
              <a:t>mn</a:t>
            </a:r>
            <a:endParaRPr lang="en-US" sz="1200" b="0" i="0" kern="1200" dirty="0" smtClean="0">
              <a:solidFill>
                <a:schemeClr val="tx1"/>
              </a:solidFill>
              <a:effectLst/>
              <a:latin typeface="+mn-lt"/>
              <a:ea typeface="+mn-ea"/>
              <a:cs typeface="+mn-cs"/>
            </a:endParaRPr>
          </a:p>
          <a:p>
            <a:endParaRPr lang="en-GB" dirty="0"/>
          </a:p>
        </p:txBody>
      </p:sp>
      <p:sp>
        <p:nvSpPr>
          <p:cNvPr id="4" name="Slide Number Placeholder 3"/>
          <p:cNvSpPr>
            <a:spLocks noGrp="1"/>
          </p:cNvSpPr>
          <p:nvPr>
            <p:ph type="sldNum" sz="quarter" idx="10"/>
          </p:nvPr>
        </p:nvSpPr>
        <p:spPr/>
        <p:txBody>
          <a:bodyPr/>
          <a:lstStyle/>
          <a:p>
            <a:fld id="{B0EB86CB-EBFE-E942-9D09-F1B023EE1BB7}" type="slidenum">
              <a:rPr lang="en-US" smtClean="0"/>
              <a:t>13</a:t>
            </a:fld>
            <a:endParaRPr lang="en-US"/>
          </a:p>
        </p:txBody>
      </p:sp>
    </p:spTree>
    <p:extLst>
      <p:ext uri="{BB962C8B-B14F-4D97-AF65-F5344CB8AC3E}">
        <p14:creationId xmlns:p14="http://schemas.microsoft.com/office/powerpoint/2010/main" val="28071980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B0EB86CB-EBFE-E942-9D09-F1B023EE1BB7}" type="slidenum">
              <a:rPr lang="en-US" smtClean="0"/>
              <a:t>14</a:t>
            </a:fld>
            <a:endParaRPr lang="en-US"/>
          </a:p>
        </p:txBody>
      </p:sp>
    </p:spTree>
    <p:extLst>
      <p:ext uri="{BB962C8B-B14F-4D97-AF65-F5344CB8AC3E}">
        <p14:creationId xmlns:p14="http://schemas.microsoft.com/office/powerpoint/2010/main" val="42051085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B0EB86CB-EBFE-E942-9D09-F1B023EE1BB7}" type="slidenum">
              <a:rPr lang="en-US" smtClean="0"/>
              <a:t>15</a:t>
            </a:fld>
            <a:endParaRPr lang="en-US"/>
          </a:p>
        </p:txBody>
      </p:sp>
    </p:spTree>
    <p:extLst>
      <p:ext uri="{BB962C8B-B14F-4D97-AF65-F5344CB8AC3E}">
        <p14:creationId xmlns:p14="http://schemas.microsoft.com/office/powerpoint/2010/main" val="27406188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jpeg"/><Relationship Id="rId4" Type="http://schemas.openxmlformats.org/officeDocument/2006/relationships/image" Target="../media/image6.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7.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jpeg"/><Relationship Id="rId18" Type="http://schemas.openxmlformats.org/officeDocument/2006/relationships/image" Target="../media/image22.png"/><Relationship Id="rId3" Type="http://schemas.openxmlformats.org/officeDocument/2006/relationships/image" Target="../media/image2.png"/><Relationship Id="rId21" Type="http://schemas.openxmlformats.org/officeDocument/2006/relationships/image" Target="../media/image25.png"/><Relationship Id="rId7" Type="http://schemas.openxmlformats.org/officeDocument/2006/relationships/image" Target="../media/image12.png"/><Relationship Id="rId12" Type="http://schemas.openxmlformats.org/officeDocument/2006/relationships/image" Target="../media/image17.png"/><Relationship Id="rId17" Type="http://schemas.openxmlformats.org/officeDocument/2006/relationships/image" Target="../media/image21.png"/><Relationship Id="rId2" Type="http://schemas.openxmlformats.org/officeDocument/2006/relationships/image" Target="../media/image9.png"/><Relationship Id="rId16" Type="http://schemas.openxmlformats.org/officeDocument/2006/relationships/image" Target="../media/image20.png"/><Relationship Id="rId20" Type="http://schemas.openxmlformats.org/officeDocument/2006/relationships/image" Target="../media/image24.png"/><Relationship Id="rId1" Type="http://schemas.openxmlformats.org/officeDocument/2006/relationships/slideMaster" Target="../slideMasters/slideMaster1.xml"/><Relationship Id="rId6" Type="http://schemas.openxmlformats.org/officeDocument/2006/relationships/slide" Target="../slides/slide10.xml"/><Relationship Id="rId11" Type="http://schemas.openxmlformats.org/officeDocument/2006/relationships/image" Target="../media/image16.png"/><Relationship Id="rId5" Type="http://schemas.openxmlformats.org/officeDocument/2006/relationships/image" Target="../media/image11.png"/><Relationship Id="rId15" Type="http://schemas.openxmlformats.org/officeDocument/2006/relationships/image" Target="../media/image19.png"/><Relationship Id="rId10" Type="http://schemas.openxmlformats.org/officeDocument/2006/relationships/image" Target="../media/image15.png"/><Relationship Id="rId19" Type="http://schemas.openxmlformats.org/officeDocument/2006/relationships/image" Target="../media/image23.png"/><Relationship Id="rId4" Type="http://schemas.openxmlformats.org/officeDocument/2006/relationships/image" Target="../media/image10.png"/><Relationship Id="rId9" Type="http://schemas.openxmlformats.org/officeDocument/2006/relationships/image" Target="../media/image14.png"/><Relationship Id="rId14" Type="http://schemas.openxmlformats.org/officeDocument/2006/relationships/image" Target="../media/image18.png"/><Relationship Id="rId22" Type="http://schemas.openxmlformats.org/officeDocument/2006/relationships/image" Target="../media/image26.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7.jpeg"/><Relationship Id="rId4" Type="http://schemas.openxmlformats.org/officeDocument/2006/relationships/image" Target="../media/image3.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ront Cover_General">
    <p:spTree>
      <p:nvGrpSpPr>
        <p:cNvPr id="1" name=""/>
        <p:cNvGrpSpPr/>
        <p:nvPr/>
      </p:nvGrpSpPr>
      <p:grpSpPr>
        <a:xfrm>
          <a:off x="0" y="0"/>
          <a:ext cx="0" cy="0"/>
          <a:chOff x="0" y="0"/>
          <a:chExt cx="0" cy="0"/>
        </a:xfrm>
      </p:grpSpPr>
      <p:pic>
        <p:nvPicPr>
          <p:cNvPr id="25" name="Picture 2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546925"/>
            <a:ext cx="24383999" cy="11338559"/>
          </a:xfrm>
          <a:prstGeom prst="rect">
            <a:avLst/>
          </a:prstGeom>
        </p:spPr>
      </p:pic>
      <p:pic>
        <p:nvPicPr>
          <p:cNvPr id="26" name="Picture 25"/>
          <p:cNvPicPr>
            <a:picLocks noChangeAspect="1"/>
          </p:cNvPicPr>
          <p:nvPr userDrawn="1"/>
        </p:nvPicPr>
        <p:blipFill rotWithShape="1">
          <a:blip r:embed="rId3" cstate="email">
            <a:extLst>
              <a:ext uri="{28A0092B-C50C-407E-A947-70E740481C1C}">
                <a14:useLocalDpi xmlns:a14="http://schemas.microsoft.com/office/drawing/2010/main"/>
              </a:ext>
            </a:extLst>
          </a:blip>
          <a:srcRect l="-1" t="-7614" r="-81464" b="5747"/>
          <a:stretch/>
        </p:blipFill>
        <p:spPr>
          <a:xfrm>
            <a:off x="0" y="0"/>
            <a:ext cx="24384000" cy="13875500"/>
          </a:xfrm>
          <a:prstGeom prst="rect">
            <a:avLst/>
          </a:prstGeom>
          <a:gradFill>
            <a:gsLst>
              <a:gs pos="0">
                <a:srgbClr val="62C4DD">
                  <a:alpha val="43000"/>
                </a:srgbClr>
              </a:gs>
              <a:gs pos="100000">
                <a:srgbClr val="3DA7AB">
                  <a:alpha val="91000"/>
                </a:srgbClr>
              </a:gs>
            </a:gsLst>
            <a:lin ang="5400000" scaled="1"/>
          </a:gradFill>
        </p:spPr>
      </p:pic>
      <p:sp>
        <p:nvSpPr>
          <p:cNvPr id="12" name="Freeform 11"/>
          <p:cNvSpPr/>
          <p:nvPr userDrawn="1"/>
        </p:nvSpPr>
        <p:spPr bwMode="auto">
          <a:xfrm>
            <a:off x="0" y="-10981"/>
            <a:ext cx="24384000" cy="3892266"/>
          </a:xfrm>
          <a:custGeom>
            <a:avLst/>
            <a:gdLst>
              <a:gd name="connsiteX0" fmla="*/ 0 w 24418548"/>
              <a:gd name="connsiteY0" fmla="*/ 0 h 3892266"/>
              <a:gd name="connsiteX1" fmla="*/ 24418548 w 24418548"/>
              <a:gd name="connsiteY1" fmla="*/ 0 h 3892266"/>
              <a:gd name="connsiteX2" fmla="*/ 24418548 w 24418548"/>
              <a:gd name="connsiteY2" fmla="*/ 3683623 h 3892266"/>
              <a:gd name="connsiteX3" fmla="*/ 24402436 w 24418548"/>
              <a:gd name="connsiteY3" fmla="*/ 3875134 h 3892266"/>
              <a:gd name="connsiteX4" fmla="*/ 24398756 w 24418548"/>
              <a:gd name="connsiteY4" fmla="*/ 3892266 h 3892266"/>
              <a:gd name="connsiteX5" fmla="*/ 24382888 w 24418548"/>
              <a:gd name="connsiteY5" fmla="*/ 3818330 h 3892266"/>
              <a:gd name="connsiteX6" fmla="*/ 23625324 w 24418548"/>
              <a:gd name="connsiteY6" fmla="*/ 3150650 h 3892266"/>
              <a:gd name="connsiteX7" fmla="*/ 793227 w 24418548"/>
              <a:gd name="connsiteY7" fmla="*/ 3150650 h 3892266"/>
              <a:gd name="connsiteX8" fmla="*/ 705272 w 24418548"/>
              <a:gd name="connsiteY8" fmla="*/ 3159284 h 3892266"/>
              <a:gd name="connsiteX9" fmla="*/ 705272 w 24418548"/>
              <a:gd name="connsiteY9" fmla="*/ 3132974 h 3892266"/>
              <a:gd name="connsiteX10" fmla="*/ 580188 w 24418548"/>
              <a:gd name="connsiteY10" fmla="*/ 3109877 h 3892266"/>
              <a:gd name="connsiteX11" fmla="*/ 15965 w 24418548"/>
              <a:gd name="connsiteY11" fmla="*/ 2509488 h 3892266"/>
              <a:gd name="connsiteX12" fmla="*/ 6371 w 24418548"/>
              <a:gd name="connsiteY12" fmla="*/ 2414301 h 3892266"/>
              <a:gd name="connsiteX13" fmla="*/ 0 w 24418548"/>
              <a:gd name="connsiteY13" fmla="*/ 2414301 h 3892266"/>
              <a:gd name="connsiteX0" fmla="*/ 0 w 24418548"/>
              <a:gd name="connsiteY0" fmla="*/ 0 h 3892266"/>
              <a:gd name="connsiteX1" fmla="*/ 24418548 w 24418548"/>
              <a:gd name="connsiteY1" fmla="*/ 0 h 3892266"/>
              <a:gd name="connsiteX2" fmla="*/ 24418548 w 24418548"/>
              <a:gd name="connsiteY2" fmla="*/ 3683623 h 3892266"/>
              <a:gd name="connsiteX3" fmla="*/ 24402436 w 24418548"/>
              <a:gd name="connsiteY3" fmla="*/ 3875134 h 3892266"/>
              <a:gd name="connsiteX4" fmla="*/ 24398756 w 24418548"/>
              <a:gd name="connsiteY4" fmla="*/ 3892266 h 3892266"/>
              <a:gd name="connsiteX5" fmla="*/ 24382888 w 24418548"/>
              <a:gd name="connsiteY5" fmla="*/ 3818330 h 3892266"/>
              <a:gd name="connsiteX6" fmla="*/ 23625324 w 24418548"/>
              <a:gd name="connsiteY6" fmla="*/ 3150650 h 3892266"/>
              <a:gd name="connsiteX7" fmla="*/ 793227 w 24418548"/>
              <a:gd name="connsiteY7" fmla="*/ 3150650 h 3892266"/>
              <a:gd name="connsiteX8" fmla="*/ 705272 w 24418548"/>
              <a:gd name="connsiteY8" fmla="*/ 3159284 h 3892266"/>
              <a:gd name="connsiteX9" fmla="*/ 628381 w 24418548"/>
              <a:gd name="connsiteY9" fmla="*/ 3447081 h 3892266"/>
              <a:gd name="connsiteX10" fmla="*/ 580188 w 24418548"/>
              <a:gd name="connsiteY10" fmla="*/ 3109877 h 3892266"/>
              <a:gd name="connsiteX11" fmla="*/ 15965 w 24418548"/>
              <a:gd name="connsiteY11" fmla="*/ 2509488 h 3892266"/>
              <a:gd name="connsiteX12" fmla="*/ 6371 w 24418548"/>
              <a:gd name="connsiteY12" fmla="*/ 2414301 h 3892266"/>
              <a:gd name="connsiteX13" fmla="*/ 0 w 24418548"/>
              <a:gd name="connsiteY13" fmla="*/ 2414301 h 3892266"/>
              <a:gd name="connsiteX14" fmla="*/ 0 w 24418548"/>
              <a:gd name="connsiteY14" fmla="*/ 0 h 3892266"/>
              <a:gd name="connsiteX0" fmla="*/ 0 w 24418548"/>
              <a:gd name="connsiteY0" fmla="*/ 0 h 3892266"/>
              <a:gd name="connsiteX1" fmla="*/ 24418548 w 24418548"/>
              <a:gd name="connsiteY1" fmla="*/ 0 h 3892266"/>
              <a:gd name="connsiteX2" fmla="*/ 24418548 w 24418548"/>
              <a:gd name="connsiteY2" fmla="*/ 3683623 h 3892266"/>
              <a:gd name="connsiteX3" fmla="*/ 24402436 w 24418548"/>
              <a:gd name="connsiteY3" fmla="*/ 3875134 h 3892266"/>
              <a:gd name="connsiteX4" fmla="*/ 24398756 w 24418548"/>
              <a:gd name="connsiteY4" fmla="*/ 3892266 h 3892266"/>
              <a:gd name="connsiteX5" fmla="*/ 24382888 w 24418548"/>
              <a:gd name="connsiteY5" fmla="*/ 3818330 h 3892266"/>
              <a:gd name="connsiteX6" fmla="*/ 23625324 w 24418548"/>
              <a:gd name="connsiteY6" fmla="*/ 3150650 h 3892266"/>
              <a:gd name="connsiteX7" fmla="*/ 793227 w 24418548"/>
              <a:gd name="connsiteY7" fmla="*/ 3150650 h 3892266"/>
              <a:gd name="connsiteX8" fmla="*/ 705272 w 24418548"/>
              <a:gd name="connsiteY8" fmla="*/ 3159284 h 3892266"/>
              <a:gd name="connsiteX9" fmla="*/ 580188 w 24418548"/>
              <a:gd name="connsiteY9" fmla="*/ 3109877 h 3892266"/>
              <a:gd name="connsiteX10" fmla="*/ 15965 w 24418548"/>
              <a:gd name="connsiteY10" fmla="*/ 2509488 h 3892266"/>
              <a:gd name="connsiteX11" fmla="*/ 6371 w 24418548"/>
              <a:gd name="connsiteY11" fmla="*/ 2414301 h 3892266"/>
              <a:gd name="connsiteX12" fmla="*/ 0 w 24418548"/>
              <a:gd name="connsiteY12" fmla="*/ 2414301 h 3892266"/>
              <a:gd name="connsiteX13" fmla="*/ 0 w 24418548"/>
              <a:gd name="connsiteY13" fmla="*/ 0 h 3892266"/>
              <a:gd name="connsiteX0" fmla="*/ 0 w 24418548"/>
              <a:gd name="connsiteY0" fmla="*/ 0 h 3892266"/>
              <a:gd name="connsiteX1" fmla="*/ 24418548 w 24418548"/>
              <a:gd name="connsiteY1" fmla="*/ 0 h 3892266"/>
              <a:gd name="connsiteX2" fmla="*/ 24418548 w 24418548"/>
              <a:gd name="connsiteY2" fmla="*/ 3683623 h 3892266"/>
              <a:gd name="connsiteX3" fmla="*/ 24402436 w 24418548"/>
              <a:gd name="connsiteY3" fmla="*/ 3875134 h 3892266"/>
              <a:gd name="connsiteX4" fmla="*/ 24398756 w 24418548"/>
              <a:gd name="connsiteY4" fmla="*/ 3892266 h 3892266"/>
              <a:gd name="connsiteX5" fmla="*/ 24382888 w 24418548"/>
              <a:gd name="connsiteY5" fmla="*/ 3818330 h 3892266"/>
              <a:gd name="connsiteX6" fmla="*/ 23625324 w 24418548"/>
              <a:gd name="connsiteY6" fmla="*/ 3150650 h 3892266"/>
              <a:gd name="connsiteX7" fmla="*/ 793227 w 24418548"/>
              <a:gd name="connsiteY7" fmla="*/ 3150650 h 3892266"/>
              <a:gd name="connsiteX8" fmla="*/ 705272 w 24418548"/>
              <a:gd name="connsiteY8" fmla="*/ 3173245 h 3892266"/>
              <a:gd name="connsiteX9" fmla="*/ 580188 w 24418548"/>
              <a:gd name="connsiteY9" fmla="*/ 3109877 h 3892266"/>
              <a:gd name="connsiteX10" fmla="*/ 15965 w 24418548"/>
              <a:gd name="connsiteY10" fmla="*/ 2509488 h 3892266"/>
              <a:gd name="connsiteX11" fmla="*/ 6371 w 24418548"/>
              <a:gd name="connsiteY11" fmla="*/ 2414301 h 3892266"/>
              <a:gd name="connsiteX12" fmla="*/ 0 w 24418548"/>
              <a:gd name="connsiteY12" fmla="*/ 2414301 h 3892266"/>
              <a:gd name="connsiteX13" fmla="*/ 0 w 24418548"/>
              <a:gd name="connsiteY13" fmla="*/ 0 h 3892266"/>
              <a:gd name="connsiteX0" fmla="*/ 0 w 24418548"/>
              <a:gd name="connsiteY0" fmla="*/ 0 h 3892266"/>
              <a:gd name="connsiteX1" fmla="*/ 24418548 w 24418548"/>
              <a:gd name="connsiteY1" fmla="*/ 0 h 3892266"/>
              <a:gd name="connsiteX2" fmla="*/ 24418548 w 24418548"/>
              <a:gd name="connsiteY2" fmla="*/ 3683623 h 3892266"/>
              <a:gd name="connsiteX3" fmla="*/ 24402436 w 24418548"/>
              <a:gd name="connsiteY3" fmla="*/ 3875134 h 3892266"/>
              <a:gd name="connsiteX4" fmla="*/ 24398756 w 24418548"/>
              <a:gd name="connsiteY4" fmla="*/ 3892266 h 3892266"/>
              <a:gd name="connsiteX5" fmla="*/ 24382888 w 24418548"/>
              <a:gd name="connsiteY5" fmla="*/ 3818330 h 3892266"/>
              <a:gd name="connsiteX6" fmla="*/ 23625324 w 24418548"/>
              <a:gd name="connsiteY6" fmla="*/ 3150650 h 3892266"/>
              <a:gd name="connsiteX7" fmla="*/ 793227 w 24418548"/>
              <a:gd name="connsiteY7" fmla="*/ 3150650 h 3892266"/>
              <a:gd name="connsiteX8" fmla="*/ 580188 w 24418548"/>
              <a:gd name="connsiteY8" fmla="*/ 3109877 h 3892266"/>
              <a:gd name="connsiteX9" fmla="*/ 15965 w 24418548"/>
              <a:gd name="connsiteY9" fmla="*/ 2509488 h 3892266"/>
              <a:gd name="connsiteX10" fmla="*/ 6371 w 24418548"/>
              <a:gd name="connsiteY10" fmla="*/ 2414301 h 3892266"/>
              <a:gd name="connsiteX11" fmla="*/ 0 w 24418548"/>
              <a:gd name="connsiteY11" fmla="*/ 2414301 h 3892266"/>
              <a:gd name="connsiteX12" fmla="*/ 0 w 24418548"/>
              <a:gd name="connsiteY12" fmla="*/ 0 h 3892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418548" h="3892266">
                <a:moveTo>
                  <a:pt x="0" y="0"/>
                </a:moveTo>
                <a:lnTo>
                  <a:pt x="24418548" y="0"/>
                </a:lnTo>
                <a:lnTo>
                  <a:pt x="24418548" y="3683623"/>
                </a:lnTo>
                <a:cubicBezTo>
                  <a:pt x="24418548" y="3749226"/>
                  <a:pt x="24413000" y="3813274"/>
                  <a:pt x="24402436" y="3875134"/>
                </a:cubicBezTo>
                <a:lnTo>
                  <a:pt x="24398756" y="3892266"/>
                </a:lnTo>
                <a:lnTo>
                  <a:pt x="24382888" y="3818330"/>
                </a:lnTo>
                <a:cubicBezTo>
                  <a:pt x="24282456" y="3431510"/>
                  <a:pt x="23981268" y="3150650"/>
                  <a:pt x="23625324" y="3150650"/>
                </a:cubicBezTo>
                <a:lnTo>
                  <a:pt x="793227" y="3150650"/>
                </a:lnTo>
                <a:lnTo>
                  <a:pt x="580188" y="3109877"/>
                </a:lnTo>
                <a:cubicBezTo>
                  <a:pt x="295899" y="3032945"/>
                  <a:pt x="75517" y="2800509"/>
                  <a:pt x="15965" y="2509488"/>
                </a:cubicBezTo>
                <a:lnTo>
                  <a:pt x="6371" y="2414301"/>
                </a:lnTo>
                <a:lnTo>
                  <a:pt x="0" y="2414301"/>
                </a:lnTo>
                <a:lnTo>
                  <a:pt x="0" y="0"/>
                </a:lnTo>
                <a:close/>
              </a:path>
            </a:pathLst>
          </a:custGeom>
          <a:solidFill>
            <a:schemeClr val="bg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600" b="0" i="0" u="none" strike="noStrike" cap="none" normalizeH="0" baseline="0" smtClean="0">
              <a:ln>
                <a:noFill/>
              </a:ln>
              <a:solidFill>
                <a:srgbClr val="000000"/>
              </a:solidFill>
              <a:effectLst/>
              <a:latin typeface="Gill Sans" charset="0"/>
              <a:ea typeface="Heiti SC Light" charset="0"/>
              <a:cs typeface="Heiti SC Light" charset="0"/>
              <a:sym typeface="Gill Sans" charset="0"/>
            </a:endParaRPr>
          </a:p>
        </p:txBody>
      </p:sp>
      <p:pic>
        <p:nvPicPr>
          <p:cNvPr id="30" name="Picture 2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2273812" y="233264"/>
            <a:ext cx="10503364" cy="2433279"/>
          </a:xfrm>
          <a:prstGeom prst="rect">
            <a:avLst/>
          </a:prstGeom>
        </p:spPr>
      </p:pic>
      <p:pic>
        <p:nvPicPr>
          <p:cNvPr id="31" name="Image 20"/>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30760" y="650338"/>
            <a:ext cx="2664296" cy="1776950"/>
          </a:xfrm>
          <a:prstGeom prst="rect">
            <a:avLst/>
          </a:prstGeom>
        </p:spPr>
      </p:pic>
      <p:sp>
        <p:nvSpPr>
          <p:cNvPr id="21" name="Content Placeholder 2"/>
          <p:cNvSpPr>
            <a:spLocks noGrp="1"/>
          </p:cNvSpPr>
          <p:nvPr>
            <p:ph sz="quarter" idx="12" hasCustomPrompt="1"/>
          </p:nvPr>
        </p:nvSpPr>
        <p:spPr>
          <a:xfrm>
            <a:off x="3407024" y="10890448"/>
            <a:ext cx="6696744" cy="745084"/>
          </a:xfrm>
          <a:prstGeom prst="rect">
            <a:avLst/>
          </a:prstGeom>
        </p:spPr>
        <p:txBody>
          <a:bodyPr/>
          <a:lstStyle>
            <a:lvl1pPr marL="317500" indent="0" algn="ctr">
              <a:buNone/>
              <a:defRPr sz="3200" baseline="0">
                <a:solidFill>
                  <a:schemeClr val="bg1"/>
                </a:solidFill>
                <a:latin typeface="Calibri" charset="0"/>
                <a:ea typeface="Calibri" charset="0"/>
                <a:cs typeface="Calibri" charset="0"/>
              </a:defRPr>
            </a:lvl1pPr>
            <a:lvl2pPr marL="762000" indent="0">
              <a:buNone/>
              <a:defRPr sz="4400">
                <a:solidFill>
                  <a:schemeClr val="bg1"/>
                </a:solidFill>
                <a:latin typeface="DIN Condensed" charset="0"/>
                <a:ea typeface="DIN Condensed" charset="0"/>
                <a:cs typeface="DIN Condensed" charset="0"/>
              </a:defRPr>
            </a:lvl2pPr>
            <a:lvl3pPr marL="1206500" indent="0">
              <a:buNone/>
              <a:defRPr sz="4400">
                <a:solidFill>
                  <a:schemeClr val="bg1"/>
                </a:solidFill>
                <a:latin typeface="DIN Condensed" charset="0"/>
                <a:ea typeface="DIN Condensed" charset="0"/>
                <a:cs typeface="DIN Condensed" charset="0"/>
              </a:defRPr>
            </a:lvl3pPr>
            <a:lvl4pPr marL="1651000" indent="0">
              <a:buNone/>
              <a:defRPr sz="4400">
                <a:solidFill>
                  <a:schemeClr val="bg1"/>
                </a:solidFill>
                <a:latin typeface="DIN Condensed" charset="0"/>
                <a:ea typeface="DIN Condensed" charset="0"/>
                <a:cs typeface="DIN Condensed" charset="0"/>
              </a:defRPr>
            </a:lvl4pPr>
            <a:lvl5pPr marL="2095500" indent="0">
              <a:buNone/>
              <a:defRPr sz="4400">
                <a:solidFill>
                  <a:schemeClr val="bg1"/>
                </a:solidFill>
                <a:latin typeface="DIN Condensed" charset="0"/>
                <a:ea typeface="DIN Condensed" charset="0"/>
                <a:cs typeface="DIN Condensed" charset="0"/>
              </a:defRPr>
            </a:lvl5pPr>
          </a:lstStyle>
          <a:p>
            <a:pPr lvl="0"/>
            <a:r>
              <a:rPr lang="en-US" dirty="0"/>
              <a:t>Date comes here</a:t>
            </a:r>
          </a:p>
        </p:txBody>
      </p:sp>
      <p:sp>
        <p:nvSpPr>
          <p:cNvPr id="22" name="Content Placeholder 2"/>
          <p:cNvSpPr>
            <a:spLocks noGrp="1"/>
          </p:cNvSpPr>
          <p:nvPr>
            <p:ph sz="quarter" idx="20" hasCustomPrompt="1"/>
          </p:nvPr>
        </p:nvSpPr>
        <p:spPr>
          <a:xfrm>
            <a:off x="3407024" y="4625752"/>
            <a:ext cx="6696744" cy="4248472"/>
          </a:xfrm>
          <a:prstGeom prst="rect">
            <a:avLst/>
          </a:prstGeom>
        </p:spPr>
        <p:txBody>
          <a:bodyPr lIns="0" tIns="0" rIns="0" bIns="0" anchor="t" anchorCtr="0">
            <a:noAutofit/>
          </a:bodyPr>
          <a:lstStyle>
            <a:lvl1pPr marL="317500" indent="0" algn="ctr">
              <a:buNone/>
              <a:defRPr sz="6000" b="1">
                <a:solidFill>
                  <a:srgbClr val="004494"/>
                </a:solidFill>
                <a:latin typeface="Calibri" charset="0"/>
                <a:ea typeface="Calibri" charset="0"/>
                <a:cs typeface="Calibri" charset="0"/>
              </a:defRPr>
            </a:lvl1pPr>
            <a:lvl2pPr marL="762000" indent="0">
              <a:buNone/>
              <a:defRPr>
                <a:solidFill>
                  <a:srgbClr val="174489"/>
                </a:solidFill>
                <a:latin typeface="DIN Condensed" charset="0"/>
                <a:ea typeface="DIN Condensed" charset="0"/>
                <a:cs typeface="DIN Condensed" charset="0"/>
              </a:defRPr>
            </a:lvl2pPr>
            <a:lvl3pPr marL="1206500" indent="0">
              <a:buNone/>
              <a:defRPr>
                <a:solidFill>
                  <a:srgbClr val="174489"/>
                </a:solidFill>
                <a:latin typeface="DIN Condensed" charset="0"/>
                <a:ea typeface="DIN Condensed" charset="0"/>
                <a:cs typeface="DIN Condensed" charset="0"/>
              </a:defRPr>
            </a:lvl3pPr>
            <a:lvl4pPr marL="1651000" indent="0">
              <a:buNone/>
              <a:defRPr>
                <a:solidFill>
                  <a:srgbClr val="174489"/>
                </a:solidFill>
                <a:latin typeface="DIN Condensed" charset="0"/>
                <a:ea typeface="DIN Condensed" charset="0"/>
                <a:cs typeface="DIN Condensed" charset="0"/>
              </a:defRPr>
            </a:lvl4pPr>
            <a:lvl5pPr marL="2095500" indent="0">
              <a:buNone/>
              <a:defRPr>
                <a:solidFill>
                  <a:srgbClr val="174489"/>
                </a:solidFill>
                <a:latin typeface="DIN Condensed" charset="0"/>
                <a:ea typeface="DIN Condensed" charset="0"/>
                <a:cs typeface="DIN Condensed" charset="0"/>
              </a:defRPr>
            </a:lvl5pPr>
          </a:lstStyle>
          <a:p>
            <a:pPr lvl="0"/>
            <a:r>
              <a:rPr lang="en-US" dirty="0"/>
              <a:t>Title comes here</a:t>
            </a:r>
          </a:p>
        </p:txBody>
      </p:sp>
      <p:sp>
        <p:nvSpPr>
          <p:cNvPr id="24" name="Content Placeholder 2"/>
          <p:cNvSpPr>
            <a:spLocks noGrp="1"/>
          </p:cNvSpPr>
          <p:nvPr>
            <p:ph sz="quarter" idx="25" hasCustomPrompt="1"/>
          </p:nvPr>
        </p:nvSpPr>
        <p:spPr>
          <a:xfrm>
            <a:off x="3409257" y="8874224"/>
            <a:ext cx="6694512" cy="1903100"/>
          </a:xfrm>
          <a:prstGeom prst="rect">
            <a:avLst/>
          </a:prstGeom>
        </p:spPr>
        <p:txBody>
          <a:bodyPr lIns="0" tIns="0" rIns="0" bIns="0" anchor="t" anchorCtr="0">
            <a:noAutofit/>
          </a:bodyPr>
          <a:lstStyle>
            <a:lvl1pPr marL="317500" indent="0" algn="ctr">
              <a:buNone/>
              <a:defRPr sz="5400" b="1">
                <a:solidFill>
                  <a:schemeClr val="bg1"/>
                </a:solidFill>
                <a:latin typeface="Calibri" charset="0"/>
                <a:ea typeface="Calibri" charset="0"/>
                <a:cs typeface="Calibri" charset="0"/>
              </a:defRPr>
            </a:lvl1pPr>
            <a:lvl2pPr marL="762000" indent="0">
              <a:buNone/>
              <a:defRPr>
                <a:solidFill>
                  <a:srgbClr val="174489"/>
                </a:solidFill>
                <a:latin typeface="DIN Condensed" charset="0"/>
                <a:ea typeface="DIN Condensed" charset="0"/>
                <a:cs typeface="DIN Condensed" charset="0"/>
              </a:defRPr>
            </a:lvl2pPr>
            <a:lvl3pPr marL="1206500" indent="0">
              <a:buNone/>
              <a:defRPr>
                <a:solidFill>
                  <a:srgbClr val="174489"/>
                </a:solidFill>
                <a:latin typeface="DIN Condensed" charset="0"/>
                <a:ea typeface="DIN Condensed" charset="0"/>
                <a:cs typeface="DIN Condensed" charset="0"/>
              </a:defRPr>
            </a:lvl3pPr>
            <a:lvl4pPr marL="1651000" indent="0">
              <a:buNone/>
              <a:defRPr>
                <a:solidFill>
                  <a:srgbClr val="174489"/>
                </a:solidFill>
                <a:latin typeface="DIN Condensed" charset="0"/>
                <a:ea typeface="DIN Condensed" charset="0"/>
                <a:cs typeface="DIN Condensed" charset="0"/>
              </a:defRPr>
            </a:lvl4pPr>
            <a:lvl5pPr marL="2095500" indent="0">
              <a:buNone/>
              <a:defRPr>
                <a:solidFill>
                  <a:srgbClr val="174489"/>
                </a:solidFill>
                <a:latin typeface="DIN Condensed" charset="0"/>
                <a:ea typeface="DIN Condensed" charset="0"/>
                <a:cs typeface="DIN Condensed" charset="0"/>
              </a:defRPr>
            </a:lvl5pPr>
          </a:lstStyle>
          <a:p>
            <a:pPr lvl="0"/>
            <a:r>
              <a:rPr lang="en-US" dirty="0"/>
              <a:t>Name forename</a:t>
            </a:r>
          </a:p>
          <a:p>
            <a:pPr lvl="0"/>
            <a:r>
              <a:rPr lang="en-US" dirty="0"/>
              <a:t>Job description</a:t>
            </a:r>
          </a:p>
        </p:txBody>
      </p:sp>
    </p:spTree>
    <p:extLst>
      <p:ext uri="{BB962C8B-B14F-4D97-AF65-F5344CB8AC3E}">
        <p14:creationId xmlns:p14="http://schemas.microsoft.com/office/powerpoint/2010/main" val="1109747430"/>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MVH ">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CD1E7C23-2AAD-0D45-B01B-5A673730BB06}" type="slidenum">
              <a:rPr lang="en-US" smtClean="0"/>
              <a:pPr/>
              <a:t>‹#›</a:t>
            </a:fld>
            <a:endParaRPr lang="en-US" dirty="0"/>
          </a:p>
        </p:txBody>
      </p:sp>
      <p:sp>
        <p:nvSpPr>
          <p:cNvPr id="48" name="Content Placeholder 2"/>
          <p:cNvSpPr>
            <a:spLocks noGrp="1"/>
          </p:cNvSpPr>
          <p:nvPr>
            <p:ph sz="quarter" idx="20" hasCustomPrompt="1"/>
          </p:nvPr>
        </p:nvSpPr>
        <p:spPr>
          <a:xfrm>
            <a:off x="1102768" y="589544"/>
            <a:ext cx="20234248" cy="830997"/>
          </a:xfrm>
          <a:prstGeom prst="rect">
            <a:avLst/>
          </a:prstGeom>
        </p:spPr>
        <p:txBody>
          <a:bodyPr lIns="0" tIns="0" rIns="0" bIns="0" anchor="t" anchorCtr="0">
            <a:noAutofit/>
          </a:bodyPr>
          <a:lstStyle>
            <a:lvl1pPr marL="317500" indent="0">
              <a:buNone/>
              <a:defRPr sz="5400" b="1">
                <a:solidFill>
                  <a:srgbClr val="004494"/>
                </a:solidFill>
                <a:latin typeface="Calibri" charset="0"/>
                <a:ea typeface="Calibri" charset="0"/>
                <a:cs typeface="Calibri" charset="0"/>
              </a:defRPr>
            </a:lvl1pPr>
            <a:lvl2pPr marL="762000" indent="0">
              <a:buNone/>
              <a:defRPr>
                <a:solidFill>
                  <a:srgbClr val="174489"/>
                </a:solidFill>
                <a:latin typeface="DIN Condensed" charset="0"/>
                <a:ea typeface="DIN Condensed" charset="0"/>
                <a:cs typeface="DIN Condensed" charset="0"/>
              </a:defRPr>
            </a:lvl2pPr>
            <a:lvl3pPr marL="1206500" indent="0">
              <a:buNone/>
              <a:defRPr>
                <a:solidFill>
                  <a:srgbClr val="174489"/>
                </a:solidFill>
                <a:latin typeface="DIN Condensed" charset="0"/>
                <a:ea typeface="DIN Condensed" charset="0"/>
                <a:cs typeface="DIN Condensed" charset="0"/>
              </a:defRPr>
            </a:lvl3pPr>
            <a:lvl4pPr marL="1651000" indent="0">
              <a:buNone/>
              <a:defRPr>
                <a:solidFill>
                  <a:srgbClr val="174489"/>
                </a:solidFill>
                <a:latin typeface="DIN Condensed" charset="0"/>
                <a:ea typeface="DIN Condensed" charset="0"/>
                <a:cs typeface="DIN Condensed" charset="0"/>
              </a:defRPr>
            </a:lvl4pPr>
            <a:lvl5pPr marL="2095500" indent="0">
              <a:buNone/>
              <a:defRPr>
                <a:solidFill>
                  <a:srgbClr val="174489"/>
                </a:solidFill>
                <a:latin typeface="DIN Condensed" charset="0"/>
                <a:ea typeface="DIN Condensed" charset="0"/>
                <a:cs typeface="DIN Condensed" charset="0"/>
              </a:defRPr>
            </a:lvl5pPr>
          </a:lstStyle>
          <a:p>
            <a:pPr lvl="0"/>
            <a:r>
              <a:rPr lang="en-US" dirty="0"/>
              <a:t>Title comes here</a:t>
            </a:r>
          </a:p>
        </p:txBody>
      </p:sp>
      <p:sp>
        <p:nvSpPr>
          <p:cNvPr id="49" name="Content Placeholder 2"/>
          <p:cNvSpPr>
            <a:spLocks noGrp="1"/>
          </p:cNvSpPr>
          <p:nvPr>
            <p:ph sz="quarter" idx="21" hasCustomPrompt="1"/>
          </p:nvPr>
        </p:nvSpPr>
        <p:spPr>
          <a:xfrm>
            <a:off x="1102768" y="1671169"/>
            <a:ext cx="20234248" cy="492443"/>
          </a:xfrm>
          <a:prstGeom prst="rect">
            <a:avLst/>
          </a:prstGeom>
        </p:spPr>
        <p:txBody>
          <a:bodyPr wrap="square" lIns="0" tIns="0" rIns="0" bIns="0" anchor="t" anchorCtr="0">
            <a:spAutoFit/>
          </a:bodyPr>
          <a:lstStyle>
            <a:lvl1pPr marL="317500" indent="0">
              <a:buNone/>
              <a:defRPr sz="3200" b="0" baseline="0">
                <a:solidFill>
                  <a:srgbClr val="0081C7"/>
                </a:solidFill>
                <a:latin typeface="Calibri" charset="0"/>
                <a:ea typeface="Calibri" charset="0"/>
                <a:cs typeface="Calibri" charset="0"/>
              </a:defRPr>
            </a:lvl1pPr>
            <a:lvl2pPr marL="762000" indent="0">
              <a:buNone/>
              <a:defRPr>
                <a:solidFill>
                  <a:srgbClr val="174489"/>
                </a:solidFill>
                <a:latin typeface="DIN Condensed" charset="0"/>
                <a:ea typeface="DIN Condensed" charset="0"/>
                <a:cs typeface="DIN Condensed" charset="0"/>
              </a:defRPr>
            </a:lvl2pPr>
            <a:lvl3pPr marL="1206500" indent="0">
              <a:buNone/>
              <a:defRPr>
                <a:solidFill>
                  <a:srgbClr val="174489"/>
                </a:solidFill>
                <a:latin typeface="DIN Condensed" charset="0"/>
                <a:ea typeface="DIN Condensed" charset="0"/>
                <a:cs typeface="DIN Condensed" charset="0"/>
              </a:defRPr>
            </a:lvl3pPr>
            <a:lvl4pPr marL="1651000" indent="0">
              <a:buNone/>
              <a:defRPr>
                <a:solidFill>
                  <a:srgbClr val="174489"/>
                </a:solidFill>
                <a:latin typeface="DIN Condensed" charset="0"/>
                <a:ea typeface="DIN Condensed" charset="0"/>
                <a:cs typeface="DIN Condensed" charset="0"/>
              </a:defRPr>
            </a:lvl4pPr>
            <a:lvl5pPr marL="2095500" indent="0">
              <a:buNone/>
              <a:defRPr>
                <a:solidFill>
                  <a:srgbClr val="174489"/>
                </a:solidFill>
                <a:latin typeface="DIN Condensed" charset="0"/>
                <a:ea typeface="DIN Condensed" charset="0"/>
                <a:cs typeface="DIN Condensed" charset="0"/>
              </a:defRPr>
            </a:lvl5pPr>
          </a:lstStyle>
          <a:p>
            <a:pPr lvl="0"/>
            <a:r>
              <a:rPr lang="en-US" dirty="0"/>
              <a:t>Title comes here</a:t>
            </a:r>
          </a:p>
        </p:txBody>
      </p:sp>
    </p:spTree>
    <p:extLst>
      <p:ext uri="{BB962C8B-B14F-4D97-AF65-F5344CB8AC3E}">
        <p14:creationId xmlns:p14="http://schemas.microsoft.com/office/powerpoint/2010/main" val="1364313676"/>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ransport_Car_blank_Lef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CD1E7C23-2AAD-0D45-B01B-5A673730BB06}" type="slidenum">
              <a:rPr lang="en-US" smtClean="0"/>
              <a:pPr/>
              <a:t>‹#›</a:t>
            </a:fld>
            <a:endParaRPr lang="en-US" dirty="0"/>
          </a:p>
        </p:txBody>
      </p:sp>
      <p:sp>
        <p:nvSpPr>
          <p:cNvPr id="41" name="Content Placeholder 17"/>
          <p:cNvSpPr>
            <a:spLocks noGrp="1"/>
          </p:cNvSpPr>
          <p:nvPr>
            <p:ph sz="quarter" idx="22" hasCustomPrompt="1"/>
          </p:nvPr>
        </p:nvSpPr>
        <p:spPr>
          <a:xfrm>
            <a:off x="7151440" y="12474624"/>
            <a:ext cx="10801200" cy="1008112"/>
          </a:xfrm>
          <a:prstGeom prst="rect">
            <a:avLst/>
          </a:prstGeom>
        </p:spPr>
        <p:txBody>
          <a:bodyPr/>
          <a:lstStyle>
            <a:lvl1pPr marL="317500" indent="0" algn="ctr">
              <a:buNone/>
              <a:defRPr sz="2400" baseline="0">
                <a:solidFill>
                  <a:srgbClr val="004494"/>
                </a:solidFill>
                <a:latin typeface="Calibri" charset="0"/>
                <a:ea typeface="Calibri" charset="0"/>
                <a:cs typeface="Calibri" charset="0"/>
              </a:defRPr>
            </a:lvl1pPr>
            <a:lvl2pPr marL="762000" indent="0" algn="ctr">
              <a:buNone/>
              <a:defRPr sz="2000">
                <a:solidFill>
                  <a:srgbClr val="004494"/>
                </a:solidFill>
                <a:latin typeface="Calibri" charset="0"/>
                <a:ea typeface="Calibri" charset="0"/>
                <a:cs typeface="Calibri" charset="0"/>
              </a:defRPr>
            </a:lvl2pPr>
            <a:lvl3pPr marL="1206500" indent="0" algn="ctr">
              <a:buNone/>
              <a:defRPr sz="2000">
                <a:solidFill>
                  <a:srgbClr val="004494"/>
                </a:solidFill>
                <a:latin typeface="Calibri" charset="0"/>
                <a:ea typeface="Calibri" charset="0"/>
                <a:cs typeface="Calibri" charset="0"/>
              </a:defRPr>
            </a:lvl3pPr>
            <a:lvl4pPr marL="1651000" indent="0" algn="ctr">
              <a:buNone/>
              <a:defRPr sz="2000">
                <a:solidFill>
                  <a:srgbClr val="004494"/>
                </a:solidFill>
                <a:latin typeface="Calibri" charset="0"/>
                <a:ea typeface="Calibri" charset="0"/>
                <a:cs typeface="Calibri" charset="0"/>
              </a:defRPr>
            </a:lvl4pPr>
            <a:lvl5pPr marL="2095500" indent="0" algn="ctr">
              <a:buNone/>
              <a:defRPr sz="2000">
                <a:solidFill>
                  <a:srgbClr val="004494"/>
                </a:solidFill>
                <a:latin typeface="Calibri" charset="0"/>
                <a:ea typeface="Calibri" charset="0"/>
                <a:cs typeface="Calibri" charset="0"/>
              </a:defRPr>
            </a:lvl5pPr>
          </a:lstStyle>
          <a:p>
            <a:pPr lvl="0"/>
            <a:r>
              <a:rPr lang="en-US" dirty="0"/>
              <a:t>Edit </a:t>
            </a:r>
            <a:r>
              <a:rPr lang="en-US"/>
              <a:t>here source or footer</a:t>
            </a:r>
            <a:endParaRPr lang="en-US" dirty="0"/>
          </a:p>
        </p:txBody>
      </p:sp>
      <p:sp>
        <p:nvSpPr>
          <p:cNvPr id="42" name="Content Placeholder 2"/>
          <p:cNvSpPr>
            <a:spLocks noGrp="1"/>
          </p:cNvSpPr>
          <p:nvPr>
            <p:ph sz="quarter" idx="20" hasCustomPrompt="1"/>
          </p:nvPr>
        </p:nvSpPr>
        <p:spPr>
          <a:xfrm>
            <a:off x="1102768" y="589544"/>
            <a:ext cx="20234248" cy="830997"/>
          </a:xfrm>
          <a:prstGeom prst="rect">
            <a:avLst/>
          </a:prstGeom>
        </p:spPr>
        <p:txBody>
          <a:bodyPr lIns="0" tIns="0" rIns="0" bIns="0" anchor="t" anchorCtr="0">
            <a:noAutofit/>
          </a:bodyPr>
          <a:lstStyle>
            <a:lvl1pPr marL="317500" indent="0">
              <a:buNone/>
              <a:defRPr sz="5400" b="1">
                <a:solidFill>
                  <a:srgbClr val="004494"/>
                </a:solidFill>
                <a:latin typeface="Calibri" charset="0"/>
                <a:ea typeface="Calibri" charset="0"/>
                <a:cs typeface="Calibri" charset="0"/>
              </a:defRPr>
            </a:lvl1pPr>
            <a:lvl2pPr marL="762000" indent="0">
              <a:buNone/>
              <a:defRPr>
                <a:solidFill>
                  <a:srgbClr val="174489"/>
                </a:solidFill>
                <a:latin typeface="DIN Condensed" charset="0"/>
                <a:ea typeface="DIN Condensed" charset="0"/>
                <a:cs typeface="DIN Condensed" charset="0"/>
              </a:defRPr>
            </a:lvl2pPr>
            <a:lvl3pPr marL="1206500" indent="0">
              <a:buNone/>
              <a:defRPr>
                <a:solidFill>
                  <a:srgbClr val="174489"/>
                </a:solidFill>
                <a:latin typeface="DIN Condensed" charset="0"/>
                <a:ea typeface="DIN Condensed" charset="0"/>
                <a:cs typeface="DIN Condensed" charset="0"/>
              </a:defRPr>
            </a:lvl3pPr>
            <a:lvl4pPr marL="1651000" indent="0">
              <a:buNone/>
              <a:defRPr>
                <a:solidFill>
                  <a:srgbClr val="174489"/>
                </a:solidFill>
                <a:latin typeface="DIN Condensed" charset="0"/>
                <a:ea typeface="DIN Condensed" charset="0"/>
                <a:cs typeface="DIN Condensed" charset="0"/>
              </a:defRPr>
            </a:lvl4pPr>
            <a:lvl5pPr marL="2095500" indent="0">
              <a:buNone/>
              <a:defRPr>
                <a:solidFill>
                  <a:srgbClr val="174489"/>
                </a:solidFill>
                <a:latin typeface="DIN Condensed" charset="0"/>
                <a:ea typeface="DIN Condensed" charset="0"/>
                <a:cs typeface="DIN Condensed" charset="0"/>
              </a:defRPr>
            </a:lvl5pPr>
          </a:lstStyle>
          <a:p>
            <a:pPr lvl="0"/>
            <a:r>
              <a:rPr lang="en-US" dirty="0"/>
              <a:t>Title comes here</a:t>
            </a:r>
          </a:p>
        </p:txBody>
      </p:sp>
      <p:sp>
        <p:nvSpPr>
          <p:cNvPr id="43" name="Content Placeholder 2"/>
          <p:cNvSpPr>
            <a:spLocks noGrp="1"/>
          </p:cNvSpPr>
          <p:nvPr>
            <p:ph sz="quarter" idx="21" hasCustomPrompt="1"/>
          </p:nvPr>
        </p:nvSpPr>
        <p:spPr>
          <a:xfrm>
            <a:off x="1102768" y="1671169"/>
            <a:ext cx="20234248" cy="492443"/>
          </a:xfrm>
          <a:prstGeom prst="rect">
            <a:avLst/>
          </a:prstGeom>
        </p:spPr>
        <p:txBody>
          <a:bodyPr wrap="square" lIns="0" tIns="0" rIns="0" bIns="0" anchor="t" anchorCtr="0">
            <a:spAutoFit/>
          </a:bodyPr>
          <a:lstStyle>
            <a:lvl1pPr marL="317500" indent="0">
              <a:buNone/>
              <a:defRPr sz="3200" b="0" baseline="0">
                <a:solidFill>
                  <a:srgbClr val="0081C7"/>
                </a:solidFill>
                <a:latin typeface="Calibri" charset="0"/>
                <a:ea typeface="Calibri" charset="0"/>
                <a:cs typeface="Calibri" charset="0"/>
              </a:defRPr>
            </a:lvl1pPr>
            <a:lvl2pPr marL="762000" indent="0">
              <a:buNone/>
              <a:defRPr>
                <a:solidFill>
                  <a:srgbClr val="174489"/>
                </a:solidFill>
                <a:latin typeface="DIN Condensed" charset="0"/>
                <a:ea typeface="DIN Condensed" charset="0"/>
                <a:cs typeface="DIN Condensed" charset="0"/>
              </a:defRPr>
            </a:lvl2pPr>
            <a:lvl3pPr marL="1206500" indent="0">
              <a:buNone/>
              <a:defRPr>
                <a:solidFill>
                  <a:srgbClr val="174489"/>
                </a:solidFill>
                <a:latin typeface="DIN Condensed" charset="0"/>
                <a:ea typeface="DIN Condensed" charset="0"/>
                <a:cs typeface="DIN Condensed" charset="0"/>
              </a:defRPr>
            </a:lvl3pPr>
            <a:lvl4pPr marL="1651000" indent="0">
              <a:buNone/>
              <a:defRPr>
                <a:solidFill>
                  <a:srgbClr val="174489"/>
                </a:solidFill>
                <a:latin typeface="DIN Condensed" charset="0"/>
                <a:ea typeface="DIN Condensed" charset="0"/>
                <a:cs typeface="DIN Condensed" charset="0"/>
              </a:defRPr>
            </a:lvl4pPr>
            <a:lvl5pPr marL="2095500" indent="0">
              <a:buNone/>
              <a:defRPr>
                <a:solidFill>
                  <a:srgbClr val="174489"/>
                </a:solidFill>
                <a:latin typeface="DIN Condensed" charset="0"/>
                <a:ea typeface="DIN Condensed" charset="0"/>
                <a:cs typeface="DIN Condensed" charset="0"/>
              </a:defRPr>
            </a:lvl5pPr>
          </a:lstStyle>
          <a:p>
            <a:pPr lvl="0"/>
            <a:r>
              <a:rPr lang="en-US" dirty="0"/>
              <a:t>Title comes here</a:t>
            </a:r>
          </a:p>
        </p:txBody>
      </p:sp>
    </p:spTree>
    <p:extLst>
      <p:ext uri="{BB962C8B-B14F-4D97-AF65-F5344CB8AC3E}">
        <p14:creationId xmlns:p14="http://schemas.microsoft.com/office/powerpoint/2010/main" val="777345593"/>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Picture and bullet point and foot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7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ntent Placeholder 2"/>
          <p:cNvSpPr>
            <a:spLocks noGrp="1"/>
          </p:cNvSpPr>
          <p:nvPr>
            <p:ph sz="quarter" idx="20" hasCustomPrompt="1"/>
          </p:nvPr>
        </p:nvSpPr>
        <p:spPr>
          <a:xfrm>
            <a:off x="1102768" y="589544"/>
            <a:ext cx="20234248" cy="830997"/>
          </a:xfrm>
          <a:prstGeom prst="rect">
            <a:avLst/>
          </a:prstGeom>
        </p:spPr>
        <p:txBody>
          <a:bodyPr lIns="0" tIns="0" rIns="0" bIns="0" anchor="t" anchorCtr="0">
            <a:noAutofit/>
          </a:bodyPr>
          <a:lstStyle>
            <a:lvl1pPr marL="317500" indent="0">
              <a:buNone/>
              <a:defRPr sz="5400" b="1">
                <a:solidFill>
                  <a:srgbClr val="004494"/>
                </a:solidFill>
                <a:latin typeface="Calibri" charset="0"/>
                <a:ea typeface="Calibri" charset="0"/>
                <a:cs typeface="Calibri" charset="0"/>
              </a:defRPr>
            </a:lvl1pPr>
            <a:lvl2pPr marL="762000" indent="0">
              <a:buNone/>
              <a:defRPr>
                <a:solidFill>
                  <a:srgbClr val="174489"/>
                </a:solidFill>
                <a:latin typeface="DIN Condensed" charset="0"/>
                <a:ea typeface="DIN Condensed" charset="0"/>
                <a:cs typeface="DIN Condensed" charset="0"/>
              </a:defRPr>
            </a:lvl2pPr>
            <a:lvl3pPr marL="1206500" indent="0">
              <a:buNone/>
              <a:defRPr>
                <a:solidFill>
                  <a:srgbClr val="174489"/>
                </a:solidFill>
                <a:latin typeface="DIN Condensed" charset="0"/>
                <a:ea typeface="DIN Condensed" charset="0"/>
                <a:cs typeface="DIN Condensed" charset="0"/>
              </a:defRPr>
            </a:lvl3pPr>
            <a:lvl4pPr marL="1651000" indent="0">
              <a:buNone/>
              <a:defRPr>
                <a:solidFill>
                  <a:srgbClr val="174489"/>
                </a:solidFill>
                <a:latin typeface="DIN Condensed" charset="0"/>
                <a:ea typeface="DIN Condensed" charset="0"/>
                <a:cs typeface="DIN Condensed" charset="0"/>
              </a:defRPr>
            </a:lvl4pPr>
            <a:lvl5pPr marL="2095500" indent="0">
              <a:buNone/>
              <a:defRPr>
                <a:solidFill>
                  <a:srgbClr val="174489"/>
                </a:solidFill>
                <a:latin typeface="DIN Condensed" charset="0"/>
                <a:ea typeface="DIN Condensed" charset="0"/>
                <a:cs typeface="DIN Condensed" charset="0"/>
              </a:defRPr>
            </a:lvl5pPr>
          </a:lstStyle>
          <a:p>
            <a:pPr lvl="0"/>
            <a:r>
              <a:rPr lang="en-US" dirty="0"/>
              <a:t>Title comes here</a:t>
            </a:r>
          </a:p>
        </p:txBody>
      </p:sp>
      <p:sp>
        <p:nvSpPr>
          <p:cNvPr id="13" name="Content Placeholder 2"/>
          <p:cNvSpPr>
            <a:spLocks noGrp="1"/>
          </p:cNvSpPr>
          <p:nvPr>
            <p:ph sz="quarter" idx="21" hasCustomPrompt="1"/>
          </p:nvPr>
        </p:nvSpPr>
        <p:spPr>
          <a:xfrm>
            <a:off x="1102768" y="1671169"/>
            <a:ext cx="20234248" cy="492443"/>
          </a:xfrm>
          <a:prstGeom prst="rect">
            <a:avLst/>
          </a:prstGeom>
        </p:spPr>
        <p:txBody>
          <a:bodyPr wrap="square" lIns="0" tIns="0" rIns="0" bIns="0" anchor="t" anchorCtr="0">
            <a:spAutoFit/>
          </a:bodyPr>
          <a:lstStyle>
            <a:lvl1pPr marL="317500" indent="0">
              <a:buNone/>
              <a:defRPr sz="3200" b="0" baseline="0">
                <a:solidFill>
                  <a:srgbClr val="0081C7"/>
                </a:solidFill>
                <a:latin typeface="Calibri" charset="0"/>
                <a:ea typeface="Calibri" charset="0"/>
                <a:cs typeface="Calibri" charset="0"/>
              </a:defRPr>
            </a:lvl1pPr>
            <a:lvl2pPr marL="762000" indent="0">
              <a:buNone/>
              <a:defRPr>
                <a:solidFill>
                  <a:srgbClr val="174489"/>
                </a:solidFill>
                <a:latin typeface="DIN Condensed" charset="0"/>
                <a:ea typeface="DIN Condensed" charset="0"/>
                <a:cs typeface="DIN Condensed" charset="0"/>
              </a:defRPr>
            </a:lvl2pPr>
            <a:lvl3pPr marL="1206500" indent="0">
              <a:buNone/>
              <a:defRPr>
                <a:solidFill>
                  <a:srgbClr val="174489"/>
                </a:solidFill>
                <a:latin typeface="DIN Condensed" charset="0"/>
                <a:ea typeface="DIN Condensed" charset="0"/>
                <a:cs typeface="DIN Condensed" charset="0"/>
              </a:defRPr>
            </a:lvl3pPr>
            <a:lvl4pPr marL="1651000" indent="0">
              <a:buNone/>
              <a:defRPr>
                <a:solidFill>
                  <a:srgbClr val="174489"/>
                </a:solidFill>
                <a:latin typeface="DIN Condensed" charset="0"/>
                <a:ea typeface="DIN Condensed" charset="0"/>
                <a:cs typeface="DIN Condensed" charset="0"/>
              </a:defRPr>
            </a:lvl4pPr>
            <a:lvl5pPr marL="2095500" indent="0">
              <a:buNone/>
              <a:defRPr>
                <a:solidFill>
                  <a:srgbClr val="174489"/>
                </a:solidFill>
                <a:latin typeface="DIN Condensed" charset="0"/>
                <a:ea typeface="DIN Condensed" charset="0"/>
                <a:cs typeface="DIN Condensed" charset="0"/>
              </a:defRPr>
            </a:lvl5pPr>
          </a:lstStyle>
          <a:p>
            <a:pPr lvl="0"/>
            <a:r>
              <a:rPr lang="en-US" dirty="0"/>
              <a:t>Title comes here</a:t>
            </a:r>
          </a:p>
        </p:txBody>
      </p:sp>
      <p:sp>
        <p:nvSpPr>
          <p:cNvPr id="18" name="Content Placeholder 17"/>
          <p:cNvSpPr>
            <a:spLocks noGrp="1"/>
          </p:cNvSpPr>
          <p:nvPr>
            <p:ph sz="quarter" idx="22" hasCustomPrompt="1"/>
          </p:nvPr>
        </p:nvSpPr>
        <p:spPr>
          <a:xfrm>
            <a:off x="7151440" y="12474624"/>
            <a:ext cx="10801200" cy="1008112"/>
          </a:xfrm>
          <a:prstGeom prst="rect">
            <a:avLst/>
          </a:prstGeom>
        </p:spPr>
        <p:txBody>
          <a:bodyPr/>
          <a:lstStyle>
            <a:lvl1pPr marL="317500" indent="0" algn="ctr">
              <a:buNone/>
              <a:defRPr sz="2400" baseline="0">
                <a:solidFill>
                  <a:srgbClr val="004494"/>
                </a:solidFill>
                <a:latin typeface="Calibri" charset="0"/>
                <a:ea typeface="Calibri" charset="0"/>
                <a:cs typeface="Calibri" charset="0"/>
              </a:defRPr>
            </a:lvl1pPr>
            <a:lvl2pPr marL="762000" indent="0" algn="ctr">
              <a:buNone/>
              <a:defRPr sz="2000">
                <a:solidFill>
                  <a:srgbClr val="004494"/>
                </a:solidFill>
                <a:latin typeface="Calibri" charset="0"/>
                <a:ea typeface="Calibri" charset="0"/>
                <a:cs typeface="Calibri" charset="0"/>
              </a:defRPr>
            </a:lvl2pPr>
            <a:lvl3pPr marL="1206500" indent="0" algn="ctr">
              <a:buNone/>
              <a:defRPr sz="2000">
                <a:solidFill>
                  <a:srgbClr val="004494"/>
                </a:solidFill>
                <a:latin typeface="Calibri" charset="0"/>
                <a:ea typeface="Calibri" charset="0"/>
                <a:cs typeface="Calibri" charset="0"/>
              </a:defRPr>
            </a:lvl3pPr>
            <a:lvl4pPr marL="1651000" indent="0" algn="ctr">
              <a:buNone/>
              <a:defRPr sz="2000">
                <a:solidFill>
                  <a:srgbClr val="004494"/>
                </a:solidFill>
                <a:latin typeface="Calibri" charset="0"/>
                <a:ea typeface="Calibri" charset="0"/>
                <a:cs typeface="Calibri" charset="0"/>
              </a:defRPr>
            </a:lvl4pPr>
            <a:lvl5pPr marL="2095500" indent="0" algn="ctr">
              <a:buNone/>
              <a:defRPr sz="2000">
                <a:solidFill>
                  <a:srgbClr val="004494"/>
                </a:solidFill>
                <a:latin typeface="Calibri" charset="0"/>
                <a:ea typeface="Calibri" charset="0"/>
                <a:cs typeface="Calibri" charset="0"/>
              </a:defRPr>
            </a:lvl5pPr>
          </a:lstStyle>
          <a:p>
            <a:pPr lvl="0"/>
            <a:r>
              <a:rPr lang="en-US" dirty="0"/>
              <a:t>Edit </a:t>
            </a:r>
            <a:r>
              <a:rPr lang="en-US"/>
              <a:t>here source or footer</a:t>
            </a:r>
            <a:endParaRPr lang="en-US" dirty="0"/>
          </a:p>
        </p:txBody>
      </p:sp>
      <p:sp>
        <p:nvSpPr>
          <p:cNvPr id="11" name="Slide Number Placeholder 1"/>
          <p:cNvSpPr>
            <a:spLocks noGrp="1"/>
          </p:cNvSpPr>
          <p:nvPr>
            <p:ph type="sldNum" sz="quarter" idx="4"/>
          </p:nvPr>
        </p:nvSpPr>
        <p:spPr>
          <a:xfrm>
            <a:off x="22273120" y="12639557"/>
            <a:ext cx="981584" cy="805536"/>
          </a:xfrm>
          <a:prstGeom prst="rect">
            <a:avLst/>
          </a:prstGeom>
        </p:spPr>
        <p:txBody>
          <a:bodyPr vert="horz" lIns="91440" tIns="45720" rIns="91440" bIns="45720" rtlCol="0" anchor="ctr"/>
          <a:lstStyle>
            <a:lvl1pPr algn="r">
              <a:defRPr sz="2400">
                <a:solidFill>
                  <a:srgbClr val="004494"/>
                </a:solidFill>
                <a:latin typeface="Calibri" charset="0"/>
                <a:ea typeface="Calibri" charset="0"/>
                <a:cs typeface="Calibri" charset="0"/>
              </a:defRPr>
            </a:lvl1pPr>
          </a:lstStyle>
          <a:p>
            <a:fld id="{CD1E7C23-2AAD-0D45-B01B-5A673730BB06}" type="slidenum">
              <a:rPr lang="en-US" smtClean="0"/>
              <a:pPr/>
              <a:t>‹#›</a:t>
            </a:fld>
            <a:endParaRPr lang="en-US" dirty="0"/>
          </a:p>
        </p:txBody>
      </p:sp>
      <p:sp>
        <p:nvSpPr>
          <p:cNvPr id="3" name="Picture Placeholder 2"/>
          <p:cNvSpPr>
            <a:spLocks noGrp="1"/>
          </p:cNvSpPr>
          <p:nvPr>
            <p:ph type="pic" sz="quarter" idx="25" hasCustomPrompt="1"/>
          </p:nvPr>
        </p:nvSpPr>
        <p:spPr>
          <a:xfrm>
            <a:off x="1102768" y="4608711"/>
            <a:ext cx="11089233" cy="7578526"/>
          </a:xfrm>
          <a:prstGeom prst="rect">
            <a:avLst/>
          </a:prstGeom>
        </p:spPr>
        <p:txBody>
          <a:bodyPr/>
          <a:lstStyle>
            <a:lvl1pPr>
              <a:defRPr sz="3200" baseline="0">
                <a:solidFill>
                  <a:schemeClr val="bg1">
                    <a:lumMod val="50000"/>
                  </a:schemeClr>
                </a:solidFill>
                <a:latin typeface="Calibri" charset="0"/>
                <a:ea typeface="Calibri" charset="0"/>
                <a:cs typeface="Calibri" charset="0"/>
              </a:defRPr>
            </a:lvl1pPr>
          </a:lstStyle>
          <a:p>
            <a:r>
              <a:rPr lang="en-US" dirty="0"/>
              <a:t>Screenshot of Google maps</a:t>
            </a:r>
          </a:p>
        </p:txBody>
      </p:sp>
      <p:sp>
        <p:nvSpPr>
          <p:cNvPr id="9" name="Text Placeholder 6"/>
          <p:cNvSpPr>
            <a:spLocks noGrp="1"/>
          </p:cNvSpPr>
          <p:nvPr>
            <p:ph type="body" sz="quarter" idx="24"/>
          </p:nvPr>
        </p:nvSpPr>
        <p:spPr>
          <a:xfrm>
            <a:off x="12408024" y="4608711"/>
            <a:ext cx="10880064" cy="2821285"/>
          </a:xfrm>
          <a:prstGeom prst="rect">
            <a:avLst/>
          </a:prstGeom>
        </p:spPr>
        <p:txBody>
          <a:bodyPr wrap="square" lIns="0" tIns="0" rIns="0" bIns="0" anchor="t" anchorCtr="0">
            <a:spAutoFit/>
          </a:bodyPr>
          <a:lstStyle>
            <a:lvl1pPr marL="774700" indent="-457200">
              <a:spcBef>
                <a:spcPts val="700"/>
              </a:spcBef>
              <a:buFont typeface="Arial" charset="0"/>
              <a:buChar char="•"/>
              <a:defRPr sz="3200">
                <a:solidFill>
                  <a:srgbClr val="7F7F7F"/>
                </a:solidFill>
                <a:latin typeface="Calibri" charset="0"/>
                <a:ea typeface="Calibri" charset="0"/>
                <a:cs typeface="Calibri" charset="0"/>
              </a:defRPr>
            </a:lvl1pPr>
            <a:lvl2pPr>
              <a:spcBef>
                <a:spcPts val="700"/>
              </a:spcBef>
              <a:defRPr sz="3200">
                <a:solidFill>
                  <a:srgbClr val="7F7F7F"/>
                </a:solidFill>
                <a:latin typeface="Calibri" charset="0"/>
                <a:ea typeface="Calibri" charset="0"/>
                <a:cs typeface="Calibri" charset="0"/>
              </a:defRPr>
            </a:lvl2pPr>
            <a:lvl3pPr>
              <a:spcBef>
                <a:spcPts val="700"/>
              </a:spcBef>
              <a:defRPr sz="3200">
                <a:solidFill>
                  <a:srgbClr val="7F7F7F"/>
                </a:solidFill>
                <a:latin typeface="Calibri" charset="0"/>
                <a:ea typeface="Calibri" charset="0"/>
                <a:cs typeface="Calibri" charset="0"/>
              </a:defRPr>
            </a:lvl3pPr>
            <a:lvl4pPr>
              <a:spcBef>
                <a:spcPts val="700"/>
              </a:spcBef>
              <a:defRPr sz="3200">
                <a:solidFill>
                  <a:srgbClr val="7F7F7F"/>
                </a:solidFill>
                <a:latin typeface="Calibri" charset="0"/>
                <a:ea typeface="Calibri" charset="0"/>
                <a:cs typeface="Calibri" charset="0"/>
              </a:defRPr>
            </a:lvl4pPr>
            <a:lvl5pPr marL="2552700" indent="-457200">
              <a:spcBef>
                <a:spcPts val="700"/>
              </a:spcBef>
              <a:buFont typeface="Arial" charset="0"/>
              <a:buChar char="•"/>
              <a:defRPr sz="3200">
                <a:solidFill>
                  <a:srgbClr val="7F7F7F"/>
                </a:solidFill>
                <a:latin typeface="Calibri" charset="0"/>
                <a:ea typeface="Calibri"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sz="quarter" idx="23" hasCustomPrompt="1"/>
          </p:nvPr>
        </p:nvSpPr>
        <p:spPr>
          <a:xfrm>
            <a:off x="1102768" y="3595760"/>
            <a:ext cx="22185320" cy="677108"/>
          </a:xfrm>
          <a:prstGeom prst="rect">
            <a:avLst/>
          </a:prstGeom>
        </p:spPr>
        <p:txBody>
          <a:bodyPr lIns="0" tIns="0" rIns="0" bIns="0" anchor="t" anchorCtr="0">
            <a:spAutoFit/>
          </a:bodyPr>
          <a:lstStyle>
            <a:lvl1pPr marL="317500" indent="0">
              <a:buNone/>
              <a:defRPr sz="4400" b="1" baseline="0">
                <a:solidFill>
                  <a:srgbClr val="004494"/>
                </a:solidFill>
                <a:latin typeface="Calibri" charset="0"/>
                <a:ea typeface="Calibri" charset="0"/>
                <a:cs typeface="Calibri" charset="0"/>
              </a:defRPr>
            </a:lvl1pPr>
            <a:lvl2pPr marL="762000" indent="0">
              <a:buNone/>
              <a:defRPr>
                <a:solidFill>
                  <a:srgbClr val="174489"/>
                </a:solidFill>
                <a:latin typeface="DIN Condensed" charset="0"/>
                <a:ea typeface="DIN Condensed" charset="0"/>
                <a:cs typeface="DIN Condensed" charset="0"/>
              </a:defRPr>
            </a:lvl2pPr>
            <a:lvl3pPr marL="1206500" indent="0">
              <a:buNone/>
              <a:defRPr>
                <a:solidFill>
                  <a:srgbClr val="174489"/>
                </a:solidFill>
                <a:latin typeface="DIN Condensed" charset="0"/>
                <a:ea typeface="DIN Condensed" charset="0"/>
                <a:cs typeface="DIN Condensed" charset="0"/>
              </a:defRPr>
            </a:lvl3pPr>
            <a:lvl4pPr marL="1651000" indent="0">
              <a:buNone/>
              <a:defRPr>
                <a:solidFill>
                  <a:srgbClr val="174489"/>
                </a:solidFill>
                <a:latin typeface="DIN Condensed" charset="0"/>
                <a:ea typeface="DIN Condensed" charset="0"/>
                <a:cs typeface="DIN Condensed" charset="0"/>
              </a:defRPr>
            </a:lvl4pPr>
            <a:lvl5pPr marL="2095500" indent="0">
              <a:buNone/>
              <a:defRPr>
                <a:solidFill>
                  <a:srgbClr val="174489"/>
                </a:solidFill>
                <a:latin typeface="DIN Condensed" charset="0"/>
                <a:ea typeface="DIN Condensed" charset="0"/>
                <a:cs typeface="DIN Condensed" charset="0"/>
              </a:defRPr>
            </a:lvl5pPr>
          </a:lstStyle>
          <a:p>
            <a:pPr lvl="0"/>
            <a:r>
              <a:rPr lang="en-US" dirty="0"/>
              <a:t>Title comes here</a:t>
            </a:r>
          </a:p>
        </p:txBody>
      </p:sp>
    </p:spTree>
    <p:extLst>
      <p:ext uri="{BB962C8B-B14F-4D97-AF65-F5344CB8AC3E}">
        <p14:creationId xmlns:p14="http://schemas.microsoft.com/office/powerpoint/2010/main" val="480143182"/>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2" name="Content Placeholder 2"/>
          <p:cNvSpPr>
            <a:spLocks noGrp="1"/>
          </p:cNvSpPr>
          <p:nvPr>
            <p:ph sz="quarter" idx="20" hasCustomPrompt="1"/>
          </p:nvPr>
        </p:nvSpPr>
        <p:spPr>
          <a:xfrm>
            <a:off x="1102768" y="589544"/>
            <a:ext cx="20234248" cy="830997"/>
          </a:xfrm>
          <a:prstGeom prst="rect">
            <a:avLst/>
          </a:prstGeom>
        </p:spPr>
        <p:txBody>
          <a:bodyPr lIns="0" tIns="0" rIns="0" bIns="0" anchor="t" anchorCtr="0">
            <a:noAutofit/>
          </a:bodyPr>
          <a:lstStyle>
            <a:lvl1pPr marL="317500" indent="0">
              <a:buNone/>
              <a:defRPr sz="5400" b="1">
                <a:solidFill>
                  <a:srgbClr val="004494"/>
                </a:solidFill>
                <a:latin typeface="Calibri" charset="0"/>
                <a:ea typeface="Calibri" charset="0"/>
                <a:cs typeface="Calibri" charset="0"/>
              </a:defRPr>
            </a:lvl1pPr>
            <a:lvl2pPr marL="762000" indent="0">
              <a:buNone/>
              <a:defRPr>
                <a:solidFill>
                  <a:srgbClr val="174489"/>
                </a:solidFill>
                <a:latin typeface="DIN Condensed" charset="0"/>
                <a:ea typeface="DIN Condensed" charset="0"/>
                <a:cs typeface="DIN Condensed" charset="0"/>
              </a:defRPr>
            </a:lvl2pPr>
            <a:lvl3pPr marL="1206500" indent="0">
              <a:buNone/>
              <a:defRPr>
                <a:solidFill>
                  <a:srgbClr val="174489"/>
                </a:solidFill>
                <a:latin typeface="DIN Condensed" charset="0"/>
                <a:ea typeface="DIN Condensed" charset="0"/>
                <a:cs typeface="DIN Condensed" charset="0"/>
              </a:defRPr>
            </a:lvl3pPr>
            <a:lvl4pPr marL="1651000" indent="0">
              <a:buNone/>
              <a:defRPr>
                <a:solidFill>
                  <a:srgbClr val="174489"/>
                </a:solidFill>
                <a:latin typeface="DIN Condensed" charset="0"/>
                <a:ea typeface="DIN Condensed" charset="0"/>
                <a:cs typeface="DIN Condensed" charset="0"/>
              </a:defRPr>
            </a:lvl4pPr>
            <a:lvl5pPr marL="2095500" indent="0">
              <a:buNone/>
              <a:defRPr>
                <a:solidFill>
                  <a:srgbClr val="174489"/>
                </a:solidFill>
                <a:latin typeface="DIN Condensed" charset="0"/>
                <a:ea typeface="DIN Condensed" charset="0"/>
                <a:cs typeface="DIN Condensed" charset="0"/>
              </a:defRPr>
            </a:lvl5pPr>
          </a:lstStyle>
          <a:p>
            <a:pPr lvl="0"/>
            <a:r>
              <a:rPr lang="en-US" dirty="0"/>
              <a:t>Title comes here</a:t>
            </a:r>
          </a:p>
        </p:txBody>
      </p:sp>
      <p:sp>
        <p:nvSpPr>
          <p:cNvPr id="13" name="Content Placeholder 2"/>
          <p:cNvSpPr>
            <a:spLocks noGrp="1"/>
          </p:cNvSpPr>
          <p:nvPr>
            <p:ph sz="quarter" idx="21" hasCustomPrompt="1"/>
          </p:nvPr>
        </p:nvSpPr>
        <p:spPr>
          <a:xfrm>
            <a:off x="1102768" y="1671169"/>
            <a:ext cx="20234248" cy="492443"/>
          </a:xfrm>
          <a:prstGeom prst="rect">
            <a:avLst/>
          </a:prstGeom>
        </p:spPr>
        <p:txBody>
          <a:bodyPr wrap="square" lIns="0" tIns="0" rIns="0" bIns="0" anchor="t" anchorCtr="0">
            <a:spAutoFit/>
          </a:bodyPr>
          <a:lstStyle>
            <a:lvl1pPr marL="317500" indent="0">
              <a:buNone/>
              <a:defRPr sz="3200" b="0" baseline="0">
                <a:solidFill>
                  <a:srgbClr val="0081C7"/>
                </a:solidFill>
                <a:latin typeface="Calibri" charset="0"/>
                <a:ea typeface="Calibri" charset="0"/>
                <a:cs typeface="Calibri" charset="0"/>
              </a:defRPr>
            </a:lvl1pPr>
            <a:lvl2pPr marL="762000" indent="0">
              <a:buNone/>
              <a:defRPr>
                <a:solidFill>
                  <a:srgbClr val="174489"/>
                </a:solidFill>
                <a:latin typeface="DIN Condensed" charset="0"/>
                <a:ea typeface="DIN Condensed" charset="0"/>
                <a:cs typeface="DIN Condensed" charset="0"/>
              </a:defRPr>
            </a:lvl2pPr>
            <a:lvl3pPr marL="1206500" indent="0">
              <a:buNone/>
              <a:defRPr>
                <a:solidFill>
                  <a:srgbClr val="174489"/>
                </a:solidFill>
                <a:latin typeface="DIN Condensed" charset="0"/>
                <a:ea typeface="DIN Condensed" charset="0"/>
                <a:cs typeface="DIN Condensed" charset="0"/>
              </a:defRPr>
            </a:lvl3pPr>
            <a:lvl4pPr marL="1651000" indent="0">
              <a:buNone/>
              <a:defRPr>
                <a:solidFill>
                  <a:srgbClr val="174489"/>
                </a:solidFill>
                <a:latin typeface="DIN Condensed" charset="0"/>
                <a:ea typeface="DIN Condensed" charset="0"/>
                <a:cs typeface="DIN Condensed" charset="0"/>
              </a:defRPr>
            </a:lvl4pPr>
            <a:lvl5pPr marL="2095500" indent="0">
              <a:buNone/>
              <a:defRPr>
                <a:solidFill>
                  <a:srgbClr val="174489"/>
                </a:solidFill>
                <a:latin typeface="DIN Condensed" charset="0"/>
                <a:ea typeface="DIN Condensed" charset="0"/>
                <a:cs typeface="DIN Condensed" charset="0"/>
              </a:defRPr>
            </a:lvl5pPr>
          </a:lstStyle>
          <a:p>
            <a:pPr lvl="0"/>
            <a:r>
              <a:rPr lang="en-US" dirty="0"/>
              <a:t>Title comes here</a:t>
            </a:r>
          </a:p>
        </p:txBody>
      </p:sp>
      <p:sp>
        <p:nvSpPr>
          <p:cNvPr id="18" name="Content Placeholder 17"/>
          <p:cNvSpPr>
            <a:spLocks noGrp="1"/>
          </p:cNvSpPr>
          <p:nvPr>
            <p:ph sz="quarter" idx="22" hasCustomPrompt="1"/>
          </p:nvPr>
        </p:nvSpPr>
        <p:spPr>
          <a:xfrm>
            <a:off x="7151440" y="12474624"/>
            <a:ext cx="10801200" cy="1008112"/>
          </a:xfrm>
          <a:prstGeom prst="rect">
            <a:avLst/>
          </a:prstGeom>
        </p:spPr>
        <p:txBody>
          <a:bodyPr/>
          <a:lstStyle>
            <a:lvl1pPr marL="317500" indent="0" algn="ctr">
              <a:buNone/>
              <a:defRPr sz="2400" baseline="0">
                <a:solidFill>
                  <a:srgbClr val="004494"/>
                </a:solidFill>
                <a:latin typeface="Calibri" charset="0"/>
                <a:ea typeface="Calibri" charset="0"/>
                <a:cs typeface="Calibri" charset="0"/>
              </a:defRPr>
            </a:lvl1pPr>
            <a:lvl2pPr marL="762000" indent="0" algn="ctr">
              <a:buNone/>
              <a:defRPr sz="2000">
                <a:solidFill>
                  <a:srgbClr val="004494"/>
                </a:solidFill>
                <a:latin typeface="Calibri" charset="0"/>
                <a:ea typeface="Calibri" charset="0"/>
                <a:cs typeface="Calibri" charset="0"/>
              </a:defRPr>
            </a:lvl2pPr>
            <a:lvl3pPr marL="1206500" indent="0" algn="ctr">
              <a:buNone/>
              <a:defRPr sz="2000">
                <a:solidFill>
                  <a:srgbClr val="004494"/>
                </a:solidFill>
                <a:latin typeface="Calibri" charset="0"/>
                <a:ea typeface="Calibri" charset="0"/>
                <a:cs typeface="Calibri" charset="0"/>
              </a:defRPr>
            </a:lvl3pPr>
            <a:lvl4pPr marL="1651000" indent="0" algn="ctr">
              <a:buNone/>
              <a:defRPr sz="2000">
                <a:solidFill>
                  <a:srgbClr val="004494"/>
                </a:solidFill>
                <a:latin typeface="Calibri" charset="0"/>
                <a:ea typeface="Calibri" charset="0"/>
                <a:cs typeface="Calibri" charset="0"/>
              </a:defRPr>
            </a:lvl4pPr>
            <a:lvl5pPr marL="2095500" indent="0" algn="ctr">
              <a:buNone/>
              <a:defRPr sz="2000">
                <a:solidFill>
                  <a:srgbClr val="004494"/>
                </a:solidFill>
                <a:latin typeface="Calibri" charset="0"/>
                <a:ea typeface="Calibri" charset="0"/>
                <a:cs typeface="Calibri" charset="0"/>
              </a:defRPr>
            </a:lvl5pPr>
          </a:lstStyle>
          <a:p>
            <a:pPr lvl="0"/>
            <a:r>
              <a:rPr lang="en-US" dirty="0"/>
              <a:t>Edit </a:t>
            </a:r>
            <a:r>
              <a:rPr lang="en-US"/>
              <a:t>here source or footer</a:t>
            </a:r>
            <a:endParaRPr lang="en-US" dirty="0"/>
          </a:p>
        </p:txBody>
      </p:sp>
      <p:sp>
        <p:nvSpPr>
          <p:cNvPr id="11" name="Slide Number Placeholder 1"/>
          <p:cNvSpPr>
            <a:spLocks noGrp="1"/>
          </p:cNvSpPr>
          <p:nvPr>
            <p:ph type="sldNum" sz="quarter" idx="4"/>
          </p:nvPr>
        </p:nvSpPr>
        <p:spPr>
          <a:xfrm>
            <a:off x="22273120" y="12639557"/>
            <a:ext cx="981584" cy="805536"/>
          </a:xfrm>
          <a:prstGeom prst="rect">
            <a:avLst/>
          </a:prstGeom>
        </p:spPr>
        <p:txBody>
          <a:bodyPr vert="horz" lIns="91440" tIns="45720" rIns="91440" bIns="45720" rtlCol="0" anchor="ctr"/>
          <a:lstStyle>
            <a:lvl1pPr algn="r">
              <a:defRPr sz="2400">
                <a:solidFill>
                  <a:srgbClr val="004494"/>
                </a:solidFill>
                <a:latin typeface="Calibri" charset="0"/>
                <a:ea typeface="Calibri" charset="0"/>
                <a:cs typeface="Calibri" charset="0"/>
              </a:defRPr>
            </a:lvl1pPr>
          </a:lstStyle>
          <a:p>
            <a:fld id="{CD1E7C23-2AAD-0D45-B01B-5A673730BB06}" type="slidenum">
              <a:rPr lang="en-US" smtClean="0"/>
              <a:pPr/>
              <a:t>‹#›</a:t>
            </a:fld>
            <a:endParaRPr lang="en-US" dirty="0"/>
          </a:p>
        </p:txBody>
      </p:sp>
      <p:sp>
        <p:nvSpPr>
          <p:cNvPr id="15" name="Text Placeholder 6"/>
          <p:cNvSpPr>
            <a:spLocks noGrp="1"/>
          </p:cNvSpPr>
          <p:nvPr>
            <p:ph type="body" sz="quarter" idx="24"/>
          </p:nvPr>
        </p:nvSpPr>
        <p:spPr>
          <a:xfrm>
            <a:off x="1102768" y="4121150"/>
            <a:ext cx="22185320" cy="4821833"/>
          </a:xfrm>
          <a:prstGeom prst="rect">
            <a:avLst/>
          </a:prstGeom>
        </p:spPr>
        <p:txBody>
          <a:bodyPr wrap="square" lIns="0" tIns="0" rIns="0" bIns="0" anchor="t" anchorCtr="0">
            <a:spAutoFit/>
          </a:bodyPr>
          <a:lstStyle>
            <a:lvl1pPr marL="774700" indent="-457200">
              <a:buFont typeface="Arial" charset="0"/>
              <a:buChar char="•"/>
              <a:defRPr sz="2800">
                <a:solidFill>
                  <a:srgbClr val="7F7F7F"/>
                </a:solidFill>
                <a:latin typeface="Calibri" charset="0"/>
                <a:ea typeface="Calibri" charset="0"/>
                <a:cs typeface="Calibri" charset="0"/>
              </a:defRPr>
            </a:lvl1pPr>
            <a:lvl2pPr>
              <a:defRPr sz="2800">
                <a:solidFill>
                  <a:srgbClr val="7F7F7F"/>
                </a:solidFill>
                <a:latin typeface="Calibri" charset="0"/>
                <a:ea typeface="Calibri" charset="0"/>
                <a:cs typeface="Calibri" charset="0"/>
              </a:defRPr>
            </a:lvl2pPr>
            <a:lvl3pPr>
              <a:defRPr sz="2800">
                <a:solidFill>
                  <a:srgbClr val="7F7F7F"/>
                </a:solidFill>
                <a:latin typeface="Calibri" charset="0"/>
                <a:ea typeface="Calibri" charset="0"/>
                <a:cs typeface="Calibri" charset="0"/>
              </a:defRPr>
            </a:lvl3pPr>
            <a:lvl4pPr>
              <a:defRPr sz="2800">
                <a:solidFill>
                  <a:srgbClr val="7F7F7F"/>
                </a:solidFill>
                <a:latin typeface="Calibri" charset="0"/>
                <a:ea typeface="Calibri" charset="0"/>
                <a:cs typeface="Calibri" charset="0"/>
              </a:defRPr>
            </a:lvl4pPr>
            <a:lvl5pPr marL="2552700" indent="-457200">
              <a:buFont typeface="Arial" charset="0"/>
              <a:buChar char="•"/>
              <a:defRPr sz="2800">
                <a:solidFill>
                  <a:srgbClr val="7F7F7F"/>
                </a:solidFill>
                <a:latin typeface="Calibri" charset="0"/>
                <a:ea typeface="Calibri"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45528238"/>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2" name="Content Placeholder 2"/>
          <p:cNvSpPr>
            <a:spLocks noGrp="1"/>
          </p:cNvSpPr>
          <p:nvPr>
            <p:ph sz="quarter" idx="20" hasCustomPrompt="1"/>
          </p:nvPr>
        </p:nvSpPr>
        <p:spPr>
          <a:xfrm>
            <a:off x="1102768" y="589544"/>
            <a:ext cx="20234248" cy="830997"/>
          </a:xfrm>
          <a:prstGeom prst="rect">
            <a:avLst/>
          </a:prstGeom>
        </p:spPr>
        <p:txBody>
          <a:bodyPr lIns="0" tIns="0" rIns="0" bIns="0" anchor="t" anchorCtr="0">
            <a:noAutofit/>
          </a:bodyPr>
          <a:lstStyle>
            <a:lvl1pPr marL="317500" indent="0">
              <a:buNone/>
              <a:defRPr sz="5400" b="1">
                <a:solidFill>
                  <a:srgbClr val="004494"/>
                </a:solidFill>
                <a:latin typeface="Calibri" charset="0"/>
                <a:ea typeface="Calibri" charset="0"/>
                <a:cs typeface="Calibri" charset="0"/>
              </a:defRPr>
            </a:lvl1pPr>
            <a:lvl2pPr marL="762000" indent="0">
              <a:buNone/>
              <a:defRPr>
                <a:solidFill>
                  <a:srgbClr val="174489"/>
                </a:solidFill>
                <a:latin typeface="DIN Condensed" charset="0"/>
                <a:ea typeface="DIN Condensed" charset="0"/>
                <a:cs typeface="DIN Condensed" charset="0"/>
              </a:defRPr>
            </a:lvl2pPr>
            <a:lvl3pPr marL="1206500" indent="0">
              <a:buNone/>
              <a:defRPr>
                <a:solidFill>
                  <a:srgbClr val="174489"/>
                </a:solidFill>
                <a:latin typeface="DIN Condensed" charset="0"/>
                <a:ea typeface="DIN Condensed" charset="0"/>
                <a:cs typeface="DIN Condensed" charset="0"/>
              </a:defRPr>
            </a:lvl3pPr>
            <a:lvl4pPr marL="1651000" indent="0">
              <a:buNone/>
              <a:defRPr>
                <a:solidFill>
                  <a:srgbClr val="174489"/>
                </a:solidFill>
                <a:latin typeface="DIN Condensed" charset="0"/>
                <a:ea typeface="DIN Condensed" charset="0"/>
                <a:cs typeface="DIN Condensed" charset="0"/>
              </a:defRPr>
            </a:lvl4pPr>
            <a:lvl5pPr marL="2095500" indent="0">
              <a:buNone/>
              <a:defRPr>
                <a:solidFill>
                  <a:srgbClr val="174489"/>
                </a:solidFill>
                <a:latin typeface="DIN Condensed" charset="0"/>
                <a:ea typeface="DIN Condensed" charset="0"/>
                <a:cs typeface="DIN Condensed" charset="0"/>
              </a:defRPr>
            </a:lvl5pPr>
          </a:lstStyle>
          <a:p>
            <a:pPr lvl="0"/>
            <a:r>
              <a:rPr lang="en-US" dirty="0"/>
              <a:t>Title comes here</a:t>
            </a:r>
          </a:p>
        </p:txBody>
      </p:sp>
      <p:sp>
        <p:nvSpPr>
          <p:cNvPr id="13" name="Content Placeholder 2"/>
          <p:cNvSpPr>
            <a:spLocks noGrp="1"/>
          </p:cNvSpPr>
          <p:nvPr>
            <p:ph sz="quarter" idx="21" hasCustomPrompt="1"/>
          </p:nvPr>
        </p:nvSpPr>
        <p:spPr>
          <a:xfrm>
            <a:off x="1102768" y="1671169"/>
            <a:ext cx="20234248" cy="492443"/>
          </a:xfrm>
          <a:prstGeom prst="rect">
            <a:avLst/>
          </a:prstGeom>
        </p:spPr>
        <p:txBody>
          <a:bodyPr wrap="square" lIns="0" tIns="0" rIns="0" bIns="0" anchor="t" anchorCtr="0">
            <a:spAutoFit/>
          </a:bodyPr>
          <a:lstStyle>
            <a:lvl1pPr marL="317500" indent="0">
              <a:buNone/>
              <a:defRPr sz="3200" b="0" baseline="0">
                <a:solidFill>
                  <a:srgbClr val="0081C7"/>
                </a:solidFill>
                <a:latin typeface="Calibri" charset="0"/>
                <a:ea typeface="Calibri" charset="0"/>
                <a:cs typeface="Calibri" charset="0"/>
              </a:defRPr>
            </a:lvl1pPr>
            <a:lvl2pPr marL="762000" indent="0">
              <a:buNone/>
              <a:defRPr>
                <a:solidFill>
                  <a:srgbClr val="174489"/>
                </a:solidFill>
                <a:latin typeface="DIN Condensed" charset="0"/>
                <a:ea typeface="DIN Condensed" charset="0"/>
                <a:cs typeface="DIN Condensed" charset="0"/>
              </a:defRPr>
            </a:lvl2pPr>
            <a:lvl3pPr marL="1206500" indent="0">
              <a:buNone/>
              <a:defRPr>
                <a:solidFill>
                  <a:srgbClr val="174489"/>
                </a:solidFill>
                <a:latin typeface="DIN Condensed" charset="0"/>
                <a:ea typeface="DIN Condensed" charset="0"/>
                <a:cs typeface="DIN Condensed" charset="0"/>
              </a:defRPr>
            </a:lvl3pPr>
            <a:lvl4pPr marL="1651000" indent="0">
              <a:buNone/>
              <a:defRPr>
                <a:solidFill>
                  <a:srgbClr val="174489"/>
                </a:solidFill>
                <a:latin typeface="DIN Condensed" charset="0"/>
                <a:ea typeface="DIN Condensed" charset="0"/>
                <a:cs typeface="DIN Condensed" charset="0"/>
              </a:defRPr>
            </a:lvl4pPr>
            <a:lvl5pPr marL="2095500" indent="0">
              <a:buNone/>
              <a:defRPr>
                <a:solidFill>
                  <a:srgbClr val="174489"/>
                </a:solidFill>
                <a:latin typeface="DIN Condensed" charset="0"/>
                <a:ea typeface="DIN Condensed" charset="0"/>
                <a:cs typeface="DIN Condensed" charset="0"/>
              </a:defRPr>
            </a:lvl5pPr>
          </a:lstStyle>
          <a:p>
            <a:pPr lvl="0"/>
            <a:r>
              <a:rPr lang="en-US" dirty="0"/>
              <a:t>Title comes here</a:t>
            </a:r>
          </a:p>
        </p:txBody>
      </p:sp>
      <p:sp>
        <p:nvSpPr>
          <p:cNvPr id="18" name="Content Placeholder 17"/>
          <p:cNvSpPr>
            <a:spLocks noGrp="1"/>
          </p:cNvSpPr>
          <p:nvPr>
            <p:ph sz="quarter" idx="22" hasCustomPrompt="1"/>
          </p:nvPr>
        </p:nvSpPr>
        <p:spPr>
          <a:xfrm>
            <a:off x="7151440" y="12474624"/>
            <a:ext cx="10801200" cy="1008112"/>
          </a:xfrm>
          <a:prstGeom prst="rect">
            <a:avLst/>
          </a:prstGeom>
        </p:spPr>
        <p:txBody>
          <a:bodyPr/>
          <a:lstStyle>
            <a:lvl1pPr marL="317500" indent="0" algn="ctr">
              <a:buNone/>
              <a:defRPr sz="2400" baseline="0">
                <a:solidFill>
                  <a:srgbClr val="004494"/>
                </a:solidFill>
                <a:latin typeface="Calibri" charset="0"/>
                <a:ea typeface="Calibri" charset="0"/>
                <a:cs typeface="Calibri" charset="0"/>
              </a:defRPr>
            </a:lvl1pPr>
            <a:lvl2pPr marL="762000" indent="0" algn="ctr">
              <a:buNone/>
              <a:defRPr sz="2000">
                <a:solidFill>
                  <a:srgbClr val="004494"/>
                </a:solidFill>
                <a:latin typeface="Calibri" charset="0"/>
                <a:ea typeface="Calibri" charset="0"/>
                <a:cs typeface="Calibri" charset="0"/>
              </a:defRPr>
            </a:lvl2pPr>
            <a:lvl3pPr marL="1206500" indent="0" algn="ctr">
              <a:buNone/>
              <a:defRPr sz="2000">
                <a:solidFill>
                  <a:srgbClr val="004494"/>
                </a:solidFill>
                <a:latin typeface="Calibri" charset="0"/>
                <a:ea typeface="Calibri" charset="0"/>
                <a:cs typeface="Calibri" charset="0"/>
              </a:defRPr>
            </a:lvl3pPr>
            <a:lvl4pPr marL="1651000" indent="0" algn="ctr">
              <a:buNone/>
              <a:defRPr sz="2000">
                <a:solidFill>
                  <a:srgbClr val="004494"/>
                </a:solidFill>
                <a:latin typeface="Calibri" charset="0"/>
                <a:ea typeface="Calibri" charset="0"/>
                <a:cs typeface="Calibri" charset="0"/>
              </a:defRPr>
            </a:lvl4pPr>
            <a:lvl5pPr marL="2095500" indent="0" algn="ctr">
              <a:buNone/>
              <a:defRPr sz="2000">
                <a:solidFill>
                  <a:srgbClr val="004494"/>
                </a:solidFill>
                <a:latin typeface="Calibri" charset="0"/>
                <a:ea typeface="Calibri" charset="0"/>
                <a:cs typeface="Calibri" charset="0"/>
              </a:defRPr>
            </a:lvl5pPr>
          </a:lstStyle>
          <a:p>
            <a:pPr lvl="0"/>
            <a:r>
              <a:rPr lang="en-US" dirty="0"/>
              <a:t>Edit </a:t>
            </a:r>
            <a:r>
              <a:rPr lang="en-US"/>
              <a:t>here source or footer</a:t>
            </a:r>
            <a:endParaRPr lang="en-US" dirty="0"/>
          </a:p>
        </p:txBody>
      </p:sp>
      <p:sp>
        <p:nvSpPr>
          <p:cNvPr id="11" name="Slide Number Placeholder 1"/>
          <p:cNvSpPr>
            <a:spLocks noGrp="1"/>
          </p:cNvSpPr>
          <p:nvPr>
            <p:ph type="sldNum" sz="quarter" idx="4"/>
          </p:nvPr>
        </p:nvSpPr>
        <p:spPr>
          <a:xfrm>
            <a:off x="22273120" y="12639557"/>
            <a:ext cx="981584" cy="805536"/>
          </a:xfrm>
          <a:prstGeom prst="rect">
            <a:avLst/>
          </a:prstGeom>
        </p:spPr>
        <p:txBody>
          <a:bodyPr vert="horz" lIns="91440" tIns="45720" rIns="91440" bIns="45720" rtlCol="0" anchor="ctr"/>
          <a:lstStyle>
            <a:lvl1pPr algn="r">
              <a:defRPr sz="2400">
                <a:solidFill>
                  <a:srgbClr val="004494"/>
                </a:solidFill>
                <a:latin typeface="Calibri" charset="0"/>
                <a:ea typeface="Calibri" charset="0"/>
                <a:cs typeface="Calibri" charset="0"/>
              </a:defRPr>
            </a:lvl1pPr>
          </a:lstStyle>
          <a:p>
            <a:fld id="{CD1E7C23-2AAD-0D45-B01B-5A673730BB06}" type="slidenum">
              <a:rPr lang="en-US" smtClean="0"/>
              <a:pPr/>
              <a:t>‹#›</a:t>
            </a:fld>
            <a:endParaRPr lang="en-US" dirty="0"/>
          </a:p>
        </p:txBody>
      </p:sp>
      <p:sp>
        <p:nvSpPr>
          <p:cNvPr id="15" name="Text Placeholder 6"/>
          <p:cNvSpPr>
            <a:spLocks noGrp="1"/>
          </p:cNvSpPr>
          <p:nvPr>
            <p:ph type="body" sz="quarter" idx="24"/>
          </p:nvPr>
        </p:nvSpPr>
        <p:spPr>
          <a:xfrm>
            <a:off x="12696056" y="3833664"/>
            <a:ext cx="10441757" cy="4821833"/>
          </a:xfrm>
          <a:prstGeom prst="rect">
            <a:avLst/>
          </a:prstGeom>
        </p:spPr>
        <p:txBody>
          <a:bodyPr wrap="square" lIns="0" tIns="0" rIns="0" bIns="0" anchor="t" anchorCtr="0">
            <a:spAutoFit/>
          </a:bodyPr>
          <a:lstStyle>
            <a:lvl1pPr marL="774700" indent="-457200">
              <a:buFont typeface="Arial" charset="0"/>
              <a:buChar char="•"/>
              <a:defRPr sz="2800">
                <a:solidFill>
                  <a:srgbClr val="7F7F7F"/>
                </a:solidFill>
                <a:latin typeface="Calibri" charset="0"/>
                <a:ea typeface="Calibri" charset="0"/>
                <a:cs typeface="Calibri" charset="0"/>
              </a:defRPr>
            </a:lvl1pPr>
            <a:lvl2pPr>
              <a:defRPr sz="2800">
                <a:solidFill>
                  <a:srgbClr val="7F7F7F"/>
                </a:solidFill>
                <a:latin typeface="Calibri" charset="0"/>
                <a:ea typeface="Calibri" charset="0"/>
                <a:cs typeface="Calibri" charset="0"/>
              </a:defRPr>
            </a:lvl2pPr>
            <a:lvl3pPr>
              <a:defRPr sz="2800">
                <a:solidFill>
                  <a:srgbClr val="7F7F7F"/>
                </a:solidFill>
                <a:latin typeface="Calibri" charset="0"/>
                <a:ea typeface="Calibri" charset="0"/>
                <a:cs typeface="Calibri" charset="0"/>
              </a:defRPr>
            </a:lvl3pPr>
            <a:lvl4pPr>
              <a:defRPr sz="2800">
                <a:solidFill>
                  <a:srgbClr val="7F7F7F"/>
                </a:solidFill>
                <a:latin typeface="Calibri" charset="0"/>
                <a:ea typeface="Calibri" charset="0"/>
                <a:cs typeface="Calibri" charset="0"/>
              </a:defRPr>
            </a:lvl4pPr>
            <a:lvl5pPr marL="2552700" indent="-457200">
              <a:buFont typeface="Arial" charset="0"/>
              <a:buChar char="•"/>
              <a:defRPr sz="2800">
                <a:solidFill>
                  <a:srgbClr val="7F7F7F"/>
                </a:solidFill>
                <a:latin typeface="Calibri" charset="0"/>
                <a:ea typeface="Calibri"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Picture Placeholder 2"/>
          <p:cNvSpPr>
            <a:spLocks noGrp="1"/>
          </p:cNvSpPr>
          <p:nvPr>
            <p:ph type="pic" sz="quarter" idx="25" hasCustomPrompt="1"/>
          </p:nvPr>
        </p:nvSpPr>
        <p:spPr>
          <a:xfrm>
            <a:off x="1390650" y="3833814"/>
            <a:ext cx="10801351" cy="8353424"/>
          </a:xfrm>
          <a:prstGeom prst="rect">
            <a:avLst/>
          </a:prstGeom>
        </p:spPr>
        <p:txBody>
          <a:bodyPr/>
          <a:lstStyle>
            <a:lvl1pPr>
              <a:defRPr sz="3200" baseline="0">
                <a:solidFill>
                  <a:schemeClr val="bg1">
                    <a:lumMod val="50000"/>
                  </a:schemeClr>
                </a:solidFill>
                <a:latin typeface="Calibri" charset="0"/>
                <a:ea typeface="Calibri" charset="0"/>
                <a:cs typeface="Calibri" charset="0"/>
              </a:defRPr>
            </a:lvl1pPr>
          </a:lstStyle>
          <a:p>
            <a:r>
              <a:rPr lang="en-US" dirty="0"/>
              <a:t>Screenshot of Google maps</a:t>
            </a:r>
          </a:p>
        </p:txBody>
      </p:sp>
    </p:spTree>
    <p:extLst>
      <p:ext uri="{BB962C8B-B14F-4D97-AF65-F5344CB8AC3E}">
        <p14:creationId xmlns:p14="http://schemas.microsoft.com/office/powerpoint/2010/main" val="1882484575"/>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7" name="Content Placeholder 2"/>
          <p:cNvSpPr>
            <a:spLocks noGrp="1"/>
          </p:cNvSpPr>
          <p:nvPr>
            <p:ph sz="quarter" idx="23" hasCustomPrompt="1"/>
          </p:nvPr>
        </p:nvSpPr>
        <p:spPr>
          <a:xfrm>
            <a:off x="1102768" y="3595760"/>
            <a:ext cx="22185320" cy="492443"/>
          </a:xfrm>
          <a:prstGeom prst="rect">
            <a:avLst/>
          </a:prstGeom>
        </p:spPr>
        <p:txBody>
          <a:bodyPr lIns="0" tIns="0" rIns="0" bIns="0" anchor="t" anchorCtr="0">
            <a:spAutoFit/>
          </a:bodyPr>
          <a:lstStyle>
            <a:lvl1pPr marL="317500" indent="0">
              <a:buNone/>
              <a:defRPr sz="3200" b="1" baseline="0">
                <a:solidFill>
                  <a:srgbClr val="004494"/>
                </a:solidFill>
                <a:latin typeface="Calibri" charset="0"/>
                <a:ea typeface="Calibri" charset="0"/>
                <a:cs typeface="Calibri" charset="0"/>
              </a:defRPr>
            </a:lvl1pPr>
            <a:lvl2pPr marL="762000" indent="0">
              <a:buNone/>
              <a:defRPr>
                <a:solidFill>
                  <a:srgbClr val="174489"/>
                </a:solidFill>
                <a:latin typeface="DIN Condensed" charset="0"/>
                <a:ea typeface="DIN Condensed" charset="0"/>
                <a:cs typeface="DIN Condensed" charset="0"/>
              </a:defRPr>
            </a:lvl2pPr>
            <a:lvl3pPr marL="1206500" indent="0">
              <a:buNone/>
              <a:defRPr>
                <a:solidFill>
                  <a:srgbClr val="174489"/>
                </a:solidFill>
                <a:latin typeface="DIN Condensed" charset="0"/>
                <a:ea typeface="DIN Condensed" charset="0"/>
                <a:cs typeface="DIN Condensed" charset="0"/>
              </a:defRPr>
            </a:lvl3pPr>
            <a:lvl4pPr marL="1651000" indent="0">
              <a:buNone/>
              <a:defRPr>
                <a:solidFill>
                  <a:srgbClr val="174489"/>
                </a:solidFill>
                <a:latin typeface="DIN Condensed" charset="0"/>
                <a:ea typeface="DIN Condensed" charset="0"/>
                <a:cs typeface="DIN Condensed" charset="0"/>
              </a:defRPr>
            </a:lvl4pPr>
            <a:lvl5pPr marL="2095500" indent="0">
              <a:buNone/>
              <a:defRPr>
                <a:solidFill>
                  <a:srgbClr val="174489"/>
                </a:solidFill>
                <a:latin typeface="DIN Condensed" charset="0"/>
                <a:ea typeface="DIN Condensed" charset="0"/>
                <a:cs typeface="DIN Condensed" charset="0"/>
              </a:defRPr>
            </a:lvl5pPr>
          </a:lstStyle>
          <a:p>
            <a:pPr lvl="0"/>
            <a:r>
              <a:rPr lang="en-US" dirty="0"/>
              <a:t>Title comes here</a:t>
            </a:r>
          </a:p>
        </p:txBody>
      </p:sp>
      <p:sp>
        <p:nvSpPr>
          <p:cNvPr id="11" name="Slide Number Placeholder 1"/>
          <p:cNvSpPr>
            <a:spLocks noGrp="1"/>
          </p:cNvSpPr>
          <p:nvPr>
            <p:ph type="sldNum" sz="quarter" idx="4"/>
          </p:nvPr>
        </p:nvSpPr>
        <p:spPr>
          <a:xfrm>
            <a:off x="22273120" y="12639557"/>
            <a:ext cx="981584" cy="805536"/>
          </a:xfrm>
          <a:prstGeom prst="rect">
            <a:avLst/>
          </a:prstGeom>
        </p:spPr>
        <p:txBody>
          <a:bodyPr vert="horz" lIns="91440" tIns="45720" rIns="91440" bIns="45720" rtlCol="0" anchor="ctr"/>
          <a:lstStyle>
            <a:lvl1pPr algn="r">
              <a:defRPr sz="2400">
                <a:solidFill>
                  <a:srgbClr val="004494"/>
                </a:solidFill>
                <a:latin typeface="Calibri" charset="0"/>
                <a:ea typeface="Calibri" charset="0"/>
                <a:cs typeface="Calibri" charset="0"/>
              </a:defRPr>
            </a:lvl1pPr>
          </a:lstStyle>
          <a:p>
            <a:fld id="{CD1E7C23-2AAD-0D45-B01B-5A673730BB06}" type="slidenum">
              <a:rPr lang="en-US" smtClean="0"/>
              <a:pPr/>
              <a:t>‹#›</a:t>
            </a:fld>
            <a:endParaRPr lang="en-US" dirty="0"/>
          </a:p>
        </p:txBody>
      </p:sp>
      <p:sp>
        <p:nvSpPr>
          <p:cNvPr id="17" name="Text Placeholder 6"/>
          <p:cNvSpPr>
            <a:spLocks noGrp="1"/>
          </p:cNvSpPr>
          <p:nvPr>
            <p:ph type="body" sz="quarter" idx="24"/>
          </p:nvPr>
        </p:nvSpPr>
        <p:spPr>
          <a:xfrm>
            <a:off x="1102768" y="4121150"/>
            <a:ext cx="22185320" cy="4821833"/>
          </a:xfrm>
          <a:prstGeom prst="rect">
            <a:avLst/>
          </a:prstGeom>
        </p:spPr>
        <p:txBody>
          <a:bodyPr wrap="square" lIns="0" tIns="0" rIns="0" bIns="0" anchor="t" anchorCtr="0">
            <a:spAutoFit/>
          </a:bodyPr>
          <a:lstStyle>
            <a:lvl1pPr marL="774700" indent="-457200">
              <a:buFont typeface="Arial" charset="0"/>
              <a:buChar char="•"/>
              <a:defRPr sz="2800">
                <a:solidFill>
                  <a:srgbClr val="7F7F7F"/>
                </a:solidFill>
                <a:latin typeface="Calibri" charset="0"/>
                <a:ea typeface="Calibri" charset="0"/>
                <a:cs typeface="Calibri" charset="0"/>
              </a:defRPr>
            </a:lvl1pPr>
            <a:lvl2pPr>
              <a:defRPr sz="2800">
                <a:solidFill>
                  <a:srgbClr val="7F7F7F"/>
                </a:solidFill>
                <a:latin typeface="Calibri" charset="0"/>
                <a:ea typeface="Calibri" charset="0"/>
                <a:cs typeface="Calibri" charset="0"/>
              </a:defRPr>
            </a:lvl2pPr>
            <a:lvl3pPr>
              <a:defRPr sz="2800">
                <a:solidFill>
                  <a:srgbClr val="7F7F7F"/>
                </a:solidFill>
                <a:latin typeface="Calibri" charset="0"/>
                <a:ea typeface="Calibri" charset="0"/>
                <a:cs typeface="Calibri" charset="0"/>
              </a:defRPr>
            </a:lvl3pPr>
            <a:lvl4pPr>
              <a:defRPr sz="2800">
                <a:solidFill>
                  <a:srgbClr val="7F7F7F"/>
                </a:solidFill>
                <a:latin typeface="Calibri" charset="0"/>
                <a:ea typeface="Calibri" charset="0"/>
                <a:cs typeface="Calibri" charset="0"/>
              </a:defRPr>
            </a:lvl4pPr>
            <a:lvl5pPr marL="2552700" indent="-457200">
              <a:buFont typeface="Arial" charset="0"/>
              <a:buChar char="•"/>
              <a:defRPr sz="2800">
                <a:solidFill>
                  <a:srgbClr val="7F7F7F"/>
                </a:solidFill>
                <a:latin typeface="Calibri" charset="0"/>
                <a:ea typeface="Calibri" charset="0"/>
                <a:cs typeface="Calibri"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2"/>
          <p:cNvSpPr>
            <a:spLocks noGrp="1"/>
          </p:cNvSpPr>
          <p:nvPr>
            <p:ph sz="quarter" idx="20" hasCustomPrompt="1"/>
          </p:nvPr>
        </p:nvSpPr>
        <p:spPr>
          <a:xfrm>
            <a:off x="1102768" y="589544"/>
            <a:ext cx="20234248" cy="830997"/>
          </a:xfrm>
          <a:prstGeom prst="rect">
            <a:avLst/>
          </a:prstGeom>
        </p:spPr>
        <p:txBody>
          <a:bodyPr lIns="0" tIns="0" rIns="0" bIns="0" anchor="t" anchorCtr="0">
            <a:noAutofit/>
          </a:bodyPr>
          <a:lstStyle>
            <a:lvl1pPr marL="317500" indent="0">
              <a:buNone/>
              <a:defRPr sz="5400" b="1">
                <a:solidFill>
                  <a:srgbClr val="004494"/>
                </a:solidFill>
                <a:latin typeface="Calibri" charset="0"/>
                <a:ea typeface="Calibri" charset="0"/>
                <a:cs typeface="Calibri" charset="0"/>
              </a:defRPr>
            </a:lvl1pPr>
            <a:lvl2pPr marL="762000" indent="0">
              <a:buNone/>
              <a:defRPr>
                <a:solidFill>
                  <a:srgbClr val="174489"/>
                </a:solidFill>
                <a:latin typeface="DIN Condensed" charset="0"/>
                <a:ea typeface="DIN Condensed" charset="0"/>
                <a:cs typeface="DIN Condensed" charset="0"/>
              </a:defRPr>
            </a:lvl2pPr>
            <a:lvl3pPr marL="1206500" indent="0">
              <a:buNone/>
              <a:defRPr>
                <a:solidFill>
                  <a:srgbClr val="174489"/>
                </a:solidFill>
                <a:latin typeface="DIN Condensed" charset="0"/>
                <a:ea typeface="DIN Condensed" charset="0"/>
                <a:cs typeface="DIN Condensed" charset="0"/>
              </a:defRPr>
            </a:lvl3pPr>
            <a:lvl4pPr marL="1651000" indent="0">
              <a:buNone/>
              <a:defRPr>
                <a:solidFill>
                  <a:srgbClr val="174489"/>
                </a:solidFill>
                <a:latin typeface="DIN Condensed" charset="0"/>
                <a:ea typeface="DIN Condensed" charset="0"/>
                <a:cs typeface="DIN Condensed" charset="0"/>
              </a:defRPr>
            </a:lvl4pPr>
            <a:lvl5pPr marL="2095500" indent="0">
              <a:buNone/>
              <a:defRPr>
                <a:solidFill>
                  <a:srgbClr val="174489"/>
                </a:solidFill>
                <a:latin typeface="DIN Condensed" charset="0"/>
                <a:ea typeface="DIN Condensed" charset="0"/>
                <a:cs typeface="DIN Condensed" charset="0"/>
              </a:defRPr>
            </a:lvl5pPr>
          </a:lstStyle>
          <a:p>
            <a:pPr lvl="0"/>
            <a:r>
              <a:rPr lang="en-US" dirty="0"/>
              <a:t>Title comes here</a:t>
            </a:r>
          </a:p>
        </p:txBody>
      </p:sp>
      <p:sp>
        <p:nvSpPr>
          <p:cNvPr id="20" name="Content Placeholder 2"/>
          <p:cNvSpPr>
            <a:spLocks noGrp="1"/>
          </p:cNvSpPr>
          <p:nvPr>
            <p:ph sz="quarter" idx="21" hasCustomPrompt="1"/>
          </p:nvPr>
        </p:nvSpPr>
        <p:spPr>
          <a:xfrm>
            <a:off x="1102768" y="1671169"/>
            <a:ext cx="20234248" cy="492443"/>
          </a:xfrm>
          <a:prstGeom prst="rect">
            <a:avLst/>
          </a:prstGeom>
        </p:spPr>
        <p:txBody>
          <a:bodyPr wrap="square" lIns="0" tIns="0" rIns="0" bIns="0" anchor="t" anchorCtr="0">
            <a:spAutoFit/>
          </a:bodyPr>
          <a:lstStyle>
            <a:lvl1pPr marL="317500" indent="0">
              <a:buNone/>
              <a:defRPr sz="3200" b="0" baseline="0">
                <a:solidFill>
                  <a:srgbClr val="0081C7"/>
                </a:solidFill>
                <a:latin typeface="Calibri" charset="0"/>
                <a:ea typeface="Calibri" charset="0"/>
                <a:cs typeface="Calibri" charset="0"/>
              </a:defRPr>
            </a:lvl1pPr>
            <a:lvl2pPr marL="762000" indent="0">
              <a:buNone/>
              <a:defRPr>
                <a:solidFill>
                  <a:srgbClr val="174489"/>
                </a:solidFill>
                <a:latin typeface="DIN Condensed" charset="0"/>
                <a:ea typeface="DIN Condensed" charset="0"/>
                <a:cs typeface="DIN Condensed" charset="0"/>
              </a:defRPr>
            </a:lvl2pPr>
            <a:lvl3pPr marL="1206500" indent="0">
              <a:buNone/>
              <a:defRPr>
                <a:solidFill>
                  <a:srgbClr val="174489"/>
                </a:solidFill>
                <a:latin typeface="DIN Condensed" charset="0"/>
                <a:ea typeface="DIN Condensed" charset="0"/>
                <a:cs typeface="DIN Condensed" charset="0"/>
              </a:defRPr>
            </a:lvl3pPr>
            <a:lvl4pPr marL="1651000" indent="0">
              <a:buNone/>
              <a:defRPr>
                <a:solidFill>
                  <a:srgbClr val="174489"/>
                </a:solidFill>
                <a:latin typeface="DIN Condensed" charset="0"/>
                <a:ea typeface="DIN Condensed" charset="0"/>
                <a:cs typeface="DIN Condensed" charset="0"/>
              </a:defRPr>
            </a:lvl4pPr>
            <a:lvl5pPr marL="2095500" indent="0">
              <a:buNone/>
              <a:defRPr>
                <a:solidFill>
                  <a:srgbClr val="174489"/>
                </a:solidFill>
                <a:latin typeface="DIN Condensed" charset="0"/>
                <a:ea typeface="DIN Condensed" charset="0"/>
                <a:cs typeface="DIN Condensed" charset="0"/>
              </a:defRPr>
            </a:lvl5pPr>
          </a:lstStyle>
          <a:p>
            <a:pPr lvl="0"/>
            <a:r>
              <a:rPr lang="en-US" dirty="0"/>
              <a:t>Title comes here</a:t>
            </a:r>
          </a:p>
        </p:txBody>
      </p:sp>
    </p:spTree>
    <p:extLst>
      <p:ext uri="{BB962C8B-B14F-4D97-AF65-F5344CB8AC3E}">
        <p14:creationId xmlns:p14="http://schemas.microsoft.com/office/powerpoint/2010/main" val="1896383894"/>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CD1E7C23-2AAD-0D45-B01B-5A673730BB06}" type="slidenum">
              <a:rPr lang="en-US" smtClean="0"/>
              <a:pPr/>
              <a:t>‹#›</a:t>
            </a:fld>
            <a:endParaRPr lang="en-US" dirty="0"/>
          </a:p>
        </p:txBody>
      </p:sp>
      <p:sp>
        <p:nvSpPr>
          <p:cNvPr id="9" name="Content Placeholder 2"/>
          <p:cNvSpPr>
            <a:spLocks noGrp="1"/>
          </p:cNvSpPr>
          <p:nvPr>
            <p:ph sz="quarter" idx="20" hasCustomPrompt="1"/>
          </p:nvPr>
        </p:nvSpPr>
        <p:spPr>
          <a:xfrm>
            <a:off x="1102768" y="589544"/>
            <a:ext cx="20234248" cy="830997"/>
          </a:xfrm>
          <a:prstGeom prst="rect">
            <a:avLst/>
          </a:prstGeom>
        </p:spPr>
        <p:txBody>
          <a:bodyPr lIns="0" tIns="0" rIns="0" bIns="0" anchor="t" anchorCtr="0">
            <a:noAutofit/>
          </a:bodyPr>
          <a:lstStyle>
            <a:lvl1pPr marL="317500" indent="0">
              <a:buNone/>
              <a:defRPr sz="5400" b="1">
                <a:solidFill>
                  <a:srgbClr val="004494"/>
                </a:solidFill>
                <a:latin typeface="Calibri" charset="0"/>
                <a:ea typeface="Calibri" charset="0"/>
                <a:cs typeface="Calibri" charset="0"/>
              </a:defRPr>
            </a:lvl1pPr>
            <a:lvl2pPr marL="762000" indent="0">
              <a:buNone/>
              <a:defRPr>
                <a:solidFill>
                  <a:srgbClr val="174489"/>
                </a:solidFill>
                <a:latin typeface="DIN Condensed" charset="0"/>
                <a:ea typeface="DIN Condensed" charset="0"/>
                <a:cs typeface="DIN Condensed" charset="0"/>
              </a:defRPr>
            </a:lvl2pPr>
            <a:lvl3pPr marL="1206500" indent="0">
              <a:buNone/>
              <a:defRPr>
                <a:solidFill>
                  <a:srgbClr val="174489"/>
                </a:solidFill>
                <a:latin typeface="DIN Condensed" charset="0"/>
                <a:ea typeface="DIN Condensed" charset="0"/>
                <a:cs typeface="DIN Condensed" charset="0"/>
              </a:defRPr>
            </a:lvl3pPr>
            <a:lvl4pPr marL="1651000" indent="0">
              <a:buNone/>
              <a:defRPr>
                <a:solidFill>
                  <a:srgbClr val="174489"/>
                </a:solidFill>
                <a:latin typeface="DIN Condensed" charset="0"/>
                <a:ea typeface="DIN Condensed" charset="0"/>
                <a:cs typeface="DIN Condensed" charset="0"/>
              </a:defRPr>
            </a:lvl4pPr>
            <a:lvl5pPr marL="2095500" indent="0">
              <a:buNone/>
              <a:defRPr>
                <a:solidFill>
                  <a:srgbClr val="174489"/>
                </a:solidFill>
                <a:latin typeface="DIN Condensed" charset="0"/>
                <a:ea typeface="DIN Condensed" charset="0"/>
                <a:cs typeface="DIN Condensed" charset="0"/>
              </a:defRPr>
            </a:lvl5pPr>
          </a:lstStyle>
          <a:p>
            <a:pPr lvl="0"/>
            <a:r>
              <a:rPr lang="en-US" dirty="0"/>
              <a:t>Title comes here</a:t>
            </a:r>
          </a:p>
        </p:txBody>
      </p:sp>
      <p:sp>
        <p:nvSpPr>
          <p:cNvPr id="10" name="Content Placeholder 2"/>
          <p:cNvSpPr>
            <a:spLocks noGrp="1"/>
          </p:cNvSpPr>
          <p:nvPr>
            <p:ph sz="quarter" idx="21" hasCustomPrompt="1"/>
          </p:nvPr>
        </p:nvSpPr>
        <p:spPr>
          <a:xfrm>
            <a:off x="1102768" y="1671169"/>
            <a:ext cx="20234248" cy="492443"/>
          </a:xfrm>
          <a:prstGeom prst="rect">
            <a:avLst/>
          </a:prstGeom>
        </p:spPr>
        <p:txBody>
          <a:bodyPr wrap="square" lIns="0" tIns="0" rIns="0" bIns="0" anchor="t" anchorCtr="0">
            <a:spAutoFit/>
          </a:bodyPr>
          <a:lstStyle>
            <a:lvl1pPr marL="317500" indent="0">
              <a:buNone/>
              <a:defRPr sz="3200" b="0" baseline="0">
                <a:solidFill>
                  <a:srgbClr val="0081C7"/>
                </a:solidFill>
                <a:latin typeface="Calibri" charset="0"/>
                <a:ea typeface="Calibri" charset="0"/>
                <a:cs typeface="Calibri" charset="0"/>
              </a:defRPr>
            </a:lvl1pPr>
            <a:lvl2pPr marL="762000" indent="0">
              <a:buNone/>
              <a:defRPr>
                <a:solidFill>
                  <a:srgbClr val="174489"/>
                </a:solidFill>
                <a:latin typeface="DIN Condensed" charset="0"/>
                <a:ea typeface="DIN Condensed" charset="0"/>
                <a:cs typeface="DIN Condensed" charset="0"/>
              </a:defRPr>
            </a:lvl2pPr>
            <a:lvl3pPr marL="1206500" indent="0">
              <a:buNone/>
              <a:defRPr>
                <a:solidFill>
                  <a:srgbClr val="174489"/>
                </a:solidFill>
                <a:latin typeface="DIN Condensed" charset="0"/>
                <a:ea typeface="DIN Condensed" charset="0"/>
                <a:cs typeface="DIN Condensed" charset="0"/>
              </a:defRPr>
            </a:lvl3pPr>
            <a:lvl4pPr marL="1651000" indent="0">
              <a:buNone/>
              <a:defRPr>
                <a:solidFill>
                  <a:srgbClr val="174489"/>
                </a:solidFill>
                <a:latin typeface="DIN Condensed" charset="0"/>
                <a:ea typeface="DIN Condensed" charset="0"/>
                <a:cs typeface="DIN Condensed" charset="0"/>
              </a:defRPr>
            </a:lvl4pPr>
            <a:lvl5pPr marL="2095500" indent="0">
              <a:buNone/>
              <a:defRPr>
                <a:solidFill>
                  <a:srgbClr val="174489"/>
                </a:solidFill>
                <a:latin typeface="DIN Condensed" charset="0"/>
                <a:ea typeface="DIN Condensed" charset="0"/>
                <a:cs typeface="DIN Condensed" charset="0"/>
              </a:defRPr>
            </a:lvl5pPr>
          </a:lstStyle>
          <a:p>
            <a:pPr lvl="0"/>
            <a:r>
              <a:rPr lang="en-US" dirty="0"/>
              <a:t>Title comes here</a:t>
            </a:r>
          </a:p>
        </p:txBody>
      </p:sp>
    </p:spTree>
    <p:extLst>
      <p:ext uri="{BB962C8B-B14F-4D97-AF65-F5344CB8AC3E}">
        <p14:creationId xmlns:p14="http://schemas.microsoft.com/office/powerpoint/2010/main" val="584447771"/>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265" y="575542"/>
            <a:ext cx="24393263" cy="11391652"/>
          </a:xfrm>
          <a:prstGeom prst="rect">
            <a:avLst/>
          </a:prstGeom>
        </p:spPr>
      </p:pic>
      <p:sp>
        <p:nvSpPr>
          <p:cNvPr id="16" name="Rectangle 15"/>
          <p:cNvSpPr/>
          <p:nvPr userDrawn="1"/>
        </p:nvSpPr>
        <p:spPr bwMode="auto">
          <a:xfrm rot="10800000">
            <a:off x="9263" y="2089529"/>
            <a:ext cx="24384000" cy="9886009"/>
          </a:xfrm>
          <a:prstGeom prst="rect">
            <a:avLst/>
          </a:prstGeom>
          <a:gradFill>
            <a:gsLst>
              <a:gs pos="0">
                <a:srgbClr val="004494"/>
              </a:gs>
              <a:gs pos="100000">
                <a:srgbClr val="3DA7AB">
                  <a:alpha val="58431"/>
                </a:srgbClr>
              </a:gs>
            </a:gsLst>
            <a:lin ang="10800000" scaled="1"/>
          </a:gra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600" b="0" i="0" u="none" strike="noStrike" cap="none" normalizeH="0" baseline="0">
              <a:ln>
                <a:noFill/>
              </a:ln>
              <a:solidFill>
                <a:srgbClr val="000000"/>
              </a:solidFill>
              <a:effectLst/>
              <a:latin typeface="Gill Sans" charset="0"/>
              <a:ea typeface="Heiti SC Light" charset="0"/>
              <a:cs typeface="Heiti SC Light" charset="0"/>
              <a:sym typeface="Gill Sans" charset="0"/>
            </a:endParaRPr>
          </a:p>
        </p:txBody>
      </p:sp>
      <p:sp>
        <p:nvSpPr>
          <p:cNvPr id="11" name="Freeform 10"/>
          <p:cNvSpPr/>
          <p:nvPr userDrawn="1"/>
        </p:nvSpPr>
        <p:spPr bwMode="auto">
          <a:xfrm>
            <a:off x="0" y="-10981"/>
            <a:ext cx="24384000" cy="3892266"/>
          </a:xfrm>
          <a:custGeom>
            <a:avLst/>
            <a:gdLst>
              <a:gd name="connsiteX0" fmla="*/ 0 w 24418548"/>
              <a:gd name="connsiteY0" fmla="*/ 0 h 3892266"/>
              <a:gd name="connsiteX1" fmla="*/ 24418548 w 24418548"/>
              <a:gd name="connsiteY1" fmla="*/ 0 h 3892266"/>
              <a:gd name="connsiteX2" fmla="*/ 24418548 w 24418548"/>
              <a:gd name="connsiteY2" fmla="*/ 3683623 h 3892266"/>
              <a:gd name="connsiteX3" fmla="*/ 24402436 w 24418548"/>
              <a:gd name="connsiteY3" fmla="*/ 3875134 h 3892266"/>
              <a:gd name="connsiteX4" fmla="*/ 24398756 w 24418548"/>
              <a:gd name="connsiteY4" fmla="*/ 3892266 h 3892266"/>
              <a:gd name="connsiteX5" fmla="*/ 24382888 w 24418548"/>
              <a:gd name="connsiteY5" fmla="*/ 3818330 h 3892266"/>
              <a:gd name="connsiteX6" fmla="*/ 23625324 w 24418548"/>
              <a:gd name="connsiteY6" fmla="*/ 3150650 h 3892266"/>
              <a:gd name="connsiteX7" fmla="*/ 793227 w 24418548"/>
              <a:gd name="connsiteY7" fmla="*/ 3150650 h 3892266"/>
              <a:gd name="connsiteX8" fmla="*/ 705272 w 24418548"/>
              <a:gd name="connsiteY8" fmla="*/ 3159284 h 3892266"/>
              <a:gd name="connsiteX9" fmla="*/ 705272 w 24418548"/>
              <a:gd name="connsiteY9" fmla="*/ 3132974 h 3892266"/>
              <a:gd name="connsiteX10" fmla="*/ 580188 w 24418548"/>
              <a:gd name="connsiteY10" fmla="*/ 3109877 h 3892266"/>
              <a:gd name="connsiteX11" fmla="*/ 15965 w 24418548"/>
              <a:gd name="connsiteY11" fmla="*/ 2509488 h 3892266"/>
              <a:gd name="connsiteX12" fmla="*/ 6371 w 24418548"/>
              <a:gd name="connsiteY12" fmla="*/ 2414301 h 3892266"/>
              <a:gd name="connsiteX13" fmla="*/ 0 w 24418548"/>
              <a:gd name="connsiteY13" fmla="*/ 2414301 h 3892266"/>
              <a:gd name="connsiteX0" fmla="*/ 0 w 24418548"/>
              <a:gd name="connsiteY0" fmla="*/ 0 h 3892266"/>
              <a:gd name="connsiteX1" fmla="*/ 24418548 w 24418548"/>
              <a:gd name="connsiteY1" fmla="*/ 0 h 3892266"/>
              <a:gd name="connsiteX2" fmla="*/ 24418548 w 24418548"/>
              <a:gd name="connsiteY2" fmla="*/ 3683623 h 3892266"/>
              <a:gd name="connsiteX3" fmla="*/ 24402436 w 24418548"/>
              <a:gd name="connsiteY3" fmla="*/ 3875134 h 3892266"/>
              <a:gd name="connsiteX4" fmla="*/ 24398756 w 24418548"/>
              <a:gd name="connsiteY4" fmla="*/ 3892266 h 3892266"/>
              <a:gd name="connsiteX5" fmla="*/ 24382888 w 24418548"/>
              <a:gd name="connsiteY5" fmla="*/ 3818330 h 3892266"/>
              <a:gd name="connsiteX6" fmla="*/ 23625324 w 24418548"/>
              <a:gd name="connsiteY6" fmla="*/ 3150650 h 3892266"/>
              <a:gd name="connsiteX7" fmla="*/ 793227 w 24418548"/>
              <a:gd name="connsiteY7" fmla="*/ 3150650 h 3892266"/>
              <a:gd name="connsiteX8" fmla="*/ 705272 w 24418548"/>
              <a:gd name="connsiteY8" fmla="*/ 3159284 h 3892266"/>
              <a:gd name="connsiteX9" fmla="*/ 628381 w 24418548"/>
              <a:gd name="connsiteY9" fmla="*/ 3447081 h 3892266"/>
              <a:gd name="connsiteX10" fmla="*/ 580188 w 24418548"/>
              <a:gd name="connsiteY10" fmla="*/ 3109877 h 3892266"/>
              <a:gd name="connsiteX11" fmla="*/ 15965 w 24418548"/>
              <a:gd name="connsiteY11" fmla="*/ 2509488 h 3892266"/>
              <a:gd name="connsiteX12" fmla="*/ 6371 w 24418548"/>
              <a:gd name="connsiteY12" fmla="*/ 2414301 h 3892266"/>
              <a:gd name="connsiteX13" fmla="*/ 0 w 24418548"/>
              <a:gd name="connsiteY13" fmla="*/ 2414301 h 3892266"/>
              <a:gd name="connsiteX14" fmla="*/ 0 w 24418548"/>
              <a:gd name="connsiteY14" fmla="*/ 0 h 3892266"/>
              <a:gd name="connsiteX0" fmla="*/ 0 w 24418548"/>
              <a:gd name="connsiteY0" fmla="*/ 0 h 3892266"/>
              <a:gd name="connsiteX1" fmla="*/ 24418548 w 24418548"/>
              <a:gd name="connsiteY1" fmla="*/ 0 h 3892266"/>
              <a:gd name="connsiteX2" fmla="*/ 24418548 w 24418548"/>
              <a:gd name="connsiteY2" fmla="*/ 3683623 h 3892266"/>
              <a:gd name="connsiteX3" fmla="*/ 24402436 w 24418548"/>
              <a:gd name="connsiteY3" fmla="*/ 3875134 h 3892266"/>
              <a:gd name="connsiteX4" fmla="*/ 24398756 w 24418548"/>
              <a:gd name="connsiteY4" fmla="*/ 3892266 h 3892266"/>
              <a:gd name="connsiteX5" fmla="*/ 24382888 w 24418548"/>
              <a:gd name="connsiteY5" fmla="*/ 3818330 h 3892266"/>
              <a:gd name="connsiteX6" fmla="*/ 23625324 w 24418548"/>
              <a:gd name="connsiteY6" fmla="*/ 3150650 h 3892266"/>
              <a:gd name="connsiteX7" fmla="*/ 793227 w 24418548"/>
              <a:gd name="connsiteY7" fmla="*/ 3150650 h 3892266"/>
              <a:gd name="connsiteX8" fmla="*/ 705272 w 24418548"/>
              <a:gd name="connsiteY8" fmla="*/ 3159284 h 3892266"/>
              <a:gd name="connsiteX9" fmla="*/ 580188 w 24418548"/>
              <a:gd name="connsiteY9" fmla="*/ 3109877 h 3892266"/>
              <a:gd name="connsiteX10" fmla="*/ 15965 w 24418548"/>
              <a:gd name="connsiteY10" fmla="*/ 2509488 h 3892266"/>
              <a:gd name="connsiteX11" fmla="*/ 6371 w 24418548"/>
              <a:gd name="connsiteY11" fmla="*/ 2414301 h 3892266"/>
              <a:gd name="connsiteX12" fmla="*/ 0 w 24418548"/>
              <a:gd name="connsiteY12" fmla="*/ 2414301 h 3892266"/>
              <a:gd name="connsiteX13" fmla="*/ 0 w 24418548"/>
              <a:gd name="connsiteY13" fmla="*/ 0 h 3892266"/>
              <a:gd name="connsiteX0" fmla="*/ 0 w 24418548"/>
              <a:gd name="connsiteY0" fmla="*/ 0 h 3892266"/>
              <a:gd name="connsiteX1" fmla="*/ 24418548 w 24418548"/>
              <a:gd name="connsiteY1" fmla="*/ 0 h 3892266"/>
              <a:gd name="connsiteX2" fmla="*/ 24418548 w 24418548"/>
              <a:gd name="connsiteY2" fmla="*/ 3683623 h 3892266"/>
              <a:gd name="connsiteX3" fmla="*/ 24402436 w 24418548"/>
              <a:gd name="connsiteY3" fmla="*/ 3875134 h 3892266"/>
              <a:gd name="connsiteX4" fmla="*/ 24398756 w 24418548"/>
              <a:gd name="connsiteY4" fmla="*/ 3892266 h 3892266"/>
              <a:gd name="connsiteX5" fmla="*/ 24382888 w 24418548"/>
              <a:gd name="connsiteY5" fmla="*/ 3818330 h 3892266"/>
              <a:gd name="connsiteX6" fmla="*/ 23625324 w 24418548"/>
              <a:gd name="connsiteY6" fmla="*/ 3150650 h 3892266"/>
              <a:gd name="connsiteX7" fmla="*/ 793227 w 24418548"/>
              <a:gd name="connsiteY7" fmla="*/ 3150650 h 3892266"/>
              <a:gd name="connsiteX8" fmla="*/ 705272 w 24418548"/>
              <a:gd name="connsiteY8" fmla="*/ 3173245 h 3892266"/>
              <a:gd name="connsiteX9" fmla="*/ 580188 w 24418548"/>
              <a:gd name="connsiteY9" fmla="*/ 3109877 h 3892266"/>
              <a:gd name="connsiteX10" fmla="*/ 15965 w 24418548"/>
              <a:gd name="connsiteY10" fmla="*/ 2509488 h 3892266"/>
              <a:gd name="connsiteX11" fmla="*/ 6371 w 24418548"/>
              <a:gd name="connsiteY11" fmla="*/ 2414301 h 3892266"/>
              <a:gd name="connsiteX12" fmla="*/ 0 w 24418548"/>
              <a:gd name="connsiteY12" fmla="*/ 2414301 h 3892266"/>
              <a:gd name="connsiteX13" fmla="*/ 0 w 24418548"/>
              <a:gd name="connsiteY13" fmla="*/ 0 h 3892266"/>
              <a:gd name="connsiteX0" fmla="*/ 0 w 24418548"/>
              <a:gd name="connsiteY0" fmla="*/ 0 h 3892266"/>
              <a:gd name="connsiteX1" fmla="*/ 24418548 w 24418548"/>
              <a:gd name="connsiteY1" fmla="*/ 0 h 3892266"/>
              <a:gd name="connsiteX2" fmla="*/ 24418548 w 24418548"/>
              <a:gd name="connsiteY2" fmla="*/ 3683623 h 3892266"/>
              <a:gd name="connsiteX3" fmla="*/ 24402436 w 24418548"/>
              <a:gd name="connsiteY3" fmla="*/ 3875134 h 3892266"/>
              <a:gd name="connsiteX4" fmla="*/ 24398756 w 24418548"/>
              <a:gd name="connsiteY4" fmla="*/ 3892266 h 3892266"/>
              <a:gd name="connsiteX5" fmla="*/ 24382888 w 24418548"/>
              <a:gd name="connsiteY5" fmla="*/ 3818330 h 3892266"/>
              <a:gd name="connsiteX6" fmla="*/ 23625324 w 24418548"/>
              <a:gd name="connsiteY6" fmla="*/ 3150650 h 3892266"/>
              <a:gd name="connsiteX7" fmla="*/ 793227 w 24418548"/>
              <a:gd name="connsiteY7" fmla="*/ 3150650 h 3892266"/>
              <a:gd name="connsiteX8" fmla="*/ 580188 w 24418548"/>
              <a:gd name="connsiteY8" fmla="*/ 3109877 h 3892266"/>
              <a:gd name="connsiteX9" fmla="*/ 15965 w 24418548"/>
              <a:gd name="connsiteY9" fmla="*/ 2509488 h 3892266"/>
              <a:gd name="connsiteX10" fmla="*/ 6371 w 24418548"/>
              <a:gd name="connsiteY10" fmla="*/ 2414301 h 3892266"/>
              <a:gd name="connsiteX11" fmla="*/ 0 w 24418548"/>
              <a:gd name="connsiteY11" fmla="*/ 2414301 h 3892266"/>
              <a:gd name="connsiteX12" fmla="*/ 0 w 24418548"/>
              <a:gd name="connsiteY12" fmla="*/ 0 h 3892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418548" h="3892266">
                <a:moveTo>
                  <a:pt x="0" y="0"/>
                </a:moveTo>
                <a:lnTo>
                  <a:pt x="24418548" y="0"/>
                </a:lnTo>
                <a:lnTo>
                  <a:pt x="24418548" y="3683623"/>
                </a:lnTo>
                <a:cubicBezTo>
                  <a:pt x="24418548" y="3749226"/>
                  <a:pt x="24413000" y="3813274"/>
                  <a:pt x="24402436" y="3875134"/>
                </a:cubicBezTo>
                <a:lnTo>
                  <a:pt x="24398756" y="3892266"/>
                </a:lnTo>
                <a:lnTo>
                  <a:pt x="24382888" y="3818330"/>
                </a:lnTo>
                <a:cubicBezTo>
                  <a:pt x="24282456" y="3431510"/>
                  <a:pt x="23981268" y="3150650"/>
                  <a:pt x="23625324" y="3150650"/>
                </a:cubicBezTo>
                <a:lnTo>
                  <a:pt x="793227" y="3150650"/>
                </a:lnTo>
                <a:lnTo>
                  <a:pt x="580188" y="3109877"/>
                </a:lnTo>
                <a:cubicBezTo>
                  <a:pt x="295899" y="3032945"/>
                  <a:pt x="75517" y="2800509"/>
                  <a:pt x="15965" y="2509488"/>
                </a:cubicBezTo>
                <a:lnTo>
                  <a:pt x="6371" y="2414301"/>
                </a:lnTo>
                <a:lnTo>
                  <a:pt x="0" y="2414301"/>
                </a:lnTo>
                <a:lnTo>
                  <a:pt x="0" y="0"/>
                </a:lnTo>
                <a:close/>
              </a:path>
            </a:pathLst>
          </a:custGeom>
          <a:solidFill>
            <a:schemeClr val="bg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600" b="0" i="0" u="none" strike="noStrike" cap="none" normalizeH="0" baseline="0" smtClean="0">
              <a:ln>
                <a:noFill/>
              </a:ln>
              <a:solidFill>
                <a:srgbClr val="000000"/>
              </a:solidFill>
              <a:effectLst/>
              <a:latin typeface="Gill Sans" charset="0"/>
              <a:ea typeface="Heiti SC Light" charset="0"/>
              <a:cs typeface="Heiti SC Light" charset="0"/>
              <a:sym typeface="Gill Sans" charset="0"/>
            </a:endParaRPr>
          </a:p>
        </p:txBody>
      </p:sp>
      <p:sp>
        <p:nvSpPr>
          <p:cNvPr id="3" name="Slide Number Placeholder 2"/>
          <p:cNvSpPr>
            <a:spLocks noGrp="1"/>
          </p:cNvSpPr>
          <p:nvPr>
            <p:ph type="sldNum" sz="quarter" idx="10"/>
          </p:nvPr>
        </p:nvSpPr>
        <p:spPr/>
        <p:txBody>
          <a:bodyPr/>
          <a:lstStyle/>
          <a:p>
            <a:fld id="{CD1E7C23-2AAD-0D45-B01B-5A673730BB06}" type="slidenum">
              <a:rPr lang="en-US" smtClean="0"/>
              <a:pPr/>
              <a:t>‹#›</a:t>
            </a:fld>
            <a:endParaRPr lang="en-US" dirty="0"/>
          </a:p>
        </p:txBody>
      </p:sp>
      <p:sp>
        <p:nvSpPr>
          <p:cNvPr id="9" name="Content Placeholder 2"/>
          <p:cNvSpPr>
            <a:spLocks noGrp="1"/>
          </p:cNvSpPr>
          <p:nvPr>
            <p:ph sz="quarter" idx="20" hasCustomPrompt="1"/>
          </p:nvPr>
        </p:nvSpPr>
        <p:spPr>
          <a:xfrm>
            <a:off x="1102768" y="589544"/>
            <a:ext cx="20234248" cy="830997"/>
          </a:xfrm>
          <a:prstGeom prst="rect">
            <a:avLst/>
          </a:prstGeom>
        </p:spPr>
        <p:txBody>
          <a:bodyPr lIns="0" tIns="0" rIns="0" bIns="0" anchor="t" anchorCtr="0">
            <a:noAutofit/>
          </a:bodyPr>
          <a:lstStyle>
            <a:lvl1pPr marL="317500" indent="0">
              <a:buNone/>
              <a:defRPr sz="5400" b="1">
                <a:solidFill>
                  <a:srgbClr val="004494"/>
                </a:solidFill>
                <a:latin typeface="Calibri" charset="0"/>
                <a:ea typeface="Calibri" charset="0"/>
                <a:cs typeface="Calibri" charset="0"/>
              </a:defRPr>
            </a:lvl1pPr>
            <a:lvl2pPr marL="762000" indent="0">
              <a:buNone/>
              <a:defRPr>
                <a:solidFill>
                  <a:srgbClr val="174489"/>
                </a:solidFill>
                <a:latin typeface="DIN Condensed" charset="0"/>
                <a:ea typeface="DIN Condensed" charset="0"/>
                <a:cs typeface="DIN Condensed" charset="0"/>
              </a:defRPr>
            </a:lvl2pPr>
            <a:lvl3pPr marL="1206500" indent="0">
              <a:buNone/>
              <a:defRPr>
                <a:solidFill>
                  <a:srgbClr val="174489"/>
                </a:solidFill>
                <a:latin typeface="DIN Condensed" charset="0"/>
                <a:ea typeface="DIN Condensed" charset="0"/>
                <a:cs typeface="DIN Condensed" charset="0"/>
              </a:defRPr>
            </a:lvl3pPr>
            <a:lvl4pPr marL="1651000" indent="0">
              <a:buNone/>
              <a:defRPr>
                <a:solidFill>
                  <a:srgbClr val="174489"/>
                </a:solidFill>
                <a:latin typeface="DIN Condensed" charset="0"/>
                <a:ea typeface="DIN Condensed" charset="0"/>
                <a:cs typeface="DIN Condensed" charset="0"/>
              </a:defRPr>
            </a:lvl4pPr>
            <a:lvl5pPr marL="2095500" indent="0">
              <a:buNone/>
              <a:defRPr>
                <a:solidFill>
                  <a:srgbClr val="174489"/>
                </a:solidFill>
                <a:latin typeface="DIN Condensed" charset="0"/>
                <a:ea typeface="DIN Condensed" charset="0"/>
                <a:cs typeface="DIN Condensed" charset="0"/>
              </a:defRPr>
            </a:lvl5pPr>
          </a:lstStyle>
          <a:p>
            <a:pPr lvl="0"/>
            <a:r>
              <a:rPr lang="en-US" dirty="0"/>
              <a:t>Title comes here</a:t>
            </a:r>
          </a:p>
        </p:txBody>
      </p:sp>
      <p:sp>
        <p:nvSpPr>
          <p:cNvPr id="10" name="Content Placeholder 2"/>
          <p:cNvSpPr>
            <a:spLocks noGrp="1"/>
          </p:cNvSpPr>
          <p:nvPr>
            <p:ph sz="quarter" idx="21" hasCustomPrompt="1"/>
          </p:nvPr>
        </p:nvSpPr>
        <p:spPr>
          <a:xfrm>
            <a:off x="1102768" y="1671169"/>
            <a:ext cx="20234248" cy="492443"/>
          </a:xfrm>
          <a:prstGeom prst="rect">
            <a:avLst/>
          </a:prstGeom>
        </p:spPr>
        <p:txBody>
          <a:bodyPr wrap="square" lIns="0" tIns="0" rIns="0" bIns="0" anchor="t" anchorCtr="0">
            <a:spAutoFit/>
          </a:bodyPr>
          <a:lstStyle>
            <a:lvl1pPr marL="317500" indent="0">
              <a:buNone/>
              <a:defRPr sz="3200" b="0" baseline="0">
                <a:solidFill>
                  <a:srgbClr val="0081C7"/>
                </a:solidFill>
                <a:latin typeface="Calibri" charset="0"/>
                <a:ea typeface="Calibri" charset="0"/>
                <a:cs typeface="Calibri" charset="0"/>
              </a:defRPr>
            </a:lvl1pPr>
            <a:lvl2pPr marL="762000" indent="0">
              <a:buNone/>
              <a:defRPr>
                <a:solidFill>
                  <a:srgbClr val="174489"/>
                </a:solidFill>
                <a:latin typeface="DIN Condensed" charset="0"/>
                <a:ea typeface="DIN Condensed" charset="0"/>
                <a:cs typeface="DIN Condensed" charset="0"/>
              </a:defRPr>
            </a:lvl2pPr>
            <a:lvl3pPr marL="1206500" indent="0">
              <a:buNone/>
              <a:defRPr>
                <a:solidFill>
                  <a:srgbClr val="174489"/>
                </a:solidFill>
                <a:latin typeface="DIN Condensed" charset="0"/>
                <a:ea typeface="DIN Condensed" charset="0"/>
                <a:cs typeface="DIN Condensed" charset="0"/>
              </a:defRPr>
            </a:lvl3pPr>
            <a:lvl4pPr marL="1651000" indent="0">
              <a:buNone/>
              <a:defRPr>
                <a:solidFill>
                  <a:srgbClr val="174489"/>
                </a:solidFill>
                <a:latin typeface="DIN Condensed" charset="0"/>
                <a:ea typeface="DIN Condensed" charset="0"/>
                <a:cs typeface="DIN Condensed" charset="0"/>
              </a:defRPr>
            </a:lvl4pPr>
            <a:lvl5pPr marL="2095500" indent="0">
              <a:buNone/>
              <a:defRPr>
                <a:solidFill>
                  <a:srgbClr val="174489"/>
                </a:solidFill>
                <a:latin typeface="DIN Condensed" charset="0"/>
                <a:ea typeface="DIN Condensed" charset="0"/>
                <a:cs typeface="DIN Condensed" charset="0"/>
              </a:defRPr>
            </a:lvl5pPr>
          </a:lstStyle>
          <a:p>
            <a:pPr lvl="0"/>
            <a:r>
              <a:rPr lang="en-US" dirty="0"/>
              <a:t>Title comes here</a:t>
            </a:r>
          </a:p>
        </p:txBody>
      </p:sp>
      <p:pic>
        <p:nvPicPr>
          <p:cNvPr id="17" name="Picture 1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1450484" y="449288"/>
            <a:ext cx="1830748" cy="1839364"/>
          </a:xfrm>
          <a:prstGeom prst="rect">
            <a:avLst/>
          </a:prstGeom>
        </p:spPr>
      </p:pic>
    </p:spTree>
    <p:extLst>
      <p:ext uri="{BB962C8B-B14F-4D97-AF65-F5344CB8AC3E}">
        <p14:creationId xmlns:p14="http://schemas.microsoft.com/office/powerpoint/2010/main" val="84741483"/>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2645163"/>
            <a:ext cx="24384001" cy="9290304"/>
          </a:xfrm>
          <a:prstGeom prst="rect">
            <a:avLst/>
          </a:prstGeom>
        </p:spPr>
      </p:pic>
      <p:sp>
        <p:nvSpPr>
          <p:cNvPr id="12" name="Freeform 11"/>
          <p:cNvSpPr/>
          <p:nvPr userDrawn="1"/>
        </p:nvSpPr>
        <p:spPr bwMode="auto">
          <a:xfrm>
            <a:off x="0" y="-10981"/>
            <a:ext cx="24384000" cy="3892266"/>
          </a:xfrm>
          <a:custGeom>
            <a:avLst/>
            <a:gdLst>
              <a:gd name="connsiteX0" fmla="*/ 0 w 24418548"/>
              <a:gd name="connsiteY0" fmla="*/ 0 h 3892266"/>
              <a:gd name="connsiteX1" fmla="*/ 24418548 w 24418548"/>
              <a:gd name="connsiteY1" fmla="*/ 0 h 3892266"/>
              <a:gd name="connsiteX2" fmla="*/ 24418548 w 24418548"/>
              <a:gd name="connsiteY2" fmla="*/ 3683623 h 3892266"/>
              <a:gd name="connsiteX3" fmla="*/ 24402436 w 24418548"/>
              <a:gd name="connsiteY3" fmla="*/ 3875134 h 3892266"/>
              <a:gd name="connsiteX4" fmla="*/ 24398756 w 24418548"/>
              <a:gd name="connsiteY4" fmla="*/ 3892266 h 3892266"/>
              <a:gd name="connsiteX5" fmla="*/ 24382888 w 24418548"/>
              <a:gd name="connsiteY5" fmla="*/ 3818330 h 3892266"/>
              <a:gd name="connsiteX6" fmla="*/ 23625324 w 24418548"/>
              <a:gd name="connsiteY6" fmla="*/ 3150650 h 3892266"/>
              <a:gd name="connsiteX7" fmla="*/ 793227 w 24418548"/>
              <a:gd name="connsiteY7" fmla="*/ 3150650 h 3892266"/>
              <a:gd name="connsiteX8" fmla="*/ 705272 w 24418548"/>
              <a:gd name="connsiteY8" fmla="*/ 3159284 h 3892266"/>
              <a:gd name="connsiteX9" fmla="*/ 705272 w 24418548"/>
              <a:gd name="connsiteY9" fmla="*/ 3132974 h 3892266"/>
              <a:gd name="connsiteX10" fmla="*/ 580188 w 24418548"/>
              <a:gd name="connsiteY10" fmla="*/ 3109877 h 3892266"/>
              <a:gd name="connsiteX11" fmla="*/ 15965 w 24418548"/>
              <a:gd name="connsiteY11" fmla="*/ 2509488 h 3892266"/>
              <a:gd name="connsiteX12" fmla="*/ 6371 w 24418548"/>
              <a:gd name="connsiteY12" fmla="*/ 2414301 h 3892266"/>
              <a:gd name="connsiteX13" fmla="*/ 0 w 24418548"/>
              <a:gd name="connsiteY13" fmla="*/ 2414301 h 3892266"/>
              <a:gd name="connsiteX0" fmla="*/ 0 w 24418548"/>
              <a:gd name="connsiteY0" fmla="*/ 0 h 3892266"/>
              <a:gd name="connsiteX1" fmla="*/ 24418548 w 24418548"/>
              <a:gd name="connsiteY1" fmla="*/ 0 h 3892266"/>
              <a:gd name="connsiteX2" fmla="*/ 24418548 w 24418548"/>
              <a:gd name="connsiteY2" fmla="*/ 3683623 h 3892266"/>
              <a:gd name="connsiteX3" fmla="*/ 24402436 w 24418548"/>
              <a:gd name="connsiteY3" fmla="*/ 3875134 h 3892266"/>
              <a:gd name="connsiteX4" fmla="*/ 24398756 w 24418548"/>
              <a:gd name="connsiteY4" fmla="*/ 3892266 h 3892266"/>
              <a:gd name="connsiteX5" fmla="*/ 24382888 w 24418548"/>
              <a:gd name="connsiteY5" fmla="*/ 3818330 h 3892266"/>
              <a:gd name="connsiteX6" fmla="*/ 23625324 w 24418548"/>
              <a:gd name="connsiteY6" fmla="*/ 3150650 h 3892266"/>
              <a:gd name="connsiteX7" fmla="*/ 793227 w 24418548"/>
              <a:gd name="connsiteY7" fmla="*/ 3150650 h 3892266"/>
              <a:gd name="connsiteX8" fmla="*/ 705272 w 24418548"/>
              <a:gd name="connsiteY8" fmla="*/ 3159284 h 3892266"/>
              <a:gd name="connsiteX9" fmla="*/ 628381 w 24418548"/>
              <a:gd name="connsiteY9" fmla="*/ 3447081 h 3892266"/>
              <a:gd name="connsiteX10" fmla="*/ 580188 w 24418548"/>
              <a:gd name="connsiteY10" fmla="*/ 3109877 h 3892266"/>
              <a:gd name="connsiteX11" fmla="*/ 15965 w 24418548"/>
              <a:gd name="connsiteY11" fmla="*/ 2509488 h 3892266"/>
              <a:gd name="connsiteX12" fmla="*/ 6371 w 24418548"/>
              <a:gd name="connsiteY12" fmla="*/ 2414301 h 3892266"/>
              <a:gd name="connsiteX13" fmla="*/ 0 w 24418548"/>
              <a:gd name="connsiteY13" fmla="*/ 2414301 h 3892266"/>
              <a:gd name="connsiteX14" fmla="*/ 0 w 24418548"/>
              <a:gd name="connsiteY14" fmla="*/ 0 h 3892266"/>
              <a:gd name="connsiteX0" fmla="*/ 0 w 24418548"/>
              <a:gd name="connsiteY0" fmla="*/ 0 h 3892266"/>
              <a:gd name="connsiteX1" fmla="*/ 24418548 w 24418548"/>
              <a:gd name="connsiteY1" fmla="*/ 0 h 3892266"/>
              <a:gd name="connsiteX2" fmla="*/ 24418548 w 24418548"/>
              <a:gd name="connsiteY2" fmla="*/ 3683623 h 3892266"/>
              <a:gd name="connsiteX3" fmla="*/ 24402436 w 24418548"/>
              <a:gd name="connsiteY3" fmla="*/ 3875134 h 3892266"/>
              <a:gd name="connsiteX4" fmla="*/ 24398756 w 24418548"/>
              <a:gd name="connsiteY4" fmla="*/ 3892266 h 3892266"/>
              <a:gd name="connsiteX5" fmla="*/ 24382888 w 24418548"/>
              <a:gd name="connsiteY5" fmla="*/ 3818330 h 3892266"/>
              <a:gd name="connsiteX6" fmla="*/ 23625324 w 24418548"/>
              <a:gd name="connsiteY6" fmla="*/ 3150650 h 3892266"/>
              <a:gd name="connsiteX7" fmla="*/ 793227 w 24418548"/>
              <a:gd name="connsiteY7" fmla="*/ 3150650 h 3892266"/>
              <a:gd name="connsiteX8" fmla="*/ 705272 w 24418548"/>
              <a:gd name="connsiteY8" fmla="*/ 3159284 h 3892266"/>
              <a:gd name="connsiteX9" fmla="*/ 580188 w 24418548"/>
              <a:gd name="connsiteY9" fmla="*/ 3109877 h 3892266"/>
              <a:gd name="connsiteX10" fmla="*/ 15965 w 24418548"/>
              <a:gd name="connsiteY10" fmla="*/ 2509488 h 3892266"/>
              <a:gd name="connsiteX11" fmla="*/ 6371 w 24418548"/>
              <a:gd name="connsiteY11" fmla="*/ 2414301 h 3892266"/>
              <a:gd name="connsiteX12" fmla="*/ 0 w 24418548"/>
              <a:gd name="connsiteY12" fmla="*/ 2414301 h 3892266"/>
              <a:gd name="connsiteX13" fmla="*/ 0 w 24418548"/>
              <a:gd name="connsiteY13" fmla="*/ 0 h 3892266"/>
              <a:gd name="connsiteX0" fmla="*/ 0 w 24418548"/>
              <a:gd name="connsiteY0" fmla="*/ 0 h 3892266"/>
              <a:gd name="connsiteX1" fmla="*/ 24418548 w 24418548"/>
              <a:gd name="connsiteY1" fmla="*/ 0 h 3892266"/>
              <a:gd name="connsiteX2" fmla="*/ 24418548 w 24418548"/>
              <a:gd name="connsiteY2" fmla="*/ 3683623 h 3892266"/>
              <a:gd name="connsiteX3" fmla="*/ 24402436 w 24418548"/>
              <a:gd name="connsiteY3" fmla="*/ 3875134 h 3892266"/>
              <a:gd name="connsiteX4" fmla="*/ 24398756 w 24418548"/>
              <a:gd name="connsiteY4" fmla="*/ 3892266 h 3892266"/>
              <a:gd name="connsiteX5" fmla="*/ 24382888 w 24418548"/>
              <a:gd name="connsiteY5" fmla="*/ 3818330 h 3892266"/>
              <a:gd name="connsiteX6" fmla="*/ 23625324 w 24418548"/>
              <a:gd name="connsiteY6" fmla="*/ 3150650 h 3892266"/>
              <a:gd name="connsiteX7" fmla="*/ 793227 w 24418548"/>
              <a:gd name="connsiteY7" fmla="*/ 3150650 h 3892266"/>
              <a:gd name="connsiteX8" fmla="*/ 705272 w 24418548"/>
              <a:gd name="connsiteY8" fmla="*/ 3173245 h 3892266"/>
              <a:gd name="connsiteX9" fmla="*/ 580188 w 24418548"/>
              <a:gd name="connsiteY9" fmla="*/ 3109877 h 3892266"/>
              <a:gd name="connsiteX10" fmla="*/ 15965 w 24418548"/>
              <a:gd name="connsiteY10" fmla="*/ 2509488 h 3892266"/>
              <a:gd name="connsiteX11" fmla="*/ 6371 w 24418548"/>
              <a:gd name="connsiteY11" fmla="*/ 2414301 h 3892266"/>
              <a:gd name="connsiteX12" fmla="*/ 0 w 24418548"/>
              <a:gd name="connsiteY12" fmla="*/ 2414301 h 3892266"/>
              <a:gd name="connsiteX13" fmla="*/ 0 w 24418548"/>
              <a:gd name="connsiteY13" fmla="*/ 0 h 3892266"/>
              <a:gd name="connsiteX0" fmla="*/ 0 w 24418548"/>
              <a:gd name="connsiteY0" fmla="*/ 0 h 3892266"/>
              <a:gd name="connsiteX1" fmla="*/ 24418548 w 24418548"/>
              <a:gd name="connsiteY1" fmla="*/ 0 h 3892266"/>
              <a:gd name="connsiteX2" fmla="*/ 24418548 w 24418548"/>
              <a:gd name="connsiteY2" fmla="*/ 3683623 h 3892266"/>
              <a:gd name="connsiteX3" fmla="*/ 24402436 w 24418548"/>
              <a:gd name="connsiteY3" fmla="*/ 3875134 h 3892266"/>
              <a:gd name="connsiteX4" fmla="*/ 24398756 w 24418548"/>
              <a:gd name="connsiteY4" fmla="*/ 3892266 h 3892266"/>
              <a:gd name="connsiteX5" fmla="*/ 24382888 w 24418548"/>
              <a:gd name="connsiteY5" fmla="*/ 3818330 h 3892266"/>
              <a:gd name="connsiteX6" fmla="*/ 23625324 w 24418548"/>
              <a:gd name="connsiteY6" fmla="*/ 3150650 h 3892266"/>
              <a:gd name="connsiteX7" fmla="*/ 793227 w 24418548"/>
              <a:gd name="connsiteY7" fmla="*/ 3150650 h 3892266"/>
              <a:gd name="connsiteX8" fmla="*/ 580188 w 24418548"/>
              <a:gd name="connsiteY8" fmla="*/ 3109877 h 3892266"/>
              <a:gd name="connsiteX9" fmla="*/ 15965 w 24418548"/>
              <a:gd name="connsiteY9" fmla="*/ 2509488 h 3892266"/>
              <a:gd name="connsiteX10" fmla="*/ 6371 w 24418548"/>
              <a:gd name="connsiteY10" fmla="*/ 2414301 h 3892266"/>
              <a:gd name="connsiteX11" fmla="*/ 0 w 24418548"/>
              <a:gd name="connsiteY11" fmla="*/ 2414301 h 3892266"/>
              <a:gd name="connsiteX12" fmla="*/ 0 w 24418548"/>
              <a:gd name="connsiteY12" fmla="*/ 0 h 3892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418548" h="3892266">
                <a:moveTo>
                  <a:pt x="0" y="0"/>
                </a:moveTo>
                <a:lnTo>
                  <a:pt x="24418548" y="0"/>
                </a:lnTo>
                <a:lnTo>
                  <a:pt x="24418548" y="3683623"/>
                </a:lnTo>
                <a:cubicBezTo>
                  <a:pt x="24418548" y="3749226"/>
                  <a:pt x="24413000" y="3813274"/>
                  <a:pt x="24402436" y="3875134"/>
                </a:cubicBezTo>
                <a:lnTo>
                  <a:pt x="24398756" y="3892266"/>
                </a:lnTo>
                <a:lnTo>
                  <a:pt x="24382888" y="3818330"/>
                </a:lnTo>
                <a:cubicBezTo>
                  <a:pt x="24282456" y="3431510"/>
                  <a:pt x="23981268" y="3150650"/>
                  <a:pt x="23625324" y="3150650"/>
                </a:cubicBezTo>
                <a:lnTo>
                  <a:pt x="793227" y="3150650"/>
                </a:lnTo>
                <a:lnTo>
                  <a:pt x="580188" y="3109877"/>
                </a:lnTo>
                <a:cubicBezTo>
                  <a:pt x="295899" y="3032945"/>
                  <a:pt x="75517" y="2800509"/>
                  <a:pt x="15965" y="2509488"/>
                </a:cubicBezTo>
                <a:lnTo>
                  <a:pt x="6371" y="2414301"/>
                </a:lnTo>
                <a:lnTo>
                  <a:pt x="0" y="2414301"/>
                </a:lnTo>
                <a:lnTo>
                  <a:pt x="0" y="0"/>
                </a:lnTo>
                <a:close/>
              </a:path>
            </a:pathLst>
          </a:custGeom>
          <a:solidFill>
            <a:schemeClr val="bg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600" b="0" i="0" u="none" strike="noStrike" cap="none" normalizeH="0" baseline="0" smtClean="0">
              <a:ln>
                <a:noFill/>
              </a:ln>
              <a:solidFill>
                <a:srgbClr val="000000"/>
              </a:solidFill>
              <a:effectLst/>
              <a:latin typeface="Gill Sans" charset="0"/>
              <a:ea typeface="Heiti SC Light" charset="0"/>
              <a:cs typeface="Heiti SC Light" charset="0"/>
              <a:sym typeface="Gill Sans" charset="0"/>
            </a:endParaRPr>
          </a:p>
        </p:txBody>
      </p:sp>
      <p:sp>
        <p:nvSpPr>
          <p:cNvPr id="13" name="Content Placeholder 17"/>
          <p:cNvSpPr>
            <a:spLocks noGrp="1"/>
          </p:cNvSpPr>
          <p:nvPr>
            <p:ph sz="quarter" idx="22" hasCustomPrompt="1"/>
          </p:nvPr>
        </p:nvSpPr>
        <p:spPr>
          <a:xfrm>
            <a:off x="7151440" y="12474624"/>
            <a:ext cx="10801200" cy="1008112"/>
          </a:xfrm>
          <a:prstGeom prst="rect">
            <a:avLst/>
          </a:prstGeom>
        </p:spPr>
        <p:txBody>
          <a:bodyPr/>
          <a:lstStyle>
            <a:lvl1pPr marL="317500" indent="0" algn="ctr">
              <a:buNone/>
              <a:defRPr sz="2400" baseline="0">
                <a:solidFill>
                  <a:srgbClr val="004494"/>
                </a:solidFill>
                <a:latin typeface="Calibri" charset="0"/>
                <a:ea typeface="Calibri" charset="0"/>
                <a:cs typeface="Calibri" charset="0"/>
              </a:defRPr>
            </a:lvl1pPr>
            <a:lvl2pPr marL="762000" indent="0" algn="ctr">
              <a:buNone/>
              <a:defRPr sz="2000">
                <a:solidFill>
                  <a:srgbClr val="004494"/>
                </a:solidFill>
                <a:latin typeface="Calibri" charset="0"/>
                <a:ea typeface="Calibri" charset="0"/>
                <a:cs typeface="Calibri" charset="0"/>
              </a:defRPr>
            </a:lvl2pPr>
            <a:lvl3pPr marL="1206500" indent="0" algn="ctr">
              <a:buNone/>
              <a:defRPr sz="2000">
                <a:solidFill>
                  <a:srgbClr val="004494"/>
                </a:solidFill>
                <a:latin typeface="Calibri" charset="0"/>
                <a:ea typeface="Calibri" charset="0"/>
                <a:cs typeface="Calibri" charset="0"/>
              </a:defRPr>
            </a:lvl3pPr>
            <a:lvl4pPr marL="1651000" indent="0" algn="ctr">
              <a:buNone/>
              <a:defRPr sz="2000">
                <a:solidFill>
                  <a:srgbClr val="004494"/>
                </a:solidFill>
                <a:latin typeface="Calibri" charset="0"/>
                <a:ea typeface="Calibri" charset="0"/>
                <a:cs typeface="Calibri" charset="0"/>
              </a:defRPr>
            </a:lvl4pPr>
            <a:lvl5pPr marL="2095500" indent="0" algn="ctr">
              <a:buNone/>
              <a:defRPr sz="2000">
                <a:solidFill>
                  <a:srgbClr val="004494"/>
                </a:solidFill>
                <a:latin typeface="Calibri" charset="0"/>
                <a:ea typeface="Calibri" charset="0"/>
                <a:cs typeface="Calibri" charset="0"/>
              </a:defRPr>
            </a:lvl5pPr>
          </a:lstStyle>
          <a:p>
            <a:pPr lvl="0"/>
            <a:r>
              <a:rPr lang="en-US" dirty="0"/>
              <a:t>Edit </a:t>
            </a:r>
            <a:r>
              <a:rPr lang="en-US"/>
              <a:t>here source or footer</a:t>
            </a:r>
            <a:endParaRPr lang="en-US" dirty="0"/>
          </a:p>
        </p:txBody>
      </p:sp>
      <p:sp>
        <p:nvSpPr>
          <p:cNvPr id="14" name="Slide Number Placeholder 1"/>
          <p:cNvSpPr>
            <a:spLocks noGrp="1"/>
          </p:cNvSpPr>
          <p:nvPr>
            <p:ph type="sldNum" sz="quarter" idx="4"/>
          </p:nvPr>
        </p:nvSpPr>
        <p:spPr>
          <a:xfrm>
            <a:off x="22273120" y="12639557"/>
            <a:ext cx="981584" cy="805536"/>
          </a:xfrm>
          <a:prstGeom prst="rect">
            <a:avLst/>
          </a:prstGeom>
        </p:spPr>
        <p:txBody>
          <a:bodyPr vert="horz" lIns="91440" tIns="45720" rIns="91440" bIns="45720" rtlCol="0" anchor="ctr"/>
          <a:lstStyle>
            <a:lvl1pPr algn="r">
              <a:defRPr sz="2400">
                <a:solidFill>
                  <a:srgbClr val="004494"/>
                </a:solidFill>
                <a:latin typeface="Calibri" charset="0"/>
                <a:ea typeface="Calibri" charset="0"/>
                <a:cs typeface="Calibri" charset="0"/>
              </a:defRPr>
            </a:lvl1pPr>
          </a:lstStyle>
          <a:p>
            <a:fld id="{CD1E7C23-2AAD-0D45-B01B-5A673730BB06}" type="slidenum">
              <a:rPr lang="en-US" smtClean="0"/>
              <a:pPr/>
              <a:t>‹#›</a:t>
            </a:fld>
            <a:endParaRPr lang="en-US" dirty="0"/>
          </a:p>
        </p:txBody>
      </p:sp>
      <p:sp>
        <p:nvSpPr>
          <p:cNvPr id="15" name="Content Placeholder 2"/>
          <p:cNvSpPr>
            <a:spLocks noGrp="1"/>
          </p:cNvSpPr>
          <p:nvPr>
            <p:ph sz="quarter" idx="20" hasCustomPrompt="1"/>
          </p:nvPr>
        </p:nvSpPr>
        <p:spPr>
          <a:xfrm>
            <a:off x="1102768" y="589544"/>
            <a:ext cx="20234248" cy="830997"/>
          </a:xfrm>
          <a:prstGeom prst="rect">
            <a:avLst/>
          </a:prstGeom>
        </p:spPr>
        <p:txBody>
          <a:bodyPr lIns="0" tIns="0" rIns="0" bIns="0" anchor="t" anchorCtr="0">
            <a:noAutofit/>
          </a:bodyPr>
          <a:lstStyle>
            <a:lvl1pPr marL="317500" indent="0">
              <a:buNone/>
              <a:defRPr sz="5400" b="1">
                <a:solidFill>
                  <a:srgbClr val="004494"/>
                </a:solidFill>
                <a:latin typeface="Calibri" charset="0"/>
                <a:ea typeface="Calibri" charset="0"/>
                <a:cs typeface="Calibri" charset="0"/>
              </a:defRPr>
            </a:lvl1pPr>
            <a:lvl2pPr marL="762000" indent="0">
              <a:buNone/>
              <a:defRPr>
                <a:solidFill>
                  <a:srgbClr val="174489"/>
                </a:solidFill>
                <a:latin typeface="DIN Condensed" charset="0"/>
                <a:ea typeface="DIN Condensed" charset="0"/>
                <a:cs typeface="DIN Condensed" charset="0"/>
              </a:defRPr>
            </a:lvl2pPr>
            <a:lvl3pPr marL="1206500" indent="0">
              <a:buNone/>
              <a:defRPr>
                <a:solidFill>
                  <a:srgbClr val="174489"/>
                </a:solidFill>
                <a:latin typeface="DIN Condensed" charset="0"/>
                <a:ea typeface="DIN Condensed" charset="0"/>
                <a:cs typeface="DIN Condensed" charset="0"/>
              </a:defRPr>
            </a:lvl3pPr>
            <a:lvl4pPr marL="1651000" indent="0">
              <a:buNone/>
              <a:defRPr>
                <a:solidFill>
                  <a:srgbClr val="174489"/>
                </a:solidFill>
                <a:latin typeface="DIN Condensed" charset="0"/>
                <a:ea typeface="DIN Condensed" charset="0"/>
                <a:cs typeface="DIN Condensed" charset="0"/>
              </a:defRPr>
            </a:lvl4pPr>
            <a:lvl5pPr marL="2095500" indent="0">
              <a:buNone/>
              <a:defRPr>
                <a:solidFill>
                  <a:srgbClr val="174489"/>
                </a:solidFill>
                <a:latin typeface="DIN Condensed" charset="0"/>
                <a:ea typeface="DIN Condensed" charset="0"/>
                <a:cs typeface="DIN Condensed" charset="0"/>
              </a:defRPr>
            </a:lvl5pPr>
          </a:lstStyle>
          <a:p>
            <a:pPr lvl="0"/>
            <a:r>
              <a:rPr lang="en-US" dirty="0"/>
              <a:t>Title comes here</a:t>
            </a:r>
          </a:p>
        </p:txBody>
      </p:sp>
      <p:sp>
        <p:nvSpPr>
          <p:cNvPr id="16" name="Content Placeholder 2"/>
          <p:cNvSpPr>
            <a:spLocks noGrp="1"/>
          </p:cNvSpPr>
          <p:nvPr>
            <p:ph sz="quarter" idx="21" hasCustomPrompt="1"/>
          </p:nvPr>
        </p:nvSpPr>
        <p:spPr>
          <a:xfrm>
            <a:off x="1102768" y="1671169"/>
            <a:ext cx="20234248" cy="492443"/>
          </a:xfrm>
          <a:prstGeom prst="rect">
            <a:avLst/>
          </a:prstGeom>
        </p:spPr>
        <p:txBody>
          <a:bodyPr wrap="square" lIns="0" tIns="0" rIns="0" bIns="0" anchor="t" anchorCtr="0">
            <a:spAutoFit/>
          </a:bodyPr>
          <a:lstStyle>
            <a:lvl1pPr marL="317500" indent="0">
              <a:buNone/>
              <a:defRPr sz="3200" b="0" baseline="0">
                <a:solidFill>
                  <a:srgbClr val="0081C7"/>
                </a:solidFill>
                <a:latin typeface="Calibri" charset="0"/>
                <a:ea typeface="Calibri" charset="0"/>
                <a:cs typeface="Calibri" charset="0"/>
              </a:defRPr>
            </a:lvl1pPr>
            <a:lvl2pPr marL="762000" indent="0">
              <a:buNone/>
              <a:defRPr>
                <a:solidFill>
                  <a:srgbClr val="174489"/>
                </a:solidFill>
                <a:latin typeface="DIN Condensed" charset="0"/>
                <a:ea typeface="DIN Condensed" charset="0"/>
                <a:cs typeface="DIN Condensed" charset="0"/>
              </a:defRPr>
            </a:lvl2pPr>
            <a:lvl3pPr marL="1206500" indent="0">
              <a:buNone/>
              <a:defRPr>
                <a:solidFill>
                  <a:srgbClr val="174489"/>
                </a:solidFill>
                <a:latin typeface="DIN Condensed" charset="0"/>
                <a:ea typeface="DIN Condensed" charset="0"/>
                <a:cs typeface="DIN Condensed" charset="0"/>
              </a:defRPr>
            </a:lvl3pPr>
            <a:lvl4pPr marL="1651000" indent="0">
              <a:buNone/>
              <a:defRPr>
                <a:solidFill>
                  <a:srgbClr val="174489"/>
                </a:solidFill>
                <a:latin typeface="DIN Condensed" charset="0"/>
                <a:ea typeface="DIN Condensed" charset="0"/>
                <a:cs typeface="DIN Condensed" charset="0"/>
              </a:defRPr>
            </a:lvl4pPr>
            <a:lvl5pPr marL="2095500" indent="0">
              <a:buNone/>
              <a:defRPr>
                <a:solidFill>
                  <a:srgbClr val="174489"/>
                </a:solidFill>
                <a:latin typeface="DIN Condensed" charset="0"/>
                <a:ea typeface="DIN Condensed" charset="0"/>
                <a:cs typeface="DIN Condensed" charset="0"/>
              </a:defRPr>
            </a:lvl5pPr>
          </a:lstStyle>
          <a:p>
            <a:pPr lvl="0"/>
            <a:r>
              <a:rPr lang="en-US" dirty="0"/>
              <a:t>Title comes here</a:t>
            </a:r>
          </a:p>
        </p:txBody>
      </p:sp>
      <p:pic>
        <p:nvPicPr>
          <p:cNvPr id="19" name="Picture 1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1450484" y="449288"/>
            <a:ext cx="1830748" cy="1839364"/>
          </a:xfrm>
          <a:prstGeom prst="rect">
            <a:avLst/>
          </a:prstGeom>
        </p:spPr>
      </p:pic>
    </p:spTree>
    <p:extLst>
      <p:ext uri="{BB962C8B-B14F-4D97-AF65-F5344CB8AC3E}">
        <p14:creationId xmlns:p14="http://schemas.microsoft.com/office/powerpoint/2010/main" val="42036637"/>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4" name="Picture 4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2645163"/>
            <a:ext cx="24384001" cy="9290304"/>
          </a:xfrm>
          <a:prstGeom prst="rect">
            <a:avLst/>
          </a:prstGeom>
        </p:spPr>
      </p:pic>
      <p:sp>
        <p:nvSpPr>
          <p:cNvPr id="66" name="Freeform 65"/>
          <p:cNvSpPr/>
          <p:nvPr userDrawn="1"/>
        </p:nvSpPr>
        <p:spPr bwMode="auto">
          <a:xfrm>
            <a:off x="0" y="-10981"/>
            <a:ext cx="24384000" cy="3892266"/>
          </a:xfrm>
          <a:custGeom>
            <a:avLst/>
            <a:gdLst>
              <a:gd name="connsiteX0" fmla="*/ 0 w 24418548"/>
              <a:gd name="connsiteY0" fmla="*/ 0 h 3892266"/>
              <a:gd name="connsiteX1" fmla="*/ 24418548 w 24418548"/>
              <a:gd name="connsiteY1" fmla="*/ 0 h 3892266"/>
              <a:gd name="connsiteX2" fmla="*/ 24418548 w 24418548"/>
              <a:gd name="connsiteY2" fmla="*/ 3683623 h 3892266"/>
              <a:gd name="connsiteX3" fmla="*/ 24402436 w 24418548"/>
              <a:gd name="connsiteY3" fmla="*/ 3875134 h 3892266"/>
              <a:gd name="connsiteX4" fmla="*/ 24398756 w 24418548"/>
              <a:gd name="connsiteY4" fmla="*/ 3892266 h 3892266"/>
              <a:gd name="connsiteX5" fmla="*/ 24382888 w 24418548"/>
              <a:gd name="connsiteY5" fmla="*/ 3818330 h 3892266"/>
              <a:gd name="connsiteX6" fmla="*/ 23625324 w 24418548"/>
              <a:gd name="connsiteY6" fmla="*/ 3150650 h 3892266"/>
              <a:gd name="connsiteX7" fmla="*/ 793227 w 24418548"/>
              <a:gd name="connsiteY7" fmla="*/ 3150650 h 3892266"/>
              <a:gd name="connsiteX8" fmla="*/ 705272 w 24418548"/>
              <a:gd name="connsiteY8" fmla="*/ 3159284 h 3892266"/>
              <a:gd name="connsiteX9" fmla="*/ 705272 w 24418548"/>
              <a:gd name="connsiteY9" fmla="*/ 3132974 h 3892266"/>
              <a:gd name="connsiteX10" fmla="*/ 580188 w 24418548"/>
              <a:gd name="connsiteY10" fmla="*/ 3109877 h 3892266"/>
              <a:gd name="connsiteX11" fmla="*/ 15965 w 24418548"/>
              <a:gd name="connsiteY11" fmla="*/ 2509488 h 3892266"/>
              <a:gd name="connsiteX12" fmla="*/ 6371 w 24418548"/>
              <a:gd name="connsiteY12" fmla="*/ 2414301 h 3892266"/>
              <a:gd name="connsiteX13" fmla="*/ 0 w 24418548"/>
              <a:gd name="connsiteY13" fmla="*/ 2414301 h 3892266"/>
              <a:gd name="connsiteX0" fmla="*/ 0 w 24418548"/>
              <a:gd name="connsiteY0" fmla="*/ 0 h 3892266"/>
              <a:gd name="connsiteX1" fmla="*/ 24418548 w 24418548"/>
              <a:gd name="connsiteY1" fmla="*/ 0 h 3892266"/>
              <a:gd name="connsiteX2" fmla="*/ 24418548 w 24418548"/>
              <a:gd name="connsiteY2" fmla="*/ 3683623 h 3892266"/>
              <a:gd name="connsiteX3" fmla="*/ 24402436 w 24418548"/>
              <a:gd name="connsiteY3" fmla="*/ 3875134 h 3892266"/>
              <a:gd name="connsiteX4" fmla="*/ 24398756 w 24418548"/>
              <a:gd name="connsiteY4" fmla="*/ 3892266 h 3892266"/>
              <a:gd name="connsiteX5" fmla="*/ 24382888 w 24418548"/>
              <a:gd name="connsiteY5" fmla="*/ 3818330 h 3892266"/>
              <a:gd name="connsiteX6" fmla="*/ 23625324 w 24418548"/>
              <a:gd name="connsiteY6" fmla="*/ 3150650 h 3892266"/>
              <a:gd name="connsiteX7" fmla="*/ 793227 w 24418548"/>
              <a:gd name="connsiteY7" fmla="*/ 3150650 h 3892266"/>
              <a:gd name="connsiteX8" fmla="*/ 705272 w 24418548"/>
              <a:gd name="connsiteY8" fmla="*/ 3159284 h 3892266"/>
              <a:gd name="connsiteX9" fmla="*/ 628381 w 24418548"/>
              <a:gd name="connsiteY9" fmla="*/ 3447081 h 3892266"/>
              <a:gd name="connsiteX10" fmla="*/ 580188 w 24418548"/>
              <a:gd name="connsiteY10" fmla="*/ 3109877 h 3892266"/>
              <a:gd name="connsiteX11" fmla="*/ 15965 w 24418548"/>
              <a:gd name="connsiteY11" fmla="*/ 2509488 h 3892266"/>
              <a:gd name="connsiteX12" fmla="*/ 6371 w 24418548"/>
              <a:gd name="connsiteY12" fmla="*/ 2414301 h 3892266"/>
              <a:gd name="connsiteX13" fmla="*/ 0 w 24418548"/>
              <a:gd name="connsiteY13" fmla="*/ 2414301 h 3892266"/>
              <a:gd name="connsiteX14" fmla="*/ 0 w 24418548"/>
              <a:gd name="connsiteY14" fmla="*/ 0 h 3892266"/>
              <a:gd name="connsiteX0" fmla="*/ 0 w 24418548"/>
              <a:gd name="connsiteY0" fmla="*/ 0 h 3892266"/>
              <a:gd name="connsiteX1" fmla="*/ 24418548 w 24418548"/>
              <a:gd name="connsiteY1" fmla="*/ 0 h 3892266"/>
              <a:gd name="connsiteX2" fmla="*/ 24418548 w 24418548"/>
              <a:gd name="connsiteY2" fmla="*/ 3683623 h 3892266"/>
              <a:gd name="connsiteX3" fmla="*/ 24402436 w 24418548"/>
              <a:gd name="connsiteY3" fmla="*/ 3875134 h 3892266"/>
              <a:gd name="connsiteX4" fmla="*/ 24398756 w 24418548"/>
              <a:gd name="connsiteY4" fmla="*/ 3892266 h 3892266"/>
              <a:gd name="connsiteX5" fmla="*/ 24382888 w 24418548"/>
              <a:gd name="connsiteY5" fmla="*/ 3818330 h 3892266"/>
              <a:gd name="connsiteX6" fmla="*/ 23625324 w 24418548"/>
              <a:gd name="connsiteY6" fmla="*/ 3150650 h 3892266"/>
              <a:gd name="connsiteX7" fmla="*/ 793227 w 24418548"/>
              <a:gd name="connsiteY7" fmla="*/ 3150650 h 3892266"/>
              <a:gd name="connsiteX8" fmla="*/ 705272 w 24418548"/>
              <a:gd name="connsiteY8" fmla="*/ 3159284 h 3892266"/>
              <a:gd name="connsiteX9" fmla="*/ 580188 w 24418548"/>
              <a:gd name="connsiteY9" fmla="*/ 3109877 h 3892266"/>
              <a:gd name="connsiteX10" fmla="*/ 15965 w 24418548"/>
              <a:gd name="connsiteY10" fmla="*/ 2509488 h 3892266"/>
              <a:gd name="connsiteX11" fmla="*/ 6371 w 24418548"/>
              <a:gd name="connsiteY11" fmla="*/ 2414301 h 3892266"/>
              <a:gd name="connsiteX12" fmla="*/ 0 w 24418548"/>
              <a:gd name="connsiteY12" fmla="*/ 2414301 h 3892266"/>
              <a:gd name="connsiteX13" fmla="*/ 0 w 24418548"/>
              <a:gd name="connsiteY13" fmla="*/ 0 h 3892266"/>
              <a:gd name="connsiteX0" fmla="*/ 0 w 24418548"/>
              <a:gd name="connsiteY0" fmla="*/ 0 h 3892266"/>
              <a:gd name="connsiteX1" fmla="*/ 24418548 w 24418548"/>
              <a:gd name="connsiteY1" fmla="*/ 0 h 3892266"/>
              <a:gd name="connsiteX2" fmla="*/ 24418548 w 24418548"/>
              <a:gd name="connsiteY2" fmla="*/ 3683623 h 3892266"/>
              <a:gd name="connsiteX3" fmla="*/ 24402436 w 24418548"/>
              <a:gd name="connsiteY3" fmla="*/ 3875134 h 3892266"/>
              <a:gd name="connsiteX4" fmla="*/ 24398756 w 24418548"/>
              <a:gd name="connsiteY4" fmla="*/ 3892266 h 3892266"/>
              <a:gd name="connsiteX5" fmla="*/ 24382888 w 24418548"/>
              <a:gd name="connsiteY5" fmla="*/ 3818330 h 3892266"/>
              <a:gd name="connsiteX6" fmla="*/ 23625324 w 24418548"/>
              <a:gd name="connsiteY6" fmla="*/ 3150650 h 3892266"/>
              <a:gd name="connsiteX7" fmla="*/ 793227 w 24418548"/>
              <a:gd name="connsiteY7" fmla="*/ 3150650 h 3892266"/>
              <a:gd name="connsiteX8" fmla="*/ 705272 w 24418548"/>
              <a:gd name="connsiteY8" fmla="*/ 3173245 h 3892266"/>
              <a:gd name="connsiteX9" fmla="*/ 580188 w 24418548"/>
              <a:gd name="connsiteY9" fmla="*/ 3109877 h 3892266"/>
              <a:gd name="connsiteX10" fmla="*/ 15965 w 24418548"/>
              <a:gd name="connsiteY10" fmla="*/ 2509488 h 3892266"/>
              <a:gd name="connsiteX11" fmla="*/ 6371 w 24418548"/>
              <a:gd name="connsiteY11" fmla="*/ 2414301 h 3892266"/>
              <a:gd name="connsiteX12" fmla="*/ 0 w 24418548"/>
              <a:gd name="connsiteY12" fmla="*/ 2414301 h 3892266"/>
              <a:gd name="connsiteX13" fmla="*/ 0 w 24418548"/>
              <a:gd name="connsiteY13" fmla="*/ 0 h 3892266"/>
              <a:gd name="connsiteX0" fmla="*/ 0 w 24418548"/>
              <a:gd name="connsiteY0" fmla="*/ 0 h 3892266"/>
              <a:gd name="connsiteX1" fmla="*/ 24418548 w 24418548"/>
              <a:gd name="connsiteY1" fmla="*/ 0 h 3892266"/>
              <a:gd name="connsiteX2" fmla="*/ 24418548 w 24418548"/>
              <a:gd name="connsiteY2" fmla="*/ 3683623 h 3892266"/>
              <a:gd name="connsiteX3" fmla="*/ 24402436 w 24418548"/>
              <a:gd name="connsiteY3" fmla="*/ 3875134 h 3892266"/>
              <a:gd name="connsiteX4" fmla="*/ 24398756 w 24418548"/>
              <a:gd name="connsiteY4" fmla="*/ 3892266 h 3892266"/>
              <a:gd name="connsiteX5" fmla="*/ 24382888 w 24418548"/>
              <a:gd name="connsiteY5" fmla="*/ 3818330 h 3892266"/>
              <a:gd name="connsiteX6" fmla="*/ 23625324 w 24418548"/>
              <a:gd name="connsiteY6" fmla="*/ 3150650 h 3892266"/>
              <a:gd name="connsiteX7" fmla="*/ 793227 w 24418548"/>
              <a:gd name="connsiteY7" fmla="*/ 3150650 h 3892266"/>
              <a:gd name="connsiteX8" fmla="*/ 580188 w 24418548"/>
              <a:gd name="connsiteY8" fmla="*/ 3109877 h 3892266"/>
              <a:gd name="connsiteX9" fmla="*/ 15965 w 24418548"/>
              <a:gd name="connsiteY9" fmla="*/ 2509488 h 3892266"/>
              <a:gd name="connsiteX10" fmla="*/ 6371 w 24418548"/>
              <a:gd name="connsiteY10" fmla="*/ 2414301 h 3892266"/>
              <a:gd name="connsiteX11" fmla="*/ 0 w 24418548"/>
              <a:gd name="connsiteY11" fmla="*/ 2414301 h 3892266"/>
              <a:gd name="connsiteX12" fmla="*/ 0 w 24418548"/>
              <a:gd name="connsiteY12" fmla="*/ 0 h 3892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418548" h="3892266">
                <a:moveTo>
                  <a:pt x="0" y="0"/>
                </a:moveTo>
                <a:lnTo>
                  <a:pt x="24418548" y="0"/>
                </a:lnTo>
                <a:lnTo>
                  <a:pt x="24418548" y="3683623"/>
                </a:lnTo>
                <a:cubicBezTo>
                  <a:pt x="24418548" y="3749226"/>
                  <a:pt x="24413000" y="3813274"/>
                  <a:pt x="24402436" y="3875134"/>
                </a:cubicBezTo>
                <a:lnTo>
                  <a:pt x="24398756" y="3892266"/>
                </a:lnTo>
                <a:lnTo>
                  <a:pt x="24382888" y="3818330"/>
                </a:lnTo>
                <a:cubicBezTo>
                  <a:pt x="24282456" y="3431510"/>
                  <a:pt x="23981268" y="3150650"/>
                  <a:pt x="23625324" y="3150650"/>
                </a:cubicBezTo>
                <a:lnTo>
                  <a:pt x="793227" y="3150650"/>
                </a:lnTo>
                <a:lnTo>
                  <a:pt x="580188" y="3109877"/>
                </a:lnTo>
                <a:cubicBezTo>
                  <a:pt x="295899" y="3032945"/>
                  <a:pt x="75517" y="2800509"/>
                  <a:pt x="15965" y="2509488"/>
                </a:cubicBezTo>
                <a:lnTo>
                  <a:pt x="6371" y="2414301"/>
                </a:lnTo>
                <a:lnTo>
                  <a:pt x="0" y="2414301"/>
                </a:lnTo>
                <a:lnTo>
                  <a:pt x="0" y="0"/>
                </a:lnTo>
                <a:close/>
              </a:path>
            </a:pathLst>
          </a:custGeom>
          <a:solidFill>
            <a:schemeClr val="bg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600" b="0" i="0" u="none" strike="noStrike" cap="none" normalizeH="0" baseline="0" smtClean="0">
              <a:ln>
                <a:noFill/>
              </a:ln>
              <a:solidFill>
                <a:srgbClr val="000000"/>
              </a:solidFill>
              <a:effectLst/>
              <a:latin typeface="Gill Sans" charset="0"/>
              <a:ea typeface="Heiti SC Light" charset="0"/>
              <a:cs typeface="Heiti SC Light" charset="0"/>
              <a:sym typeface="Gill Sans" charset="0"/>
            </a:endParaRPr>
          </a:p>
        </p:txBody>
      </p:sp>
      <p:sp>
        <p:nvSpPr>
          <p:cNvPr id="35" name="Content Placeholder 17"/>
          <p:cNvSpPr>
            <a:spLocks noGrp="1"/>
          </p:cNvSpPr>
          <p:nvPr>
            <p:ph sz="quarter" idx="22" hasCustomPrompt="1"/>
          </p:nvPr>
        </p:nvSpPr>
        <p:spPr>
          <a:xfrm>
            <a:off x="7151440" y="12474624"/>
            <a:ext cx="10801200" cy="1008112"/>
          </a:xfrm>
          <a:prstGeom prst="rect">
            <a:avLst/>
          </a:prstGeom>
        </p:spPr>
        <p:txBody>
          <a:bodyPr/>
          <a:lstStyle>
            <a:lvl1pPr marL="317500" indent="0" algn="ctr">
              <a:buNone/>
              <a:defRPr sz="2400" baseline="0">
                <a:solidFill>
                  <a:srgbClr val="004494"/>
                </a:solidFill>
                <a:latin typeface="Calibri" charset="0"/>
                <a:ea typeface="Calibri" charset="0"/>
                <a:cs typeface="Calibri" charset="0"/>
              </a:defRPr>
            </a:lvl1pPr>
            <a:lvl2pPr marL="762000" indent="0" algn="ctr">
              <a:buNone/>
              <a:defRPr sz="2000">
                <a:solidFill>
                  <a:srgbClr val="004494"/>
                </a:solidFill>
                <a:latin typeface="Calibri" charset="0"/>
                <a:ea typeface="Calibri" charset="0"/>
                <a:cs typeface="Calibri" charset="0"/>
              </a:defRPr>
            </a:lvl2pPr>
            <a:lvl3pPr marL="1206500" indent="0" algn="ctr">
              <a:buNone/>
              <a:defRPr sz="2000">
                <a:solidFill>
                  <a:srgbClr val="004494"/>
                </a:solidFill>
                <a:latin typeface="Calibri" charset="0"/>
                <a:ea typeface="Calibri" charset="0"/>
                <a:cs typeface="Calibri" charset="0"/>
              </a:defRPr>
            </a:lvl3pPr>
            <a:lvl4pPr marL="1651000" indent="0" algn="ctr">
              <a:buNone/>
              <a:defRPr sz="2000">
                <a:solidFill>
                  <a:srgbClr val="004494"/>
                </a:solidFill>
                <a:latin typeface="Calibri" charset="0"/>
                <a:ea typeface="Calibri" charset="0"/>
                <a:cs typeface="Calibri" charset="0"/>
              </a:defRPr>
            </a:lvl4pPr>
            <a:lvl5pPr marL="2095500" indent="0" algn="ctr">
              <a:buNone/>
              <a:defRPr sz="2000">
                <a:solidFill>
                  <a:srgbClr val="004494"/>
                </a:solidFill>
                <a:latin typeface="Calibri" charset="0"/>
                <a:ea typeface="Calibri" charset="0"/>
                <a:cs typeface="Calibri" charset="0"/>
              </a:defRPr>
            </a:lvl5pPr>
          </a:lstStyle>
          <a:p>
            <a:pPr lvl="0"/>
            <a:r>
              <a:rPr lang="en-US" dirty="0"/>
              <a:t>Edit </a:t>
            </a:r>
            <a:r>
              <a:rPr lang="en-US"/>
              <a:t>here source or footer</a:t>
            </a:r>
            <a:endParaRPr lang="en-US" dirty="0"/>
          </a:p>
        </p:txBody>
      </p:sp>
      <p:sp>
        <p:nvSpPr>
          <p:cNvPr id="36" name="Slide Number Placeholder 1"/>
          <p:cNvSpPr>
            <a:spLocks noGrp="1"/>
          </p:cNvSpPr>
          <p:nvPr>
            <p:ph type="sldNum" sz="quarter" idx="4"/>
          </p:nvPr>
        </p:nvSpPr>
        <p:spPr>
          <a:xfrm>
            <a:off x="22273120" y="12639557"/>
            <a:ext cx="981584" cy="805536"/>
          </a:xfrm>
          <a:prstGeom prst="rect">
            <a:avLst/>
          </a:prstGeom>
        </p:spPr>
        <p:txBody>
          <a:bodyPr vert="horz" lIns="91440" tIns="45720" rIns="91440" bIns="45720" rtlCol="0" anchor="ctr"/>
          <a:lstStyle>
            <a:lvl1pPr algn="r">
              <a:defRPr sz="2400">
                <a:solidFill>
                  <a:srgbClr val="004494"/>
                </a:solidFill>
                <a:latin typeface="Calibri" charset="0"/>
                <a:ea typeface="Calibri" charset="0"/>
                <a:cs typeface="Calibri" charset="0"/>
              </a:defRPr>
            </a:lvl1pPr>
          </a:lstStyle>
          <a:p>
            <a:fld id="{CD1E7C23-2AAD-0D45-B01B-5A673730BB06}" type="slidenum">
              <a:rPr lang="en-US" smtClean="0"/>
              <a:pPr/>
              <a:t>‹#›</a:t>
            </a:fld>
            <a:endParaRPr lang="en-US" dirty="0"/>
          </a:p>
        </p:txBody>
      </p:sp>
      <p:sp>
        <p:nvSpPr>
          <p:cNvPr id="37" name="Content Placeholder 2"/>
          <p:cNvSpPr>
            <a:spLocks noGrp="1"/>
          </p:cNvSpPr>
          <p:nvPr>
            <p:ph sz="quarter" idx="20" hasCustomPrompt="1"/>
          </p:nvPr>
        </p:nvSpPr>
        <p:spPr>
          <a:xfrm>
            <a:off x="1102768" y="589544"/>
            <a:ext cx="20234248" cy="830997"/>
          </a:xfrm>
          <a:prstGeom prst="rect">
            <a:avLst/>
          </a:prstGeom>
        </p:spPr>
        <p:txBody>
          <a:bodyPr lIns="0" tIns="0" rIns="0" bIns="0" anchor="t" anchorCtr="0">
            <a:noAutofit/>
          </a:bodyPr>
          <a:lstStyle>
            <a:lvl1pPr marL="317500" indent="0">
              <a:buNone/>
              <a:defRPr sz="5400" b="1">
                <a:solidFill>
                  <a:srgbClr val="004494"/>
                </a:solidFill>
                <a:latin typeface="Calibri" charset="0"/>
                <a:ea typeface="Calibri" charset="0"/>
                <a:cs typeface="Calibri" charset="0"/>
              </a:defRPr>
            </a:lvl1pPr>
            <a:lvl2pPr marL="762000" indent="0">
              <a:buNone/>
              <a:defRPr>
                <a:solidFill>
                  <a:srgbClr val="174489"/>
                </a:solidFill>
                <a:latin typeface="DIN Condensed" charset="0"/>
                <a:ea typeface="DIN Condensed" charset="0"/>
                <a:cs typeface="DIN Condensed" charset="0"/>
              </a:defRPr>
            </a:lvl2pPr>
            <a:lvl3pPr marL="1206500" indent="0">
              <a:buNone/>
              <a:defRPr>
                <a:solidFill>
                  <a:srgbClr val="174489"/>
                </a:solidFill>
                <a:latin typeface="DIN Condensed" charset="0"/>
                <a:ea typeface="DIN Condensed" charset="0"/>
                <a:cs typeface="DIN Condensed" charset="0"/>
              </a:defRPr>
            </a:lvl3pPr>
            <a:lvl4pPr marL="1651000" indent="0">
              <a:buNone/>
              <a:defRPr>
                <a:solidFill>
                  <a:srgbClr val="174489"/>
                </a:solidFill>
                <a:latin typeface="DIN Condensed" charset="0"/>
                <a:ea typeface="DIN Condensed" charset="0"/>
                <a:cs typeface="DIN Condensed" charset="0"/>
              </a:defRPr>
            </a:lvl4pPr>
            <a:lvl5pPr marL="2095500" indent="0">
              <a:buNone/>
              <a:defRPr>
                <a:solidFill>
                  <a:srgbClr val="174489"/>
                </a:solidFill>
                <a:latin typeface="DIN Condensed" charset="0"/>
                <a:ea typeface="DIN Condensed" charset="0"/>
                <a:cs typeface="DIN Condensed" charset="0"/>
              </a:defRPr>
            </a:lvl5pPr>
          </a:lstStyle>
          <a:p>
            <a:pPr lvl="0"/>
            <a:r>
              <a:rPr lang="en-US" dirty="0"/>
              <a:t>Title comes here</a:t>
            </a:r>
          </a:p>
        </p:txBody>
      </p:sp>
      <p:sp>
        <p:nvSpPr>
          <p:cNvPr id="38" name="Content Placeholder 2"/>
          <p:cNvSpPr>
            <a:spLocks noGrp="1"/>
          </p:cNvSpPr>
          <p:nvPr>
            <p:ph sz="quarter" idx="21" hasCustomPrompt="1"/>
          </p:nvPr>
        </p:nvSpPr>
        <p:spPr>
          <a:xfrm>
            <a:off x="1102768" y="1671169"/>
            <a:ext cx="20234248" cy="492443"/>
          </a:xfrm>
          <a:prstGeom prst="rect">
            <a:avLst/>
          </a:prstGeom>
        </p:spPr>
        <p:txBody>
          <a:bodyPr wrap="square" lIns="0" tIns="0" rIns="0" bIns="0" anchor="t" anchorCtr="0">
            <a:spAutoFit/>
          </a:bodyPr>
          <a:lstStyle>
            <a:lvl1pPr marL="317500" indent="0">
              <a:buNone/>
              <a:defRPr sz="3200" b="0" baseline="0">
                <a:solidFill>
                  <a:srgbClr val="0081C7"/>
                </a:solidFill>
                <a:latin typeface="Calibri" charset="0"/>
                <a:ea typeface="Calibri" charset="0"/>
                <a:cs typeface="Calibri" charset="0"/>
              </a:defRPr>
            </a:lvl1pPr>
            <a:lvl2pPr marL="762000" indent="0">
              <a:buNone/>
              <a:defRPr>
                <a:solidFill>
                  <a:srgbClr val="174489"/>
                </a:solidFill>
                <a:latin typeface="DIN Condensed" charset="0"/>
                <a:ea typeface="DIN Condensed" charset="0"/>
                <a:cs typeface="DIN Condensed" charset="0"/>
              </a:defRPr>
            </a:lvl2pPr>
            <a:lvl3pPr marL="1206500" indent="0">
              <a:buNone/>
              <a:defRPr>
                <a:solidFill>
                  <a:srgbClr val="174489"/>
                </a:solidFill>
                <a:latin typeface="DIN Condensed" charset="0"/>
                <a:ea typeface="DIN Condensed" charset="0"/>
                <a:cs typeface="DIN Condensed" charset="0"/>
              </a:defRPr>
            </a:lvl3pPr>
            <a:lvl4pPr marL="1651000" indent="0">
              <a:buNone/>
              <a:defRPr>
                <a:solidFill>
                  <a:srgbClr val="174489"/>
                </a:solidFill>
                <a:latin typeface="DIN Condensed" charset="0"/>
                <a:ea typeface="DIN Condensed" charset="0"/>
                <a:cs typeface="DIN Condensed" charset="0"/>
              </a:defRPr>
            </a:lvl4pPr>
            <a:lvl5pPr marL="2095500" indent="0">
              <a:buNone/>
              <a:defRPr>
                <a:solidFill>
                  <a:srgbClr val="174489"/>
                </a:solidFill>
                <a:latin typeface="DIN Condensed" charset="0"/>
                <a:ea typeface="DIN Condensed" charset="0"/>
                <a:cs typeface="DIN Condensed" charset="0"/>
              </a:defRPr>
            </a:lvl5pPr>
          </a:lstStyle>
          <a:p>
            <a:pPr lvl="0"/>
            <a:r>
              <a:rPr lang="en-US" dirty="0"/>
              <a:t>Title comes here</a:t>
            </a:r>
          </a:p>
        </p:txBody>
      </p:sp>
      <p:pic>
        <p:nvPicPr>
          <p:cNvPr id="64" name="Picture 6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1450484" y="449288"/>
            <a:ext cx="1830748" cy="1839364"/>
          </a:xfrm>
          <a:prstGeom prst="rect">
            <a:avLst/>
          </a:prstGeom>
        </p:spPr>
      </p:pic>
      <p:pic>
        <p:nvPicPr>
          <p:cNvPr id="39" name="Espace réservé du contenu 2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4529768" y="10856358"/>
            <a:ext cx="5242052" cy="581263"/>
          </a:xfrm>
          <a:prstGeom prst="rect">
            <a:avLst/>
          </a:prstGeom>
        </p:spPr>
      </p:pic>
      <p:pic>
        <p:nvPicPr>
          <p:cNvPr id="40" name="Content Placeholder 5"/>
          <p:cNvPicPr>
            <a:picLocks noChangeAspect="1"/>
          </p:cNvPicPr>
          <p:nvPr userDrawn="1"/>
        </p:nvPicPr>
        <p:blipFill rotWithShape="1">
          <a:blip r:embed="rId5" cstate="email">
            <a:extLst>
              <a:ext uri="{28A0092B-C50C-407E-A947-70E740481C1C}">
                <a14:useLocalDpi xmlns:a14="http://schemas.microsoft.com/office/drawing/2010/main"/>
              </a:ext>
            </a:extLst>
          </a:blip>
          <a:srcRect l="3290"/>
          <a:stretch/>
        </p:blipFill>
        <p:spPr>
          <a:xfrm>
            <a:off x="3694" y="8577611"/>
            <a:ext cx="5731854" cy="2266859"/>
          </a:xfrm>
          <a:prstGeom prst="rect">
            <a:avLst/>
          </a:prstGeom>
        </p:spPr>
      </p:pic>
      <p:pic>
        <p:nvPicPr>
          <p:cNvPr id="41" name="Picture 40">
            <a:hlinkClick r:id="rId6" action="ppaction://hlinksldjump"/>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2436724" y="6724364"/>
            <a:ext cx="2767619" cy="1868734"/>
          </a:xfrm>
          <a:prstGeom prst="rect">
            <a:avLst/>
          </a:prstGeom>
        </p:spPr>
      </p:pic>
      <p:pic>
        <p:nvPicPr>
          <p:cNvPr id="42" name="Picture 41"/>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6790663" y="7011435"/>
            <a:ext cx="1610303" cy="1377564"/>
          </a:xfrm>
          <a:prstGeom prst="rect">
            <a:avLst/>
          </a:prstGeom>
        </p:spPr>
      </p:pic>
      <p:pic>
        <p:nvPicPr>
          <p:cNvPr id="43" name="Picture 42">
            <a:hlinkClick r:id="" action="ppaction://noaction"/>
          </p:cNvPr>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8875148" y="9038060"/>
            <a:ext cx="2706565" cy="1078397"/>
          </a:xfrm>
          <a:prstGeom prst="rect">
            <a:avLst/>
          </a:prstGeom>
        </p:spPr>
      </p:pic>
      <p:pic>
        <p:nvPicPr>
          <p:cNvPr id="45" name="Picture 44"/>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18692730" y="9135198"/>
            <a:ext cx="849428" cy="618558"/>
          </a:xfrm>
          <a:prstGeom prst="rect">
            <a:avLst/>
          </a:prstGeom>
        </p:spPr>
      </p:pic>
      <p:pic>
        <p:nvPicPr>
          <p:cNvPr id="46" name="Picture 45"/>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a:xfrm>
            <a:off x="14663124" y="8500014"/>
            <a:ext cx="4035009" cy="1454330"/>
          </a:xfrm>
          <a:prstGeom prst="rect">
            <a:avLst/>
          </a:prstGeom>
        </p:spPr>
      </p:pic>
      <p:pic>
        <p:nvPicPr>
          <p:cNvPr id="47" name="Picture 46"/>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a:xfrm>
            <a:off x="17967083" y="7584412"/>
            <a:ext cx="2838824" cy="1030633"/>
          </a:xfrm>
          <a:prstGeom prst="rect">
            <a:avLst/>
          </a:prstGeom>
        </p:spPr>
      </p:pic>
      <p:cxnSp>
        <p:nvCxnSpPr>
          <p:cNvPr id="48" name="Elbow Connector 47"/>
          <p:cNvCxnSpPr/>
          <p:nvPr userDrawn="1"/>
        </p:nvCxnSpPr>
        <p:spPr bwMode="auto">
          <a:xfrm rot="10800000" flipV="1">
            <a:off x="4006891" y="10035297"/>
            <a:ext cx="4962366" cy="1111691"/>
          </a:xfrm>
          <a:prstGeom prst="bentConnector3">
            <a:avLst>
              <a:gd name="adj1" fmla="val 50000"/>
            </a:avLst>
          </a:prstGeom>
          <a:blipFill dpi="0" rotWithShape="0">
            <a:blip r:embed="rId13"/>
            <a:srcRect/>
            <a:tile tx="0" ty="0" sx="100000" sy="100000" flip="none" algn="tl"/>
          </a:blipFill>
          <a:ln w="76200" cap="flat" cmpd="sng" algn="ctr">
            <a:solidFill>
              <a:srgbClr val="0081C7"/>
            </a:solidFill>
            <a:prstDash val="solid"/>
            <a:round/>
            <a:headEnd type="none" w="med" len="med"/>
            <a:tailEnd type="triangle"/>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49" name="Elbow Connector 48"/>
          <p:cNvCxnSpPr/>
          <p:nvPr userDrawn="1"/>
        </p:nvCxnSpPr>
        <p:spPr bwMode="auto">
          <a:xfrm flipV="1">
            <a:off x="8663608" y="11357840"/>
            <a:ext cx="2839740" cy="172747"/>
          </a:xfrm>
          <a:prstGeom prst="bentConnector3">
            <a:avLst>
              <a:gd name="adj1" fmla="val 50000"/>
            </a:avLst>
          </a:prstGeom>
          <a:blipFill dpi="0" rotWithShape="0">
            <a:blip r:embed="rId13"/>
            <a:srcRect/>
            <a:tile tx="0" ty="0" sx="100000" sy="100000" flip="none" algn="tl"/>
          </a:blipFill>
          <a:ln w="76200" cap="flat" cmpd="sng" algn="ctr">
            <a:solidFill>
              <a:srgbClr val="AF4035"/>
            </a:solidFill>
            <a:prstDash val="solid"/>
            <a:round/>
            <a:headEnd type="none" w="med" len="med"/>
            <a:tailEnd type="triangle"/>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50" name="Straight Arrow Connector 49"/>
          <p:cNvCxnSpPr/>
          <p:nvPr userDrawn="1"/>
        </p:nvCxnSpPr>
        <p:spPr bwMode="auto">
          <a:xfrm flipV="1">
            <a:off x="12650017" y="7783342"/>
            <a:ext cx="1486199" cy="2415349"/>
          </a:xfrm>
          <a:prstGeom prst="straightConnector1">
            <a:avLst/>
          </a:prstGeom>
          <a:blipFill dpi="0" rotWithShape="0">
            <a:blip r:embed="rId13"/>
            <a:srcRect/>
            <a:tile tx="0" ty="0" sx="100000" sy="100000" flip="none" algn="tl"/>
          </a:blipFill>
          <a:ln w="76200" cap="flat" cmpd="sng" algn="ctr">
            <a:solidFill>
              <a:srgbClr val="0081C7"/>
            </a:solidFill>
            <a:prstDash val="solid"/>
            <a:round/>
            <a:headEnd type="none" w="med" len="med"/>
            <a:tailEnd type="triangle"/>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51" name="Straight Arrow Connector 50"/>
          <p:cNvCxnSpPr/>
          <p:nvPr userDrawn="1"/>
        </p:nvCxnSpPr>
        <p:spPr bwMode="auto">
          <a:xfrm flipV="1">
            <a:off x="13848184" y="8259087"/>
            <a:ext cx="3713877" cy="1"/>
          </a:xfrm>
          <a:prstGeom prst="straightConnector1">
            <a:avLst/>
          </a:prstGeom>
          <a:blipFill dpi="0" rotWithShape="0">
            <a:blip r:embed="rId13"/>
            <a:srcRect/>
            <a:tile tx="0" ty="0" sx="100000" sy="100000" flip="none" algn="tl"/>
          </a:blipFill>
          <a:ln w="76200" cap="flat" cmpd="sng" algn="ctr">
            <a:solidFill>
              <a:srgbClr val="0081C7"/>
            </a:solidFill>
            <a:prstDash val="solid"/>
            <a:round/>
            <a:headEnd type="none" w="med" len="med"/>
            <a:tailEnd type="triangle"/>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52" name="Straight Arrow Connector 51"/>
          <p:cNvCxnSpPr/>
          <p:nvPr userDrawn="1"/>
        </p:nvCxnSpPr>
        <p:spPr bwMode="auto">
          <a:xfrm>
            <a:off x="12650017" y="10195270"/>
            <a:ext cx="5589428" cy="26678"/>
          </a:xfrm>
          <a:prstGeom prst="straightConnector1">
            <a:avLst/>
          </a:prstGeom>
          <a:blipFill dpi="0" rotWithShape="0">
            <a:blip r:embed="rId13"/>
            <a:srcRect/>
            <a:tile tx="0" ty="0" sx="100000" sy="100000" flip="none" algn="tl"/>
          </a:blipFill>
          <a:ln w="76200" cap="flat" cmpd="sng" algn="ctr">
            <a:solidFill>
              <a:srgbClr val="0081C7"/>
            </a:solidFill>
            <a:prstDash val="solid"/>
            <a:round/>
            <a:headEnd type="none" w="med" len="med"/>
            <a:tailEnd type="triangle"/>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53" name="Straight Arrow Connector 52"/>
          <p:cNvCxnSpPr/>
          <p:nvPr userDrawn="1"/>
        </p:nvCxnSpPr>
        <p:spPr bwMode="auto">
          <a:xfrm>
            <a:off x="4729444" y="8259087"/>
            <a:ext cx="4274162" cy="1172502"/>
          </a:xfrm>
          <a:prstGeom prst="straightConnector1">
            <a:avLst/>
          </a:prstGeom>
          <a:blipFill dpi="0" rotWithShape="0">
            <a:blip r:embed="rId13"/>
            <a:srcRect/>
            <a:tile tx="0" ty="0" sx="100000" sy="100000" flip="none" algn="tl"/>
          </a:blipFill>
          <a:ln w="76200" cap="flat" cmpd="sng" algn="ctr">
            <a:solidFill>
              <a:srgbClr val="FFD616"/>
            </a:solidFill>
            <a:prstDash val="solid"/>
            <a:round/>
            <a:headEnd type="none" w="med" len="med"/>
            <a:tailEnd type="triangle"/>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pic>
        <p:nvPicPr>
          <p:cNvPr id="54" name="Picture 53"/>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21482182" y="8259087"/>
            <a:ext cx="1610303" cy="1377564"/>
          </a:xfrm>
          <a:prstGeom prst="rect">
            <a:avLst/>
          </a:prstGeom>
        </p:spPr>
      </p:pic>
      <p:pic>
        <p:nvPicPr>
          <p:cNvPr id="55" name="Picture 54"/>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a:off x="14341617" y="6711271"/>
            <a:ext cx="4309070" cy="1284116"/>
          </a:xfrm>
          <a:prstGeom prst="rect">
            <a:avLst/>
          </a:prstGeom>
        </p:spPr>
      </p:pic>
      <p:pic>
        <p:nvPicPr>
          <p:cNvPr id="56" name="Picture 55"/>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a:off x="11661403" y="10076676"/>
            <a:ext cx="2460444" cy="1715244"/>
          </a:xfrm>
          <a:prstGeom prst="rect">
            <a:avLst/>
          </a:prstGeom>
        </p:spPr>
      </p:pic>
      <p:pic>
        <p:nvPicPr>
          <p:cNvPr id="57" name="Picture 56"/>
          <p:cNvPicPr>
            <a:picLocks noChangeAspect="1"/>
          </p:cNvPicPr>
          <p:nvPr userDrawn="1"/>
        </p:nvPicPr>
        <p:blipFill>
          <a:blip r:embed="rId16" cstate="email">
            <a:extLst>
              <a:ext uri="{28A0092B-C50C-407E-A947-70E740481C1C}">
                <a14:useLocalDpi xmlns:a14="http://schemas.microsoft.com/office/drawing/2010/main"/>
              </a:ext>
            </a:extLst>
          </a:blip>
          <a:stretch>
            <a:fillRect/>
          </a:stretch>
        </p:blipFill>
        <p:spPr>
          <a:xfrm>
            <a:off x="8944180" y="6785413"/>
            <a:ext cx="3684892" cy="1631955"/>
          </a:xfrm>
          <a:prstGeom prst="rect">
            <a:avLst/>
          </a:prstGeom>
        </p:spPr>
      </p:pic>
      <p:pic>
        <p:nvPicPr>
          <p:cNvPr id="58" name="Picture 57"/>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a:xfrm>
            <a:off x="11457215" y="7779964"/>
            <a:ext cx="1425152" cy="1447350"/>
          </a:xfrm>
          <a:prstGeom prst="rect">
            <a:avLst/>
          </a:prstGeom>
        </p:spPr>
      </p:pic>
      <p:pic>
        <p:nvPicPr>
          <p:cNvPr id="60" name="Picture 59"/>
          <p:cNvPicPr>
            <a:picLocks noChangeAspect="1"/>
          </p:cNvPicPr>
          <p:nvPr userDrawn="1"/>
        </p:nvPicPr>
        <p:blipFill>
          <a:blip r:embed="rId18" cstate="email">
            <a:extLst>
              <a:ext uri="{28A0092B-C50C-407E-A947-70E740481C1C}">
                <a14:useLocalDpi xmlns:a14="http://schemas.microsoft.com/office/drawing/2010/main"/>
              </a:ext>
            </a:extLst>
          </a:blip>
          <a:stretch>
            <a:fillRect/>
          </a:stretch>
        </p:blipFill>
        <p:spPr>
          <a:xfrm>
            <a:off x="1311323" y="10168306"/>
            <a:ext cx="2384377" cy="1781270"/>
          </a:xfrm>
          <a:prstGeom prst="rect">
            <a:avLst/>
          </a:prstGeom>
        </p:spPr>
      </p:pic>
      <p:pic>
        <p:nvPicPr>
          <p:cNvPr id="61" name="Picture 60"/>
          <p:cNvPicPr>
            <a:picLocks noChangeAspect="1"/>
          </p:cNvPicPr>
          <p:nvPr userDrawn="1"/>
        </p:nvPicPr>
        <p:blipFill>
          <a:blip r:embed="rId19" cstate="email">
            <a:extLst>
              <a:ext uri="{28A0092B-C50C-407E-A947-70E740481C1C}">
                <a14:useLocalDpi xmlns:a14="http://schemas.microsoft.com/office/drawing/2010/main"/>
              </a:ext>
            </a:extLst>
          </a:blip>
          <a:stretch>
            <a:fillRect/>
          </a:stretch>
        </p:blipFill>
        <p:spPr>
          <a:xfrm>
            <a:off x="6924506" y="10197333"/>
            <a:ext cx="2202806" cy="1721375"/>
          </a:xfrm>
          <a:prstGeom prst="rect">
            <a:avLst/>
          </a:prstGeom>
        </p:spPr>
      </p:pic>
      <p:cxnSp>
        <p:nvCxnSpPr>
          <p:cNvPr id="62" name="Straight Arrow Connector 61"/>
          <p:cNvCxnSpPr/>
          <p:nvPr userDrawn="1"/>
        </p:nvCxnSpPr>
        <p:spPr bwMode="auto">
          <a:xfrm flipV="1">
            <a:off x="5912706" y="9711041"/>
            <a:ext cx="3090900" cy="37434"/>
          </a:xfrm>
          <a:prstGeom prst="straightConnector1">
            <a:avLst/>
          </a:prstGeom>
          <a:blipFill dpi="0" rotWithShape="0">
            <a:blip r:embed="rId13"/>
            <a:srcRect/>
            <a:tile tx="0" ty="0" sx="100000" sy="100000" flip="none" algn="tl"/>
          </a:blipFill>
          <a:ln w="76200" cap="flat" cmpd="sng" algn="ctr">
            <a:solidFill>
              <a:srgbClr val="FFD616"/>
            </a:solidFill>
            <a:prstDash val="solid"/>
            <a:round/>
            <a:headEnd type="none" w="med" len="med"/>
            <a:tailEnd type="triangle"/>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84" name="Straight Arrow Connector 83"/>
          <p:cNvCxnSpPr/>
          <p:nvPr userDrawn="1"/>
        </p:nvCxnSpPr>
        <p:spPr bwMode="auto">
          <a:xfrm flipH="1">
            <a:off x="10316270" y="10226799"/>
            <a:ext cx="3009" cy="1138176"/>
          </a:xfrm>
          <a:prstGeom prst="straightConnector1">
            <a:avLst/>
          </a:prstGeom>
          <a:blipFill dpi="0" rotWithShape="0">
            <a:blip r:embed="rId13"/>
            <a:srcRect/>
            <a:tile tx="0" ty="0" sx="100000" sy="100000" flip="none" algn="tl"/>
          </a:blipFill>
          <a:ln w="76200" cap="flat" cmpd="sng" algn="ctr">
            <a:solidFill>
              <a:srgbClr val="0081C7"/>
            </a:solidFill>
            <a:prstDash val="solid"/>
            <a:round/>
            <a:headEnd type="none" w="med" len="med"/>
            <a:tailEnd type="triangle"/>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89" name="Straight Arrow Connector 88"/>
          <p:cNvCxnSpPr/>
          <p:nvPr userDrawn="1"/>
        </p:nvCxnSpPr>
        <p:spPr bwMode="auto">
          <a:xfrm flipV="1">
            <a:off x="9530514" y="10168306"/>
            <a:ext cx="0" cy="1362281"/>
          </a:xfrm>
          <a:prstGeom prst="straightConnector1">
            <a:avLst/>
          </a:prstGeom>
          <a:blipFill dpi="0" rotWithShape="0">
            <a:blip r:embed="rId13"/>
            <a:srcRect/>
            <a:tile tx="0" ty="0" sx="100000" sy="100000" flip="none" algn="tl"/>
          </a:blipFill>
          <a:ln w="76200" cap="flat" cmpd="sng" algn="ctr">
            <a:solidFill>
              <a:srgbClr val="AF4035"/>
            </a:solidFill>
            <a:prstDash val="solid"/>
            <a:round/>
            <a:headEnd type="none" w="med" len="med"/>
            <a:tailEnd type="triangle"/>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90" name="Straight Arrow Connector 89"/>
          <p:cNvCxnSpPr/>
          <p:nvPr userDrawn="1"/>
        </p:nvCxnSpPr>
        <p:spPr bwMode="auto">
          <a:xfrm>
            <a:off x="11100146" y="10226799"/>
            <a:ext cx="957368" cy="375617"/>
          </a:xfrm>
          <a:prstGeom prst="straightConnector1">
            <a:avLst/>
          </a:prstGeom>
          <a:blipFill dpi="0" rotWithShape="0">
            <a:blip r:embed="rId13"/>
            <a:srcRect/>
            <a:tile tx="0" ty="0" sx="100000" sy="100000" flip="none" algn="tl"/>
          </a:blipFill>
          <a:ln w="76200" cap="flat" cmpd="sng" algn="ctr">
            <a:solidFill>
              <a:srgbClr val="0081C7"/>
            </a:solidFill>
            <a:prstDash val="solid"/>
            <a:round/>
            <a:headEnd type="none" w="med" len="med"/>
            <a:tailEnd type="triangle"/>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91" name="Straight Arrow Connector 90"/>
          <p:cNvCxnSpPr/>
          <p:nvPr userDrawn="1"/>
        </p:nvCxnSpPr>
        <p:spPr bwMode="auto">
          <a:xfrm>
            <a:off x="11487364" y="9529840"/>
            <a:ext cx="1496724" cy="69792"/>
          </a:xfrm>
          <a:prstGeom prst="straightConnector1">
            <a:avLst/>
          </a:prstGeom>
          <a:blipFill dpi="0" rotWithShape="0">
            <a:blip r:embed="rId13"/>
            <a:srcRect/>
            <a:tile tx="0" ty="0" sx="100000" sy="100000" flip="none" algn="tl"/>
          </a:blipFill>
          <a:ln w="76200" cap="flat" cmpd="sng" algn="ctr">
            <a:solidFill>
              <a:srgbClr val="0081C7"/>
            </a:solidFill>
            <a:prstDash val="solid"/>
            <a:round/>
            <a:headEnd type="none" w="med" len="med"/>
            <a:tailEnd type="triangle"/>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92" name="Straight Arrow Connector 91"/>
          <p:cNvCxnSpPr/>
          <p:nvPr userDrawn="1"/>
        </p:nvCxnSpPr>
        <p:spPr bwMode="auto">
          <a:xfrm>
            <a:off x="13280500" y="9209731"/>
            <a:ext cx="1217152" cy="34896"/>
          </a:xfrm>
          <a:prstGeom prst="straightConnector1">
            <a:avLst/>
          </a:prstGeom>
          <a:blipFill dpi="0" rotWithShape="0">
            <a:blip r:embed="rId13"/>
            <a:srcRect/>
            <a:tile tx="0" ty="0" sx="100000" sy="100000" flip="none" algn="tl"/>
          </a:blipFill>
          <a:ln w="76200" cap="flat" cmpd="sng" algn="ctr">
            <a:solidFill>
              <a:srgbClr val="0081C7"/>
            </a:solidFill>
            <a:prstDash val="solid"/>
            <a:round/>
            <a:headEnd type="none" w="med" len="med"/>
            <a:tailEnd type="triangle"/>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pic>
        <p:nvPicPr>
          <p:cNvPr id="59" name="Picture 58"/>
          <p:cNvPicPr>
            <a:picLocks noChangeAspect="1"/>
          </p:cNvPicPr>
          <p:nvPr userDrawn="1"/>
        </p:nvPicPr>
        <p:blipFill rotWithShape="1">
          <a:blip r:embed="rId20" cstate="email">
            <a:extLst>
              <a:ext uri="{28A0092B-C50C-407E-A947-70E740481C1C}">
                <a14:useLocalDpi xmlns:a14="http://schemas.microsoft.com/office/drawing/2010/main"/>
              </a:ext>
            </a:extLst>
          </a:blip>
          <a:srcRect/>
          <a:stretch/>
        </p:blipFill>
        <p:spPr>
          <a:xfrm>
            <a:off x="18404917" y="9810328"/>
            <a:ext cx="2883430" cy="693199"/>
          </a:xfrm>
          <a:prstGeom prst="rect">
            <a:avLst/>
          </a:prstGeom>
        </p:spPr>
      </p:pic>
      <p:pic>
        <p:nvPicPr>
          <p:cNvPr id="63" name="Picture 62"/>
          <p:cNvPicPr>
            <a:picLocks noChangeAspect="1"/>
          </p:cNvPicPr>
          <p:nvPr userDrawn="1"/>
        </p:nvPicPr>
        <p:blipFill rotWithShape="1">
          <a:blip r:embed="rId21" cstate="email">
            <a:extLst>
              <a:ext uri="{28A0092B-C50C-407E-A947-70E740481C1C}">
                <a14:useLocalDpi xmlns:a14="http://schemas.microsoft.com/office/drawing/2010/main"/>
              </a:ext>
            </a:extLst>
          </a:blip>
          <a:srcRect/>
          <a:stretch/>
        </p:blipFill>
        <p:spPr>
          <a:xfrm flipH="1">
            <a:off x="18359963" y="10565783"/>
            <a:ext cx="2977053" cy="704666"/>
          </a:xfrm>
          <a:prstGeom prst="rect">
            <a:avLst/>
          </a:prstGeom>
        </p:spPr>
      </p:pic>
      <p:pic>
        <p:nvPicPr>
          <p:cNvPr id="65" name="Picture 64"/>
          <p:cNvPicPr>
            <a:picLocks noChangeAspect="1"/>
          </p:cNvPicPr>
          <p:nvPr userDrawn="1"/>
        </p:nvPicPr>
        <p:blipFill rotWithShape="1">
          <a:blip r:embed="rId22" cstate="email">
            <a:extLst>
              <a:ext uri="{28A0092B-C50C-407E-A947-70E740481C1C}">
                <a14:useLocalDpi xmlns:a14="http://schemas.microsoft.com/office/drawing/2010/main"/>
              </a:ext>
            </a:extLst>
          </a:blip>
          <a:srcRect/>
          <a:stretch/>
        </p:blipFill>
        <p:spPr>
          <a:xfrm>
            <a:off x="21054378" y="10653383"/>
            <a:ext cx="832455" cy="786266"/>
          </a:xfrm>
          <a:prstGeom prst="rect">
            <a:avLst/>
          </a:prstGeom>
        </p:spPr>
      </p:pic>
    </p:spTree>
    <p:extLst>
      <p:ext uri="{BB962C8B-B14F-4D97-AF65-F5344CB8AC3E}">
        <p14:creationId xmlns:p14="http://schemas.microsoft.com/office/powerpoint/2010/main" val="428467754"/>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ack_Cover">
    <p:spTree>
      <p:nvGrpSpPr>
        <p:cNvPr id="1" name=""/>
        <p:cNvGrpSpPr/>
        <p:nvPr/>
      </p:nvGrpSpPr>
      <p:grpSpPr>
        <a:xfrm>
          <a:off x="0" y="0"/>
          <a:ext cx="0" cy="0"/>
          <a:chOff x="0" y="0"/>
          <a:chExt cx="0" cy="0"/>
        </a:xfrm>
      </p:grpSpPr>
      <p:sp>
        <p:nvSpPr>
          <p:cNvPr id="2" name="Rectangle 1"/>
          <p:cNvSpPr/>
          <p:nvPr userDrawn="1"/>
        </p:nvSpPr>
        <p:spPr bwMode="auto">
          <a:xfrm>
            <a:off x="0" y="0"/>
            <a:ext cx="24384000" cy="13716000"/>
          </a:xfrm>
          <a:prstGeom prst="rect">
            <a:avLst/>
          </a:prstGeom>
          <a:solidFill>
            <a:schemeClr val="bg1"/>
          </a:solidFill>
          <a:ln w="254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600" b="0" i="0" u="none" strike="noStrike" cap="none" normalizeH="0" baseline="0">
              <a:ln>
                <a:noFill/>
              </a:ln>
              <a:solidFill>
                <a:srgbClr val="000000"/>
              </a:solidFill>
              <a:effectLst/>
              <a:latin typeface="Gill Sans" charset="0"/>
              <a:ea typeface="Heiti SC Light" charset="0"/>
              <a:cs typeface="Heiti SC Light" charset="0"/>
              <a:sym typeface="Gill Sans" charset="0"/>
            </a:endParaRPr>
          </a:p>
        </p:txBody>
      </p:sp>
      <p:pic>
        <p:nvPicPr>
          <p:cNvPr id="14" name="Picture 13"/>
          <p:cNvPicPr>
            <a:picLocks noChangeAspect="1"/>
          </p:cNvPicPr>
          <p:nvPr userDrawn="1"/>
        </p:nvPicPr>
        <p:blipFill rotWithShape="1">
          <a:blip r:embed="rId2" cstate="email">
            <a:extLst>
              <a:ext uri="{28A0092B-C50C-407E-A947-70E740481C1C}">
                <a14:useLocalDpi xmlns:a14="http://schemas.microsoft.com/office/drawing/2010/main"/>
              </a:ext>
            </a:extLst>
          </a:blip>
          <a:srcRect l="-1" t="-7614" r="-81464" b="5747"/>
          <a:stretch/>
        </p:blipFill>
        <p:spPr>
          <a:xfrm>
            <a:off x="0" y="0"/>
            <a:ext cx="24384000" cy="13716000"/>
          </a:xfrm>
          <a:prstGeom prst="rect">
            <a:avLst/>
          </a:prstGeom>
          <a:gradFill>
            <a:gsLst>
              <a:gs pos="0">
                <a:srgbClr val="62C4DD">
                  <a:alpha val="43000"/>
                </a:srgbClr>
              </a:gs>
              <a:gs pos="100000">
                <a:srgbClr val="3DA7AB">
                  <a:alpha val="91000"/>
                </a:srgbClr>
              </a:gs>
            </a:gsLst>
            <a:lin ang="5400000" scaled="1"/>
          </a:gradFill>
        </p:spPr>
      </p:pic>
      <p:sp>
        <p:nvSpPr>
          <p:cNvPr id="9" name="Freeform 8"/>
          <p:cNvSpPr/>
          <p:nvPr userDrawn="1"/>
        </p:nvSpPr>
        <p:spPr bwMode="auto">
          <a:xfrm>
            <a:off x="0" y="-10981"/>
            <a:ext cx="24384000" cy="3892266"/>
          </a:xfrm>
          <a:custGeom>
            <a:avLst/>
            <a:gdLst>
              <a:gd name="connsiteX0" fmla="*/ 0 w 24418548"/>
              <a:gd name="connsiteY0" fmla="*/ 0 h 3892266"/>
              <a:gd name="connsiteX1" fmla="*/ 24418548 w 24418548"/>
              <a:gd name="connsiteY1" fmla="*/ 0 h 3892266"/>
              <a:gd name="connsiteX2" fmla="*/ 24418548 w 24418548"/>
              <a:gd name="connsiteY2" fmla="*/ 3683623 h 3892266"/>
              <a:gd name="connsiteX3" fmla="*/ 24402436 w 24418548"/>
              <a:gd name="connsiteY3" fmla="*/ 3875134 h 3892266"/>
              <a:gd name="connsiteX4" fmla="*/ 24398756 w 24418548"/>
              <a:gd name="connsiteY4" fmla="*/ 3892266 h 3892266"/>
              <a:gd name="connsiteX5" fmla="*/ 24382888 w 24418548"/>
              <a:gd name="connsiteY5" fmla="*/ 3818330 h 3892266"/>
              <a:gd name="connsiteX6" fmla="*/ 23625324 w 24418548"/>
              <a:gd name="connsiteY6" fmla="*/ 3150650 h 3892266"/>
              <a:gd name="connsiteX7" fmla="*/ 793227 w 24418548"/>
              <a:gd name="connsiteY7" fmla="*/ 3150650 h 3892266"/>
              <a:gd name="connsiteX8" fmla="*/ 705272 w 24418548"/>
              <a:gd name="connsiteY8" fmla="*/ 3159284 h 3892266"/>
              <a:gd name="connsiteX9" fmla="*/ 705272 w 24418548"/>
              <a:gd name="connsiteY9" fmla="*/ 3132974 h 3892266"/>
              <a:gd name="connsiteX10" fmla="*/ 580188 w 24418548"/>
              <a:gd name="connsiteY10" fmla="*/ 3109877 h 3892266"/>
              <a:gd name="connsiteX11" fmla="*/ 15965 w 24418548"/>
              <a:gd name="connsiteY11" fmla="*/ 2509488 h 3892266"/>
              <a:gd name="connsiteX12" fmla="*/ 6371 w 24418548"/>
              <a:gd name="connsiteY12" fmla="*/ 2414301 h 3892266"/>
              <a:gd name="connsiteX13" fmla="*/ 0 w 24418548"/>
              <a:gd name="connsiteY13" fmla="*/ 2414301 h 3892266"/>
              <a:gd name="connsiteX0" fmla="*/ 0 w 24418548"/>
              <a:gd name="connsiteY0" fmla="*/ 0 h 3892266"/>
              <a:gd name="connsiteX1" fmla="*/ 24418548 w 24418548"/>
              <a:gd name="connsiteY1" fmla="*/ 0 h 3892266"/>
              <a:gd name="connsiteX2" fmla="*/ 24418548 w 24418548"/>
              <a:gd name="connsiteY2" fmla="*/ 3683623 h 3892266"/>
              <a:gd name="connsiteX3" fmla="*/ 24402436 w 24418548"/>
              <a:gd name="connsiteY3" fmla="*/ 3875134 h 3892266"/>
              <a:gd name="connsiteX4" fmla="*/ 24398756 w 24418548"/>
              <a:gd name="connsiteY4" fmla="*/ 3892266 h 3892266"/>
              <a:gd name="connsiteX5" fmla="*/ 24382888 w 24418548"/>
              <a:gd name="connsiteY5" fmla="*/ 3818330 h 3892266"/>
              <a:gd name="connsiteX6" fmla="*/ 23625324 w 24418548"/>
              <a:gd name="connsiteY6" fmla="*/ 3150650 h 3892266"/>
              <a:gd name="connsiteX7" fmla="*/ 793227 w 24418548"/>
              <a:gd name="connsiteY7" fmla="*/ 3150650 h 3892266"/>
              <a:gd name="connsiteX8" fmla="*/ 705272 w 24418548"/>
              <a:gd name="connsiteY8" fmla="*/ 3159284 h 3892266"/>
              <a:gd name="connsiteX9" fmla="*/ 628381 w 24418548"/>
              <a:gd name="connsiteY9" fmla="*/ 3447081 h 3892266"/>
              <a:gd name="connsiteX10" fmla="*/ 580188 w 24418548"/>
              <a:gd name="connsiteY10" fmla="*/ 3109877 h 3892266"/>
              <a:gd name="connsiteX11" fmla="*/ 15965 w 24418548"/>
              <a:gd name="connsiteY11" fmla="*/ 2509488 h 3892266"/>
              <a:gd name="connsiteX12" fmla="*/ 6371 w 24418548"/>
              <a:gd name="connsiteY12" fmla="*/ 2414301 h 3892266"/>
              <a:gd name="connsiteX13" fmla="*/ 0 w 24418548"/>
              <a:gd name="connsiteY13" fmla="*/ 2414301 h 3892266"/>
              <a:gd name="connsiteX14" fmla="*/ 0 w 24418548"/>
              <a:gd name="connsiteY14" fmla="*/ 0 h 3892266"/>
              <a:gd name="connsiteX0" fmla="*/ 0 w 24418548"/>
              <a:gd name="connsiteY0" fmla="*/ 0 h 3892266"/>
              <a:gd name="connsiteX1" fmla="*/ 24418548 w 24418548"/>
              <a:gd name="connsiteY1" fmla="*/ 0 h 3892266"/>
              <a:gd name="connsiteX2" fmla="*/ 24418548 w 24418548"/>
              <a:gd name="connsiteY2" fmla="*/ 3683623 h 3892266"/>
              <a:gd name="connsiteX3" fmla="*/ 24402436 w 24418548"/>
              <a:gd name="connsiteY3" fmla="*/ 3875134 h 3892266"/>
              <a:gd name="connsiteX4" fmla="*/ 24398756 w 24418548"/>
              <a:gd name="connsiteY4" fmla="*/ 3892266 h 3892266"/>
              <a:gd name="connsiteX5" fmla="*/ 24382888 w 24418548"/>
              <a:gd name="connsiteY5" fmla="*/ 3818330 h 3892266"/>
              <a:gd name="connsiteX6" fmla="*/ 23625324 w 24418548"/>
              <a:gd name="connsiteY6" fmla="*/ 3150650 h 3892266"/>
              <a:gd name="connsiteX7" fmla="*/ 793227 w 24418548"/>
              <a:gd name="connsiteY7" fmla="*/ 3150650 h 3892266"/>
              <a:gd name="connsiteX8" fmla="*/ 705272 w 24418548"/>
              <a:gd name="connsiteY8" fmla="*/ 3159284 h 3892266"/>
              <a:gd name="connsiteX9" fmla="*/ 580188 w 24418548"/>
              <a:gd name="connsiteY9" fmla="*/ 3109877 h 3892266"/>
              <a:gd name="connsiteX10" fmla="*/ 15965 w 24418548"/>
              <a:gd name="connsiteY10" fmla="*/ 2509488 h 3892266"/>
              <a:gd name="connsiteX11" fmla="*/ 6371 w 24418548"/>
              <a:gd name="connsiteY11" fmla="*/ 2414301 h 3892266"/>
              <a:gd name="connsiteX12" fmla="*/ 0 w 24418548"/>
              <a:gd name="connsiteY12" fmla="*/ 2414301 h 3892266"/>
              <a:gd name="connsiteX13" fmla="*/ 0 w 24418548"/>
              <a:gd name="connsiteY13" fmla="*/ 0 h 3892266"/>
              <a:gd name="connsiteX0" fmla="*/ 0 w 24418548"/>
              <a:gd name="connsiteY0" fmla="*/ 0 h 3892266"/>
              <a:gd name="connsiteX1" fmla="*/ 24418548 w 24418548"/>
              <a:gd name="connsiteY1" fmla="*/ 0 h 3892266"/>
              <a:gd name="connsiteX2" fmla="*/ 24418548 w 24418548"/>
              <a:gd name="connsiteY2" fmla="*/ 3683623 h 3892266"/>
              <a:gd name="connsiteX3" fmla="*/ 24402436 w 24418548"/>
              <a:gd name="connsiteY3" fmla="*/ 3875134 h 3892266"/>
              <a:gd name="connsiteX4" fmla="*/ 24398756 w 24418548"/>
              <a:gd name="connsiteY4" fmla="*/ 3892266 h 3892266"/>
              <a:gd name="connsiteX5" fmla="*/ 24382888 w 24418548"/>
              <a:gd name="connsiteY5" fmla="*/ 3818330 h 3892266"/>
              <a:gd name="connsiteX6" fmla="*/ 23625324 w 24418548"/>
              <a:gd name="connsiteY6" fmla="*/ 3150650 h 3892266"/>
              <a:gd name="connsiteX7" fmla="*/ 793227 w 24418548"/>
              <a:gd name="connsiteY7" fmla="*/ 3150650 h 3892266"/>
              <a:gd name="connsiteX8" fmla="*/ 705272 w 24418548"/>
              <a:gd name="connsiteY8" fmla="*/ 3173245 h 3892266"/>
              <a:gd name="connsiteX9" fmla="*/ 580188 w 24418548"/>
              <a:gd name="connsiteY9" fmla="*/ 3109877 h 3892266"/>
              <a:gd name="connsiteX10" fmla="*/ 15965 w 24418548"/>
              <a:gd name="connsiteY10" fmla="*/ 2509488 h 3892266"/>
              <a:gd name="connsiteX11" fmla="*/ 6371 w 24418548"/>
              <a:gd name="connsiteY11" fmla="*/ 2414301 h 3892266"/>
              <a:gd name="connsiteX12" fmla="*/ 0 w 24418548"/>
              <a:gd name="connsiteY12" fmla="*/ 2414301 h 3892266"/>
              <a:gd name="connsiteX13" fmla="*/ 0 w 24418548"/>
              <a:gd name="connsiteY13" fmla="*/ 0 h 3892266"/>
              <a:gd name="connsiteX0" fmla="*/ 0 w 24418548"/>
              <a:gd name="connsiteY0" fmla="*/ 0 h 3892266"/>
              <a:gd name="connsiteX1" fmla="*/ 24418548 w 24418548"/>
              <a:gd name="connsiteY1" fmla="*/ 0 h 3892266"/>
              <a:gd name="connsiteX2" fmla="*/ 24418548 w 24418548"/>
              <a:gd name="connsiteY2" fmla="*/ 3683623 h 3892266"/>
              <a:gd name="connsiteX3" fmla="*/ 24402436 w 24418548"/>
              <a:gd name="connsiteY3" fmla="*/ 3875134 h 3892266"/>
              <a:gd name="connsiteX4" fmla="*/ 24398756 w 24418548"/>
              <a:gd name="connsiteY4" fmla="*/ 3892266 h 3892266"/>
              <a:gd name="connsiteX5" fmla="*/ 24382888 w 24418548"/>
              <a:gd name="connsiteY5" fmla="*/ 3818330 h 3892266"/>
              <a:gd name="connsiteX6" fmla="*/ 23625324 w 24418548"/>
              <a:gd name="connsiteY6" fmla="*/ 3150650 h 3892266"/>
              <a:gd name="connsiteX7" fmla="*/ 793227 w 24418548"/>
              <a:gd name="connsiteY7" fmla="*/ 3150650 h 3892266"/>
              <a:gd name="connsiteX8" fmla="*/ 580188 w 24418548"/>
              <a:gd name="connsiteY8" fmla="*/ 3109877 h 3892266"/>
              <a:gd name="connsiteX9" fmla="*/ 15965 w 24418548"/>
              <a:gd name="connsiteY9" fmla="*/ 2509488 h 3892266"/>
              <a:gd name="connsiteX10" fmla="*/ 6371 w 24418548"/>
              <a:gd name="connsiteY10" fmla="*/ 2414301 h 3892266"/>
              <a:gd name="connsiteX11" fmla="*/ 0 w 24418548"/>
              <a:gd name="connsiteY11" fmla="*/ 2414301 h 3892266"/>
              <a:gd name="connsiteX12" fmla="*/ 0 w 24418548"/>
              <a:gd name="connsiteY12" fmla="*/ 0 h 3892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418548" h="3892266">
                <a:moveTo>
                  <a:pt x="0" y="0"/>
                </a:moveTo>
                <a:lnTo>
                  <a:pt x="24418548" y="0"/>
                </a:lnTo>
                <a:lnTo>
                  <a:pt x="24418548" y="3683623"/>
                </a:lnTo>
                <a:cubicBezTo>
                  <a:pt x="24418548" y="3749226"/>
                  <a:pt x="24413000" y="3813274"/>
                  <a:pt x="24402436" y="3875134"/>
                </a:cubicBezTo>
                <a:lnTo>
                  <a:pt x="24398756" y="3892266"/>
                </a:lnTo>
                <a:lnTo>
                  <a:pt x="24382888" y="3818330"/>
                </a:lnTo>
                <a:cubicBezTo>
                  <a:pt x="24282456" y="3431510"/>
                  <a:pt x="23981268" y="3150650"/>
                  <a:pt x="23625324" y="3150650"/>
                </a:cubicBezTo>
                <a:lnTo>
                  <a:pt x="793227" y="3150650"/>
                </a:lnTo>
                <a:lnTo>
                  <a:pt x="580188" y="3109877"/>
                </a:lnTo>
                <a:cubicBezTo>
                  <a:pt x="295899" y="3032945"/>
                  <a:pt x="75517" y="2800509"/>
                  <a:pt x="15965" y="2509488"/>
                </a:cubicBezTo>
                <a:lnTo>
                  <a:pt x="6371" y="2414301"/>
                </a:lnTo>
                <a:lnTo>
                  <a:pt x="0" y="2414301"/>
                </a:lnTo>
                <a:lnTo>
                  <a:pt x="0" y="0"/>
                </a:lnTo>
                <a:close/>
              </a:path>
            </a:pathLst>
          </a:custGeom>
          <a:solidFill>
            <a:schemeClr val="bg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600" b="0" i="0" u="none" strike="noStrike" cap="none" normalizeH="0" baseline="0" smtClean="0">
              <a:ln>
                <a:noFill/>
              </a:ln>
              <a:solidFill>
                <a:srgbClr val="000000"/>
              </a:solidFill>
              <a:effectLst/>
              <a:latin typeface="Gill Sans" charset="0"/>
              <a:ea typeface="Heiti SC Light" charset="0"/>
              <a:cs typeface="Heiti SC Light" charset="0"/>
              <a:sym typeface="Gill Sans" charset="0"/>
            </a:endParaRPr>
          </a:p>
        </p:txBody>
      </p:sp>
      <p:pic>
        <p:nvPicPr>
          <p:cNvPr id="20" name="Picture 1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2273812" y="233264"/>
            <a:ext cx="10503364" cy="2433279"/>
          </a:xfrm>
          <a:prstGeom prst="rect">
            <a:avLst/>
          </a:prstGeom>
        </p:spPr>
      </p:pic>
      <p:pic>
        <p:nvPicPr>
          <p:cNvPr id="23" name="Image 20"/>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02768" y="1070690"/>
            <a:ext cx="1296144" cy="864462"/>
          </a:xfrm>
          <a:prstGeom prst="rect">
            <a:avLst/>
          </a:prstGeom>
        </p:spPr>
      </p:pic>
      <p:pic>
        <p:nvPicPr>
          <p:cNvPr id="7" name="Image 20"/>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30760" y="650338"/>
            <a:ext cx="2664296" cy="1776950"/>
          </a:xfrm>
          <a:prstGeom prst="rect">
            <a:avLst/>
          </a:prstGeom>
        </p:spPr>
      </p:pic>
    </p:spTree>
    <p:extLst>
      <p:ext uri="{BB962C8B-B14F-4D97-AF65-F5344CB8AC3E}">
        <p14:creationId xmlns:p14="http://schemas.microsoft.com/office/powerpoint/2010/main" val="202421346"/>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3.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3" name="Rectangle 1"/>
          <p:cNvSpPr>
            <a:spLocks/>
          </p:cNvSpPr>
          <p:nvPr userDrawn="1"/>
        </p:nvSpPr>
        <p:spPr bwMode="auto">
          <a:xfrm>
            <a:off x="0" y="1488"/>
            <a:ext cx="24384000" cy="13714512"/>
          </a:xfrm>
          <a:prstGeom prst="rect">
            <a:avLst/>
          </a:prstGeom>
          <a:solidFill>
            <a:srgbClr val="ECEBE8"/>
          </a:solidFill>
          <a:ln w="25400" cap="flat">
            <a:solidFill>
              <a:schemeClr val="tx1">
                <a:alpha val="0"/>
              </a:schemeClr>
            </a:solidFill>
            <a:prstDash val="solid"/>
            <a:miter lim="800000"/>
            <a:headEnd type="none" w="med" len="med"/>
            <a:tailEnd type="none" w="med" len="med"/>
          </a:ln>
        </p:spPr>
        <p:txBody>
          <a:bodyPr lIns="0" tIns="0" rIns="0" bIns="0"/>
          <a:lstStyle/>
          <a:p>
            <a:endParaRPr lang="id-ID"/>
          </a:p>
        </p:txBody>
      </p:sp>
      <p:sp>
        <p:nvSpPr>
          <p:cNvPr id="9" name="Freeform 8"/>
          <p:cNvSpPr/>
          <p:nvPr userDrawn="1"/>
        </p:nvSpPr>
        <p:spPr bwMode="auto">
          <a:xfrm>
            <a:off x="0" y="-10981"/>
            <a:ext cx="24384000" cy="3892266"/>
          </a:xfrm>
          <a:custGeom>
            <a:avLst/>
            <a:gdLst>
              <a:gd name="connsiteX0" fmla="*/ 0 w 24418548"/>
              <a:gd name="connsiteY0" fmla="*/ 0 h 3892266"/>
              <a:gd name="connsiteX1" fmla="*/ 24418548 w 24418548"/>
              <a:gd name="connsiteY1" fmla="*/ 0 h 3892266"/>
              <a:gd name="connsiteX2" fmla="*/ 24418548 w 24418548"/>
              <a:gd name="connsiteY2" fmla="*/ 3683623 h 3892266"/>
              <a:gd name="connsiteX3" fmla="*/ 24402436 w 24418548"/>
              <a:gd name="connsiteY3" fmla="*/ 3875134 h 3892266"/>
              <a:gd name="connsiteX4" fmla="*/ 24398756 w 24418548"/>
              <a:gd name="connsiteY4" fmla="*/ 3892266 h 3892266"/>
              <a:gd name="connsiteX5" fmla="*/ 24382888 w 24418548"/>
              <a:gd name="connsiteY5" fmla="*/ 3818330 h 3892266"/>
              <a:gd name="connsiteX6" fmla="*/ 23625324 w 24418548"/>
              <a:gd name="connsiteY6" fmla="*/ 3150650 h 3892266"/>
              <a:gd name="connsiteX7" fmla="*/ 793227 w 24418548"/>
              <a:gd name="connsiteY7" fmla="*/ 3150650 h 3892266"/>
              <a:gd name="connsiteX8" fmla="*/ 705272 w 24418548"/>
              <a:gd name="connsiteY8" fmla="*/ 3159284 h 3892266"/>
              <a:gd name="connsiteX9" fmla="*/ 705272 w 24418548"/>
              <a:gd name="connsiteY9" fmla="*/ 3132974 h 3892266"/>
              <a:gd name="connsiteX10" fmla="*/ 580188 w 24418548"/>
              <a:gd name="connsiteY10" fmla="*/ 3109877 h 3892266"/>
              <a:gd name="connsiteX11" fmla="*/ 15965 w 24418548"/>
              <a:gd name="connsiteY11" fmla="*/ 2509488 h 3892266"/>
              <a:gd name="connsiteX12" fmla="*/ 6371 w 24418548"/>
              <a:gd name="connsiteY12" fmla="*/ 2414301 h 3892266"/>
              <a:gd name="connsiteX13" fmla="*/ 0 w 24418548"/>
              <a:gd name="connsiteY13" fmla="*/ 2414301 h 3892266"/>
              <a:gd name="connsiteX0" fmla="*/ 0 w 24418548"/>
              <a:gd name="connsiteY0" fmla="*/ 0 h 3892266"/>
              <a:gd name="connsiteX1" fmla="*/ 24418548 w 24418548"/>
              <a:gd name="connsiteY1" fmla="*/ 0 h 3892266"/>
              <a:gd name="connsiteX2" fmla="*/ 24418548 w 24418548"/>
              <a:gd name="connsiteY2" fmla="*/ 3683623 h 3892266"/>
              <a:gd name="connsiteX3" fmla="*/ 24402436 w 24418548"/>
              <a:gd name="connsiteY3" fmla="*/ 3875134 h 3892266"/>
              <a:gd name="connsiteX4" fmla="*/ 24398756 w 24418548"/>
              <a:gd name="connsiteY4" fmla="*/ 3892266 h 3892266"/>
              <a:gd name="connsiteX5" fmla="*/ 24382888 w 24418548"/>
              <a:gd name="connsiteY5" fmla="*/ 3818330 h 3892266"/>
              <a:gd name="connsiteX6" fmla="*/ 23625324 w 24418548"/>
              <a:gd name="connsiteY6" fmla="*/ 3150650 h 3892266"/>
              <a:gd name="connsiteX7" fmla="*/ 793227 w 24418548"/>
              <a:gd name="connsiteY7" fmla="*/ 3150650 h 3892266"/>
              <a:gd name="connsiteX8" fmla="*/ 705272 w 24418548"/>
              <a:gd name="connsiteY8" fmla="*/ 3159284 h 3892266"/>
              <a:gd name="connsiteX9" fmla="*/ 628381 w 24418548"/>
              <a:gd name="connsiteY9" fmla="*/ 3447081 h 3892266"/>
              <a:gd name="connsiteX10" fmla="*/ 580188 w 24418548"/>
              <a:gd name="connsiteY10" fmla="*/ 3109877 h 3892266"/>
              <a:gd name="connsiteX11" fmla="*/ 15965 w 24418548"/>
              <a:gd name="connsiteY11" fmla="*/ 2509488 h 3892266"/>
              <a:gd name="connsiteX12" fmla="*/ 6371 w 24418548"/>
              <a:gd name="connsiteY12" fmla="*/ 2414301 h 3892266"/>
              <a:gd name="connsiteX13" fmla="*/ 0 w 24418548"/>
              <a:gd name="connsiteY13" fmla="*/ 2414301 h 3892266"/>
              <a:gd name="connsiteX14" fmla="*/ 0 w 24418548"/>
              <a:gd name="connsiteY14" fmla="*/ 0 h 3892266"/>
              <a:gd name="connsiteX0" fmla="*/ 0 w 24418548"/>
              <a:gd name="connsiteY0" fmla="*/ 0 h 3892266"/>
              <a:gd name="connsiteX1" fmla="*/ 24418548 w 24418548"/>
              <a:gd name="connsiteY1" fmla="*/ 0 h 3892266"/>
              <a:gd name="connsiteX2" fmla="*/ 24418548 w 24418548"/>
              <a:gd name="connsiteY2" fmla="*/ 3683623 h 3892266"/>
              <a:gd name="connsiteX3" fmla="*/ 24402436 w 24418548"/>
              <a:gd name="connsiteY3" fmla="*/ 3875134 h 3892266"/>
              <a:gd name="connsiteX4" fmla="*/ 24398756 w 24418548"/>
              <a:gd name="connsiteY4" fmla="*/ 3892266 h 3892266"/>
              <a:gd name="connsiteX5" fmla="*/ 24382888 w 24418548"/>
              <a:gd name="connsiteY5" fmla="*/ 3818330 h 3892266"/>
              <a:gd name="connsiteX6" fmla="*/ 23625324 w 24418548"/>
              <a:gd name="connsiteY6" fmla="*/ 3150650 h 3892266"/>
              <a:gd name="connsiteX7" fmla="*/ 793227 w 24418548"/>
              <a:gd name="connsiteY7" fmla="*/ 3150650 h 3892266"/>
              <a:gd name="connsiteX8" fmla="*/ 705272 w 24418548"/>
              <a:gd name="connsiteY8" fmla="*/ 3159284 h 3892266"/>
              <a:gd name="connsiteX9" fmla="*/ 580188 w 24418548"/>
              <a:gd name="connsiteY9" fmla="*/ 3109877 h 3892266"/>
              <a:gd name="connsiteX10" fmla="*/ 15965 w 24418548"/>
              <a:gd name="connsiteY10" fmla="*/ 2509488 h 3892266"/>
              <a:gd name="connsiteX11" fmla="*/ 6371 w 24418548"/>
              <a:gd name="connsiteY11" fmla="*/ 2414301 h 3892266"/>
              <a:gd name="connsiteX12" fmla="*/ 0 w 24418548"/>
              <a:gd name="connsiteY12" fmla="*/ 2414301 h 3892266"/>
              <a:gd name="connsiteX13" fmla="*/ 0 w 24418548"/>
              <a:gd name="connsiteY13" fmla="*/ 0 h 3892266"/>
              <a:gd name="connsiteX0" fmla="*/ 0 w 24418548"/>
              <a:gd name="connsiteY0" fmla="*/ 0 h 3892266"/>
              <a:gd name="connsiteX1" fmla="*/ 24418548 w 24418548"/>
              <a:gd name="connsiteY1" fmla="*/ 0 h 3892266"/>
              <a:gd name="connsiteX2" fmla="*/ 24418548 w 24418548"/>
              <a:gd name="connsiteY2" fmla="*/ 3683623 h 3892266"/>
              <a:gd name="connsiteX3" fmla="*/ 24402436 w 24418548"/>
              <a:gd name="connsiteY3" fmla="*/ 3875134 h 3892266"/>
              <a:gd name="connsiteX4" fmla="*/ 24398756 w 24418548"/>
              <a:gd name="connsiteY4" fmla="*/ 3892266 h 3892266"/>
              <a:gd name="connsiteX5" fmla="*/ 24382888 w 24418548"/>
              <a:gd name="connsiteY5" fmla="*/ 3818330 h 3892266"/>
              <a:gd name="connsiteX6" fmla="*/ 23625324 w 24418548"/>
              <a:gd name="connsiteY6" fmla="*/ 3150650 h 3892266"/>
              <a:gd name="connsiteX7" fmla="*/ 793227 w 24418548"/>
              <a:gd name="connsiteY7" fmla="*/ 3150650 h 3892266"/>
              <a:gd name="connsiteX8" fmla="*/ 705272 w 24418548"/>
              <a:gd name="connsiteY8" fmla="*/ 3173245 h 3892266"/>
              <a:gd name="connsiteX9" fmla="*/ 580188 w 24418548"/>
              <a:gd name="connsiteY9" fmla="*/ 3109877 h 3892266"/>
              <a:gd name="connsiteX10" fmla="*/ 15965 w 24418548"/>
              <a:gd name="connsiteY10" fmla="*/ 2509488 h 3892266"/>
              <a:gd name="connsiteX11" fmla="*/ 6371 w 24418548"/>
              <a:gd name="connsiteY11" fmla="*/ 2414301 h 3892266"/>
              <a:gd name="connsiteX12" fmla="*/ 0 w 24418548"/>
              <a:gd name="connsiteY12" fmla="*/ 2414301 h 3892266"/>
              <a:gd name="connsiteX13" fmla="*/ 0 w 24418548"/>
              <a:gd name="connsiteY13" fmla="*/ 0 h 3892266"/>
              <a:gd name="connsiteX0" fmla="*/ 0 w 24418548"/>
              <a:gd name="connsiteY0" fmla="*/ 0 h 3892266"/>
              <a:gd name="connsiteX1" fmla="*/ 24418548 w 24418548"/>
              <a:gd name="connsiteY1" fmla="*/ 0 h 3892266"/>
              <a:gd name="connsiteX2" fmla="*/ 24418548 w 24418548"/>
              <a:gd name="connsiteY2" fmla="*/ 3683623 h 3892266"/>
              <a:gd name="connsiteX3" fmla="*/ 24402436 w 24418548"/>
              <a:gd name="connsiteY3" fmla="*/ 3875134 h 3892266"/>
              <a:gd name="connsiteX4" fmla="*/ 24398756 w 24418548"/>
              <a:gd name="connsiteY4" fmla="*/ 3892266 h 3892266"/>
              <a:gd name="connsiteX5" fmla="*/ 24382888 w 24418548"/>
              <a:gd name="connsiteY5" fmla="*/ 3818330 h 3892266"/>
              <a:gd name="connsiteX6" fmla="*/ 23625324 w 24418548"/>
              <a:gd name="connsiteY6" fmla="*/ 3150650 h 3892266"/>
              <a:gd name="connsiteX7" fmla="*/ 793227 w 24418548"/>
              <a:gd name="connsiteY7" fmla="*/ 3150650 h 3892266"/>
              <a:gd name="connsiteX8" fmla="*/ 580188 w 24418548"/>
              <a:gd name="connsiteY8" fmla="*/ 3109877 h 3892266"/>
              <a:gd name="connsiteX9" fmla="*/ 15965 w 24418548"/>
              <a:gd name="connsiteY9" fmla="*/ 2509488 h 3892266"/>
              <a:gd name="connsiteX10" fmla="*/ 6371 w 24418548"/>
              <a:gd name="connsiteY10" fmla="*/ 2414301 h 3892266"/>
              <a:gd name="connsiteX11" fmla="*/ 0 w 24418548"/>
              <a:gd name="connsiteY11" fmla="*/ 2414301 h 3892266"/>
              <a:gd name="connsiteX12" fmla="*/ 0 w 24418548"/>
              <a:gd name="connsiteY12" fmla="*/ 0 h 3892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418548" h="3892266">
                <a:moveTo>
                  <a:pt x="0" y="0"/>
                </a:moveTo>
                <a:lnTo>
                  <a:pt x="24418548" y="0"/>
                </a:lnTo>
                <a:lnTo>
                  <a:pt x="24418548" y="3683623"/>
                </a:lnTo>
                <a:cubicBezTo>
                  <a:pt x="24418548" y="3749226"/>
                  <a:pt x="24413000" y="3813274"/>
                  <a:pt x="24402436" y="3875134"/>
                </a:cubicBezTo>
                <a:lnTo>
                  <a:pt x="24398756" y="3892266"/>
                </a:lnTo>
                <a:lnTo>
                  <a:pt x="24382888" y="3818330"/>
                </a:lnTo>
                <a:cubicBezTo>
                  <a:pt x="24282456" y="3431510"/>
                  <a:pt x="23981268" y="3150650"/>
                  <a:pt x="23625324" y="3150650"/>
                </a:cubicBezTo>
                <a:lnTo>
                  <a:pt x="793227" y="3150650"/>
                </a:lnTo>
                <a:lnTo>
                  <a:pt x="580188" y="3109877"/>
                </a:lnTo>
                <a:cubicBezTo>
                  <a:pt x="295899" y="3032945"/>
                  <a:pt x="75517" y="2800509"/>
                  <a:pt x="15965" y="2509488"/>
                </a:cubicBezTo>
                <a:lnTo>
                  <a:pt x="6371" y="2414301"/>
                </a:lnTo>
                <a:lnTo>
                  <a:pt x="0" y="2414301"/>
                </a:lnTo>
                <a:lnTo>
                  <a:pt x="0" y="0"/>
                </a:lnTo>
                <a:close/>
              </a:path>
            </a:pathLst>
          </a:custGeom>
          <a:solidFill>
            <a:schemeClr val="bg1"/>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600" b="0" i="0" u="none" strike="noStrike" cap="none" normalizeH="0" baseline="0" smtClean="0">
              <a:ln>
                <a:noFill/>
              </a:ln>
              <a:solidFill>
                <a:srgbClr val="000000"/>
              </a:solidFill>
              <a:effectLst/>
              <a:latin typeface="Gill Sans" charset="0"/>
              <a:ea typeface="Heiti SC Light" charset="0"/>
              <a:cs typeface="Heiti SC Light" charset="0"/>
              <a:sym typeface="Gill Sans" charset="0"/>
            </a:endParaRPr>
          </a:p>
        </p:txBody>
      </p:sp>
      <p:pic>
        <p:nvPicPr>
          <p:cNvPr id="2" name="Picture 1"/>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a:off x="21450484" y="449288"/>
            <a:ext cx="1830748" cy="1839364"/>
          </a:xfrm>
          <a:prstGeom prst="rect">
            <a:avLst/>
          </a:prstGeom>
        </p:spPr>
      </p:pic>
      <p:sp>
        <p:nvSpPr>
          <p:cNvPr id="16" name="Slide Number Placeholder 1"/>
          <p:cNvSpPr>
            <a:spLocks noGrp="1"/>
          </p:cNvSpPr>
          <p:nvPr>
            <p:ph type="sldNum" sz="quarter" idx="4"/>
          </p:nvPr>
        </p:nvSpPr>
        <p:spPr>
          <a:xfrm>
            <a:off x="22273120" y="12639557"/>
            <a:ext cx="981584" cy="805536"/>
          </a:xfrm>
          <a:prstGeom prst="rect">
            <a:avLst/>
          </a:prstGeom>
        </p:spPr>
        <p:txBody>
          <a:bodyPr vert="horz" lIns="91440" tIns="45720" rIns="91440" bIns="45720" rtlCol="0" anchor="ctr"/>
          <a:lstStyle>
            <a:lvl1pPr algn="r">
              <a:defRPr sz="2400">
                <a:solidFill>
                  <a:srgbClr val="004494"/>
                </a:solidFill>
                <a:latin typeface="Calibri" charset="0"/>
                <a:ea typeface="Calibri" charset="0"/>
                <a:cs typeface="Calibri" charset="0"/>
              </a:defRPr>
            </a:lvl1pPr>
          </a:lstStyle>
          <a:p>
            <a:fld id="{CD1E7C23-2AAD-0D45-B01B-5A673730BB06}" type="slidenum">
              <a:rPr lang="en-US" smtClean="0"/>
              <a:pPr/>
              <a:t>‹#›</a:t>
            </a:fld>
            <a:endParaRPr lang="en-US" dirty="0"/>
          </a:p>
        </p:txBody>
      </p:sp>
      <p:pic>
        <p:nvPicPr>
          <p:cNvPr id="11" name="Image 20"/>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a:off x="1102768" y="12466974"/>
            <a:ext cx="1296144" cy="864462"/>
          </a:xfrm>
          <a:prstGeom prst="rect">
            <a:avLst/>
          </a:prstGeom>
        </p:spPr>
      </p:pic>
    </p:spTree>
  </p:cSld>
  <p:clrMap bg1="lt1" tx1="dk1" bg2="lt2" tx2="dk2" accent1="accent1" accent2="accent2" accent3="accent3" accent4="accent4" accent5="accent5" accent6="accent6" hlink="hlink" folHlink="folHlink"/>
  <p:sldLayoutIdLst>
    <p:sldLayoutId id="2147483820" r:id="rId1"/>
    <p:sldLayoutId id="2147483680" r:id="rId2"/>
    <p:sldLayoutId id="2147483713" r:id="rId3"/>
    <p:sldLayoutId id="2147483704" r:id="rId4"/>
    <p:sldLayoutId id="2147483712" r:id="rId5"/>
    <p:sldLayoutId id="2147483819" r:id="rId6"/>
    <p:sldLayoutId id="2147483708" r:id="rId7"/>
    <p:sldLayoutId id="2147483709" r:id="rId8"/>
    <p:sldLayoutId id="2147483827" r:id="rId9"/>
    <p:sldLayoutId id="2147483966" r:id="rId10"/>
    <p:sldLayoutId id="2147483967" r:id="rId11"/>
    <p:sldLayoutId id="2147483968" r:id="rId12"/>
  </p:sldLayoutIdLst>
  <p:transition/>
  <p:hf hdr="0" dt="0"/>
  <p:txStyles>
    <p:titleStyle>
      <a:lvl1pPr algn="ctr" rtl="0" fontAlgn="base">
        <a:spcBef>
          <a:spcPct val="0"/>
        </a:spcBef>
        <a:spcAft>
          <a:spcPct val="0"/>
        </a:spcAft>
        <a:defRPr sz="11600" kern="1200">
          <a:solidFill>
            <a:schemeClr val="tx1"/>
          </a:solidFill>
          <a:latin typeface="+mj-lt"/>
          <a:ea typeface="+mj-ea"/>
          <a:cs typeface="+mj-cs"/>
          <a:sym typeface="Gill Sans" charset="0"/>
        </a:defRPr>
      </a:lvl1pPr>
      <a:lvl2pPr algn="ctr" rtl="0" fontAlgn="base">
        <a:spcBef>
          <a:spcPct val="0"/>
        </a:spcBef>
        <a:spcAft>
          <a:spcPct val="0"/>
        </a:spcAft>
        <a:defRPr sz="11600">
          <a:solidFill>
            <a:schemeClr val="tx1"/>
          </a:solidFill>
          <a:latin typeface="Gill Sans" charset="0"/>
          <a:ea typeface="Heiti SC Light" charset="0"/>
          <a:cs typeface="Heiti SC Light" charset="0"/>
          <a:sym typeface="Gill Sans" charset="0"/>
        </a:defRPr>
      </a:lvl2pPr>
      <a:lvl3pPr algn="ctr" rtl="0" fontAlgn="base">
        <a:spcBef>
          <a:spcPct val="0"/>
        </a:spcBef>
        <a:spcAft>
          <a:spcPct val="0"/>
        </a:spcAft>
        <a:defRPr sz="11600">
          <a:solidFill>
            <a:schemeClr val="tx1"/>
          </a:solidFill>
          <a:latin typeface="Gill Sans" charset="0"/>
          <a:ea typeface="Heiti SC Light" charset="0"/>
          <a:cs typeface="Heiti SC Light" charset="0"/>
          <a:sym typeface="Gill Sans" charset="0"/>
        </a:defRPr>
      </a:lvl3pPr>
      <a:lvl4pPr algn="ctr" rtl="0" fontAlgn="base">
        <a:spcBef>
          <a:spcPct val="0"/>
        </a:spcBef>
        <a:spcAft>
          <a:spcPct val="0"/>
        </a:spcAft>
        <a:defRPr sz="11600">
          <a:solidFill>
            <a:schemeClr val="tx1"/>
          </a:solidFill>
          <a:latin typeface="Gill Sans" charset="0"/>
          <a:ea typeface="Heiti SC Light" charset="0"/>
          <a:cs typeface="Heiti SC Light" charset="0"/>
          <a:sym typeface="Gill Sans" charset="0"/>
        </a:defRPr>
      </a:lvl4pPr>
      <a:lvl5pPr algn="ctr" rtl="0" fontAlgn="base">
        <a:spcBef>
          <a:spcPct val="0"/>
        </a:spcBef>
        <a:spcAft>
          <a:spcPct val="0"/>
        </a:spcAft>
        <a:defRPr sz="11600">
          <a:solidFill>
            <a:schemeClr val="tx1"/>
          </a:solidFill>
          <a:latin typeface="Gill Sans" charset="0"/>
          <a:ea typeface="Heiti SC Light" charset="0"/>
          <a:cs typeface="Heiti SC Light" charset="0"/>
          <a:sym typeface="Gill Sans" charset="0"/>
        </a:defRPr>
      </a:lvl5pPr>
      <a:lvl6pPr marL="457200" algn="ctr" rtl="0" fontAlgn="base">
        <a:spcBef>
          <a:spcPct val="0"/>
        </a:spcBef>
        <a:spcAft>
          <a:spcPct val="0"/>
        </a:spcAft>
        <a:defRPr sz="11600">
          <a:solidFill>
            <a:schemeClr val="tx1"/>
          </a:solidFill>
          <a:latin typeface="Gill Sans" charset="0"/>
          <a:ea typeface="Heiti SC Light" charset="0"/>
          <a:cs typeface="Heiti SC Light" charset="0"/>
          <a:sym typeface="Gill Sans" charset="0"/>
        </a:defRPr>
      </a:lvl6pPr>
      <a:lvl7pPr marL="914400" algn="ctr" rtl="0" fontAlgn="base">
        <a:spcBef>
          <a:spcPct val="0"/>
        </a:spcBef>
        <a:spcAft>
          <a:spcPct val="0"/>
        </a:spcAft>
        <a:defRPr sz="11600">
          <a:solidFill>
            <a:schemeClr val="tx1"/>
          </a:solidFill>
          <a:latin typeface="Gill Sans" charset="0"/>
          <a:ea typeface="Heiti SC Light" charset="0"/>
          <a:cs typeface="Heiti SC Light" charset="0"/>
          <a:sym typeface="Gill Sans" charset="0"/>
        </a:defRPr>
      </a:lvl7pPr>
      <a:lvl8pPr marL="1371600" algn="ctr" rtl="0" fontAlgn="base">
        <a:spcBef>
          <a:spcPct val="0"/>
        </a:spcBef>
        <a:spcAft>
          <a:spcPct val="0"/>
        </a:spcAft>
        <a:defRPr sz="11600">
          <a:solidFill>
            <a:schemeClr val="tx1"/>
          </a:solidFill>
          <a:latin typeface="Gill Sans" charset="0"/>
          <a:ea typeface="Heiti SC Light" charset="0"/>
          <a:cs typeface="Heiti SC Light" charset="0"/>
          <a:sym typeface="Gill Sans" charset="0"/>
        </a:defRPr>
      </a:lvl8pPr>
      <a:lvl9pPr marL="1828800" algn="ctr" rtl="0" fontAlgn="base">
        <a:spcBef>
          <a:spcPct val="0"/>
        </a:spcBef>
        <a:spcAft>
          <a:spcPct val="0"/>
        </a:spcAft>
        <a:defRPr sz="11600">
          <a:solidFill>
            <a:schemeClr val="tx1"/>
          </a:solidFill>
          <a:latin typeface="Gill Sans" charset="0"/>
          <a:ea typeface="Heiti SC Light" charset="0"/>
          <a:cs typeface="Heiti SC Light" charset="0"/>
          <a:sym typeface="Gill Sans" charset="0"/>
        </a:defRPr>
      </a:lvl9pPr>
    </p:titleStyle>
    <p:bodyStyle>
      <a:lvl1pPr marL="1117600" indent="-800100" algn="l" rtl="0" fontAlgn="base">
        <a:spcBef>
          <a:spcPts val="5200"/>
        </a:spcBef>
        <a:spcAft>
          <a:spcPct val="0"/>
        </a:spcAft>
        <a:buSzPct val="171000"/>
        <a:buFont typeface="Gill Sans" charset="0"/>
        <a:buChar char="•"/>
        <a:defRPr sz="5600" kern="1200">
          <a:solidFill>
            <a:schemeClr val="tx1"/>
          </a:solidFill>
          <a:latin typeface="+mn-lt"/>
          <a:ea typeface="+mn-ea"/>
          <a:cs typeface="+mn-cs"/>
          <a:sym typeface="Gill Sans" charset="0"/>
        </a:defRPr>
      </a:lvl1pPr>
      <a:lvl2pPr marL="1562100" indent="-800100" algn="l" rtl="0" fontAlgn="base">
        <a:spcBef>
          <a:spcPts val="5200"/>
        </a:spcBef>
        <a:spcAft>
          <a:spcPct val="0"/>
        </a:spcAft>
        <a:buSzPct val="171000"/>
        <a:buFont typeface="Gill Sans" charset="0"/>
        <a:buChar char="•"/>
        <a:defRPr sz="5600" kern="1200">
          <a:solidFill>
            <a:schemeClr val="tx1"/>
          </a:solidFill>
          <a:latin typeface="+mn-lt"/>
          <a:ea typeface="+mn-ea"/>
          <a:cs typeface="+mn-cs"/>
          <a:sym typeface="Gill Sans" charset="0"/>
        </a:defRPr>
      </a:lvl2pPr>
      <a:lvl3pPr marL="2006600" indent="-800100" algn="l" rtl="0" fontAlgn="base">
        <a:spcBef>
          <a:spcPts val="5200"/>
        </a:spcBef>
        <a:spcAft>
          <a:spcPct val="0"/>
        </a:spcAft>
        <a:buSzPct val="171000"/>
        <a:buFont typeface="Gill Sans" charset="0"/>
        <a:buChar char="•"/>
        <a:defRPr sz="5600" kern="1200">
          <a:solidFill>
            <a:schemeClr val="tx1"/>
          </a:solidFill>
          <a:latin typeface="+mn-lt"/>
          <a:ea typeface="+mn-ea"/>
          <a:cs typeface="+mn-cs"/>
          <a:sym typeface="Gill Sans" charset="0"/>
        </a:defRPr>
      </a:lvl3pPr>
      <a:lvl4pPr marL="2451100" indent="-800100" algn="l" rtl="0" fontAlgn="base">
        <a:spcBef>
          <a:spcPts val="5200"/>
        </a:spcBef>
        <a:spcAft>
          <a:spcPct val="0"/>
        </a:spcAft>
        <a:buSzPct val="171000"/>
        <a:buFont typeface="Gill Sans" charset="0"/>
        <a:buChar char="•"/>
        <a:defRPr sz="5600" kern="1200">
          <a:solidFill>
            <a:schemeClr val="tx1"/>
          </a:solidFill>
          <a:latin typeface="+mn-lt"/>
          <a:ea typeface="+mn-ea"/>
          <a:cs typeface="+mn-cs"/>
          <a:sym typeface="Gill Sans" charset="0"/>
        </a:defRPr>
      </a:lvl4pPr>
      <a:lvl5pPr marL="2895600" indent="-800100" algn="l" rtl="0" fontAlgn="base">
        <a:spcBef>
          <a:spcPts val="5200"/>
        </a:spcBef>
        <a:spcAft>
          <a:spcPct val="0"/>
        </a:spcAft>
        <a:buSzPct val="171000"/>
        <a:buFont typeface="Gill Sans" charset="0"/>
        <a:buChar char="•"/>
        <a:defRPr sz="5600" kern="1200">
          <a:solidFill>
            <a:schemeClr val="tx1"/>
          </a:solidFill>
          <a:latin typeface="+mn-lt"/>
          <a:ea typeface="+mn-ea"/>
          <a:cs typeface="+mn-cs"/>
          <a:sym typeface="Gill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d-ID"/>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6.jpeg"/><Relationship Id="rId2" Type="http://schemas.openxmlformats.org/officeDocument/2006/relationships/image" Target="../media/image115.jpeg"/><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8" Type="http://schemas.openxmlformats.org/officeDocument/2006/relationships/slideLayout" Target="../slideLayouts/slideLayout10.xml"/><Relationship Id="rId3" Type="http://schemas.openxmlformats.org/officeDocument/2006/relationships/tags" Target="../tags/tag141.xml"/><Relationship Id="rId7" Type="http://schemas.openxmlformats.org/officeDocument/2006/relationships/tags" Target="../tags/tag145.xml"/><Relationship Id="rId12" Type="http://schemas.openxmlformats.org/officeDocument/2006/relationships/image" Target="../media/image118.emf"/><Relationship Id="rId2" Type="http://schemas.openxmlformats.org/officeDocument/2006/relationships/tags" Target="../tags/tag140.xml"/><Relationship Id="rId1" Type="http://schemas.openxmlformats.org/officeDocument/2006/relationships/vmlDrawing" Target="../drawings/vmlDrawing5.vml"/><Relationship Id="rId6" Type="http://schemas.openxmlformats.org/officeDocument/2006/relationships/tags" Target="../tags/tag144.xml"/><Relationship Id="rId11" Type="http://schemas.openxmlformats.org/officeDocument/2006/relationships/oleObject" Target="../embeddings/oleObject16.bin"/><Relationship Id="rId5" Type="http://schemas.openxmlformats.org/officeDocument/2006/relationships/tags" Target="../tags/tag143.xml"/><Relationship Id="rId10" Type="http://schemas.openxmlformats.org/officeDocument/2006/relationships/image" Target="../media/image117.emf"/><Relationship Id="rId4" Type="http://schemas.openxmlformats.org/officeDocument/2006/relationships/tags" Target="../tags/tag142.xml"/><Relationship Id="rId9" Type="http://schemas.openxmlformats.org/officeDocument/2006/relationships/oleObject" Target="../embeddings/oleObject15.bin"/></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8" Type="http://schemas.openxmlformats.org/officeDocument/2006/relationships/image" Target="../media/image124.png"/><Relationship Id="rId13" Type="http://schemas.openxmlformats.org/officeDocument/2006/relationships/image" Target="../media/image129.png"/><Relationship Id="rId3" Type="http://schemas.openxmlformats.org/officeDocument/2006/relationships/image" Target="../media/image119.png"/><Relationship Id="rId7" Type="http://schemas.openxmlformats.org/officeDocument/2006/relationships/image" Target="../media/image123.png"/><Relationship Id="rId12" Type="http://schemas.openxmlformats.org/officeDocument/2006/relationships/image" Target="../media/image128.png"/><Relationship Id="rId2" Type="http://schemas.openxmlformats.org/officeDocument/2006/relationships/notesSlide" Target="../notesSlides/notesSlide5.xml"/><Relationship Id="rId1" Type="http://schemas.openxmlformats.org/officeDocument/2006/relationships/slideLayout" Target="../slideLayouts/slideLayout10.xml"/><Relationship Id="rId6" Type="http://schemas.openxmlformats.org/officeDocument/2006/relationships/image" Target="../media/image122.png"/><Relationship Id="rId11" Type="http://schemas.openxmlformats.org/officeDocument/2006/relationships/image" Target="../media/image127.png"/><Relationship Id="rId5" Type="http://schemas.openxmlformats.org/officeDocument/2006/relationships/image" Target="../media/image121.png"/><Relationship Id="rId10" Type="http://schemas.openxmlformats.org/officeDocument/2006/relationships/image" Target="../media/image126.png"/><Relationship Id="rId4" Type="http://schemas.openxmlformats.org/officeDocument/2006/relationships/image" Target="../media/image120.png"/><Relationship Id="rId9" Type="http://schemas.openxmlformats.org/officeDocument/2006/relationships/image" Target="../media/image125.png"/><Relationship Id="rId14" Type="http://schemas.openxmlformats.org/officeDocument/2006/relationships/hyperlink" Target="http://s3platform.jrc.ec.europa.eu/esif-viewer"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6.xml"/><Relationship Id="rId1" Type="http://schemas.openxmlformats.org/officeDocument/2006/relationships/slideLayout" Target="../slideLayouts/slideLayout10.xml"/><Relationship Id="rId5" Type="http://schemas.openxmlformats.org/officeDocument/2006/relationships/image" Target="../media/image1.jpeg"/><Relationship Id="rId4" Type="http://schemas.openxmlformats.org/officeDocument/2006/relationships/image" Target="../media/image131.png"/></Relationships>
</file>

<file path=ppt/slides/_rels/slide15.xml.rels><?xml version="1.0" encoding="UTF-8" standalone="yes"?>
<Relationships xmlns="http://schemas.openxmlformats.org/package/2006/relationships"><Relationship Id="rId3" Type="http://schemas.openxmlformats.org/officeDocument/2006/relationships/hyperlink" Target="http://www.fch.europa.eu/" TargetMode="External"/><Relationship Id="rId7" Type="http://schemas.openxmlformats.org/officeDocument/2006/relationships/image" Target="../media/image134.png"/><Relationship Id="rId2" Type="http://schemas.openxmlformats.org/officeDocument/2006/relationships/notesSlide" Target="../notesSlides/notesSlide7.xml"/><Relationship Id="rId1" Type="http://schemas.openxmlformats.org/officeDocument/2006/relationships/slideLayout" Target="../slideLayouts/slideLayout9.xml"/><Relationship Id="rId6" Type="http://schemas.openxmlformats.org/officeDocument/2006/relationships/image" Target="../media/image133.png"/><Relationship Id="rId5" Type="http://schemas.openxmlformats.org/officeDocument/2006/relationships/image" Target="../media/image132.png"/><Relationship Id="rId4" Type="http://schemas.openxmlformats.org/officeDocument/2006/relationships/image" Target="../media/image1.jpeg"/></Relationships>
</file>

<file path=ppt/slides/_rels/slide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Layout" Target="../slideLayouts/slideLayout10.xml"/><Relationship Id="rId5" Type="http://schemas.openxmlformats.org/officeDocument/2006/relationships/image" Target="../media/image1.jpeg"/><Relationship Id="rId4" Type="http://schemas.openxmlformats.org/officeDocument/2006/relationships/image" Target="../media/image30.png"/></Relationships>
</file>

<file path=ppt/slides/_rels/slide3.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image" Target="../media/image35.jpeg"/><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image" Target="../media/image34.emf"/><Relationship Id="rId5" Type="http://schemas.openxmlformats.org/officeDocument/2006/relationships/image" Target="../media/image33.png"/><Relationship Id="rId4" Type="http://schemas.openxmlformats.org/officeDocument/2006/relationships/image" Target="../media/image32.png"/></Relationships>
</file>

<file path=ppt/slides/_rels/slide4.xml.rels><?xml version="1.0" encoding="UTF-8" standalone="yes"?>
<Relationships xmlns="http://schemas.openxmlformats.org/package/2006/relationships"><Relationship Id="rId13" Type="http://schemas.openxmlformats.org/officeDocument/2006/relationships/tags" Target="../tags/tag14.xml"/><Relationship Id="rId18" Type="http://schemas.openxmlformats.org/officeDocument/2006/relationships/image" Target="../media/image37.gif"/><Relationship Id="rId26" Type="http://schemas.openxmlformats.org/officeDocument/2006/relationships/image" Target="../media/image45.gif"/><Relationship Id="rId21" Type="http://schemas.openxmlformats.org/officeDocument/2006/relationships/image" Target="../media/image40.gif"/><Relationship Id="rId34" Type="http://schemas.openxmlformats.org/officeDocument/2006/relationships/image" Target="../media/image53.gif"/><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image" Target="../media/image36.gif"/><Relationship Id="rId25" Type="http://schemas.openxmlformats.org/officeDocument/2006/relationships/image" Target="../media/image44.gif"/><Relationship Id="rId33" Type="http://schemas.openxmlformats.org/officeDocument/2006/relationships/image" Target="../media/image52.gif"/><Relationship Id="rId38" Type="http://schemas.openxmlformats.org/officeDocument/2006/relationships/image" Target="../media/image57.gif"/><Relationship Id="rId2" Type="http://schemas.openxmlformats.org/officeDocument/2006/relationships/tags" Target="../tags/tag3.xml"/><Relationship Id="rId16" Type="http://schemas.openxmlformats.org/officeDocument/2006/relationships/notesSlide" Target="../notesSlides/notesSlide3.xml"/><Relationship Id="rId20" Type="http://schemas.openxmlformats.org/officeDocument/2006/relationships/image" Target="../media/image39.gif"/><Relationship Id="rId29" Type="http://schemas.openxmlformats.org/officeDocument/2006/relationships/image" Target="../media/image48.gif"/><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image" Target="../media/image43.gif"/><Relationship Id="rId32" Type="http://schemas.openxmlformats.org/officeDocument/2006/relationships/image" Target="../media/image51.gif"/><Relationship Id="rId37" Type="http://schemas.openxmlformats.org/officeDocument/2006/relationships/image" Target="../media/image56.gif"/><Relationship Id="rId5" Type="http://schemas.openxmlformats.org/officeDocument/2006/relationships/tags" Target="../tags/tag6.xml"/><Relationship Id="rId15" Type="http://schemas.openxmlformats.org/officeDocument/2006/relationships/slideLayout" Target="../slideLayouts/slideLayout10.xml"/><Relationship Id="rId23" Type="http://schemas.openxmlformats.org/officeDocument/2006/relationships/image" Target="../media/image42.gif"/><Relationship Id="rId28" Type="http://schemas.openxmlformats.org/officeDocument/2006/relationships/image" Target="../media/image47.gif"/><Relationship Id="rId36" Type="http://schemas.openxmlformats.org/officeDocument/2006/relationships/image" Target="../media/image55.gif"/><Relationship Id="rId10" Type="http://schemas.openxmlformats.org/officeDocument/2006/relationships/tags" Target="../tags/tag11.xml"/><Relationship Id="rId19" Type="http://schemas.openxmlformats.org/officeDocument/2006/relationships/image" Target="../media/image38.gif"/><Relationship Id="rId31" Type="http://schemas.openxmlformats.org/officeDocument/2006/relationships/image" Target="../media/image50.gif"/><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image" Target="../media/image41.gif"/><Relationship Id="rId27" Type="http://schemas.openxmlformats.org/officeDocument/2006/relationships/image" Target="../media/image46.gif"/><Relationship Id="rId30" Type="http://schemas.openxmlformats.org/officeDocument/2006/relationships/image" Target="../media/image49.gif"/><Relationship Id="rId35" Type="http://schemas.openxmlformats.org/officeDocument/2006/relationships/image" Target="../media/image54.gif"/><Relationship Id="rId8" Type="http://schemas.openxmlformats.org/officeDocument/2006/relationships/tags" Target="../tags/tag9.xml"/><Relationship Id="rId3" Type="http://schemas.openxmlformats.org/officeDocument/2006/relationships/tags" Target="../tags/tag4.xml"/></Relationships>
</file>

<file path=ppt/slides/_rels/slide5.xml.rels><?xml version="1.0" encoding="UTF-8" standalone="yes"?>
<Relationships xmlns="http://schemas.openxmlformats.org/package/2006/relationships"><Relationship Id="rId13" Type="http://schemas.openxmlformats.org/officeDocument/2006/relationships/image" Target="../media/image69.jpeg"/><Relationship Id="rId18" Type="http://schemas.openxmlformats.org/officeDocument/2006/relationships/image" Target="../media/image74.png"/><Relationship Id="rId26" Type="http://schemas.openxmlformats.org/officeDocument/2006/relationships/image" Target="../media/image82.png"/><Relationship Id="rId39" Type="http://schemas.openxmlformats.org/officeDocument/2006/relationships/image" Target="../media/image94.jpeg"/><Relationship Id="rId21" Type="http://schemas.openxmlformats.org/officeDocument/2006/relationships/image" Target="../media/image77.png"/><Relationship Id="rId34" Type="http://schemas.openxmlformats.org/officeDocument/2006/relationships/image" Target="../media/image90.jpeg"/><Relationship Id="rId42" Type="http://schemas.openxmlformats.org/officeDocument/2006/relationships/image" Target="../media/image97.jpeg"/><Relationship Id="rId47" Type="http://schemas.openxmlformats.org/officeDocument/2006/relationships/image" Target="../media/image101.png"/><Relationship Id="rId7" Type="http://schemas.openxmlformats.org/officeDocument/2006/relationships/image" Target="../media/image63.jpeg"/><Relationship Id="rId2" Type="http://schemas.openxmlformats.org/officeDocument/2006/relationships/image" Target="../media/image58.jpeg"/><Relationship Id="rId16" Type="http://schemas.openxmlformats.org/officeDocument/2006/relationships/image" Target="../media/image72.jpeg"/><Relationship Id="rId29" Type="http://schemas.openxmlformats.org/officeDocument/2006/relationships/image" Target="../media/image85.png"/><Relationship Id="rId11" Type="http://schemas.openxmlformats.org/officeDocument/2006/relationships/image" Target="../media/image67.jpeg"/><Relationship Id="rId24" Type="http://schemas.openxmlformats.org/officeDocument/2006/relationships/image" Target="../media/image80.png"/><Relationship Id="rId32" Type="http://schemas.openxmlformats.org/officeDocument/2006/relationships/image" Target="../media/image88.png"/><Relationship Id="rId37" Type="http://schemas.openxmlformats.org/officeDocument/2006/relationships/image" Target="../media/image92.jpeg"/><Relationship Id="rId40" Type="http://schemas.openxmlformats.org/officeDocument/2006/relationships/image" Target="../media/image95.png"/><Relationship Id="rId45" Type="http://schemas.openxmlformats.org/officeDocument/2006/relationships/image" Target="cid:image001.jpg@01D31664.B5473600" TargetMode="External"/><Relationship Id="rId5" Type="http://schemas.openxmlformats.org/officeDocument/2006/relationships/image" Target="../media/image61.png"/><Relationship Id="rId15" Type="http://schemas.openxmlformats.org/officeDocument/2006/relationships/image" Target="../media/image71.png"/><Relationship Id="rId23" Type="http://schemas.openxmlformats.org/officeDocument/2006/relationships/image" Target="../media/image79.png"/><Relationship Id="rId28" Type="http://schemas.openxmlformats.org/officeDocument/2006/relationships/image" Target="../media/image84.png"/><Relationship Id="rId36" Type="http://schemas.openxmlformats.org/officeDocument/2006/relationships/image" Target="../media/image91.png"/><Relationship Id="rId49" Type="http://schemas.openxmlformats.org/officeDocument/2006/relationships/image" Target="../media/image103.jpeg"/><Relationship Id="rId10" Type="http://schemas.openxmlformats.org/officeDocument/2006/relationships/image" Target="../media/image66.jpeg"/><Relationship Id="rId19" Type="http://schemas.openxmlformats.org/officeDocument/2006/relationships/image" Target="../media/image75.jpeg"/><Relationship Id="rId31" Type="http://schemas.openxmlformats.org/officeDocument/2006/relationships/image" Target="../media/image87.png"/><Relationship Id="rId44" Type="http://schemas.openxmlformats.org/officeDocument/2006/relationships/image" Target="../media/image99.jpeg"/><Relationship Id="rId4" Type="http://schemas.openxmlformats.org/officeDocument/2006/relationships/image" Target="../media/image60.jpeg"/><Relationship Id="rId9" Type="http://schemas.openxmlformats.org/officeDocument/2006/relationships/image" Target="../media/image65.png"/><Relationship Id="rId14" Type="http://schemas.openxmlformats.org/officeDocument/2006/relationships/image" Target="../media/image70.png"/><Relationship Id="rId22" Type="http://schemas.openxmlformats.org/officeDocument/2006/relationships/image" Target="../media/image78.png"/><Relationship Id="rId27" Type="http://schemas.openxmlformats.org/officeDocument/2006/relationships/image" Target="../media/image83.png"/><Relationship Id="rId30" Type="http://schemas.openxmlformats.org/officeDocument/2006/relationships/image" Target="../media/image86.jpeg"/><Relationship Id="rId35" Type="http://schemas.openxmlformats.org/officeDocument/2006/relationships/hyperlink" Target="http://www.holthausen.nl/" TargetMode="External"/><Relationship Id="rId43" Type="http://schemas.openxmlformats.org/officeDocument/2006/relationships/image" Target="../media/image98.png"/><Relationship Id="rId48" Type="http://schemas.openxmlformats.org/officeDocument/2006/relationships/image" Target="../media/image102.jpeg"/><Relationship Id="rId8" Type="http://schemas.openxmlformats.org/officeDocument/2006/relationships/image" Target="../media/image64.jpeg"/><Relationship Id="rId3" Type="http://schemas.openxmlformats.org/officeDocument/2006/relationships/image" Target="../media/image59.png"/><Relationship Id="rId12" Type="http://schemas.openxmlformats.org/officeDocument/2006/relationships/image" Target="../media/image68.png"/><Relationship Id="rId17" Type="http://schemas.openxmlformats.org/officeDocument/2006/relationships/image" Target="../media/image73.png"/><Relationship Id="rId25" Type="http://schemas.openxmlformats.org/officeDocument/2006/relationships/image" Target="../media/image81.png"/><Relationship Id="rId33" Type="http://schemas.openxmlformats.org/officeDocument/2006/relationships/image" Target="../media/image89.png"/><Relationship Id="rId38" Type="http://schemas.openxmlformats.org/officeDocument/2006/relationships/image" Target="../media/image93.png"/><Relationship Id="rId46" Type="http://schemas.openxmlformats.org/officeDocument/2006/relationships/image" Target="../media/image100.png"/><Relationship Id="rId20" Type="http://schemas.openxmlformats.org/officeDocument/2006/relationships/image" Target="../media/image76.png"/><Relationship Id="rId41" Type="http://schemas.openxmlformats.org/officeDocument/2006/relationships/image" Target="../media/image96.png"/><Relationship Id="rId1" Type="http://schemas.openxmlformats.org/officeDocument/2006/relationships/slideLayout" Target="../slideLayouts/slideLayout10.xml"/><Relationship Id="rId6" Type="http://schemas.openxmlformats.org/officeDocument/2006/relationships/image" Target="../media/image62.jpeg"/></Relationships>
</file>

<file path=ppt/slides/_rels/slide6.xml.rels><?xml version="1.0" encoding="UTF-8" standalone="yes"?>
<Relationships xmlns="http://schemas.openxmlformats.org/package/2006/relationships"><Relationship Id="rId13" Type="http://schemas.openxmlformats.org/officeDocument/2006/relationships/tags" Target="../tags/tag27.xml"/><Relationship Id="rId18" Type="http://schemas.openxmlformats.org/officeDocument/2006/relationships/tags" Target="../tags/tag32.xml"/><Relationship Id="rId26" Type="http://schemas.openxmlformats.org/officeDocument/2006/relationships/tags" Target="../tags/tag40.xml"/><Relationship Id="rId3" Type="http://schemas.openxmlformats.org/officeDocument/2006/relationships/tags" Target="../tags/tag17.xml"/><Relationship Id="rId21" Type="http://schemas.openxmlformats.org/officeDocument/2006/relationships/tags" Target="../tags/tag35.xml"/><Relationship Id="rId34" Type="http://schemas.openxmlformats.org/officeDocument/2006/relationships/oleObject" Target="../embeddings/oleObject4.bin"/><Relationship Id="rId7" Type="http://schemas.openxmlformats.org/officeDocument/2006/relationships/tags" Target="../tags/tag21.xml"/><Relationship Id="rId12" Type="http://schemas.openxmlformats.org/officeDocument/2006/relationships/tags" Target="../tags/tag26.xml"/><Relationship Id="rId17" Type="http://schemas.openxmlformats.org/officeDocument/2006/relationships/tags" Target="../tags/tag31.xml"/><Relationship Id="rId25" Type="http://schemas.openxmlformats.org/officeDocument/2006/relationships/tags" Target="../tags/tag39.xml"/><Relationship Id="rId33" Type="http://schemas.openxmlformats.org/officeDocument/2006/relationships/image" Target="../media/image104.emf"/><Relationship Id="rId2" Type="http://schemas.openxmlformats.org/officeDocument/2006/relationships/tags" Target="../tags/tag16.xml"/><Relationship Id="rId16" Type="http://schemas.openxmlformats.org/officeDocument/2006/relationships/tags" Target="../tags/tag30.xml"/><Relationship Id="rId20" Type="http://schemas.openxmlformats.org/officeDocument/2006/relationships/tags" Target="../tags/tag34.xml"/><Relationship Id="rId29" Type="http://schemas.openxmlformats.org/officeDocument/2006/relationships/oleObject" Target="../embeddings/oleObject2.bin"/><Relationship Id="rId1" Type="http://schemas.openxmlformats.org/officeDocument/2006/relationships/vmlDrawing" Target="../drawings/vmlDrawing2.vml"/><Relationship Id="rId6" Type="http://schemas.openxmlformats.org/officeDocument/2006/relationships/tags" Target="../tags/tag20.xml"/><Relationship Id="rId11" Type="http://schemas.openxmlformats.org/officeDocument/2006/relationships/tags" Target="../tags/tag25.xml"/><Relationship Id="rId24" Type="http://schemas.openxmlformats.org/officeDocument/2006/relationships/tags" Target="../tags/tag38.xml"/><Relationship Id="rId32" Type="http://schemas.openxmlformats.org/officeDocument/2006/relationships/oleObject" Target="../embeddings/oleObject3.bin"/><Relationship Id="rId5" Type="http://schemas.openxmlformats.org/officeDocument/2006/relationships/tags" Target="../tags/tag19.xml"/><Relationship Id="rId15" Type="http://schemas.openxmlformats.org/officeDocument/2006/relationships/tags" Target="../tags/tag29.xml"/><Relationship Id="rId23" Type="http://schemas.openxmlformats.org/officeDocument/2006/relationships/tags" Target="../tags/tag37.xml"/><Relationship Id="rId28" Type="http://schemas.openxmlformats.org/officeDocument/2006/relationships/notesSlide" Target="../notesSlides/notesSlide4.xml"/><Relationship Id="rId10" Type="http://schemas.openxmlformats.org/officeDocument/2006/relationships/tags" Target="../tags/tag24.xml"/><Relationship Id="rId19" Type="http://schemas.openxmlformats.org/officeDocument/2006/relationships/tags" Target="../tags/tag33.xml"/><Relationship Id="rId31" Type="http://schemas.openxmlformats.org/officeDocument/2006/relationships/image" Target="../media/image1.jpeg"/><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tags" Target="../tags/tag28.xml"/><Relationship Id="rId22" Type="http://schemas.openxmlformats.org/officeDocument/2006/relationships/tags" Target="../tags/tag36.xml"/><Relationship Id="rId27" Type="http://schemas.openxmlformats.org/officeDocument/2006/relationships/slideLayout" Target="../slideLayouts/slideLayout12.xml"/><Relationship Id="rId30" Type="http://schemas.openxmlformats.org/officeDocument/2006/relationships/image" Target="../media/image27.emf"/><Relationship Id="rId35" Type="http://schemas.openxmlformats.org/officeDocument/2006/relationships/image" Target="../media/image105.emf"/><Relationship Id="rId8" Type="http://schemas.openxmlformats.org/officeDocument/2006/relationships/tags" Target="../tags/tag2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13" Type="http://schemas.openxmlformats.org/officeDocument/2006/relationships/tags" Target="../tags/tag52.xml"/><Relationship Id="rId18" Type="http://schemas.openxmlformats.org/officeDocument/2006/relationships/tags" Target="../tags/tag57.xml"/><Relationship Id="rId26" Type="http://schemas.openxmlformats.org/officeDocument/2006/relationships/tags" Target="../tags/tag65.xml"/><Relationship Id="rId39" Type="http://schemas.openxmlformats.org/officeDocument/2006/relationships/tags" Target="../tags/tag78.xml"/><Relationship Id="rId21" Type="http://schemas.openxmlformats.org/officeDocument/2006/relationships/tags" Target="../tags/tag60.xml"/><Relationship Id="rId34" Type="http://schemas.openxmlformats.org/officeDocument/2006/relationships/tags" Target="../tags/tag73.xml"/><Relationship Id="rId42" Type="http://schemas.openxmlformats.org/officeDocument/2006/relationships/tags" Target="../tags/tag81.xml"/><Relationship Id="rId47" Type="http://schemas.openxmlformats.org/officeDocument/2006/relationships/oleObject" Target="../embeddings/oleObject5.bin"/><Relationship Id="rId50" Type="http://schemas.openxmlformats.org/officeDocument/2006/relationships/image" Target="../media/image107.emf"/><Relationship Id="rId55" Type="http://schemas.openxmlformats.org/officeDocument/2006/relationships/oleObject" Target="../embeddings/oleObject9.bin"/><Relationship Id="rId7" Type="http://schemas.openxmlformats.org/officeDocument/2006/relationships/tags" Target="../tags/tag46.xml"/><Relationship Id="rId2" Type="http://schemas.openxmlformats.org/officeDocument/2006/relationships/tags" Target="../tags/tag41.xml"/><Relationship Id="rId16" Type="http://schemas.openxmlformats.org/officeDocument/2006/relationships/tags" Target="../tags/tag55.xml"/><Relationship Id="rId29" Type="http://schemas.openxmlformats.org/officeDocument/2006/relationships/tags" Target="../tags/tag68.xml"/><Relationship Id="rId11" Type="http://schemas.openxmlformats.org/officeDocument/2006/relationships/tags" Target="../tags/tag50.xml"/><Relationship Id="rId24" Type="http://schemas.openxmlformats.org/officeDocument/2006/relationships/tags" Target="../tags/tag63.xml"/><Relationship Id="rId32" Type="http://schemas.openxmlformats.org/officeDocument/2006/relationships/tags" Target="../tags/tag71.xml"/><Relationship Id="rId37" Type="http://schemas.openxmlformats.org/officeDocument/2006/relationships/tags" Target="../tags/tag76.xml"/><Relationship Id="rId40" Type="http://schemas.openxmlformats.org/officeDocument/2006/relationships/tags" Target="../tags/tag79.xml"/><Relationship Id="rId45" Type="http://schemas.openxmlformats.org/officeDocument/2006/relationships/tags" Target="../tags/tag84.xml"/><Relationship Id="rId53" Type="http://schemas.openxmlformats.org/officeDocument/2006/relationships/oleObject" Target="../embeddings/oleObject8.bin"/><Relationship Id="rId58" Type="http://schemas.openxmlformats.org/officeDocument/2006/relationships/image" Target="../media/image111.emf"/><Relationship Id="rId5" Type="http://schemas.openxmlformats.org/officeDocument/2006/relationships/tags" Target="../tags/tag44.xml"/><Relationship Id="rId19" Type="http://schemas.openxmlformats.org/officeDocument/2006/relationships/tags" Target="../tags/tag58.xml"/><Relationship Id="rId4" Type="http://schemas.openxmlformats.org/officeDocument/2006/relationships/tags" Target="../tags/tag43.xml"/><Relationship Id="rId9" Type="http://schemas.openxmlformats.org/officeDocument/2006/relationships/tags" Target="../tags/tag48.xml"/><Relationship Id="rId14" Type="http://schemas.openxmlformats.org/officeDocument/2006/relationships/tags" Target="../tags/tag53.xml"/><Relationship Id="rId22" Type="http://schemas.openxmlformats.org/officeDocument/2006/relationships/tags" Target="../tags/tag61.xml"/><Relationship Id="rId27" Type="http://schemas.openxmlformats.org/officeDocument/2006/relationships/tags" Target="../tags/tag66.xml"/><Relationship Id="rId30" Type="http://schemas.openxmlformats.org/officeDocument/2006/relationships/tags" Target="../tags/tag69.xml"/><Relationship Id="rId35" Type="http://schemas.openxmlformats.org/officeDocument/2006/relationships/tags" Target="../tags/tag74.xml"/><Relationship Id="rId43" Type="http://schemas.openxmlformats.org/officeDocument/2006/relationships/tags" Target="../tags/tag82.xml"/><Relationship Id="rId48" Type="http://schemas.openxmlformats.org/officeDocument/2006/relationships/image" Target="../media/image106.emf"/><Relationship Id="rId56" Type="http://schemas.openxmlformats.org/officeDocument/2006/relationships/image" Target="../media/image110.emf"/><Relationship Id="rId8" Type="http://schemas.openxmlformats.org/officeDocument/2006/relationships/tags" Target="../tags/tag47.xml"/><Relationship Id="rId51" Type="http://schemas.openxmlformats.org/officeDocument/2006/relationships/oleObject" Target="../embeddings/oleObject7.bin"/><Relationship Id="rId3" Type="http://schemas.openxmlformats.org/officeDocument/2006/relationships/tags" Target="../tags/tag42.xml"/><Relationship Id="rId12" Type="http://schemas.openxmlformats.org/officeDocument/2006/relationships/tags" Target="../tags/tag51.xml"/><Relationship Id="rId17" Type="http://schemas.openxmlformats.org/officeDocument/2006/relationships/tags" Target="../tags/tag56.xml"/><Relationship Id="rId25" Type="http://schemas.openxmlformats.org/officeDocument/2006/relationships/tags" Target="../tags/tag64.xml"/><Relationship Id="rId33" Type="http://schemas.openxmlformats.org/officeDocument/2006/relationships/tags" Target="../tags/tag72.xml"/><Relationship Id="rId38" Type="http://schemas.openxmlformats.org/officeDocument/2006/relationships/tags" Target="../tags/tag77.xml"/><Relationship Id="rId46" Type="http://schemas.openxmlformats.org/officeDocument/2006/relationships/slideLayout" Target="../slideLayouts/slideLayout10.xml"/><Relationship Id="rId59" Type="http://schemas.openxmlformats.org/officeDocument/2006/relationships/oleObject" Target="../embeddings/oleObject11.bin"/><Relationship Id="rId20" Type="http://schemas.openxmlformats.org/officeDocument/2006/relationships/tags" Target="../tags/tag59.xml"/><Relationship Id="rId41" Type="http://schemas.openxmlformats.org/officeDocument/2006/relationships/tags" Target="../tags/tag80.xml"/><Relationship Id="rId54" Type="http://schemas.openxmlformats.org/officeDocument/2006/relationships/image" Target="../media/image109.emf"/><Relationship Id="rId1" Type="http://schemas.openxmlformats.org/officeDocument/2006/relationships/vmlDrawing" Target="../drawings/vmlDrawing3.vml"/><Relationship Id="rId6" Type="http://schemas.openxmlformats.org/officeDocument/2006/relationships/tags" Target="../tags/tag45.xml"/><Relationship Id="rId15" Type="http://schemas.openxmlformats.org/officeDocument/2006/relationships/tags" Target="../tags/tag54.xml"/><Relationship Id="rId23" Type="http://schemas.openxmlformats.org/officeDocument/2006/relationships/tags" Target="../tags/tag62.xml"/><Relationship Id="rId28" Type="http://schemas.openxmlformats.org/officeDocument/2006/relationships/tags" Target="../tags/tag67.xml"/><Relationship Id="rId36" Type="http://schemas.openxmlformats.org/officeDocument/2006/relationships/tags" Target="../tags/tag75.xml"/><Relationship Id="rId49" Type="http://schemas.openxmlformats.org/officeDocument/2006/relationships/oleObject" Target="../embeddings/oleObject6.bin"/><Relationship Id="rId57" Type="http://schemas.openxmlformats.org/officeDocument/2006/relationships/oleObject" Target="../embeddings/oleObject10.bin"/><Relationship Id="rId10" Type="http://schemas.openxmlformats.org/officeDocument/2006/relationships/tags" Target="../tags/tag49.xml"/><Relationship Id="rId31" Type="http://schemas.openxmlformats.org/officeDocument/2006/relationships/tags" Target="../tags/tag70.xml"/><Relationship Id="rId44" Type="http://schemas.openxmlformats.org/officeDocument/2006/relationships/tags" Target="../tags/tag83.xml"/><Relationship Id="rId52" Type="http://schemas.openxmlformats.org/officeDocument/2006/relationships/image" Target="../media/image108.emf"/><Relationship Id="rId60" Type="http://schemas.openxmlformats.org/officeDocument/2006/relationships/image" Target="../media/image112.emf"/></Relationships>
</file>

<file path=ppt/slides/_rels/slide9.xml.rels><?xml version="1.0" encoding="UTF-8" standalone="yes"?>
<Relationships xmlns="http://schemas.openxmlformats.org/package/2006/relationships"><Relationship Id="rId13" Type="http://schemas.openxmlformats.org/officeDocument/2006/relationships/tags" Target="../tags/tag96.xml"/><Relationship Id="rId18" Type="http://schemas.openxmlformats.org/officeDocument/2006/relationships/tags" Target="../tags/tag101.xml"/><Relationship Id="rId26" Type="http://schemas.openxmlformats.org/officeDocument/2006/relationships/tags" Target="../tags/tag109.xml"/><Relationship Id="rId39" Type="http://schemas.openxmlformats.org/officeDocument/2006/relationships/tags" Target="../tags/tag122.xml"/><Relationship Id="rId21" Type="http://schemas.openxmlformats.org/officeDocument/2006/relationships/tags" Target="../tags/tag104.xml"/><Relationship Id="rId34" Type="http://schemas.openxmlformats.org/officeDocument/2006/relationships/tags" Target="../tags/tag117.xml"/><Relationship Id="rId42" Type="http://schemas.openxmlformats.org/officeDocument/2006/relationships/tags" Target="../tags/tag125.xml"/><Relationship Id="rId47" Type="http://schemas.openxmlformats.org/officeDocument/2006/relationships/tags" Target="../tags/tag130.xml"/><Relationship Id="rId50" Type="http://schemas.openxmlformats.org/officeDocument/2006/relationships/tags" Target="../tags/tag133.xml"/><Relationship Id="rId55" Type="http://schemas.openxmlformats.org/officeDocument/2006/relationships/tags" Target="../tags/tag138.xml"/><Relationship Id="rId63" Type="http://schemas.openxmlformats.org/officeDocument/2006/relationships/oleObject" Target="../embeddings/oleObject14.bin"/><Relationship Id="rId7" Type="http://schemas.openxmlformats.org/officeDocument/2006/relationships/tags" Target="../tags/tag90.xml"/><Relationship Id="rId2" Type="http://schemas.openxmlformats.org/officeDocument/2006/relationships/tags" Target="../tags/tag85.xml"/><Relationship Id="rId16" Type="http://schemas.openxmlformats.org/officeDocument/2006/relationships/tags" Target="../tags/tag99.xml"/><Relationship Id="rId29" Type="http://schemas.openxmlformats.org/officeDocument/2006/relationships/tags" Target="../tags/tag112.xml"/><Relationship Id="rId11" Type="http://schemas.openxmlformats.org/officeDocument/2006/relationships/tags" Target="../tags/tag94.xml"/><Relationship Id="rId24" Type="http://schemas.openxmlformats.org/officeDocument/2006/relationships/tags" Target="../tags/tag107.xml"/><Relationship Id="rId32" Type="http://schemas.openxmlformats.org/officeDocument/2006/relationships/tags" Target="../tags/tag115.xml"/><Relationship Id="rId37" Type="http://schemas.openxmlformats.org/officeDocument/2006/relationships/tags" Target="../tags/tag120.xml"/><Relationship Id="rId40" Type="http://schemas.openxmlformats.org/officeDocument/2006/relationships/tags" Target="../tags/tag123.xml"/><Relationship Id="rId45" Type="http://schemas.openxmlformats.org/officeDocument/2006/relationships/tags" Target="../tags/tag128.xml"/><Relationship Id="rId53" Type="http://schemas.openxmlformats.org/officeDocument/2006/relationships/tags" Target="../tags/tag136.xml"/><Relationship Id="rId58" Type="http://schemas.openxmlformats.org/officeDocument/2006/relationships/oleObject" Target="../embeddings/oleObject12.bin"/><Relationship Id="rId5" Type="http://schemas.openxmlformats.org/officeDocument/2006/relationships/tags" Target="../tags/tag88.xml"/><Relationship Id="rId61" Type="http://schemas.openxmlformats.org/officeDocument/2006/relationships/oleObject" Target="../embeddings/oleObject13.bin"/><Relationship Id="rId19" Type="http://schemas.openxmlformats.org/officeDocument/2006/relationships/tags" Target="../tags/tag102.xml"/><Relationship Id="rId14" Type="http://schemas.openxmlformats.org/officeDocument/2006/relationships/tags" Target="../tags/tag97.xml"/><Relationship Id="rId22" Type="http://schemas.openxmlformats.org/officeDocument/2006/relationships/tags" Target="../tags/tag105.xml"/><Relationship Id="rId27" Type="http://schemas.openxmlformats.org/officeDocument/2006/relationships/tags" Target="../tags/tag110.xml"/><Relationship Id="rId30" Type="http://schemas.openxmlformats.org/officeDocument/2006/relationships/tags" Target="../tags/tag113.xml"/><Relationship Id="rId35" Type="http://schemas.openxmlformats.org/officeDocument/2006/relationships/tags" Target="../tags/tag118.xml"/><Relationship Id="rId43" Type="http://schemas.openxmlformats.org/officeDocument/2006/relationships/tags" Target="../tags/tag126.xml"/><Relationship Id="rId48" Type="http://schemas.openxmlformats.org/officeDocument/2006/relationships/tags" Target="../tags/tag131.xml"/><Relationship Id="rId56" Type="http://schemas.openxmlformats.org/officeDocument/2006/relationships/tags" Target="../tags/tag139.xml"/><Relationship Id="rId64" Type="http://schemas.openxmlformats.org/officeDocument/2006/relationships/image" Target="../media/image114.emf"/><Relationship Id="rId8" Type="http://schemas.openxmlformats.org/officeDocument/2006/relationships/tags" Target="../tags/tag91.xml"/><Relationship Id="rId51" Type="http://schemas.openxmlformats.org/officeDocument/2006/relationships/tags" Target="../tags/tag134.xml"/><Relationship Id="rId3" Type="http://schemas.openxmlformats.org/officeDocument/2006/relationships/tags" Target="../tags/tag86.xml"/><Relationship Id="rId12" Type="http://schemas.openxmlformats.org/officeDocument/2006/relationships/tags" Target="../tags/tag95.xml"/><Relationship Id="rId17" Type="http://schemas.openxmlformats.org/officeDocument/2006/relationships/tags" Target="../tags/tag100.xml"/><Relationship Id="rId25" Type="http://schemas.openxmlformats.org/officeDocument/2006/relationships/tags" Target="../tags/tag108.xml"/><Relationship Id="rId33" Type="http://schemas.openxmlformats.org/officeDocument/2006/relationships/tags" Target="../tags/tag116.xml"/><Relationship Id="rId38" Type="http://schemas.openxmlformats.org/officeDocument/2006/relationships/tags" Target="../tags/tag121.xml"/><Relationship Id="rId46" Type="http://schemas.openxmlformats.org/officeDocument/2006/relationships/tags" Target="../tags/tag129.xml"/><Relationship Id="rId59" Type="http://schemas.openxmlformats.org/officeDocument/2006/relationships/image" Target="../media/image27.emf"/><Relationship Id="rId20" Type="http://schemas.openxmlformats.org/officeDocument/2006/relationships/tags" Target="../tags/tag103.xml"/><Relationship Id="rId41" Type="http://schemas.openxmlformats.org/officeDocument/2006/relationships/tags" Target="../tags/tag124.xml"/><Relationship Id="rId54" Type="http://schemas.openxmlformats.org/officeDocument/2006/relationships/tags" Target="../tags/tag137.xml"/><Relationship Id="rId62" Type="http://schemas.openxmlformats.org/officeDocument/2006/relationships/image" Target="../media/image113.emf"/><Relationship Id="rId1" Type="http://schemas.openxmlformats.org/officeDocument/2006/relationships/vmlDrawing" Target="../drawings/vmlDrawing4.vml"/><Relationship Id="rId6" Type="http://schemas.openxmlformats.org/officeDocument/2006/relationships/tags" Target="../tags/tag89.xml"/><Relationship Id="rId15" Type="http://schemas.openxmlformats.org/officeDocument/2006/relationships/tags" Target="../tags/tag98.xml"/><Relationship Id="rId23" Type="http://schemas.openxmlformats.org/officeDocument/2006/relationships/tags" Target="../tags/tag106.xml"/><Relationship Id="rId28" Type="http://schemas.openxmlformats.org/officeDocument/2006/relationships/tags" Target="../tags/tag111.xml"/><Relationship Id="rId36" Type="http://schemas.openxmlformats.org/officeDocument/2006/relationships/tags" Target="../tags/tag119.xml"/><Relationship Id="rId49" Type="http://schemas.openxmlformats.org/officeDocument/2006/relationships/tags" Target="../tags/tag132.xml"/><Relationship Id="rId57" Type="http://schemas.openxmlformats.org/officeDocument/2006/relationships/slideLayout" Target="../slideLayouts/slideLayout12.xml"/><Relationship Id="rId10" Type="http://schemas.openxmlformats.org/officeDocument/2006/relationships/tags" Target="../tags/tag93.xml"/><Relationship Id="rId31" Type="http://schemas.openxmlformats.org/officeDocument/2006/relationships/tags" Target="../tags/tag114.xml"/><Relationship Id="rId44" Type="http://schemas.openxmlformats.org/officeDocument/2006/relationships/tags" Target="../tags/tag127.xml"/><Relationship Id="rId52" Type="http://schemas.openxmlformats.org/officeDocument/2006/relationships/tags" Target="../tags/tag135.xml"/><Relationship Id="rId60" Type="http://schemas.openxmlformats.org/officeDocument/2006/relationships/image" Target="../media/image1.jpeg"/><Relationship Id="rId4" Type="http://schemas.openxmlformats.org/officeDocument/2006/relationships/tags" Target="../tags/tag87.xml"/><Relationship Id="rId9" Type="http://schemas.openxmlformats.org/officeDocument/2006/relationships/tags" Target="../tags/tag9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2"/>
          </p:nvPr>
        </p:nvSpPr>
        <p:spPr>
          <a:xfrm>
            <a:off x="3191000" y="13056182"/>
            <a:ext cx="6696744" cy="745084"/>
          </a:xfrm>
        </p:spPr>
        <p:txBody>
          <a:bodyPr/>
          <a:lstStyle/>
          <a:p>
            <a:r>
              <a:rPr lang="en-US" dirty="0" smtClean="0">
                <a:effectLst>
                  <a:outerShdw blurRad="38100" dist="38100" dir="2700000" algn="tl">
                    <a:srgbClr val="000000">
                      <a:alpha val="43137"/>
                    </a:srgbClr>
                  </a:outerShdw>
                </a:effectLst>
              </a:rPr>
              <a:t>Brussels, March 7</a:t>
            </a:r>
            <a:r>
              <a:rPr lang="en-US" baseline="30000" dirty="0" smtClean="0">
                <a:effectLst>
                  <a:outerShdw blurRad="38100" dist="38100" dir="2700000" algn="tl">
                    <a:srgbClr val="000000">
                      <a:alpha val="43137"/>
                    </a:srgbClr>
                  </a:outerShdw>
                </a:effectLst>
              </a:rPr>
              <a:t>th</a:t>
            </a:r>
            <a:r>
              <a:rPr lang="en-US" dirty="0" smtClean="0">
                <a:effectLst>
                  <a:outerShdw blurRad="38100" dist="38100" dir="2700000" algn="tl">
                    <a:srgbClr val="000000">
                      <a:alpha val="43137"/>
                    </a:srgbClr>
                  </a:outerShdw>
                </a:effectLst>
              </a:rPr>
              <a:t> 2018</a:t>
            </a:r>
            <a:endParaRPr lang="en-US" dirty="0">
              <a:effectLst>
                <a:outerShdw blurRad="38100" dist="38100" dir="2700000" algn="tl">
                  <a:srgbClr val="000000">
                    <a:alpha val="43137"/>
                  </a:srgbClr>
                </a:outerShdw>
              </a:effectLst>
            </a:endParaRPr>
          </a:p>
        </p:txBody>
      </p:sp>
      <p:sp>
        <p:nvSpPr>
          <p:cNvPr id="3" name="Content Placeholder 2"/>
          <p:cNvSpPr>
            <a:spLocks noGrp="1"/>
          </p:cNvSpPr>
          <p:nvPr>
            <p:ph sz="quarter" idx="20"/>
          </p:nvPr>
        </p:nvSpPr>
        <p:spPr>
          <a:xfrm>
            <a:off x="2614936" y="5714623"/>
            <a:ext cx="7992888" cy="5148572"/>
          </a:xfrm>
        </p:spPr>
        <p:txBody>
          <a:bodyPr/>
          <a:lstStyle/>
          <a:p>
            <a:r>
              <a:rPr lang="en-US" sz="6600" dirty="0" smtClean="0">
                <a:effectLst>
                  <a:outerShdw blurRad="38100" dist="38100" dir="2700000" algn="tl">
                    <a:srgbClr val="000000">
                      <a:alpha val="43137"/>
                    </a:srgbClr>
                  </a:outerShdw>
                </a:effectLst>
              </a:rPr>
              <a:t>Developing synergies JU’s and ESIF</a:t>
            </a:r>
            <a:r>
              <a:rPr lang="en-US" sz="6600" dirty="0">
                <a:effectLst>
                  <a:outerShdw blurRad="38100" dist="38100" dir="2700000" algn="tl">
                    <a:srgbClr val="000000">
                      <a:alpha val="43137"/>
                    </a:srgbClr>
                  </a:outerShdw>
                </a:effectLst>
              </a:rPr>
              <a:t/>
            </a:r>
            <a:br>
              <a:rPr lang="en-US" sz="6600" dirty="0">
                <a:effectLst>
                  <a:outerShdw blurRad="38100" dist="38100" dir="2700000" algn="tl">
                    <a:srgbClr val="000000">
                      <a:alpha val="43137"/>
                    </a:srgbClr>
                  </a:outerShdw>
                </a:effectLst>
              </a:rPr>
            </a:br>
            <a:r>
              <a:rPr lang="en-US" sz="6600" dirty="0" smtClean="0">
                <a:effectLst>
                  <a:outerShdw blurRad="38100" dist="38100" dir="2700000" algn="tl">
                    <a:srgbClr val="000000">
                      <a:alpha val="43137"/>
                    </a:srgbClr>
                  </a:outerShdw>
                </a:effectLst>
              </a:rPr>
              <a:t>--</a:t>
            </a:r>
            <a:br>
              <a:rPr lang="en-US" sz="6600" dirty="0" smtClean="0">
                <a:effectLst>
                  <a:outerShdw blurRad="38100" dist="38100" dir="2700000" algn="tl">
                    <a:srgbClr val="000000">
                      <a:alpha val="43137"/>
                    </a:srgbClr>
                  </a:outerShdw>
                </a:effectLst>
              </a:rPr>
            </a:br>
            <a:r>
              <a:rPr lang="en-US" sz="6600" dirty="0" smtClean="0">
                <a:effectLst>
                  <a:outerShdw blurRad="38100" dist="38100" dir="2700000" algn="tl">
                    <a:srgbClr val="000000">
                      <a:alpha val="43137"/>
                    </a:srgbClr>
                  </a:outerShdw>
                </a:effectLst>
              </a:rPr>
              <a:t>FCH Cities and Regions initiative</a:t>
            </a:r>
          </a:p>
        </p:txBody>
      </p:sp>
      <p:sp>
        <p:nvSpPr>
          <p:cNvPr id="4" name="Content Placeholder 3"/>
          <p:cNvSpPr>
            <a:spLocks noGrp="1"/>
          </p:cNvSpPr>
          <p:nvPr>
            <p:ph sz="quarter" idx="25"/>
          </p:nvPr>
        </p:nvSpPr>
        <p:spPr>
          <a:xfrm>
            <a:off x="3193232" y="11153082"/>
            <a:ext cx="6694512" cy="1903100"/>
          </a:xfrm>
        </p:spPr>
        <p:txBody>
          <a:bodyPr anchor="b"/>
          <a:lstStyle/>
          <a:p>
            <a:r>
              <a:rPr lang="en-US" dirty="0" smtClean="0">
                <a:effectLst>
                  <a:outerShdw blurRad="38100" dist="38100" dir="2700000" algn="tl">
                    <a:srgbClr val="000000">
                      <a:alpha val="43137"/>
                    </a:srgbClr>
                  </a:outerShdw>
                </a:effectLst>
              </a:rPr>
              <a:t>BART BIEBUYCK</a:t>
            </a:r>
            <a:endParaRPr lang="en-US"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464232828"/>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D1E7C23-2AAD-0D45-B01B-5A673730BB06}" type="slidenum">
              <a:rPr kumimoji="0" lang="en-US" sz="2400" b="0" i="0" u="none" strike="noStrike" kern="1200" cap="none" spc="0" normalizeH="0" baseline="0" noProof="0" smtClean="0">
                <a:ln>
                  <a:noFill/>
                </a:ln>
                <a:solidFill>
                  <a:srgbClr val="004494"/>
                </a:solidFill>
                <a:effectLst/>
                <a:uLnTx/>
                <a:uFillTx/>
                <a:latin typeface="Calibri" charset="0"/>
                <a:cs typeface="Calibri" charset="0"/>
                <a:sym typeface="Gill Sans" charset="0"/>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en-US" sz="2400" b="0" i="0" u="none" strike="noStrike" kern="1200" cap="none" spc="0" normalizeH="0" baseline="0" noProof="0" dirty="0">
              <a:ln>
                <a:noFill/>
              </a:ln>
              <a:solidFill>
                <a:srgbClr val="004494"/>
              </a:solidFill>
              <a:effectLst/>
              <a:uLnTx/>
              <a:uFillTx/>
              <a:latin typeface="Calibri" charset="0"/>
              <a:cs typeface="Calibri" charset="0"/>
              <a:sym typeface="Gill Sans" charset="0"/>
            </a:endParaRPr>
          </a:p>
        </p:txBody>
      </p:sp>
      <p:sp>
        <p:nvSpPr>
          <p:cNvPr id="4" name="Content Placeholder 3"/>
          <p:cNvSpPr>
            <a:spLocks noGrp="1"/>
          </p:cNvSpPr>
          <p:nvPr>
            <p:ph sz="quarter" idx="20"/>
          </p:nvPr>
        </p:nvSpPr>
        <p:spPr/>
        <p:txBody>
          <a:bodyPr/>
          <a:lstStyle/>
          <a:p>
            <a:r>
              <a:rPr lang="en-GB" dirty="0"/>
              <a:t>The agreed-upon application framework for Phase 2 comprises five top mobility applications and H</a:t>
            </a:r>
            <a:r>
              <a:rPr lang="en-GB" baseline="-25000" dirty="0"/>
              <a:t>2</a:t>
            </a:r>
            <a:r>
              <a:rPr lang="en-GB" dirty="0"/>
              <a:t> production as cross-cutting topic</a:t>
            </a:r>
          </a:p>
        </p:txBody>
      </p:sp>
      <p:sp>
        <p:nvSpPr>
          <p:cNvPr id="6" name="Subtitle"/>
          <p:cNvSpPr txBox="1">
            <a:spLocks/>
          </p:cNvSpPr>
          <p:nvPr/>
        </p:nvSpPr>
        <p:spPr>
          <a:xfrm>
            <a:off x="5691936" y="3392978"/>
            <a:ext cx="17071976" cy="581698"/>
          </a:xfrm>
          <a:prstGeom prst="rect">
            <a:avLst/>
          </a:prstGeom>
          <a:noFill/>
          <a:ln w="9525">
            <a:noFill/>
          </a:ln>
        </p:spPr>
        <p:txBody>
          <a:bodyPr vert="horz" wrap="square" lIns="0" tIns="0" rIns="0" bIns="0" rtlCol="0">
            <a:spAutoFit/>
          </a:bodyPr>
          <a:lstStyle/>
          <a:p>
            <a:pPr marL="0" marR="0" lvl="0" indent="0" algn="l" defTabSz="1828800" rtl="0" eaLnBrk="1" fontAlgn="base" latinLnBrk="0" hangingPunct="1">
              <a:lnSpc>
                <a:spcPct val="90000"/>
              </a:lnSpc>
              <a:spcBef>
                <a:spcPct val="0"/>
              </a:spcBef>
              <a:spcAft>
                <a:spcPct val="0"/>
              </a:spcAft>
              <a:buClr>
                <a:srgbClr val="000000"/>
              </a:buClr>
              <a:buSzPct val="100000"/>
              <a:buFontTx/>
              <a:buNone/>
              <a:tabLst/>
              <a:defRPr/>
            </a:pPr>
            <a:r>
              <a:rPr kumimoji="0" lang="en-GB" sz="4200" b="0" i="0" u="none" strike="noStrike" kern="1200" cap="none" spc="0" normalizeH="0" baseline="0" noProof="0" dirty="0">
                <a:ln>
                  <a:noFill/>
                </a:ln>
                <a:solidFill>
                  <a:srgbClr val="8D9399"/>
                </a:solidFill>
                <a:effectLst/>
                <a:uLnTx/>
                <a:uFillTx/>
                <a:latin typeface="Arial Narrow"/>
                <a:ea typeface="+mn-ea"/>
                <a:cs typeface="+mn-cs"/>
                <a:sym typeface="+mn-lt"/>
              </a:rPr>
              <a:t>Application scope for Phase 2 based on consolidated ranking</a:t>
            </a:r>
          </a:p>
        </p:txBody>
      </p:sp>
      <p:sp>
        <p:nvSpPr>
          <p:cNvPr id="7" name="TextBox 6"/>
          <p:cNvSpPr txBox="1">
            <a:spLocks/>
          </p:cNvSpPr>
          <p:nvPr/>
        </p:nvSpPr>
        <p:spPr>
          <a:xfrm>
            <a:off x="2708078" y="5658877"/>
            <a:ext cx="7341220" cy="3188181"/>
          </a:xfrm>
          <a:prstGeom prst="rect">
            <a:avLst/>
          </a:prstGeom>
        </p:spPr>
        <p:txBody>
          <a:bodyPr wrap="square" lIns="0" tIns="216028" rIns="0" bIns="0" rtlCol="0">
            <a:spAutoFit/>
          </a:bodyPr>
          <a:lstStyle/>
          <a:p>
            <a:pPr marL="285258" marR="0" lvl="1" indent="-285258" algn="l" defTabSz="1828800" rtl="0" eaLnBrk="1" fontAlgn="base" latinLnBrk="0" hangingPunct="1">
              <a:lnSpc>
                <a:spcPct val="90000"/>
              </a:lnSpc>
              <a:spcBef>
                <a:spcPts val="1200"/>
              </a:spcBef>
              <a:spcAft>
                <a:spcPts val="0"/>
              </a:spcAft>
              <a:buClrTx/>
              <a:buSzPct val="100000"/>
              <a:buFont typeface="Arial Narrow"/>
              <a:buChar char="&gt;"/>
              <a:tabLst/>
              <a:defRPr/>
            </a:pPr>
            <a:r>
              <a:rPr kumimoji="0" lang="en-GB" sz="3400" b="0" i="0" u="none" strike="noStrike" kern="1200" cap="none" spc="0" normalizeH="0" baseline="0" noProof="0" dirty="0">
                <a:ln>
                  <a:noFill/>
                </a:ln>
                <a:solidFill>
                  <a:srgbClr val="004494"/>
                </a:solidFill>
                <a:effectLst/>
                <a:uLnTx/>
                <a:uFillTx/>
                <a:latin typeface="Calibri" panose="020F0502020204030204" pitchFamily="34" charset="0"/>
                <a:ea typeface="+mn-ea"/>
                <a:cs typeface="Calibri" panose="020F0502020204030204" pitchFamily="34" charset="0"/>
                <a:sym typeface="Gill Sans" charset="0"/>
              </a:rPr>
              <a:t>Buses</a:t>
            </a:r>
          </a:p>
          <a:p>
            <a:pPr marL="285258" marR="0" lvl="1" indent="-285258" algn="l" defTabSz="1828800" rtl="0" eaLnBrk="1" fontAlgn="base" latinLnBrk="0" hangingPunct="1">
              <a:lnSpc>
                <a:spcPct val="90000"/>
              </a:lnSpc>
              <a:spcBef>
                <a:spcPts val="1200"/>
              </a:spcBef>
              <a:spcAft>
                <a:spcPts val="0"/>
              </a:spcAft>
              <a:buClrTx/>
              <a:buSzPct val="100000"/>
              <a:buFont typeface="Arial Narrow"/>
              <a:buChar char="&gt;"/>
              <a:tabLst/>
              <a:defRPr/>
            </a:pPr>
            <a:r>
              <a:rPr kumimoji="0" lang="en-GB" sz="3400" b="0" i="0" u="none" strike="noStrike" kern="1200" cap="none" spc="0" normalizeH="0" baseline="0" noProof="0" dirty="0">
                <a:ln>
                  <a:noFill/>
                </a:ln>
                <a:solidFill>
                  <a:srgbClr val="004494"/>
                </a:solidFill>
                <a:effectLst/>
                <a:uLnTx/>
                <a:uFillTx/>
                <a:latin typeface="Calibri" panose="020F0502020204030204" pitchFamily="34" charset="0"/>
                <a:ea typeface="+mn-ea"/>
                <a:cs typeface="Calibri" panose="020F0502020204030204" pitchFamily="34" charset="0"/>
                <a:sym typeface="Gill Sans" charset="0"/>
              </a:rPr>
              <a:t>Cars</a:t>
            </a:r>
          </a:p>
          <a:p>
            <a:pPr marL="285258" marR="0" lvl="1" indent="-285258" algn="l" defTabSz="1828800" rtl="0" eaLnBrk="1" fontAlgn="base" latinLnBrk="0" hangingPunct="1">
              <a:lnSpc>
                <a:spcPct val="90000"/>
              </a:lnSpc>
              <a:spcBef>
                <a:spcPts val="1200"/>
              </a:spcBef>
              <a:spcAft>
                <a:spcPts val="0"/>
              </a:spcAft>
              <a:buClrTx/>
              <a:buSzPct val="100000"/>
              <a:buFont typeface="Arial Narrow"/>
              <a:buChar char="&gt;"/>
              <a:tabLst/>
              <a:defRPr/>
            </a:pPr>
            <a:r>
              <a:rPr kumimoji="0" lang="en-GB" sz="3400" b="0" i="0" u="none" strike="noStrike" kern="1200" cap="none" spc="0" normalizeH="0" baseline="0" noProof="0" dirty="0">
                <a:ln>
                  <a:noFill/>
                </a:ln>
                <a:solidFill>
                  <a:srgbClr val="004494"/>
                </a:solidFill>
                <a:effectLst/>
                <a:uLnTx/>
                <a:uFillTx/>
                <a:latin typeface="Calibri" panose="020F0502020204030204" pitchFamily="34" charset="0"/>
                <a:ea typeface="+mn-ea"/>
                <a:cs typeface="Calibri" panose="020F0502020204030204" pitchFamily="34" charset="0"/>
                <a:sym typeface="Gill Sans" charset="0"/>
              </a:rPr>
              <a:t>Delivery vans</a:t>
            </a:r>
          </a:p>
          <a:p>
            <a:pPr marL="285258" marR="0" lvl="1" indent="-285258" algn="l" defTabSz="1828800" rtl="0" eaLnBrk="1" fontAlgn="base" latinLnBrk="0" hangingPunct="1">
              <a:lnSpc>
                <a:spcPct val="90000"/>
              </a:lnSpc>
              <a:spcBef>
                <a:spcPts val="1200"/>
              </a:spcBef>
              <a:spcAft>
                <a:spcPts val="0"/>
              </a:spcAft>
              <a:buClrTx/>
              <a:buSzPct val="100000"/>
              <a:buFont typeface="Arial Narrow"/>
              <a:buChar char="&gt;"/>
              <a:tabLst/>
              <a:defRPr/>
            </a:pPr>
            <a:r>
              <a:rPr kumimoji="0" lang="en-GB" sz="3400" b="0" i="0" u="none" strike="noStrike" kern="1200" cap="none" spc="0" normalizeH="0" baseline="0" noProof="0" dirty="0">
                <a:ln>
                  <a:noFill/>
                </a:ln>
                <a:solidFill>
                  <a:srgbClr val="004494"/>
                </a:solidFill>
                <a:effectLst/>
                <a:uLnTx/>
                <a:uFillTx/>
                <a:latin typeface="Calibri" panose="020F0502020204030204" pitchFamily="34" charset="0"/>
                <a:ea typeface="+mn-ea"/>
                <a:cs typeface="Calibri" panose="020F0502020204030204" pitchFamily="34" charset="0"/>
                <a:sym typeface="Gill Sans" charset="0"/>
              </a:rPr>
              <a:t>Garbage trucks</a:t>
            </a:r>
          </a:p>
          <a:p>
            <a:pPr marL="285258" marR="0" lvl="1" indent="-285258" algn="l" defTabSz="1828800" rtl="0" eaLnBrk="1" fontAlgn="base" latinLnBrk="0" hangingPunct="1">
              <a:lnSpc>
                <a:spcPct val="90000"/>
              </a:lnSpc>
              <a:spcBef>
                <a:spcPts val="1200"/>
              </a:spcBef>
              <a:spcAft>
                <a:spcPts val="0"/>
              </a:spcAft>
              <a:buClrTx/>
              <a:buSzPct val="100000"/>
              <a:buFont typeface="Arial Narrow"/>
              <a:buChar char="&gt;"/>
              <a:tabLst/>
              <a:defRPr/>
            </a:pPr>
            <a:r>
              <a:rPr kumimoji="0" lang="en-GB" sz="3400" b="0" i="0" u="none" strike="noStrike" kern="1200" cap="none" spc="0" normalizeH="0" baseline="0" noProof="0" dirty="0">
                <a:ln>
                  <a:noFill/>
                </a:ln>
                <a:solidFill>
                  <a:srgbClr val="004494"/>
                </a:solidFill>
                <a:effectLst/>
                <a:uLnTx/>
                <a:uFillTx/>
                <a:latin typeface="Calibri" panose="020F0502020204030204" pitchFamily="34" charset="0"/>
                <a:ea typeface="+mn-ea"/>
                <a:cs typeface="Calibri" panose="020F0502020204030204" pitchFamily="34" charset="0"/>
                <a:sym typeface="Gill Sans" charset="0"/>
              </a:rPr>
              <a:t>Trains</a:t>
            </a:r>
          </a:p>
        </p:txBody>
      </p:sp>
      <p:sp>
        <p:nvSpPr>
          <p:cNvPr id="8" name="Text 15"/>
          <p:cNvSpPr>
            <a:spLocks noChangeArrowheads="1"/>
          </p:cNvSpPr>
          <p:nvPr/>
        </p:nvSpPr>
        <p:spPr bwMode="auto">
          <a:xfrm>
            <a:off x="1685903" y="3780408"/>
            <a:ext cx="1022174" cy="1938992"/>
          </a:xfrm>
          <a:prstGeom prst="rect">
            <a:avLst/>
          </a:prstGeom>
          <a:noFill/>
          <a:ln w="6350">
            <a:noFill/>
            <a:miter lim="800000"/>
            <a:headEnd/>
            <a:tailEnd/>
          </a:ln>
          <a:effectLst/>
        </p:spPr>
        <p:txBody>
          <a:bodyPr wrap="square" lIns="0" tIns="0" rIns="0" bIns="0">
            <a:spAutoFit/>
          </a:bodyPr>
          <a:lstStyle/>
          <a:p>
            <a:pPr marL="0" marR="0" lvl="0" indent="0" algn="l" defTabSz="660400" rtl="0" eaLnBrk="1" fontAlgn="base" latinLnBrk="0" hangingPunct="1">
              <a:lnSpc>
                <a:spcPct val="90000"/>
              </a:lnSpc>
              <a:spcBef>
                <a:spcPct val="0"/>
              </a:spcBef>
              <a:spcAft>
                <a:spcPct val="0"/>
              </a:spcAft>
              <a:buClrTx/>
              <a:buSzPct val="100000"/>
              <a:buFontTx/>
              <a:buNone/>
              <a:tabLst/>
              <a:defRPr/>
            </a:pPr>
            <a:r>
              <a:rPr kumimoji="0" lang="en-GB" altLang="zh-HK" sz="14000" b="0" i="0" u="none" strike="noStrike" kern="1200" cap="none" spc="0" normalizeH="0" baseline="0" noProof="0" dirty="0">
                <a:ln>
                  <a:noFill/>
                </a:ln>
                <a:solidFill>
                  <a:srgbClr val="156C9C"/>
                </a:solidFill>
                <a:effectLst/>
                <a:uLnTx/>
                <a:uFillTx/>
                <a:latin typeface="Arial Narrow"/>
                <a:ea typeface="新細明體" pitchFamily="18" charset="-120"/>
                <a:cs typeface="+mn-cs"/>
                <a:sym typeface="Gill Sans" charset="0"/>
              </a:rPr>
              <a:t>1</a:t>
            </a:r>
            <a:endParaRPr kumimoji="0" lang="en-GB" altLang="zh-HK" sz="14000" b="0" i="0" u="none" strike="noStrike" kern="1200" cap="none" spc="0" normalizeH="0" baseline="30000" noProof="0" dirty="0">
              <a:ln>
                <a:noFill/>
              </a:ln>
              <a:solidFill>
                <a:srgbClr val="156C9C"/>
              </a:solidFill>
              <a:effectLst/>
              <a:uLnTx/>
              <a:uFillTx/>
              <a:latin typeface="Arial Narrow"/>
              <a:ea typeface="新細明體" pitchFamily="18" charset="-120"/>
              <a:cs typeface="+mn-cs"/>
              <a:sym typeface="Gill Sans" charset="0"/>
            </a:endParaRPr>
          </a:p>
        </p:txBody>
      </p:sp>
      <p:cxnSp>
        <p:nvCxnSpPr>
          <p:cNvPr id="9" name="Straight Connector 8"/>
          <p:cNvCxnSpPr>
            <a:cxnSpLocks/>
          </p:cNvCxnSpPr>
          <p:nvPr/>
        </p:nvCxnSpPr>
        <p:spPr>
          <a:xfrm>
            <a:off x="2708078" y="5420482"/>
            <a:ext cx="7341220" cy="0"/>
          </a:xfrm>
          <a:prstGeom prst="line">
            <a:avLst/>
          </a:prstGeom>
          <a:ln w="22225" cmpd="sng">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0" name="Textframe 1098.94378210.8271"/>
          <p:cNvSpPr txBox="1"/>
          <p:nvPr/>
        </p:nvSpPr>
        <p:spPr>
          <a:xfrm>
            <a:off x="2708078" y="4333262"/>
            <a:ext cx="7341220" cy="1087221"/>
          </a:xfrm>
          <a:prstGeom prst="rect">
            <a:avLst/>
          </a:prstGeom>
          <a:noFill/>
          <a:ln w="9525">
            <a:noFill/>
          </a:ln>
        </p:spPr>
        <p:txBody>
          <a:bodyPr vert="horz" wrap="square" lIns="0" tIns="0" rIns="0" bIns="144018" rtlCol="0" anchor="b">
            <a:spAutoFit/>
          </a:bodyPr>
          <a:lstStyle/>
          <a:p>
            <a:pPr marL="0" marR="0" lvl="0" indent="0" algn="l" defTabSz="1828800" rtl="0" eaLnBrk="1" fontAlgn="base" latinLnBrk="0" hangingPunct="1">
              <a:lnSpc>
                <a:spcPct val="90000"/>
              </a:lnSpc>
              <a:spcBef>
                <a:spcPts val="800"/>
              </a:spcBef>
              <a:spcAft>
                <a:spcPct val="0"/>
              </a:spcAft>
              <a:buClrTx/>
              <a:buSzPct val="100000"/>
              <a:buFontTx/>
              <a:buNone/>
              <a:tabLst/>
              <a:defRPr/>
            </a:pPr>
            <a:r>
              <a:rPr kumimoji="0" lang="en-GB" sz="3400" b="1" i="0" u="none" strike="noStrike" kern="1200" cap="none" spc="0" normalizeH="0" baseline="0" noProof="0" dirty="0">
                <a:ln>
                  <a:noFill/>
                </a:ln>
                <a:solidFill>
                  <a:srgbClr val="004494"/>
                </a:solidFill>
                <a:effectLst/>
                <a:uLnTx/>
                <a:uFillTx/>
                <a:latin typeface="Calibri" panose="020F0502020204030204" pitchFamily="34" charset="0"/>
                <a:ea typeface="+mn-ea"/>
                <a:cs typeface="Calibri" panose="020F0502020204030204" pitchFamily="34" charset="0"/>
                <a:sym typeface="Gill Sans" charset="0"/>
              </a:rPr>
              <a:t>Five FCH mobility applications as focus for detailed business cases</a:t>
            </a:r>
          </a:p>
        </p:txBody>
      </p:sp>
      <p:sp>
        <p:nvSpPr>
          <p:cNvPr id="11" name="TextBox 10"/>
          <p:cNvSpPr txBox="1">
            <a:spLocks/>
          </p:cNvSpPr>
          <p:nvPr/>
        </p:nvSpPr>
        <p:spPr>
          <a:xfrm>
            <a:off x="14597233" y="6479278"/>
            <a:ext cx="7341220" cy="1938609"/>
          </a:xfrm>
          <a:prstGeom prst="rect">
            <a:avLst/>
          </a:prstGeom>
        </p:spPr>
        <p:txBody>
          <a:bodyPr wrap="square" lIns="0" tIns="216028" rIns="0" bIns="0" rtlCol="0">
            <a:spAutoFit/>
          </a:bodyPr>
          <a:lstStyle/>
          <a:p>
            <a:pPr marL="285258" marR="0" lvl="1" indent="-285258" algn="l" defTabSz="1828800" rtl="0" eaLnBrk="1" fontAlgn="base" latinLnBrk="0" hangingPunct="1">
              <a:lnSpc>
                <a:spcPct val="90000"/>
              </a:lnSpc>
              <a:spcBef>
                <a:spcPts val="1200"/>
              </a:spcBef>
              <a:spcAft>
                <a:spcPts val="0"/>
              </a:spcAft>
              <a:buClrTx/>
              <a:buSzPct val="100000"/>
              <a:buFont typeface="Arial Narrow"/>
              <a:buChar char="&gt;"/>
              <a:tabLst/>
              <a:defRPr/>
            </a:pPr>
            <a:r>
              <a:rPr kumimoji="0" lang="en-GB" sz="3400" b="0" i="0" u="none" strike="noStrike" kern="1200" cap="none" spc="0" normalizeH="0" baseline="0" noProof="0" dirty="0">
                <a:ln>
                  <a:noFill/>
                </a:ln>
                <a:solidFill>
                  <a:srgbClr val="004494"/>
                </a:solidFill>
                <a:effectLst/>
                <a:uLnTx/>
                <a:uFillTx/>
                <a:latin typeface="Calibri" panose="020F0502020204030204" pitchFamily="34" charset="0"/>
                <a:ea typeface="+mn-ea"/>
                <a:cs typeface="Calibri" panose="020F0502020204030204" pitchFamily="34" charset="0"/>
                <a:sym typeface="Gill Sans" charset="0"/>
              </a:rPr>
              <a:t>Heavy-duty transport</a:t>
            </a:r>
          </a:p>
          <a:p>
            <a:pPr marL="285258" marR="0" lvl="1" indent="-285258" algn="l" defTabSz="1828800" rtl="0" eaLnBrk="1" fontAlgn="base" latinLnBrk="0" hangingPunct="1">
              <a:lnSpc>
                <a:spcPct val="90000"/>
              </a:lnSpc>
              <a:spcBef>
                <a:spcPts val="1200"/>
              </a:spcBef>
              <a:spcAft>
                <a:spcPts val="0"/>
              </a:spcAft>
              <a:buClrTx/>
              <a:buSzPct val="100000"/>
              <a:buFont typeface="Arial Narrow"/>
              <a:buChar char="&gt;"/>
              <a:tabLst/>
              <a:defRPr/>
            </a:pPr>
            <a:r>
              <a:rPr kumimoji="0" lang="en-GB" sz="3400" b="0" i="0" u="none" strike="noStrike" kern="1200" cap="none" spc="0" normalizeH="0" baseline="0" noProof="0" dirty="0">
                <a:ln>
                  <a:noFill/>
                </a:ln>
                <a:solidFill>
                  <a:srgbClr val="004494"/>
                </a:solidFill>
                <a:effectLst/>
                <a:uLnTx/>
                <a:uFillTx/>
                <a:latin typeface="Calibri" panose="020F0502020204030204" pitchFamily="34" charset="0"/>
                <a:ea typeface="+mn-ea"/>
                <a:cs typeface="Calibri" panose="020F0502020204030204" pitchFamily="34" charset="0"/>
                <a:sym typeface="Gill Sans" charset="0"/>
              </a:rPr>
              <a:t>Maritime applications</a:t>
            </a:r>
          </a:p>
          <a:p>
            <a:pPr marL="285258" marR="0" lvl="1" indent="-285258" algn="l" defTabSz="1828800" rtl="0" eaLnBrk="1" fontAlgn="base" latinLnBrk="0" hangingPunct="1">
              <a:lnSpc>
                <a:spcPct val="90000"/>
              </a:lnSpc>
              <a:spcBef>
                <a:spcPts val="1200"/>
              </a:spcBef>
              <a:spcAft>
                <a:spcPts val="0"/>
              </a:spcAft>
              <a:buClrTx/>
              <a:buSzPct val="100000"/>
              <a:buFont typeface="Arial Narrow"/>
              <a:buChar char="&gt;"/>
              <a:tabLst/>
              <a:defRPr/>
            </a:pPr>
            <a:r>
              <a:rPr kumimoji="0" lang="en-GB" sz="3400" b="0" i="0" u="none" strike="noStrike" kern="1200" cap="none" spc="0" normalizeH="0" baseline="0" noProof="0" dirty="0">
                <a:ln>
                  <a:noFill/>
                </a:ln>
                <a:solidFill>
                  <a:srgbClr val="004494"/>
                </a:solidFill>
                <a:effectLst/>
                <a:uLnTx/>
                <a:uFillTx/>
                <a:latin typeface="Calibri" panose="020F0502020204030204" pitchFamily="34" charset="0"/>
                <a:ea typeface="+mn-ea"/>
                <a:cs typeface="Calibri" panose="020F0502020204030204" pitchFamily="34" charset="0"/>
                <a:sym typeface="Gill Sans" charset="0"/>
              </a:rPr>
              <a:t>Commercial buildings</a:t>
            </a:r>
          </a:p>
        </p:txBody>
      </p:sp>
      <p:sp>
        <p:nvSpPr>
          <p:cNvPr id="12" name="Text 15"/>
          <p:cNvSpPr>
            <a:spLocks noChangeArrowheads="1"/>
          </p:cNvSpPr>
          <p:nvPr/>
        </p:nvSpPr>
        <p:spPr bwMode="auto">
          <a:xfrm>
            <a:off x="13575060" y="4759484"/>
            <a:ext cx="1022174" cy="1938992"/>
          </a:xfrm>
          <a:prstGeom prst="rect">
            <a:avLst/>
          </a:prstGeom>
          <a:noFill/>
          <a:ln w="6350">
            <a:noFill/>
            <a:miter lim="800000"/>
            <a:headEnd/>
            <a:tailEnd/>
          </a:ln>
          <a:effectLst/>
        </p:spPr>
        <p:txBody>
          <a:bodyPr wrap="square" lIns="0" tIns="0" rIns="0" bIns="0">
            <a:spAutoFit/>
          </a:bodyPr>
          <a:lstStyle/>
          <a:p>
            <a:pPr marL="0" marR="0" lvl="0" indent="0" algn="l" defTabSz="660400" rtl="0" eaLnBrk="1" fontAlgn="base" latinLnBrk="0" hangingPunct="1">
              <a:lnSpc>
                <a:spcPct val="90000"/>
              </a:lnSpc>
              <a:spcBef>
                <a:spcPct val="0"/>
              </a:spcBef>
              <a:spcAft>
                <a:spcPct val="0"/>
              </a:spcAft>
              <a:buClrTx/>
              <a:buSzPct val="100000"/>
              <a:buFontTx/>
              <a:buNone/>
              <a:tabLst/>
              <a:defRPr/>
            </a:pPr>
            <a:r>
              <a:rPr kumimoji="0" lang="en-GB" altLang="zh-HK" sz="14000" b="0" i="0" u="none" strike="noStrike" kern="1200" cap="none" spc="0" normalizeH="0" baseline="0" noProof="0" dirty="0">
                <a:ln>
                  <a:noFill/>
                </a:ln>
                <a:solidFill>
                  <a:srgbClr val="156C9C"/>
                </a:solidFill>
                <a:effectLst/>
                <a:uLnTx/>
                <a:uFillTx/>
                <a:latin typeface="Arial Narrow"/>
                <a:ea typeface="新細明體" pitchFamily="18" charset="-120"/>
                <a:cs typeface="+mn-cs"/>
                <a:sym typeface="Gill Sans" charset="0"/>
              </a:rPr>
              <a:t>2</a:t>
            </a:r>
            <a:endParaRPr kumimoji="0" lang="en-GB" altLang="zh-HK" sz="14000" b="0" i="0" u="none" strike="noStrike" kern="1200" cap="none" spc="0" normalizeH="0" baseline="30000" noProof="0" dirty="0">
              <a:ln>
                <a:noFill/>
              </a:ln>
              <a:solidFill>
                <a:srgbClr val="156C9C"/>
              </a:solidFill>
              <a:effectLst/>
              <a:uLnTx/>
              <a:uFillTx/>
              <a:latin typeface="Arial Narrow"/>
              <a:ea typeface="新細明體" pitchFamily="18" charset="-120"/>
              <a:cs typeface="+mn-cs"/>
              <a:sym typeface="Gill Sans" charset="0"/>
            </a:endParaRPr>
          </a:p>
        </p:txBody>
      </p:sp>
      <p:cxnSp>
        <p:nvCxnSpPr>
          <p:cNvPr id="13" name="Straight Connector 12"/>
          <p:cNvCxnSpPr>
            <a:cxnSpLocks/>
          </p:cNvCxnSpPr>
          <p:nvPr/>
        </p:nvCxnSpPr>
        <p:spPr>
          <a:xfrm>
            <a:off x="14597233" y="6240884"/>
            <a:ext cx="7341220" cy="0"/>
          </a:xfrm>
          <a:prstGeom prst="line">
            <a:avLst/>
          </a:prstGeom>
          <a:ln w="22225" cmpd="sng">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4" name="Textframe 1098.94378210.8271"/>
          <p:cNvSpPr txBox="1"/>
          <p:nvPr/>
        </p:nvSpPr>
        <p:spPr>
          <a:xfrm>
            <a:off x="14597233" y="5153664"/>
            <a:ext cx="7341220" cy="1087221"/>
          </a:xfrm>
          <a:prstGeom prst="rect">
            <a:avLst/>
          </a:prstGeom>
          <a:noFill/>
          <a:ln w="9525">
            <a:noFill/>
          </a:ln>
        </p:spPr>
        <p:txBody>
          <a:bodyPr vert="horz" wrap="square" lIns="0" tIns="0" rIns="0" bIns="144018" rtlCol="0" anchor="b">
            <a:spAutoFit/>
          </a:bodyPr>
          <a:lstStyle/>
          <a:p>
            <a:pPr marL="0" marR="0" lvl="0" indent="0" algn="l" defTabSz="1828800" rtl="0" eaLnBrk="1" fontAlgn="base" latinLnBrk="0" hangingPunct="1">
              <a:lnSpc>
                <a:spcPct val="90000"/>
              </a:lnSpc>
              <a:spcBef>
                <a:spcPts val="800"/>
              </a:spcBef>
              <a:spcAft>
                <a:spcPct val="0"/>
              </a:spcAft>
              <a:buClrTx/>
              <a:buSzPct val="100000"/>
              <a:buFontTx/>
              <a:buNone/>
              <a:tabLst/>
              <a:defRPr/>
            </a:pPr>
            <a:r>
              <a:rPr kumimoji="0" lang="en-GB" sz="3400" b="1" i="0" u="none" strike="noStrike" kern="1200" cap="none" spc="0" normalizeH="0" baseline="0" noProof="0" dirty="0">
                <a:ln>
                  <a:noFill/>
                </a:ln>
                <a:solidFill>
                  <a:srgbClr val="004494"/>
                </a:solidFill>
                <a:effectLst/>
                <a:uLnTx/>
                <a:uFillTx/>
                <a:latin typeface="Calibri" panose="020F0502020204030204" pitchFamily="34" charset="0"/>
                <a:ea typeface="+mn-ea"/>
                <a:cs typeface="Calibri" panose="020F0502020204030204" pitchFamily="34" charset="0"/>
                <a:sym typeface="Gill Sans" charset="0"/>
              </a:rPr>
              <a:t>Selected further applications as focus for technology development dialog platform </a:t>
            </a:r>
          </a:p>
        </p:txBody>
      </p:sp>
      <p:sp>
        <p:nvSpPr>
          <p:cNvPr id="15" name="Rectangle 14"/>
          <p:cNvSpPr/>
          <p:nvPr/>
        </p:nvSpPr>
        <p:spPr bwMode="auto">
          <a:xfrm>
            <a:off x="3776998" y="10548068"/>
            <a:ext cx="17047772" cy="2288040"/>
          </a:xfrm>
          <a:prstGeom prst="rect">
            <a:avLst/>
          </a:prstGeom>
          <a:solidFill>
            <a:schemeClr val="accent2"/>
          </a:solidFill>
          <a:ln w="9525">
            <a:noFill/>
            <a:round/>
            <a:headEnd/>
            <a:tailEnd/>
          </a:ln>
        </p:spPr>
        <p:txBody>
          <a:bodyPr rtlCol="0" anchor="ctr"/>
          <a:lstStyle/>
          <a:p>
            <a:pPr marL="0" marR="0" lvl="0" indent="0" algn="ctr" defTabSz="1828800" rtl="0" eaLnBrk="1" fontAlgn="base" latinLnBrk="0" hangingPunct="1">
              <a:lnSpc>
                <a:spcPct val="100000"/>
              </a:lnSpc>
              <a:spcBef>
                <a:spcPct val="0"/>
              </a:spcBef>
              <a:spcAft>
                <a:spcPct val="0"/>
              </a:spcAft>
              <a:buClrTx/>
              <a:buSzTx/>
              <a:buFontTx/>
              <a:buNone/>
              <a:tabLst/>
              <a:defRPr/>
            </a:pPr>
            <a:endParaRPr kumimoji="0" lang="en-GB" sz="2600" b="1" i="0" u="none" strike="noStrike" kern="1200" cap="none" spc="0" normalizeH="0" baseline="0" noProof="0" dirty="0">
              <a:ln>
                <a:noFill/>
              </a:ln>
              <a:solidFill>
                <a:srgbClr val="000000"/>
              </a:solidFill>
              <a:effectLst/>
              <a:uLnTx/>
              <a:uFillTx/>
              <a:latin typeface="Arial Narrow" charset="0"/>
              <a:ea typeface="+mn-ea"/>
              <a:cs typeface="+mn-cs"/>
              <a:sym typeface="Gill Sans" charset="0"/>
            </a:endParaRPr>
          </a:p>
        </p:txBody>
      </p:sp>
      <p:sp>
        <p:nvSpPr>
          <p:cNvPr id="16" name="Text 15"/>
          <p:cNvSpPr>
            <a:spLocks noChangeArrowheads="1"/>
          </p:cNvSpPr>
          <p:nvPr/>
        </p:nvSpPr>
        <p:spPr bwMode="auto">
          <a:xfrm>
            <a:off x="4033521" y="10751708"/>
            <a:ext cx="1022174" cy="1938992"/>
          </a:xfrm>
          <a:prstGeom prst="rect">
            <a:avLst/>
          </a:prstGeom>
          <a:noFill/>
          <a:ln w="6350">
            <a:noFill/>
            <a:miter lim="800000"/>
            <a:headEnd/>
            <a:tailEnd/>
          </a:ln>
          <a:effectLst/>
        </p:spPr>
        <p:txBody>
          <a:bodyPr wrap="square" lIns="0" tIns="0" rIns="0" bIns="0">
            <a:spAutoFit/>
          </a:bodyPr>
          <a:lstStyle/>
          <a:p>
            <a:pPr marL="0" marR="0" lvl="0" indent="0" algn="l" defTabSz="660400" rtl="0" eaLnBrk="1" fontAlgn="base" latinLnBrk="0" hangingPunct="1">
              <a:lnSpc>
                <a:spcPct val="90000"/>
              </a:lnSpc>
              <a:spcBef>
                <a:spcPct val="0"/>
              </a:spcBef>
              <a:spcAft>
                <a:spcPct val="0"/>
              </a:spcAft>
              <a:buClrTx/>
              <a:buSzPct val="100000"/>
              <a:buFontTx/>
              <a:buNone/>
              <a:tabLst/>
              <a:defRPr/>
            </a:pPr>
            <a:r>
              <a:rPr kumimoji="0" lang="en-GB" altLang="zh-HK" sz="14000" b="0" i="0" u="none" strike="noStrike" kern="1200" cap="none" spc="0" normalizeH="0" baseline="0" noProof="0" dirty="0">
                <a:ln>
                  <a:noFill/>
                </a:ln>
                <a:solidFill>
                  <a:srgbClr val="FFFFFF"/>
                </a:solidFill>
                <a:effectLst/>
                <a:uLnTx/>
                <a:uFillTx/>
                <a:latin typeface="Arial Narrow"/>
                <a:ea typeface="新細明體" pitchFamily="18" charset="-120"/>
                <a:cs typeface="+mn-cs"/>
                <a:sym typeface="Gill Sans" charset="0"/>
              </a:rPr>
              <a:t>3</a:t>
            </a:r>
            <a:endParaRPr kumimoji="0" lang="en-GB" altLang="zh-HK" sz="14000" b="0" i="0" u="none" strike="noStrike" kern="1200" cap="none" spc="0" normalizeH="0" baseline="30000" noProof="0" dirty="0">
              <a:ln>
                <a:noFill/>
              </a:ln>
              <a:solidFill>
                <a:srgbClr val="FFFFFF"/>
              </a:solidFill>
              <a:effectLst/>
              <a:uLnTx/>
              <a:uFillTx/>
              <a:latin typeface="Arial Narrow"/>
              <a:ea typeface="新細明體" pitchFamily="18" charset="-120"/>
              <a:cs typeface="+mn-cs"/>
              <a:sym typeface="Gill Sans" charset="0"/>
            </a:endParaRPr>
          </a:p>
        </p:txBody>
      </p:sp>
      <p:sp>
        <p:nvSpPr>
          <p:cNvPr id="17" name="Textframe 1098.94378210.8271"/>
          <p:cNvSpPr txBox="1"/>
          <p:nvPr/>
        </p:nvSpPr>
        <p:spPr>
          <a:xfrm>
            <a:off x="5055695" y="10696053"/>
            <a:ext cx="15617232" cy="2029017"/>
          </a:xfrm>
          <a:prstGeom prst="rect">
            <a:avLst/>
          </a:prstGeom>
          <a:noFill/>
          <a:ln w="9525">
            <a:noFill/>
          </a:ln>
        </p:spPr>
        <p:txBody>
          <a:bodyPr vert="horz" wrap="square" lIns="0" tIns="0" rIns="0" bIns="144018" rtlCol="0" anchor="b">
            <a:spAutoFit/>
          </a:bodyPr>
          <a:lstStyle/>
          <a:p>
            <a:pPr marL="0" marR="0" lvl="0" indent="0" algn="l" defTabSz="1828800" rtl="0" eaLnBrk="1" fontAlgn="base" latinLnBrk="0" hangingPunct="1">
              <a:lnSpc>
                <a:spcPct val="90000"/>
              </a:lnSpc>
              <a:spcBef>
                <a:spcPts val="800"/>
              </a:spcBef>
              <a:spcAft>
                <a:spcPct val="0"/>
              </a:spcAft>
              <a:buClrTx/>
              <a:buSzPct val="100000"/>
              <a:buFontTx/>
              <a:buNone/>
              <a:tabLst/>
              <a:defRPr/>
            </a:pPr>
            <a:r>
              <a:rPr kumimoji="0" lang="en-GB" sz="3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sym typeface="Gill Sans" charset="0"/>
              </a:rPr>
              <a:t>(Green) hydrogen production </a:t>
            </a:r>
            <a:r>
              <a:rPr kumimoji="0" lang="en-GB" sz="3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sym typeface="Gill Sans" charset="0"/>
              </a:rPr>
              <a:t>as cross-cutting topic for both consideration in detailed business cases as well as development of project concepts and roadmaps in Phase 2 of the project – for the latter also including a view on secondary applications (depending on interest in the coalition)</a:t>
            </a:r>
            <a:endParaRPr kumimoji="0" lang="en-GB" sz="34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sym typeface="Gill Sans" charset="0"/>
            </a:endParaRPr>
          </a:p>
        </p:txBody>
      </p:sp>
      <p:pic>
        <p:nvPicPr>
          <p:cNvPr id="19" name="Picture 18"/>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6711615" y="5972904"/>
            <a:ext cx="3409750" cy="2814478"/>
          </a:xfrm>
          <a:prstGeom prst="rect">
            <a:avLst/>
          </a:prstGeom>
          <a:ln>
            <a:noFill/>
          </a:ln>
          <a:effectLst/>
        </p:spPr>
      </p:pic>
      <p:pic>
        <p:nvPicPr>
          <p:cNvPr id="20" name="Picture 19" descr="D:\Users\M706172\Downloads\Fotolia_14642527_rb.jp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19119895" y="6534656"/>
            <a:ext cx="3409750" cy="28144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52978630"/>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 name="Rounded Rectangle 168"/>
          <p:cNvSpPr/>
          <p:nvPr/>
        </p:nvSpPr>
        <p:spPr>
          <a:xfrm>
            <a:off x="1103314" y="3412767"/>
            <a:ext cx="22034500" cy="8945872"/>
          </a:xfrm>
          <a:prstGeom prst="roundRect">
            <a:avLst>
              <a:gd name="adj" fmla="val 5506"/>
            </a:avLst>
          </a:prstGeom>
          <a:solidFill>
            <a:schemeClr val="bg1"/>
          </a:solidFill>
          <a:ln w="1270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934" b="0" i="0" u="none" strike="noStrike" kern="1200" cap="none" spc="0" normalizeH="0" baseline="0" noProof="0" dirty="0">
              <a:ln>
                <a:noFill/>
              </a:ln>
              <a:solidFill>
                <a:srgbClr val="FFFFFF"/>
              </a:solidFill>
              <a:effectLst/>
              <a:uLnTx/>
              <a:uFillTx/>
              <a:latin typeface="Calibri"/>
              <a:ea typeface="+mn-ea"/>
              <a:cs typeface="+mn-cs"/>
              <a:sym typeface="Gill Sans" charset="0"/>
            </a:endParaRPr>
          </a:p>
        </p:txBody>
      </p:sp>
      <p:sp>
        <p:nvSpPr>
          <p:cNvPr id="2" name="Slide Number Placeholder 1"/>
          <p:cNvSpPr>
            <a:spLocks noGrp="1"/>
          </p:cNvSpPr>
          <p:nvPr>
            <p:ph type="sldNum" sz="quarter" idx="10"/>
          </p:nvPr>
        </p:nvSpPr>
        <p:spPr/>
        <p:txBody>
          <a:bodyPr/>
          <a:lstStyle/>
          <a:p>
            <a:fld id="{CD1E7C23-2AAD-0D45-B01B-5A673730BB06}" type="slidenum">
              <a:rPr lang="en-US" smtClean="0"/>
              <a:pPr/>
              <a:t>11</a:t>
            </a:fld>
            <a:endParaRPr lang="en-US" dirty="0"/>
          </a:p>
        </p:txBody>
      </p:sp>
      <p:sp>
        <p:nvSpPr>
          <p:cNvPr id="3" name="Content Placeholder 2"/>
          <p:cNvSpPr>
            <a:spLocks noGrp="1"/>
          </p:cNvSpPr>
          <p:nvPr>
            <p:ph sz="quarter" idx="20"/>
          </p:nvPr>
        </p:nvSpPr>
        <p:spPr>
          <a:xfrm>
            <a:off x="1075971" y="834811"/>
            <a:ext cx="20234248" cy="830997"/>
          </a:xfrm>
        </p:spPr>
        <p:txBody>
          <a:bodyPr/>
          <a:lstStyle/>
          <a:p>
            <a:r>
              <a:rPr lang="en-GB" dirty="0"/>
              <a:t>The coalition will be divided into two tiers – Target outputs are valley concepts, roadmaps and project ideas, market/funding intelligence</a:t>
            </a:r>
          </a:p>
        </p:txBody>
      </p:sp>
      <p:sp>
        <p:nvSpPr>
          <p:cNvPr id="87" name="RbLeanShape Right U-Shape 29"/>
          <p:cNvSpPr>
            <a:spLocks/>
          </p:cNvSpPr>
          <p:nvPr/>
        </p:nvSpPr>
        <p:spPr>
          <a:xfrm>
            <a:off x="4752974" y="6732314"/>
            <a:ext cx="1935692" cy="2871260"/>
          </a:xfrm>
          <a:custGeom>
            <a:avLst/>
            <a:gdLst>
              <a:gd name="connsiteX0" fmla="*/ 1270000 w 1270000"/>
              <a:gd name="connsiteY0" fmla="*/ 0 h 3175000"/>
              <a:gd name="connsiteX1" fmla="*/ 0 w 1270000"/>
              <a:gd name="connsiteY1" fmla="*/ 0 h 3175000"/>
              <a:gd name="connsiteX2" fmla="*/ 0 w 1270000"/>
              <a:gd name="connsiteY2" fmla="*/ 3175000 h 3175000"/>
              <a:gd name="connsiteX3" fmla="*/ 127000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1270000" y="0"/>
                </a:moveTo>
                <a:lnTo>
                  <a:pt x="0" y="0"/>
                </a:lnTo>
                <a:lnTo>
                  <a:pt x="0" y="3175000"/>
                </a:lnTo>
                <a:lnTo>
                  <a:pt x="1270000" y="3175000"/>
                </a:lnTo>
              </a:path>
            </a:pathLst>
          </a:custGeom>
          <a:noFill/>
          <a:ln w="15875" cap="flat" cmpd="sng" algn="ctr">
            <a:solidFill>
              <a:srgbClr val="8D9399"/>
            </a:solidFill>
            <a:prstDash val="solid"/>
          </a:ln>
          <a:effectLst/>
        </p:spPr>
        <p:txBody>
          <a:bodyPr lIns="0" tIns="0" rIns="0" bIns="0" rtlCol="0" anchor="ctr"/>
          <a:lstStyle/>
          <a:p>
            <a:pPr marL="0" marR="0" lvl="0" indent="0" algn="l" defTabSz="1828800" eaLnBrk="1" fontAlgn="auto" latinLnBrk="0" hangingPunct="1">
              <a:lnSpc>
                <a:spcPct val="90000"/>
              </a:lnSpc>
              <a:spcBef>
                <a:spcPts val="0"/>
              </a:spcBef>
              <a:spcAft>
                <a:spcPts val="0"/>
              </a:spcAft>
              <a:buClrTx/>
              <a:buSzTx/>
              <a:buFontTx/>
              <a:buNone/>
              <a:tabLst/>
              <a:defRPr/>
            </a:pPr>
            <a:endParaRPr kumimoji="0" lang="en-GB" sz="2600" b="1" i="0" u="none" strike="noStrike" kern="0" cap="none" spc="0" normalizeH="0" baseline="0" noProof="0" dirty="0" smtClean="0">
              <a:ln>
                <a:noFill/>
              </a:ln>
              <a:solidFill>
                <a:srgbClr val="002060"/>
              </a:solidFill>
              <a:effectLst/>
              <a:uLnTx/>
              <a:uFillTx/>
              <a:latin typeface="Calibri" panose="020F0502020204030204" pitchFamily="34" charset="0"/>
              <a:ea typeface="+mn-ea"/>
              <a:cs typeface="Calibri" panose="020F0502020204030204" pitchFamily="34" charset="0"/>
            </a:endParaRPr>
          </a:p>
        </p:txBody>
      </p:sp>
      <p:sp>
        <p:nvSpPr>
          <p:cNvPr id="88" name="Rectangle 87"/>
          <p:cNvSpPr/>
          <p:nvPr/>
        </p:nvSpPr>
        <p:spPr bwMode="auto">
          <a:xfrm>
            <a:off x="4603747" y="7056165"/>
            <a:ext cx="303106" cy="2205566"/>
          </a:xfrm>
          <a:prstGeom prst="rect">
            <a:avLst/>
          </a:prstGeom>
          <a:solidFill>
            <a:srgbClr val="FFFFFF"/>
          </a:solidFill>
          <a:ln w="9525">
            <a:noFill/>
            <a:round/>
            <a:headEnd/>
            <a:tailEnd/>
          </a:ln>
        </p:spPr>
        <p:txBody>
          <a:bodyPr rtlCol="0" anchor="ct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2600" b="1" i="0" u="none" strike="noStrike" kern="0" cap="none" spc="0" normalizeH="0" baseline="0" noProof="0" dirty="0" smtClean="0">
              <a:ln>
                <a:noFill/>
              </a:ln>
              <a:solidFill>
                <a:srgbClr val="002060"/>
              </a:solidFill>
              <a:effectLst/>
              <a:uLnTx/>
              <a:uFillTx/>
              <a:latin typeface="Calibri" panose="020F0502020204030204" pitchFamily="34" charset="0"/>
              <a:ea typeface="+mn-ea"/>
              <a:cs typeface="Calibri" panose="020F0502020204030204" pitchFamily="34" charset="0"/>
            </a:endParaRPr>
          </a:p>
        </p:txBody>
      </p:sp>
      <p:sp>
        <p:nvSpPr>
          <p:cNvPr id="89" name="Oval 88"/>
          <p:cNvSpPr/>
          <p:nvPr>
            <p:custDataLst>
              <p:tags r:id="rId2"/>
            </p:custDataLst>
          </p:nvPr>
        </p:nvSpPr>
        <p:spPr bwMode="auto">
          <a:xfrm>
            <a:off x="3759201" y="7183165"/>
            <a:ext cx="1987550" cy="1987550"/>
          </a:xfrm>
          <a:prstGeom prst="ellipse">
            <a:avLst/>
          </a:prstGeom>
          <a:solidFill>
            <a:srgbClr val="8D9399"/>
          </a:solidFill>
          <a:ln w="9525">
            <a:solidFill>
              <a:srgbClr val="FFFFFF"/>
            </a:solidFill>
            <a:round/>
            <a:headEnd/>
            <a:tailEnd/>
          </a:ln>
        </p:spPr>
        <p:txBody>
          <a:bodyPr rtlCol="0" anchor="ct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de-DE" sz="2600" b="1" i="0" u="none" strike="noStrike" kern="0" cap="none" spc="0" normalizeH="0" baseline="0" noProof="0" dirty="0" smtClean="0">
              <a:ln>
                <a:noFill/>
              </a:ln>
              <a:solidFill>
                <a:srgbClr val="002060"/>
              </a:solidFill>
              <a:effectLst/>
              <a:uLnTx/>
              <a:uFillTx/>
              <a:latin typeface="Calibri" panose="020F0502020204030204" pitchFamily="34" charset="0"/>
              <a:ea typeface="+mn-ea"/>
              <a:cs typeface="Calibri" panose="020F0502020204030204" pitchFamily="34" charset="0"/>
            </a:endParaRPr>
          </a:p>
        </p:txBody>
      </p:sp>
      <p:sp>
        <p:nvSpPr>
          <p:cNvPr id="90" name="Text Placeholder"/>
          <p:cNvSpPr>
            <a:spLocks noGrp="1"/>
          </p:cNvSpPr>
          <p:nvPr>
            <p:custDataLst>
              <p:tags r:id="rId3"/>
            </p:custDataLst>
          </p:nvPr>
        </p:nvSpPr>
        <p:spPr bwMode="gray">
          <a:xfrm>
            <a:off x="3902076" y="7821340"/>
            <a:ext cx="1701800" cy="711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50800" tIns="0" rIns="5080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defTabSz="1828800">
              <a:spcBef>
                <a:spcPct val="0"/>
              </a:spcBef>
            </a:pPr>
            <a:r>
              <a:rPr lang="en-GB" altLang="en-US" sz="2600">
                <a:solidFill>
                  <a:srgbClr val="002060"/>
                </a:solidFill>
                <a:latin typeface="Calibri" panose="020F0502020204030204" pitchFamily="34" charset="0"/>
                <a:cs typeface="Calibri" panose="020F0502020204030204" pitchFamily="34" charset="0"/>
              </a:rPr>
              <a:t>~ 90 Regions</a:t>
            </a:r>
            <a:br>
              <a:rPr lang="en-GB" altLang="en-US" sz="2600">
                <a:solidFill>
                  <a:srgbClr val="002060"/>
                </a:solidFill>
                <a:latin typeface="Calibri" panose="020F0502020204030204" pitchFamily="34" charset="0"/>
                <a:cs typeface="Calibri" panose="020F0502020204030204" pitchFamily="34" charset="0"/>
              </a:rPr>
            </a:br>
            <a:r>
              <a:rPr lang="en-GB" altLang="en-US" sz="2600">
                <a:solidFill>
                  <a:srgbClr val="002060"/>
                </a:solidFill>
                <a:latin typeface="Calibri" panose="020F0502020204030204" pitchFamily="34" charset="0"/>
                <a:cs typeface="Calibri" panose="020F0502020204030204" pitchFamily="34" charset="0"/>
              </a:rPr>
              <a:t>&amp; Cities</a:t>
            </a:r>
            <a:endParaRPr lang="en-GB" sz="2600">
              <a:solidFill>
                <a:srgbClr val="002060"/>
              </a:solidFill>
              <a:latin typeface="Calibri" panose="020F0502020204030204" pitchFamily="34" charset="0"/>
              <a:cs typeface="Calibri" panose="020F0502020204030204" pitchFamily="34" charset="0"/>
            </a:endParaRPr>
          </a:p>
        </p:txBody>
      </p:sp>
      <p:graphicFrame>
        <p:nvGraphicFramePr>
          <p:cNvPr id="91" name="Object 90"/>
          <p:cNvGraphicFramePr>
            <a:graphicFrameLocks/>
          </p:cNvGraphicFramePr>
          <p:nvPr>
            <p:custDataLst>
              <p:tags r:id="rId4"/>
            </p:custDataLst>
            <p:extLst/>
          </p:nvPr>
        </p:nvGraphicFramePr>
        <p:xfrm>
          <a:off x="6553201" y="4751114"/>
          <a:ext cx="2800198" cy="2819340"/>
        </p:xfrm>
        <a:graphic>
          <a:graphicData uri="http://schemas.openxmlformats.org/presentationml/2006/ole">
            <mc:AlternateContent xmlns:mc="http://schemas.openxmlformats.org/markup-compatibility/2006">
              <mc:Choice xmlns:v="urn:schemas-microsoft-com:vml" Requires="v">
                <p:oleObj spid="_x0000_s18504" name="Chart" r:id="rId9" imgW="1400014" imgH="1409853" progId="MSGraph.Chart.8">
                  <p:embed followColorScheme="full"/>
                </p:oleObj>
              </mc:Choice>
              <mc:Fallback>
                <p:oleObj name="Chart" r:id="rId9" imgW="1400014" imgH="1409853" progId="MSGraph.Chart.8">
                  <p:embed followColorScheme="full"/>
                  <p:pic>
                    <p:nvPicPr>
                      <p:cNvPr id="91" name="Object 90"/>
                      <p:cNvPicPr/>
                      <p:nvPr/>
                    </p:nvPicPr>
                    <p:blipFill>
                      <a:blip r:embed="rId10"/>
                      <a:stretch>
                        <a:fillRect/>
                      </a:stretch>
                    </p:blipFill>
                    <p:spPr>
                      <a:xfrm>
                        <a:off x="6553201" y="4751114"/>
                        <a:ext cx="2800198" cy="2819340"/>
                      </a:xfrm>
                      <a:prstGeom prst="rect">
                        <a:avLst/>
                      </a:prstGeom>
                    </p:spPr>
                  </p:pic>
                </p:oleObj>
              </mc:Fallback>
            </mc:AlternateContent>
          </a:graphicData>
        </a:graphic>
      </p:graphicFrame>
      <p:sp>
        <p:nvSpPr>
          <p:cNvPr id="92" name="Text Placeholder"/>
          <p:cNvSpPr>
            <a:spLocks noGrp="1"/>
          </p:cNvSpPr>
          <p:nvPr>
            <p:custDataLst>
              <p:tags r:id="rId5"/>
            </p:custDataLst>
          </p:nvPr>
        </p:nvSpPr>
        <p:spPr bwMode="auto">
          <a:xfrm>
            <a:off x="8963027" y="5233714"/>
            <a:ext cx="149226" cy="3556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defTabSz="1828800">
              <a:spcBef>
                <a:spcPct val="0"/>
              </a:spcBef>
            </a:pPr>
            <a:r>
              <a:rPr lang="en-GB" altLang="en-US" sz="2600">
                <a:solidFill>
                  <a:srgbClr val="002060"/>
                </a:solidFill>
                <a:latin typeface="Calibri" panose="020F0502020204030204" pitchFamily="34" charset="0"/>
                <a:cs typeface="Calibri" panose="020F0502020204030204" pitchFamily="34" charset="0"/>
              </a:rPr>
              <a:t>1</a:t>
            </a:r>
            <a:endParaRPr lang="en-GB" sz="2600">
              <a:solidFill>
                <a:srgbClr val="002060"/>
              </a:solidFill>
              <a:latin typeface="Calibri" panose="020F0502020204030204" pitchFamily="34" charset="0"/>
              <a:cs typeface="Calibri" panose="020F0502020204030204" pitchFamily="34" charset="0"/>
            </a:endParaRPr>
          </a:p>
        </p:txBody>
      </p:sp>
      <p:sp>
        <p:nvSpPr>
          <p:cNvPr id="93" name="Title44"/>
          <p:cNvSpPr txBox="1"/>
          <p:nvPr/>
        </p:nvSpPr>
        <p:spPr>
          <a:xfrm>
            <a:off x="3759201" y="3617640"/>
            <a:ext cx="5436658" cy="558784"/>
          </a:xfrm>
          <a:prstGeom prst="rect">
            <a:avLst/>
          </a:prstGeom>
          <a:noFill/>
          <a:ln w="9525">
            <a:noFill/>
          </a:ln>
        </p:spPr>
        <p:txBody>
          <a:bodyPr vert="horz" wrap="square" lIns="0" tIns="0" rIns="0" bIns="141900" rtlCol="0" anchor="b">
            <a:spAutoFit/>
          </a:bodyPr>
          <a:lstStyle/>
          <a:p>
            <a:pPr algn="l" defTabSz="1828800">
              <a:lnSpc>
                <a:spcPct val="90000"/>
              </a:lnSpc>
              <a:spcBef>
                <a:spcPts val="800"/>
              </a:spcBef>
              <a:buClr>
                <a:srgbClr val="000000"/>
              </a:buClr>
              <a:buSzPct val="100000"/>
            </a:pPr>
            <a:r>
              <a:rPr lang="en-GB" sz="3000" b="1" dirty="0">
                <a:solidFill>
                  <a:srgbClr val="002060"/>
                </a:solidFill>
                <a:latin typeface="Calibri" panose="020F0502020204030204" pitchFamily="34" charset="0"/>
                <a:ea typeface="+mn-ea"/>
                <a:cs typeface="Calibri" panose="020F0502020204030204" pitchFamily="34" charset="0"/>
              </a:rPr>
              <a:t>Tier-based project coalition</a:t>
            </a:r>
          </a:p>
        </p:txBody>
      </p:sp>
      <p:cxnSp>
        <p:nvCxnSpPr>
          <p:cNvPr id="94" name="HorizontalLine10"/>
          <p:cNvCxnSpPr/>
          <p:nvPr/>
        </p:nvCxnSpPr>
        <p:spPr>
          <a:xfrm>
            <a:off x="3759201" y="4173264"/>
            <a:ext cx="5436658" cy="0"/>
          </a:xfrm>
          <a:prstGeom prst="line">
            <a:avLst/>
          </a:prstGeom>
          <a:noFill/>
          <a:ln w="22225" cap="flat" cmpd="sng" algn="ctr">
            <a:solidFill>
              <a:srgbClr val="8D9399"/>
            </a:solidFill>
            <a:prstDash val="solid"/>
            <a:tailEnd type="triangle" w="lg" len="lg"/>
          </a:ln>
          <a:effectLst/>
        </p:spPr>
      </p:cxnSp>
      <p:sp>
        <p:nvSpPr>
          <p:cNvPr id="95" name="Title1111"/>
          <p:cNvSpPr txBox="1"/>
          <p:nvPr/>
        </p:nvSpPr>
        <p:spPr>
          <a:xfrm>
            <a:off x="9576859" y="3617640"/>
            <a:ext cx="5436658" cy="558784"/>
          </a:xfrm>
          <a:prstGeom prst="rect">
            <a:avLst/>
          </a:prstGeom>
          <a:noFill/>
          <a:ln w="9525">
            <a:noFill/>
          </a:ln>
        </p:spPr>
        <p:txBody>
          <a:bodyPr vert="horz" wrap="square" lIns="0" tIns="0" rIns="0" bIns="141900" rtlCol="0" anchor="b">
            <a:spAutoFit/>
          </a:bodyPr>
          <a:lstStyle/>
          <a:p>
            <a:pPr algn="l" defTabSz="1828800">
              <a:lnSpc>
                <a:spcPct val="90000"/>
              </a:lnSpc>
              <a:spcBef>
                <a:spcPts val="800"/>
              </a:spcBef>
              <a:buClr>
                <a:srgbClr val="000000"/>
              </a:buClr>
              <a:buSzPct val="100000"/>
            </a:pPr>
            <a:r>
              <a:rPr lang="en-GB" sz="3000" b="1" dirty="0">
                <a:solidFill>
                  <a:srgbClr val="002060"/>
                </a:solidFill>
                <a:latin typeface="Calibri" panose="020F0502020204030204" pitchFamily="34" charset="0"/>
                <a:ea typeface="+mn-ea"/>
                <a:cs typeface="Calibri" panose="020F0502020204030204" pitchFamily="34" charset="0"/>
              </a:rPr>
              <a:t>Tier-specific project outputs</a:t>
            </a:r>
          </a:p>
        </p:txBody>
      </p:sp>
      <p:cxnSp>
        <p:nvCxnSpPr>
          <p:cNvPr id="96" name="HorizontalLine13"/>
          <p:cNvCxnSpPr/>
          <p:nvPr/>
        </p:nvCxnSpPr>
        <p:spPr>
          <a:xfrm>
            <a:off x="9576861" y="4173264"/>
            <a:ext cx="5436658" cy="0"/>
          </a:xfrm>
          <a:prstGeom prst="line">
            <a:avLst/>
          </a:prstGeom>
          <a:noFill/>
          <a:ln w="22225" cap="flat" cmpd="sng" algn="ctr">
            <a:solidFill>
              <a:srgbClr val="8D9399"/>
            </a:solidFill>
            <a:prstDash val="solid"/>
            <a:tailEnd type="triangle" w="lg" len="lg"/>
          </a:ln>
          <a:effectLst/>
        </p:spPr>
      </p:cxnSp>
      <p:sp>
        <p:nvSpPr>
          <p:cNvPr id="97" name="Title1414"/>
          <p:cNvSpPr txBox="1"/>
          <p:nvPr/>
        </p:nvSpPr>
        <p:spPr>
          <a:xfrm>
            <a:off x="15394519" y="3617640"/>
            <a:ext cx="5436658" cy="558784"/>
          </a:xfrm>
          <a:prstGeom prst="rect">
            <a:avLst/>
          </a:prstGeom>
          <a:noFill/>
          <a:ln w="9525">
            <a:noFill/>
          </a:ln>
        </p:spPr>
        <p:txBody>
          <a:bodyPr vert="horz" wrap="square" lIns="0" tIns="0" rIns="0" bIns="141900" rtlCol="0" anchor="b">
            <a:spAutoFit/>
          </a:bodyPr>
          <a:lstStyle/>
          <a:p>
            <a:pPr algn="l" defTabSz="1828800">
              <a:lnSpc>
                <a:spcPct val="90000"/>
              </a:lnSpc>
              <a:spcBef>
                <a:spcPts val="800"/>
              </a:spcBef>
              <a:buClr>
                <a:srgbClr val="000000"/>
              </a:buClr>
              <a:buSzPct val="100000"/>
            </a:pPr>
            <a:r>
              <a:rPr lang="en-GB" sz="3000" b="1" dirty="0">
                <a:solidFill>
                  <a:srgbClr val="002060"/>
                </a:solidFill>
                <a:latin typeface="Calibri" panose="020F0502020204030204" pitchFamily="34" charset="0"/>
                <a:ea typeface="+mn-ea"/>
                <a:cs typeface="Calibri" panose="020F0502020204030204" pitchFamily="34" charset="0"/>
              </a:rPr>
              <a:t>Overall project outputs</a:t>
            </a:r>
          </a:p>
        </p:txBody>
      </p:sp>
      <p:cxnSp>
        <p:nvCxnSpPr>
          <p:cNvPr id="98" name="HorizontalLine17"/>
          <p:cNvCxnSpPr/>
          <p:nvPr/>
        </p:nvCxnSpPr>
        <p:spPr>
          <a:xfrm>
            <a:off x="15394519" y="4173264"/>
            <a:ext cx="5436658" cy="0"/>
          </a:xfrm>
          <a:prstGeom prst="line">
            <a:avLst/>
          </a:prstGeom>
          <a:noFill/>
          <a:ln w="22225" cap="flat" cmpd="sng" algn="ctr">
            <a:solidFill>
              <a:srgbClr val="8D9399"/>
            </a:solidFill>
            <a:prstDash val="solid"/>
            <a:tailEnd type="triangle" w="lg" len="lg"/>
          </a:ln>
          <a:effectLst/>
        </p:spPr>
      </p:cxnSp>
      <p:cxnSp>
        <p:nvCxnSpPr>
          <p:cNvPr id="99" name="Straight Connector 98"/>
          <p:cNvCxnSpPr/>
          <p:nvPr/>
        </p:nvCxnSpPr>
        <p:spPr>
          <a:xfrm>
            <a:off x="3759200" y="12086294"/>
            <a:ext cx="17074776" cy="0"/>
          </a:xfrm>
          <a:prstGeom prst="line">
            <a:avLst/>
          </a:prstGeom>
          <a:noFill/>
          <a:ln w="9525" cap="flat" cmpd="sng" algn="ctr">
            <a:solidFill>
              <a:srgbClr val="8D9399"/>
            </a:solidFill>
            <a:prstDash val="solid"/>
          </a:ln>
          <a:effectLst/>
        </p:spPr>
      </p:cxnSp>
      <p:cxnSp>
        <p:nvCxnSpPr>
          <p:cNvPr id="100" name="Straight Connector 99"/>
          <p:cNvCxnSpPr/>
          <p:nvPr/>
        </p:nvCxnSpPr>
        <p:spPr>
          <a:xfrm>
            <a:off x="5984877" y="8075341"/>
            <a:ext cx="9412818" cy="14582"/>
          </a:xfrm>
          <a:prstGeom prst="line">
            <a:avLst/>
          </a:prstGeom>
          <a:noFill/>
          <a:ln w="9525" cap="flat" cmpd="sng" algn="ctr">
            <a:solidFill>
              <a:srgbClr val="8D9399"/>
            </a:solidFill>
            <a:prstDash val="dash"/>
          </a:ln>
          <a:effectLst/>
        </p:spPr>
      </p:cxnSp>
      <p:graphicFrame>
        <p:nvGraphicFramePr>
          <p:cNvPr id="101" name="Object 100"/>
          <p:cNvGraphicFramePr>
            <a:graphicFrameLocks/>
          </p:cNvGraphicFramePr>
          <p:nvPr>
            <p:custDataLst>
              <p:tags r:id="rId6"/>
            </p:custDataLst>
            <p:extLst/>
          </p:nvPr>
        </p:nvGraphicFramePr>
        <p:xfrm>
          <a:off x="6553201" y="8637314"/>
          <a:ext cx="2800198" cy="2838240"/>
        </p:xfrm>
        <a:graphic>
          <a:graphicData uri="http://schemas.openxmlformats.org/presentationml/2006/ole">
            <mc:AlternateContent xmlns:mc="http://schemas.openxmlformats.org/markup-compatibility/2006">
              <mc:Choice xmlns:v="urn:schemas-microsoft-com:vml" Requires="v">
                <p:oleObj spid="_x0000_s18505" name="Chart" r:id="rId11" imgW="1400014" imgH="1419158" progId="MSGraph.Chart.8">
                  <p:embed followColorScheme="full"/>
                </p:oleObj>
              </mc:Choice>
              <mc:Fallback>
                <p:oleObj name="Chart" r:id="rId11" imgW="1400014" imgH="1419158" progId="MSGraph.Chart.8">
                  <p:embed followColorScheme="full"/>
                  <p:pic>
                    <p:nvPicPr>
                      <p:cNvPr id="101" name="Object 100"/>
                      <p:cNvPicPr/>
                      <p:nvPr/>
                    </p:nvPicPr>
                    <p:blipFill>
                      <a:blip r:embed="rId12"/>
                      <a:stretch>
                        <a:fillRect/>
                      </a:stretch>
                    </p:blipFill>
                    <p:spPr>
                      <a:xfrm>
                        <a:off x="6553201" y="8637314"/>
                        <a:ext cx="2800198" cy="2838240"/>
                      </a:xfrm>
                      <a:prstGeom prst="rect">
                        <a:avLst/>
                      </a:prstGeom>
                    </p:spPr>
                  </p:pic>
                </p:oleObj>
              </mc:Fallback>
            </mc:AlternateContent>
          </a:graphicData>
        </a:graphic>
      </p:graphicFrame>
      <p:sp>
        <p:nvSpPr>
          <p:cNvPr id="102" name="Text Placeholder"/>
          <p:cNvSpPr>
            <a:spLocks noGrp="1"/>
          </p:cNvSpPr>
          <p:nvPr>
            <p:custDataLst>
              <p:tags r:id="rId7"/>
            </p:custDataLst>
          </p:nvPr>
        </p:nvSpPr>
        <p:spPr bwMode="auto">
          <a:xfrm>
            <a:off x="7251701" y="11085240"/>
            <a:ext cx="149226" cy="3556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defTabSz="1828800">
              <a:spcBef>
                <a:spcPct val="0"/>
              </a:spcBef>
            </a:pPr>
            <a:r>
              <a:rPr lang="en-GB" altLang="en-US" sz="2600">
                <a:solidFill>
                  <a:srgbClr val="002060"/>
                </a:solidFill>
                <a:latin typeface="Calibri" panose="020F0502020204030204" pitchFamily="34" charset="0"/>
                <a:cs typeface="Calibri" panose="020F0502020204030204" pitchFamily="34" charset="0"/>
              </a:rPr>
              <a:t>2</a:t>
            </a:r>
            <a:endParaRPr lang="en-GB" sz="2600">
              <a:solidFill>
                <a:srgbClr val="002060"/>
              </a:solidFill>
              <a:latin typeface="Calibri" panose="020F0502020204030204" pitchFamily="34" charset="0"/>
              <a:cs typeface="Calibri" panose="020F0502020204030204" pitchFamily="34" charset="0"/>
            </a:endParaRPr>
          </a:p>
        </p:txBody>
      </p:sp>
      <p:sp>
        <p:nvSpPr>
          <p:cNvPr id="103" name="RBContent131"/>
          <p:cNvSpPr txBox="1">
            <a:spLocks/>
          </p:cNvSpPr>
          <p:nvPr/>
        </p:nvSpPr>
        <p:spPr>
          <a:xfrm>
            <a:off x="3759198" y="9888264"/>
            <a:ext cx="3369736" cy="720197"/>
          </a:xfrm>
          <a:prstGeom prst="rect">
            <a:avLst/>
          </a:prstGeom>
          <a:noFill/>
          <a:ln w="9525">
            <a:noFill/>
          </a:ln>
        </p:spPr>
        <p:txBody>
          <a:bodyPr vert="horz" wrap="square" lIns="0" tIns="0" rIns="0" bIns="0" rtlCol="0">
            <a:spAutoFit/>
          </a:bodyPr>
          <a:lstStyle/>
          <a:p>
            <a:pPr algn="l" defTabSz="1828800">
              <a:lnSpc>
                <a:spcPct val="90000"/>
              </a:lnSpc>
              <a:spcBef>
                <a:spcPts val="800"/>
              </a:spcBef>
              <a:buSzPct val="100000"/>
            </a:pPr>
            <a:r>
              <a:rPr lang="en-GB" sz="2600" b="1" dirty="0">
                <a:solidFill>
                  <a:srgbClr val="002060"/>
                </a:solidFill>
                <a:latin typeface="Calibri" panose="020F0502020204030204" pitchFamily="34" charset="0"/>
                <a:ea typeface="+mn-ea"/>
                <a:cs typeface="Calibri" panose="020F0502020204030204" pitchFamily="34" charset="0"/>
                <a:sym typeface="+mn-lt"/>
              </a:rPr>
              <a:t>Tier 2</a:t>
            </a:r>
            <a:r>
              <a:rPr lang="en-GB" sz="2600" dirty="0">
                <a:solidFill>
                  <a:srgbClr val="002060"/>
                </a:solidFill>
                <a:latin typeface="Calibri" panose="020F0502020204030204" pitchFamily="34" charset="0"/>
                <a:ea typeface="+mn-ea"/>
                <a:cs typeface="Calibri" panose="020F0502020204030204" pitchFamily="34" charset="0"/>
                <a:sym typeface="+mn-lt"/>
              </a:rPr>
              <a:t> "1</a:t>
            </a:r>
            <a:r>
              <a:rPr lang="en-GB" sz="2600" baseline="30000" dirty="0">
                <a:solidFill>
                  <a:srgbClr val="002060"/>
                </a:solidFill>
                <a:latin typeface="Calibri" panose="020F0502020204030204" pitchFamily="34" charset="0"/>
                <a:ea typeface="+mn-ea"/>
                <a:cs typeface="Calibri" panose="020F0502020204030204" pitchFamily="34" charset="0"/>
                <a:sym typeface="+mn-lt"/>
              </a:rPr>
              <a:t>st</a:t>
            </a:r>
            <a:r>
              <a:rPr lang="en-GB" sz="2600" dirty="0">
                <a:solidFill>
                  <a:srgbClr val="002060"/>
                </a:solidFill>
                <a:latin typeface="Calibri" panose="020F0502020204030204" pitchFamily="34" charset="0"/>
                <a:ea typeface="+mn-ea"/>
                <a:cs typeface="Calibri" panose="020F0502020204030204" pitchFamily="34" charset="0"/>
                <a:sym typeface="+mn-lt"/>
              </a:rPr>
              <a:t> FCH projects"</a:t>
            </a:r>
            <a:br>
              <a:rPr lang="en-GB" sz="2600" dirty="0">
                <a:solidFill>
                  <a:srgbClr val="002060"/>
                </a:solidFill>
                <a:latin typeface="Calibri" panose="020F0502020204030204" pitchFamily="34" charset="0"/>
                <a:ea typeface="+mn-ea"/>
                <a:cs typeface="Calibri" panose="020F0502020204030204" pitchFamily="34" charset="0"/>
                <a:sym typeface="+mn-lt"/>
              </a:rPr>
            </a:br>
            <a:r>
              <a:rPr lang="en-GB" sz="2600" dirty="0">
                <a:solidFill>
                  <a:srgbClr val="002060"/>
                </a:solidFill>
                <a:latin typeface="Calibri" panose="020F0502020204030204" pitchFamily="34" charset="0"/>
                <a:ea typeface="+mn-ea"/>
                <a:cs typeface="Calibri" panose="020F0502020204030204" pitchFamily="34" charset="0"/>
                <a:sym typeface="+mn-lt"/>
              </a:rPr>
              <a:t>~ 70 Regions &amp; Cities</a:t>
            </a:r>
          </a:p>
        </p:txBody>
      </p:sp>
      <p:sp>
        <p:nvSpPr>
          <p:cNvPr id="104" name="RBContent131"/>
          <p:cNvSpPr txBox="1">
            <a:spLocks/>
          </p:cNvSpPr>
          <p:nvPr/>
        </p:nvSpPr>
        <p:spPr>
          <a:xfrm>
            <a:off x="3759198" y="5662340"/>
            <a:ext cx="3369736" cy="720197"/>
          </a:xfrm>
          <a:prstGeom prst="rect">
            <a:avLst/>
          </a:prstGeom>
          <a:noFill/>
          <a:ln w="9525">
            <a:noFill/>
          </a:ln>
        </p:spPr>
        <p:txBody>
          <a:bodyPr vert="horz" wrap="square" lIns="0" tIns="0" rIns="0" bIns="0" rtlCol="0">
            <a:spAutoFit/>
          </a:bodyPr>
          <a:lstStyle/>
          <a:p>
            <a:pPr algn="l" defTabSz="1828800">
              <a:lnSpc>
                <a:spcPct val="90000"/>
              </a:lnSpc>
              <a:spcBef>
                <a:spcPts val="800"/>
              </a:spcBef>
              <a:buSzPct val="100000"/>
            </a:pPr>
            <a:r>
              <a:rPr lang="en-GB" sz="2600" b="1" dirty="0">
                <a:solidFill>
                  <a:srgbClr val="002060"/>
                </a:solidFill>
                <a:latin typeface="Calibri" panose="020F0502020204030204" pitchFamily="34" charset="0"/>
                <a:ea typeface="+mn-ea"/>
                <a:cs typeface="Calibri" panose="020F0502020204030204" pitchFamily="34" charset="0"/>
                <a:sym typeface="+mn-lt"/>
              </a:rPr>
              <a:t>Tier 1</a:t>
            </a:r>
            <a:r>
              <a:rPr lang="en-GB" sz="2600" dirty="0">
                <a:solidFill>
                  <a:srgbClr val="002060"/>
                </a:solidFill>
                <a:latin typeface="Calibri" panose="020F0502020204030204" pitchFamily="34" charset="0"/>
                <a:ea typeface="+mn-ea"/>
                <a:cs typeface="Calibri" panose="020F0502020204030204" pitchFamily="34" charset="0"/>
                <a:sym typeface="+mn-lt"/>
              </a:rPr>
              <a:t> "FCH valleys"</a:t>
            </a:r>
            <a:br>
              <a:rPr lang="en-GB" sz="2600" dirty="0">
                <a:solidFill>
                  <a:srgbClr val="002060"/>
                </a:solidFill>
                <a:latin typeface="Calibri" panose="020F0502020204030204" pitchFamily="34" charset="0"/>
                <a:ea typeface="+mn-ea"/>
                <a:cs typeface="Calibri" panose="020F0502020204030204" pitchFamily="34" charset="0"/>
                <a:sym typeface="+mn-lt"/>
              </a:rPr>
            </a:br>
            <a:r>
              <a:rPr lang="en-GB" sz="2600" dirty="0">
                <a:solidFill>
                  <a:srgbClr val="002060"/>
                </a:solidFill>
                <a:latin typeface="Calibri" panose="020F0502020204030204" pitchFamily="34" charset="0"/>
                <a:ea typeface="+mn-ea"/>
                <a:cs typeface="Calibri" panose="020F0502020204030204" pitchFamily="34" charset="0"/>
                <a:sym typeface="+mn-lt"/>
              </a:rPr>
              <a:t>~ 25 Regions &amp; Cities</a:t>
            </a:r>
          </a:p>
        </p:txBody>
      </p:sp>
      <p:grpSp>
        <p:nvGrpSpPr>
          <p:cNvPr id="105" name="Group 104"/>
          <p:cNvGrpSpPr/>
          <p:nvPr/>
        </p:nvGrpSpPr>
        <p:grpSpPr>
          <a:xfrm>
            <a:off x="9576858" y="4525691"/>
            <a:ext cx="2372136" cy="3197226"/>
            <a:chOff x="3645429" y="2743200"/>
            <a:chExt cx="1186068" cy="1598613"/>
          </a:xfrm>
        </p:grpSpPr>
        <p:sp>
          <p:nvSpPr>
            <p:cNvPr id="106" name="Freeform 5"/>
            <p:cNvSpPr>
              <a:spLocks noEditPoints="1"/>
            </p:cNvSpPr>
            <p:nvPr/>
          </p:nvSpPr>
          <p:spPr bwMode="auto">
            <a:xfrm>
              <a:off x="3946476" y="2743200"/>
              <a:ext cx="885021" cy="1404119"/>
            </a:xfrm>
            <a:custGeom>
              <a:avLst/>
              <a:gdLst>
                <a:gd name="T0" fmla="*/ 850 w 1280"/>
                <a:gd name="T1" fmla="*/ 0 h 1680"/>
                <a:gd name="T2" fmla="*/ 925 w 1280"/>
                <a:gd name="T3" fmla="*/ 35 h 1680"/>
                <a:gd name="T4" fmla="*/ 1245 w 1280"/>
                <a:gd name="T5" fmla="*/ 355 h 1680"/>
                <a:gd name="T6" fmla="*/ 1280 w 1280"/>
                <a:gd name="T7" fmla="*/ 430 h 1680"/>
                <a:gd name="T8" fmla="*/ 1200 w 1280"/>
                <a:gd name="T9" fmla="*/ 400 h 1680"/>
                <a:gd name="T10" fmla="*/ 880 w 1280"/>
                <a:gd name="T11" fmla="*/ 400 h 1680"/>
                <a:gd name="T12" fmla="*/ 880 w 1280"/>
                <a:gd name="T13" fmla="*/ 80 h 1680"/>
                <a:gd name="T14" fmla="*/ 850 w 1280"/>
                <a:gd name="T15" fmla="*/ 0 h 1680"/>
                <a:gd name="T16" fmla="*/ 1280 w 1280"/>
                <a:gd name="T17" fmla="*/ 480 h 1680"/>
                <a:gd name="T18" fmla="*/ 1280 w 1280"/>
                <a:gd name="T19" fmla="*/ 1680 h 1680"/>
                <a:gd name="T20" fmla="*/ 720 w 1280"/>
                <a:gd name="T21" fmla="*/ 1680 h 1680"/>
                <a:gd name="T22" fmla="*/ 720 w 1280"/>
                <a:gd name="T23" fmla="*/ 840 h 1680"/>
                <a:gd name="T24" fmla="*/ 661 w 1280"/>
                <a:gd name="T25" fmla="*/ 699 h 1680"/>
                <a:gd name="T26" fmla="*/ 340 w 1280"/>
                <a:gd name="T27" fmla="*/ 378 h 1680"/>
                <a:gd name="T28" fmla="*/ 200 w 1280"/>
                <a:gd name="T29" fmla="*/ 320 h 1680"/>
                <a:gd name="T30" fmla="*/ 0 w 1280"/>
                <a:gd name="T31" fmla="*/ 320 h 1680"/>
                <a:gd name="T32" fmla="*/ 0 w 1280"/>
                <a:gd name="T33" fmla="*/ 0 h 1680"/>
                <a:gd name="T34" fmla="*/ 800 w 1280"/>
                <a:gd name="T35" fmla="*/ 0 h 1680"/>
                <a:gd name="T36" fmla="*/ 800 w 1280"/>
                <a:gd name="T37" fmla="*/ 480 h 1680"/>
                <a:gd name="T38" fmla="*/ 1280 w 1280"/>
                <a:gd name="T39" fmla="*/ 480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0" h="1680">
                  <a:moveTo>
                    <a:pt x="850" y="0"/>
                  </a:moveTo>
                  <a:cubicBezTo>
                    <a:pt x="879" y="3"/>
                    <a:pt x="905" y="16"/>
                    <a:pt x="925" y="35"/>
                  </a:cubicBezTo>
                  <a:cubicBezTo>
                    <a:pt x="925" y="35"/>
                    <a:pt x="1218" y="329"/>
                    <a:pt x="1245" y="355"/>
                  </a:cubicBezTo>
                  <a:cubicBezTo>
                    <a:pt x="1264" y="375"/>
                    <a:pt x="1277" y="401"/>
                    <a:pt x="1280" y="430"/>
                  </a:cubicBezTo>
                  <a:cubicBezTo>
                    <a:pt x="1258" y="412"/>
                    <a:pt x="1230" y="400"/>
                    <a:pt x="1200" y="400"/>
                  </a:cubicBezTo>
                  <a:cubicBezTo>
                    <a:pt x="880" y="400"/>
                    <a:pt x="880" y="400"/>
                    <a:pt x="880" y="400"/>
                  </a:cubicBezTo>
                  <a:cubicBezTo>
                    <a:pt x="880" y="80"/>
                    <a:pt x="880" y="80"/>
                    <a:pt x="880" y="80"/>
                  </a:cubicBezTo>
                  <a:cubicBezTo>
                    <a:pt x="880" y="50"/>
                    <a:pt x="868" y="22"/>
                    <a:pt x="850" y="0"/>
                  </a:cubicBezTo>
                  <a:close/>
                  <a:moveTo>
                    <a:pt x="1280" y="480"/>
                  </a:moveTo>
                  <a:cubicBezTo>
                    <a:pt x="1280" y="1680"/>
                    <a:pt x="1280" y="1680"/>
                    <a:pt x="1280" y="1680"/>
                  </a:cubicBezTo>
                  <a:cubicBezTo>
                    <a:pt x="720" y="1680"/>
                    <a:pt x="720" y="1680"/>
                    <a:pt x="720" y="1680"/>
                  </a:cubicBezTo>
                  <a:cubicBezTo>
                    <a:pt x="720" y="840"/>
                    <a:pt x="720" y="840"/>
                    <a:pt x="720" y="840"/>
                  </a:cubicBezTo>
                  <a:cubicBezTo>
                    <a:pt x="720" y="787"/>
                    <a:pt x="699" y="736"/>
                    <a:pt x="661" y="699"/>
                  </a:cubicBezTo>
                  <a:cubicBezTo>
                    <a:pt x="340" y="378"/>
                    <a:pt x="340" y="378"/>
                    <a:pt x="340" y="378"/>
                  </a:cubicBezTo>
                  <a:cubicBezTo>
                    <a:pt x="303" y="341"/>
                    <a:pt x="253" y="320"/>
                    <a:pt x="200" y="320"/>
                  </a:cubicBezTo>
                  <a:cubicBezTo>
                    <a:pt x="0" y="320"/>
                    <a:pt x="0" y="320"/>
                    <a:pt x="0" y="320"/>
                  </a:cubicBezTo>
                  <a:cubicBezTo>
                    <a:pt x="0" y="0"/>
                    <a:pt x="0" y="0"/>
                    <a:pt x="0" y="0"/>
                  </a:cubicBezTo>
                  <a:cubicBezTo>
                    <a:pt x="800" y="0"/>
                    <a:pt x="800" y="0"/>
                    <a:pt x="800" y="0"/>
                  </a:cubicBezTo>
                  <a:cubicBezTo>
                    <a:pt x="800" y="480"/>
                    <a:pt x="800" y="480"/>
                    <a:pt x="800" y="480"/>
                  </a:cubicBezTo>
                  <a:lnTo>
                    <a:pt x="1280" y="480"/>
                  </a:lnTo>
                  <a:close/>
                </a:path>
              </a:pathLst>
            </a:custGeom>
            <a:pattFill prst="dkUpDiag">
              <a:fgClr>
                <a:srgbClr val="8D9399"/>
              </a:fgClr>
              <a:bgClr>
                <a:srgbClr val="85CEDF"/>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marL="0" marR="0" lvl="0" indent="0" algn="l" defTabSz="182880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smtClean="0">
                <a:ln>
                  <a:noFill/>
                </a:ln>
                <a:solidFill>
                  <a:srgbClr val="002060"/>
                </a:solidFill>
                <a:effectLst/>
                <a:uLnTx/>
                <a:uFillTx/>
                <a:latin typeface="Calibri" panose="020F0502020204030204" pitchFamily="34" charset="0"/>
                <a:ea typeface="+mn-ea"/>
                <a:cs typeface="Calibri" panose="020F0502020204030204" pitchFamily="34" charset="0"/>
                <a:sym typeface="+mn-lt"/>
              </a:endParaRPr>
            </a:p>
          </p:txBody>
        </p:sp>
        <p:sp>
          <p:nvSpPr>
            <p:cNvPr id="107" name="Freeform 5"/>
            <p:cNvSpPr>
              <a:spLocks noEditPoints="1"/>
            </p:cNvSpPr>
            <p:nvPr/>
          </p:nvSpPr>
          <p:spPr bwMode="auto">
            <a:xfrm>
              <a:off x="3846127" y="2808031"/>
              <a:ext cx="885021" cy="1404119"/>
            </a:xfrm>
            <a:custGeom>
              <a:avLst/>
              <a:gdLst>
                <a:gd name="T0" fmla="*/ 850 w 1280"/>
                <a:gd name="T1" fmla="*/ 0 h 1680"/>
                <a:gd name="T2" fmla="*/ 925 w 1280"/>
                <a:gd name="T3" fmla="*/ 35 h 1680"/>
                <a:gd name="T4" fmla="*/ 1245 w 1280"/>
                <a:gd name="T5" fmla="*/ 355 h 1680"/>
                <a:gd name="T6" fmla="*/ 1280 w 1280"/>
                <a:gd name="T7" fmla="*/ 430 h 1680"/>
                <a:gd name="T8" fmla="*/ 1200 w 1280"/>
                <a:gd name="T9" fmla="*/ 400 h 1680"/>
                <a:gd name="T10" fmla="*/ 880 w 1280"/>
                <a:gd name="T11" fmla="*/ 400 h 1680"/>
                <a:gd name="T12" fmla="*/ 880 w 1280"/>
                <a:gd name="T13" fmla="*/ 80 h 1680"/>
                <a:gd name="T14" fmla="*/ 850 w 1280"/>
                <a:gd name="T15" fmla="*/ 0 h 1680"/>
                <a:gd name="T16" fmla="*/ 1280 w 1280"/>
                <a:gd name="T17" fmla="*/ 480 h 1680"/>
                <a:gd name="T18" fmla="*/ 1280 w 1280"/>
                <a:gd name="T19" fmla="*/ 1680 h 1680"/>
                <a:gd name="T20" fmla="*/ 720 w 1280"/>
                <a:gd name="T21" fmla="*/ 1680 h 1680"/>
                <a:gd name="T22" fmla="*/ 720 w 1280"/>
                <a:gd name="T23" fmla="*/ 840 h 1680"/>
                <a:gd name="T24" fmla="*/ 661 w 1280"/>
                <a:gd name="T25" fmla="*/ 699 h 1680"/>
                <a:gd name="T26" fmla="*/ 340 w 1280"/>
                <a:gd name="T27" fmla="*/ 378 h 1680"/>
                <a:gd name="T28" fmla="*/ 200 w 1280"/>
                <a:gd name="T29" fmla="*/ 320 h 1680"/>
                <a:gd name="T30" fmla="*/ 0 w 1280"/>
                <a:gd name="T31" fmla="*/ 320 h 1680"/>
                <a:gd name="T32" fmla="*/ 0 w 1280"/>
                <a:gd name="T33" fmla="*/ 0 h 1680"/>
                <a:gd name="T34" fmla="*/ 800 w 1280"/>
                <a:gd name="T35" fmla="*/ 0 h 1680"/>
                <a:gd name="T36" fmla="*/ 800 w 1280"/>
                <a:gd name="T37" fmla="*/ 480 h 1680"/>
                <a:gd name="T38" fmla="*/ 1280 w 1280"/>
                <a:gd name="T39" fmla="*/ 480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0" h="1680">
                  <a:moveTo>
                    <a:pt x="850" y="0"/>
                  </a:moveTo>
                  <a:cubicBezTo>
                    <a:pt x="879" y="3"/>
                    <a:pt x="905" y="16"/>
                    <a:pt x="925" y="35"/>
                  </a:cubicBezTo>
                  <a:cubicBezTo>
                    <a:pt x="925" y="35"/>
                    <a:pt x="1218" y="329"/>
                    <a:pt x="1245" y="355"/>
                  </a:cubicBezTo>
                  <a:cubicBezTo>
                    <a:pt x="1264" y="375"/>
                    <a:pt x="1277" y="401"/>
                    <a:pt x="1280" y="430"/>
                  </a:cubicBezTo>
                  <a:cubicBezTo>
                    <a:pt x="1258" y="412"/>
                    <a:pt x="1230" y="400"/>
                    <a:pt x="1200" y="400"/>
                  </a:cubicBezTo>
                  <a:cubicBezTo>
                    <a:pt x="880" y="400"/>
                    <a:pt x="880" y="400"/>
                    <a:pt x="880" y="400"/>
                  </a:cubicBezTo>
                  <a:cubicBezTo>
                    <a:pt x="880" y="80"/>
                    <a:pt x="880" y="80"/>
                    <a:pt x="880" y="80"/>
                  </a:cubicBezTo>
                  <a:cubicBezTo>
                    <a:pt x="880" y="50"/>
                    <a:pt x="868" y="22"/>
                    <a:pt x="850" y="0"/>
                  </a:cubicBezTo>
                  <a:close/>
                  <a:moveTo>
                    <a:pt x="1280" y="480"/>
                  </a:moveTo>
                  <a:cubicBezTo>
                    <a:pt x="1280" y="1680"/>
                    <a:pt x="1280" y="1680"/>
                    <a:pt x="1280" y="1680"/>
                  </a:cubicBezTo>
                  <a:cubicBezTo>
                    <a:pt x="720" y="1680"/>
                    <a:pt x="720" y="1680"/>
                    <a:pt x="720" y="1680"/>
                  </a:cubicBezTo>
                  <a:cubicBezTo>
                    <a:pt x="720" y="840"/>
                    <a:pt x="720" y="840"/>
                    <a:pt x="720" y="840"/>
                  </a:cubicBezTo>
                  <a:cubicBezTo>
                    <a:pt x="720" y="787"/>
                    <a:pt x="699" y="736"/>
                    <a:pt x="661" y="699"/>
                  </a:cubicBezTo>
                  <a:cubicBezTo>
                    <a:pt x="340" y="378"/>
                    <a:pt x="340" y="378"/>
                    <a:pt x="340" y="378"/>
                  </a:cubicBezTo>
                  <a:cubicBezTo>
                    <a:pt x="303" y="341"/>
                    <a:pt x="253" y="320"/>
                    <a:pt x="200" y="320"/>
                  </a:cubicBezTo>
                  <a:cubicBezTo>
                    <a:pt x="0" y="320"/>
                    <a:pt x="0" y="320"/>
                    <a:pt x="0" y="320"/>
                  </a:cubicBezTo>
                  <a:cubicBezTo>
                    <a:pt x="0" y="0"/>
                    <a:pt x="0" y="0"/>
                    <a:pt x="0" y="0"/>
                  </a:cubicBezTo>
                  <a:cubicBezTo>
                    <a:pt x="800" y="0"/>
                    <a:pt x="800" y="0"/>
                    <a:pt x="800" y="0"/>
                  </a:cubicBezTo>
                  <a:cubicBezTo>
                    <a:pt x="800" y="480"/>
                    <a:pt x="800" y="480"/>
                    <a:pt x="800" y="480"/>
                  </a:cubicBezTo>
                  <a:lnTo>
                    <a:pt x="1280" y="480"/>
                  </a:lnTo>
                  <a:close/>
                </a:path>
              </a:pathLst>
            </a:custGeom>
            <a:pattFill prst="dkUpDiag">
              <a:fgClr>
                <a:srgbClr val="156C9C"/>
              </a:fgClr>
              <a:bgClr>
                <a:srgbClr val="96AECA"/>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marL="0" marR="0" lvl="0" indent="0" algn="l" defTabSz="182880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smtClean="0">
                <a:ln>
                  <a:noFill/>
                </a:ln>
                <a:solidFill>
                  <a:srgbClr val="002060"/>
                </a:solidFill>
                <a:effectLst/>
                <a:uLnTx/>
                <a:uFillTx/>
                <a:latin typeface="Calibri" panose="020F0502020204030204" pitchFamily="34" charset="0"/>
                <a:ea typeface="+mn-ea"/>
                <a:cs typeface="Calibri" panose="020F0502020204030204" pitchFamily="34" charset="0"/>
                <a:sym typeface="+mn-lt"/>
              </a:endParaRPr>
            </a:p>
          </p:txBody>
        </p:sp>
        <p:sp>
          <p:nvSpPr>
            <p:cNvPr id="108" name="Freeform 5"/>
            <p:cNvSpPr>
              <a:spLocks noEditPoints="1"/>
            </p:cNvSpPr>
            <p:nvPr/>
          </p:nvSpPr>
          <p:spPr bwMode="auto">
            <a:xfrm>
              <a:off x="3745778" y="2872862"/>
              <a:ext cx="885021" cy="1404119"/>
            </a:xfrm>
            <a:custGeom>
              <a:avLst/>
              <a:gdLst>
                <a:gd name="T0" fmla="*/ 850 w 1280"/>
                <a:gd name="T1" fmla="*/ 0 h 1680"/>
                <a:gd name="T2" fmla="*/ 925 w 1280"/>
                <a:gd name="T3" fmla="*/ 35 h 1680"/>
                <a:gd name="T4" fmla="*/ 1245 w 1280"/>
                <a:gd name="T5" fmla="*/ 355 h 1680"/>
                <a:gd name="T6" fmla="*/ 1280 w 1280"/>
                <a:gd name="T7" fmla="*/ 430 h 1680"/>
                <a:gd name="T8" fmla="*/ 1200 w 1280"/>
                <a:gd name="T9" fmla="*/ 400 h 1680"/>
                <a:gd name="T10" fmla="*/ 880 w 1280"/>
                <a:gd name="T11" fmla="*/ 400 h 1680"/>
                <a:gd name="T12" fmla="*/ 880 w 1280"/>
                <a:gd name="T13" fmla="*/ 80 h 1680"/>
                <a:gd name="T14" fmla="*/ 850 w 1280"/>
                <a:gd name="T15" fmla="*/ 0 h 1680"/>
                <a:gd name="T16" fmla="*/ 1280 w 1280"/>
                <a:gd name="T17" fmla="*/ 480 h 1680"/>
                <a:gd name="T18" fmla="*/ 1280 w 1280"/>
                <a:gd name="T19" fmla="*/ 1680 h 1680"/>
                <a:gd name="T20" fmla="*/ 720 w 1280"/>
                <a:gd name="T21" fmla="*/ 1680 h 1680"/>
                <a:gd name="T22" fmla="*/ 720 w 1280"/>
                <a:gd name="T23" fmla="*/ 840 h 1680"/>
                <a:gd name="T24" fmla="*/ 661 w 1280"/>
                <a:gd name="T25" fmla="*/ 699 h 1680"/>
                <a:gd name="T26" fmla="*/ 340 w 1280"/>
                <a:gd name="T27" fmla="*/ 378 h 1680"/>
                <a:gd name="T28" fmla="*/ 200 w 1280"/>
                <a:gd name="T29" fmla="*/ 320 h 1680"/>
                <a:gd name="T30" fmla="*/ 0 w 1280"/>
                <a:gd name="T31" fmla="*/ 320 h 1680"/>
                <a:gd name="T32" fmla="*/ 0 w 1280"/>
                <a:gd name="T33" fmla="*/ 0 h 1680"/>
                <a:gd name="T34" fmla="*/ 800 w 1280"/>
                <a:gd name="T35" fmla="*/ 0 h 1680"/>
                <a:gd name="T36" fmla="*/ 800 w 1280"/>
                <a:gd name="T37" fmla="*/ 480 h 1680"/>
                <a:gd name="T38" fmla="*/ 1280 w 1280"/>
                <a:gd name="T39" fmla="*/ 480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0" h="1680">
                  <a:moveTo>
                    <a:pt x="850" y="0"/>
                  </a:moveTo>
                  <a:cubicBezTo>
                    <a:pt x="879" y="3"/>
                    <a:pt x="905" y="16"/>
                    <a:pt x="925" y="35"/>
                  </a:cubicBezTo>
                  <a:cubicBezTo>
                    <a:pt x="925" y="35"/>
                    <a:pt x="1218" y="329"/>
                    <a:pt x="1245" y="355"/>
                  </a:cubicBezTo>
                  <a:cubicBezTo>
                    <a:pt x="1264" y="375"/>
                    <a:pt x="1277" y="401"/>
                    <a:pt x="1280" y="430"/>
                  </a:cubicBezTo>
                  <a:cubicBezTo>
                    <a:pt x="1258" y="412"/>
                    <a:pt x="1230" y="400"/>
                    <a:pt x="1200" y="400"/>
                  </a:cubicBezTo>
                  <a:cubicBezTo>
                    <a:pt x="880" y="400"/>
                    <a:pt x="880" y="400"/>
                    <a:pt x="880" y="400"/>
                  </a:cubicBezTo>
                  <a:cubicBezTo>
                    <a:pt x="880" y="80"/>
                    <a:pt x="880" y="80"/>
                    <a:pt x="880" y="80"/>
                  </a:cubicBezTo>
                  <a:cubicBezTo>
                    <a:pt x="880" y="50"/>
                    <a:pt x="868" y="22"/>
                    <a:pt x="850" y="0"/>
                  </a:cubicBezTo>
                  <a:close/>
                  <a:moveTo>
                    <a:pt x="1280" y="480"/>
                  </a:moveTo>
                  <a:cubicBezTo>
                    <a:pt x="1280" y="1680"/>
                    <a:pt x="1280" y="1680"/>
                    <a:pt x="1280" y="1680"/>
                  </a:cubicBezTo>
                  <a:cubicBezTo>
                    <a:pt x="720" y="1680"/>
                    <a:pt x="720" y="1680"/>
                    <a:pt x="720" y="1680"/>
                  </a:cubicBezTo>
                  <a:cubicBezTo>
                    <a:pt x="720" y="840"/>
                    <a:pt x="720" y="840"/>
                    <a:pt x="720" y="840"/>
                  </a:cubicBezTo>
                  <a:cubicBezTo>
                    <a:pt x="720" y="787"/>
                    <a:pt x="699" y="736"/>
                    <a:pt x="661" y="699"/>
                  </a:cubicBezTo>
                  <a:cubicBezTo>
                    <a:pt x="340" y="378"/>
                    <a:pt x="340" y="378"/>
                    <a:pt x="340" y="378"/>
                  </a:cubicBezTo>
                  <a:cubicBezTo>
                    <a:pt x="303" y="341"/>
                    <a:pt x="253" y="320"/>
                    <a:pt x="200" y="320"/>
                  </a:cubicBezTo>
                  <a:cubicBezTo>
                    <a:pt x="0" y="320"/>
                    <a:pt x="0" y="320"/>
                    <a:pt x="0" y="320"/>
                  </a:cubicBezTo>
                  <a:cubicBezTo>
                    <a:pt x="0" y="0"/>
                    <a:pt x="0" y="0"/>
                    <a:pt x="0" y="0"/>
                  </a:cubicBezTo>
                  <a:cubicBezTo>
                    <a:pt x="800" y="0"/>
                    <a:pt x="800" y="0"/>
                    <a:pt x="800" y="0"/>
                  </a:cubicBezTo>
                  <a:cubicBezTo>
                    <a:pt x="800" y="480"/>
                    <a:pt x="800" y="480"/>
                    <a:pt x="800" y="480"/>
                  </a:cubicBezTo>
                  <a:lnTo>
                    <a:pt x="1280" y="480"/>
                  </a:lnTo>
                  <a:close/>
                </a:path>
              </a:pathLst>
            </a:custGeom>
            <a:pattFill prst="dkUpDiag">
              <a:fgClr>
                <a:srgbClr val="DEE0E3"/>
              </a:fgClr>
              <a:bgClr>
                <a:srgbClr val="96AECA"/>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marL="0" marR="0" lvl="0" indent="0" algn="l" defTabSz="182880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smtClean="0">
                <a:ln>
                  <a:noFill/>
                </a:ln>
                <a:solidFill>
                  <a:srgbClr val="002060"/>
                </a:solidFill>
                <a:effectLst/>
                <a:uLnTx/>
                <a:uFillTx/>
                <a:latin typeface="Calibri" panose="020F0502020204030204" pitchFamily="34" charset="0"/>
                <a:ea typeface="+mn-ea"/>
                <a:cs typeface="Calibri" panose="020F0502020204030204" pitchFamily="34" charset="0"/>
                <a:sym typeface="+mn-lt"/>
              </a:endParaRPr>
            </a:p>
          </p:txBody>
        </p:sp>
        <p:sp>
          <p:nvSpPr>
            <p:cNvPr id="109" name="Freeform 6"/>
            <p:cNvSpPr>
              <a:spLocks noEditPoints="1"/>
            </p:cNvSpPr>
            <p:nvPr/>
          </p:nvSpPr>
          <p:spPr bwMode="auto">
            <a:xfrm>
              <a:off x="3645429" y="2937694"/>
              <a:ext cx="885021" cy="1404119"/>
            </a:xfrm>
            <a:custGeom>
              <a:avLst/>
              <a:gdLst>
                <a:gd name="T0" fmla="*/ 850 w 1280"/>
                <a:gd name="T1" fmla="*/ 0 h 1680"/>
                <a:gd name="T2" fmla="*/ 925 w 1280"/>
                <a:gd name="T3" fmla="*/ 35 h 1680"/>
                <a:gd name="T4" fmla="*/ 1245 w 1280"/>
                <a:gd name="T5" fmla="*/ 355 h 1680"/>
                <a:gd name="T6" fmla="*/ 1280 w 1280"/>
                <a:gd name="T7" fmla="*/ 430 h 1680"/>
                <a:gd name="T8" fmla="*/ 1200 w 1280"/>
                <a:gd name="T9" fmla="*/ 400 h 1680"/>
                <a:gd name="T10" fmla="*/ 880 w 1280"/>
                <a:gd name="T11" fmla="*/ 400 h 1680"/>
                <a:gd name="T12" fmla="*/ 880 w 1280"/>
                <a:gd name="T13" fmla="*/ 80 h 1680"/>
                <a:gd name="T14" fmla="*/ 850 w 1280"/>
                <a:gd name="T15" fmla="*/ 0 h 1680"/>
                <a:gd name="T16" fmla="*/ 1280 w 1280"/>
                <a:gd name="T17" fmla="*/ 480 h 1680"/>
                <a:gd name="T18" fmla="*/ 1280 w 1280"/>
                <a:gd name="T19" fmla="*/ 1680 h 1680"/>
                <a:gd name="T20" fmla="*/ 0 w 1280"/>
                <a:gd name="T21" fmla="*/ 1680 h 1680"/>
                <a:gd name="T22" fmla="*/ 0 w 1280"/>
                <a:gd name="T23" fmla="*/ 0 h 1680"/>
                <a:gd name="T24" fmla="*/ 800 w 1280"/>
                <a:gd name="T25" fmla="*/ 0 h 1680"/>
                <a:gd name="T26" fmla="*/ 800 w 1280"/>
                <a:gd name="T27" fmla="*/ 480 h 1680"/>
                <a:gd name="T28" fmla="*/ 1280 w 1280"/>
                <a:gd name="T29" fmla="*/ 480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0" h="1680">
                  <a:moveTo>
                    <a:pt x="850" y="0"/>
                  </a:moveTo>
                  <a:cubicBezTo>
                    <a:pt x="879" y="3"/>
                    <a:pt x="905" y="16"/>
                    <a:pt x="925" y="35"/>
                  </a:cubicBezTo>
                  <a:cubicBezTo>
                    <a:pt x="925" y="35"/>
                    <a:pt x="1218" y="329"/>
                    <a:pt x="1245" y="355"/>
                  </a:cubicBezTo>
                  <a:cubicBezTo>
                    <a:pt x="1264" y="375"/>
                    <a:pt x="1277" y="401"/>
                    <a:pt x="1280" y="430"/>
                  </a:cubicBezTo>
                  <a:cubicBezTo>
                    <a:pt x="1258" y="412"/>
                    <a:pt x="1230" y="400"/>
                    <a:pt x="1200" y="400"/>
                  </a:cubicBezTo>
                  <a:cubicBezTo>
                    <a:pt x="880" y="400"/>
                    <a:pt x="880" y="400"/>
                    <a:pt x="880" y="400"/>
                  </a:cubicBezTo>
                  <a:cubicBezTo>
                    <a:pt x="880" y="80"/>
                    <a:pt x="880" y="80"/>
                    <a:pt x="880" y="80"/>
                  </a:cubicBezTo>
                  <a:cubicBezTo>
                    <a:pt x="880" y="50"/>
                    <a:pt x="868" y="22"/>
                    <a:pt x="850" y="0"/>
                  </a:cubicBezTo>
                  <a:close/>
                  <a:moveTo>
                    <a:pt x="1280" y="480"/>
                  </a:moveTo>
                  <a:cubicBezTo>
                    <a:pt x="1280" y="1680"/>
                    <a:pt x="1280" y="1680"/>
                    <a:pt x="1280" y="1680"/>
                  </a:cubicBezTo>
                  <a:cubicBezTo>
                    <a:pt x="0" y="1680"/>
                    <a:pt x="0" y="1680"/>
                    <a:pt x="0" y="1680"/>
                  </a:cubicBezTo>
                  <a:cubicBezTo>
                    <a:pt x="0" y="0"/>
                    <a:pt x="0" y="0"/>
                    <a:pt x="0" y="0"/>
                  </a:cubicBezTo>
                  <a:cubicBezTo>
                    <a:pt x="800" y="0"/>
                    <a:pt x="800" y="0"/>
                    <a:pt x="800" y="0"/>
                  </a:cubicBezTo>
                  <a:cubicBezTo>
                    <a:pt x="800" y="480"/>
                    <a:pt x="800" y="480"/>
                    <a:pt x="800" y="480"/>
                  </a:cubicBezTo>
                  <a:lnTo>
                    <a:pt x="1280" y="480"/>
                  </a:lnTo>
                  <a:close/>
                </a:path>
              </a:pathLst>
            </a:custGeom>
            <a:pattFill prst="dkUpDiag">
              <a:fgClr>
                <a:srgbClr val="00AAC9"/>
              </a:fgClr>
              <a:bgClr>
                <a:srgbClr val="156C9C"/>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ctr"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r>
                <a:rPr kumimoji="0" lang="en-GB" sz="2600" b="1" i="0" u="none" strike="noStrike" kern="0" cap="none" spc="0" normalizeH="0" baseline="0" noProof="0" dirty="0" smtClean="0">
                  <a:ln>
                    <a:noFill/>
                  </a:ln>
                  <a:solidFill>
                    <a:schemeClr val="bg1"/>
                  </a:solidFill>
                  <a:effectLst/>
                  <a:uLnTx/>
                  <a:uFillTx/>
                  <a:latin typeface="Calibri" panose="020F0502020204030204" pitchFamily="34" charset="0"/>
                  <a:ea typeface="+mn-ea"/>
                  <a:cs typeface="Calibri" panose="020F0502020204030204" pitchFamily="34" charset="0"/>
                  <a:sym typeface="+mn-lt"/>
                </a:rPr>
                <a:t>FCH Valley Concept Region A</a:t>
              </a:r>
            </a:p>
          </p:txBody>
        </p:sp>
      </p:grpSp>
      <p:grpSp>
        <p:nvGrpSpPr>
          <p:cNvPr id="110" name="Group 109"/>
          <p:cNvGrpSpPr/>
          <p:nvPr/>
        </p:nvGrpSpPr>
        <p:grpSpPr>
          <a:xfrm>
            <a:off x="9576858" y="8424591"/>
            <a:ext cx="2372136" cy="3198762"/>
            <a:chOff x="3645429" y="4579938"/>
            <a:chExt cx="1186068" cy="1599381"/>
          </a:xfrm>
        </p:grpSpPr>
        <p:sp>
          <p:nvSpPr>
            <p:cNvPr id="111" name="Freeform 5"/>
            <p:cNvSpPr>
              <a:spLocks noEditPoints="1"/>
            </p:cNvSpPr>
            <p:nvPr/>
          </p:nvSpPr>
          <p:spPr bwMode="auto">
            <a:xfrm>
              <a:off x="3946476" y="4579938"/>
              <a:ext cx="885021" cy="1404119"/>
            </a:xfrm>
            <a:custGeom>
              <a:avLst/>
              <a:gdLst>
                <a:gd name="T0" fmla="*/ 850 w 1280"/>
                <a:gd name="T1" fmla="*/ 0 h 1680"/>
                <a:gd name="T2" fmla="*/ 925 w 1280"/>
                <a:gd name="T3" fmla="*/ 35 h 1680"/>
                <a:gd name="T4" fmla="*/ 1245 w 1280"/>
                <a:gd name="T5" fmla="*/ 355 h 1680"/>
                <a:gd name="T6" fmla="*/ 1280 w 1280"/>
                <a:gd name="T7" fmla="*/ 430 h 1680"/>
                <a:gd name="T8" fmla="*/ 1200 w 1280"/>
                <a:gd name="T9" fmla="*/ 400 h 1680"/>
                <a:gd name="T10" fmla="*/ 880 w 1280"/>
                <a:gd name="T11" fmla="*/ 400 h 1680"/>
                <a:gd name="T12" fmla="*/ 880 w 1280"/>
                <a:gd name="T13" fmla="*/ 80 h 1680"/>
                <a:gd name="T14" fmla="*/ 850 w 1280"/>
                <a:gd name="T15" fmla="*/ 0 h 1680"/>
                <a:gd name="T16" fmla="*/ 1280 w 1280"/>
                <a:gd name="T17" fmla="*/ 480 h 1680"/>
                <a:gd name="T18" fmla="*/ 1280 w 1280"/>
                <a:gd name="T19" fmla="*/ 1680 h 1680"/>
                <a:gd name="T20" fmla="*/ 720 w 1280"/>
                <a:gd name="T21" fmla="*/ 1680 h 1680"/>
                <a:gd name="T22" fmla="*/ 720 w 1280"/>
                <a:gd name="T23" fmla="*/ 840 h 1680"/>
                <a:gd name="T24" fmla="*/ 661 w 1280"/>
                <a:gd name="T25" fmla="*/ 699 h 1680"/>
                <a:gd name="T26" fmla="*/ 340 w 1280"/>
                <a:gd name="T27" fmla="*/ 378 h 1680"/>
                <a:gd name="T28" fmla="*/ 200 w 1280"/>
                <a:gd name="T29" fmla="*/ 320 h 1680"/>
                <a:gd name="T30" fmla="*/ 0 w 1280"/>
                <a:gd name="T31" fmla="*/ 320 h 1680"/>
                <a:gd name="T32" fmla="*/ 0 w 1280"/>
                <a:gd name="T33" fmla="*/ 0 h 1680"/>
                <a:gd name="T34" fmla="*/ 800 w 1280"/>
                <a:gd name="T35" fmla="*/ 0 h 1680"/>
                <a:gd name="T36" fmla="*/ 800 w 1280"/>
                <a:gd name="T37" fmla="*/ 480 h 1680"/>
                <a:gd name="T38" fmla="*/ 1280 w 1280"/>
                <a:gd name="T39" fmla="*/ 480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0" h="1680">
                  <a:moveTo>
                    <a:pt x="850" y="0"/>
                  </a:moveTo>
                  <a:cubicBezTo>
                    <a:pt x="879" y="3"/>
                    <a:pt x="905" y="16"/>
                    <a:pt x="925" y="35"/>
                  </a:cubicBezTo>
                  <a:cubicBezTo>
                    <a:pt x="925" y="35"/>
                    <a:pt x="1218" y="329"/>
                    <a:pt x="1245" y="355"/>
                  </a:cubicBezTo>
                  <a:cubicBezTo>
                    <a:pt x="1264" y="375"/>
                    <a:pt x="1277" y="401"/>
                    <a:pt x="1280" y="430"/>
                  </a:cubicBezTo>
                  <a:cubicBezTo>
                    <a:pt x="1258" y="412"/>
                    <a:pt x="1230" y="400"/>
                    <a:pt x="1200" y="400"/>
                  </a:cubicBezTo>
                  <a:cubicBezTo>
                    <a:pt x="880" y="400"/>
                    <a:pt x="880" y="400"/>
                    <a:pt x="880" y="400"/>
                  </a:cubicBezTo>
                  <a:cubicBezTo>
                    <a:pt x="880" y="80"/>
                    <a:pt x="880" y="80"/>
                    <a:pt x="880" y="80"/>
                  </a:cubicBezTo>
                  <a:cubicBezTo>
                    <a:pt x="880" y="50"/>
                    <a:pt x="868" y="22"/>
                    <a:pt x="850" y="0"/>
                  </a:cubicBezTo>
                  <a:close/>
                  <a:moveTo>
                    <a:pt x="1280" y="480"/>
                  </a:moveTo>
                  <a:cubicBezTo>
                    <a:pt x="1280" y="1680"/>
                    <a:pt x="1280" y="1680"/>
                    <a:pt x="1280" y="1680"/>
                  </a:cubicBezTo>
                  <a:cubicBezTo>
                    <a:pt x="720" y="1680"/>
                    <a:pt x="720" y="1680"/>
                    <a:pt x="720" y="1680"/>
                  </a:cubicBezTo>
                  <a:cubicBezTo>
                    <a:pt x="720" y="840"/>
                    <a:pt x="720" y="840"/>
                    <a:pt x="720" y="840"/>
                  </a:cubicBezTo>
                  <a:cubicBezTo>
                    <a:pt x="720" y="787"/>
                    <a:pt x="699" y="736"/>
                    <a:pt x="661" y="699"/>
                  </a:cubicBezTo>
                  <a:cubicBezTo>
                    <a:pt x="340" y="378"/>
                    <a:pt x="340" y="378"/>
                    <a:pt x="340" y="378"/>
                  </a:cubicBezTo>
                  <a:cubicBezTo>
                    <a:pt x="303" y="341"/>
                    <a:pt x="253" y="320"/>
                    <a:pt x="200" y="320"/>
                  </a:cubicBezTo>
                  <a:cubicBezTo>
                    <a:pt x="0" y="320"/>
                    <a:pt x="0" y="320"/>
                    <a:pt x="0" y="320"/>
                  </a:cubicBezTo>
                  <a:cubicBezTo>
                    <a:pt x="0" y="0"/>
                    <a:pt x="0" y="0"/>
                    <a:pt x="0" y="0"/>
                  </a:cubicBezTo>
                  <a:cubicBezTo>
                    <a:pt x="800" y="0"/>
                    <a:pt x="800" y="0"/>
                    <a:pt x="800" y="0"/>
                  </a:cubicBezTo>
                  <a:cubicBezTo>
                    <a:pt x="800" y="480"/>
                    <a:pt x="800" y="480"/>
                    <a:pt x="800" y="480"/>
                  </a:cubicBezTo>
                  <a:lnTo>
                    <a:pt x="1280" y="480"/>
                  </a:lnTo>
                  <a:close/>
                </a:path>
              </a:pathLst>
            </a:custGeom>
            <a:pattFill prst="dkUpDiag">
              <a:fgClr>
                <a:srgbClr val="8D9399"/>
              </a:fgClr>
              <a:bgClr>
                <a:srgbClr val="85CEDF"/>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marL="0" marR="0" lvl="0" indent="0" algn="l" defTabSz="182880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smtClean="0">
                <a:ln>
                  <a:noFill/>
                </a:ln>
                <a:solidFill>
                  <a:srgbClr val="002060"/>
                </a:solidFill>
                <a:effectLst/>
                <a:uLnTx/>
                <a:uFillTx/>
                <a:latin typeface="Calibri" panose="020F0502020204030204" pitchFamily="34" charset="0"/>
                <a:ea typeface="+mn-ea"/>
                <a:cs typeface="Calibri" panose="020F0502020204030204" pitchFamily="34" charset="0"/>
                <a:sym typeface="+mn-lt"/>
              </a:endParaRPr>
            </a:p>
          </p:txBody>
        </p:sp>
        <p:sp>
          <p:nvSpPr>
            <p:cNvPr id="112" name="Freeform 5"/>
            <p:cNvSpPr>
              <a:spLocks noEditPoints="1"/>
            </p:cNvSpPr>
            <p:nvPr/>
          </p:nvSpPr>
          <p:spPr bwMode="auto">
            <a:xfrm>
              <a:off x="3846127" y="4645025"/>
              <a:ext cx="885021" cy="1404119"/>
            </a:xfrm>
            <a:custGeom>
              <a:avLst/>
              <a:gdLst>
                <a:gd name="T0" fmla="*/ 850 w 1280"/>
                <a:gd name="T1" fmla="*/ 0 h 1680"/>
                <a:gd name="T2" fmla="*/ 925 w 1280"/>
                <a:gd name="T3" fmla="*/ 35 h 1680"/>
                <a:gd name="T4" fmla="*/ 1245 w 1280"/>
                <a:gd name="T5" fmla="*/ 355 h 1680"/>
                <a:gd name="T6" fmla="*/ 1280 w 1280"/>
                <a:gd name="T7" fmla="*/ 430 h 1680"/>
                <a:gd name="T8" fmla="*/ 1200 w 1280"/>
                <a:gd name="T9" fmla="*/ 400 h 1680"/>
                <a:gd name="T10" fmla="*/ 880 w 1280"/>
                <a:gd name="T11" fmla="*/ 400 h 1680"/>
                <a:gd name="T12" fmla="*/ 880 w 1280"/>
                <a:gd name="T13" fmla="*/ 80 h 1680"/>
                <a:gd name="T14" fmla="*/ 850 w 1280"/>
                <a:gd name="T15" fmla="*/ 0 h 1680"/>
                <a:gd name="T16" fmla="*/ 1280 w 1280"/>
                <a:gd name="T17" fmla="*/ 480 h 1680"/>
                <a:gd name="T18" fmla="*/ 1280 w 1280"/>
                <a:gd name="T19" fmla="*/ 1680 h 1680"/>
                <a:gd name="T20" fmla="*/ 720 w 1280"/>
                <a:gd name="T21" fmla="*/ 1680 h 1680"/>
                <a:gd name="T22" fmla="*/ 720 w 1280"/>
                <a:gd name="T23" fmla="*/ 840 h 1680"/>
                <a:gd name="T24" fmla="*/ 661 w 1280"/>
                <a:gd name="T25" fmla="*/ 699 h 1680"/>
                <a:gd name="T26" fmla="*/ 340 w 1280"/>
                <a:gd name="T27" fmla="*/ 378 h 1680"/>
                <a:gd name="T28" fmla="*/ 200 w 1280"/>
                <a:gd name="T29" fmla="*/ 320 h 1680"/>
                <a:gd name="T30" fmla="*/ 0 w 1280"/>
                <a:gd name="T31" fmla="*/ 320 h 1680"/>
                <a:gd name="T32" fmla="*/ 0 w 1280"/>
                <a:gd name="T33" fmla="*/ 0 h 1680"/>
                <a:gd name="T34" fmla="*/ 800 w 1280"/>
                <a:gd name="T35" fmla="*/ 0 h 1680"/>
                <a:gd name="T36" fmla="*/ 800 w 1280"/>
                <a:gd name="T37" fmla="*/ 480 h 1680"/>
                <a:gd name="T38" fmla="*/ 1280 w 1280"/>
                <a:gd name="T39" fmla="*/ 480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0" h="1680">
                  <a:moveTo>
                    <a:pt x="850" y="0"/>
                  </a:moveTo>
                  <a:cubicBezTo>
                    <a:pt x="879" y="3"/>
                    <a:pt x="905" y="16"/>
                    <a:pt x="925" y="35"/>
                  </a:cubicBezTo>
                  <a:cubicBezTo>
                    <a:pt x="925" y="35"/>
                    <a:pt x="1218" y="329"/>
                    <a:pt x="1245" y="355"/>
                  </a:cubicBezTo>
                  <a:cubicBezTo>
                    <a:pt x="1264" y="375"/>
                    <a:pt x="1277" y="401"/>
                    <a:pt x="1280" y="430"/>
                  </a:cubicBezTo>
                  <a:cubicBezTo>
                    <a:pt x="1258" y="412"/>
                    <a:pt x="1230" y="400"/>
                    <a:pt x="1200" y="400"/>
                  </a:cubicBezTo>
                  <a:cubicBezTo>
                    <a:pt x="880" y="400"/>
                    <a:pt x="880" y="400"/>
                    <a:pt x="880" y="400"/>
                  </a:cubicBezTo>
                  <a:cubicBezTo>
                    <a:pt x="880" y="80"/>
                    <a:pt x="880" y="80"/>
                    <a:pt x="880" y="80"/>
                  </a:cubicBezTo>
                  <a:cubicBezTo>
                    <a:pt x="880" y="50"/>
                    <a:pt x="868" y="22"/>
                    <a:pt x="850" y="0"/>
                  </a:cubicBezTo>
                  <a:close/>
                  <a:moveTo>
                    <a:pt x="1280" y="480"/>
                  </a:moveTo>
                  <a:cubicBezTo>
                    <a:pt x="1280" y="1680"/>
                    <a:pt x="1280" y="1680"/>
                    <a:pt x="1280" y="1680"/>
                  </a:cubicBezTo>
                  <a:cubicBezTo>
                    <a:pt x="720" y="1680"/>
                    <a:pt x="720" y="1680"/>
                    <a:pt x="720" y="1680"/>
                  </a:cubicBezTo>
                  <a:cubicBezTo>
                    <a:pt x="720" y="840"/>
                    <a:pt x="720" y="840"/>
                    <a:pt x="720" y="840"/>
                  </a:cubicBezTo>
                  <a:cubicBezTo>
                    <a:pt x="720" y="787"/>
                    <a:pt x="699" y="736"/>
                    <a:pt x="661" y="699"/>
                  </a:cubicBezTo>
                  <a:cubicBezTo>
                    <a:pt x="340" y="378"/>
                    <a:pt x="340" y="378"/>
                    <a:pt x="340" y="378"/>
                  </a:cubicBezTo>
                  <a:cubicBezTo>
                    <a:pt x="303" y="341"/>
                    <a:pt x="253" y="320"/>
                    <a:pt x="200" y="320"/>
                  </a:cubicBezTo>
                  <a:cubicBezTo>
                    <a:pt x="0" y="320"/>
                    <a:pt x="0" y="320"/>
                    <a:pt x="0" y="320"/>
                  </a:cubicBezTo>
                  <a:cubicBezTo>
                    <a:pt x="0" y="0"/>
                    <a:pt x="0" y="0"/>
                    <a:pt x="0" y="0"/>
                  </a:cubicBezTo>
                  <a:cubicBezTo>
                    <a:pt x="800" y="0"/>
                    <a:pt x="800" y="0"/>
                    <a:pt x="800" y="0"/>
                  </a:cubicBezTo>
                  <a:cubicBezTo>
                    <a:pt x="800" y="480"/>
                    <a:pt x="800" y="480"/>
                    <a:pt x="800" y="480"/>
                  </a:cubicBezTo>
                  <a:lnTo>
                    <a:pt x="1280" y="480"/>
                  </a:lnTo>
                  <a:close/>
                </a:path>
              </a:pathLst>
            </a:custGeom>
            <a:pattFill prst="dkUpDiag">
              <a:fgClr>
                <a:srgbClr val="156C9C"/>
              </a:fgClr>
              <a:bgClr>
                <a:srgbClr val="96AECA"/>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marL="0" marR="0" lvl="0" indent="0" algn="l" defTabSz="182880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smtClean="0">
                <a:ln>
                  <a:noFill/>
                </a:ln>
                <a:solidFill>
                  <a:srgbClr val="002060"/>
                </a:solidFill>
                <a:effectLst/>
                <a:uLnTx/>
                <a:uFillTx/>
                <a:latin typeface="Calibri" panose="020F0502020204030204" pitchFamily="34" charset="0"/>
                <a:ea typeface="+mn-ea"/>
                <a:cs typeface="Calibri" panose="020F0502020204030204" pitchFamily="34" charset="0"/>
                <a:sym typeface="+mn-lt"/>
              </a:endParaRPr>
            </a:p>
          </p:txBody>
        </p:sp>
        <p:sp>
          <p:nvSpPr>
            <p:cNvPr id="113" name="Freeform 5"/>
            <p:cNvSpPr>
              <a:spLocks noEditPoints="1"/>
            </p:cNvSpPr>
            <p:nvPr/>
          </p:nvSpPr>
          <p:spPr bwMode="auto">
            <a:xfrm>
              <a:off x="3745778" y="4710113"/>
              <a:ext cx="885021" cy="1404119"/>
            </a:xfrm>
            <a:custGeom>
              <a:avLst/>
              <a:gdLst>
                <a:gd name="T0" fmla="*/ 850 w 1280"/>
                <a:gd name="T1" fmla="*/ 0 h 1680"/>
                <a:gd name="T2" fmla="*/ 925 w 1280"/>
                <a:gd name="T3" fmla="*/ 35 h 1680"/>
                <a:gd name="T4" fmla="*/ 1245 w 1280"/>
                <a:gd name="T5" fmla="*/ 355 h 1680"/>
                <a:gd name="T6" fmla="*/ 1280 w 1280"/>
                <a:gd name="T7" fmla="*/ 430 h 1680"/>
                <a:gd name="T8" fmla="*/ 1200 w 1280"/>
                <a:gd name="T9" fmla="*/ 400 h 1680"/>
                <a:gd name="T10" fmla="*/ 880 w 1280"/>
                <a:gd name="T11" fmla="*/ 400 h 1680"/>
                <a:gd name="T12" fmla="*/ 880 w 1280"/>
                <a:gd name="T13" fmla="*/ 80 h 1680"/>
                <a:gd name="T14" fmla="*/ 850 w 1280"/>
                <a:gd name="T15" fmla="*/ 0 h 1680"/>
                <a:gd name="T16" fmla="*/ 1280 w 1280"/>
                <a:gd name="T17" fmla="*/ 480 h 1680"/>
                <a:gd name="T18" fmla="*/ 1280 w 1280"/>
                <a:gd name="T19" fmla="*/ 1680 h 1680"/>
                <a:gd name="T20" fmla="*/ 720 w 1280"/>
                <a:gd name="T21" fmla="*/ 1680 h 1680"/>
                <a:gd name="T22" fmla="*/ 720 w 1280"/>
                <a:gd name="T23" fmla="*/ 840 h 1680"/>
                <a:gd name="T24" fmla="*/ 661 w 1280"/>
                <a:gd name="T25" fmla="*/ 699 h 1680"/>
                <a:gd name="T26" fmla="*/ 340 w 1280"/>
                <a:gd name="T27" fmla="*/ 378 h 1680"/>
                <a:gd name="T28" fmla="*/ 200 w 1280"/>
                <a:gd name="T29" fmla="*/ 320 h 1680"/>
                <a:gd name="T30" fmla="*/ 0 w 1280"/>
                <a:gd name="T31" fmla="*/ 320 h 1680"/>
                <a:gd name="T32" fmla="*/ 0 w 1280"/>
                <a:gd name="T33" fmla="*/ 0 h 1680"/>
                <a:gd name="T34" fmla="*/ 800 w 1280"/>
                <a:gd name="T35" fmla="*/ 0 h 1680"/>
                <a:gd name="T36" fmla="*/ 800 w 1280"/>
                <a:gd name="T37" fmla="*/ 480 h 1680"/>
                <a:gd name="T38" fmla="*/ 1280 w 1280"/>
                <a:gd name="T39" fmla="*/ 480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0" h="1680">
                  <a:moveTo>
                    <a:pt x="850" y="0"/>
                  </a:moveTo>
                  <a:cubicBezTo>
                    <a:pt x="879" y="3"/>
                    <a:pt x="905" y="16"/>
                    <a:pt x="925" y="35"/>
                  </a:cubicBezTo>
                  <a:cubicBezTo>
                    <a:pt x="925" y="35"/>
                    <a:pt x="1218" y="329"/>
                    <a:pt x="1245" y="355"/>
                  </a:cubicBezTo>
                  <a:cubicBezTo>
                    <a:pt x="1264" y="375"/>
                    <a:pt x="1277" y="401"/>
                    <a:pt x="1280" y="430"/>
                  </a:cubicBezTo>
                  <a:cubicBezTo>
                    <a:pt x="1258" y="412"/>
                    <a:pt x="1230" y="400"/>
                    <a:pt x="1200" y="400"/>
                  </a:cubicBezTo>
                  <a:cubicBezTo>
                    <a:pt x="880" y="400"/>
                    <a:pt x="880" y="400"/>
                    <a:pt x="880" y="400"/>
                  </a:cubicBezTo>
                  <a:cubicBezTo>
                    <a:pt x="880" y="80"/>
                    <a:pt x="880" y="80"/>
                    <a:pt x="880" y="80"/>
                  </a:cubicBezTo>
                  <a:cubicBezTo>
                    <a:pt x="880" y="50"/>
                    <a:pt x="868" y="22"/>
                    <a:pt x="850" y="0"/>
                  </a:cubicBezTo>
                  <a:close/>
                  <a:moveTo>
                    <a:pt x="1280" y="480"/>
                  </a:moveTo>
                  <a:cubicBezTo>
                    <a:pt x="1280" y="1680"/>
                    <a:pt x="1280" y="1680"/>
                    <a:pt x="1280" y="1680"/>
                  </a:cubicBezTo>
                  <a:cubicBezTo>
                    <a:pt x="720" y="1680"/>
                    <a:pt x="720" y="1680"/>
                    <a:pt x="720" y="1680"/>
                  </a:cubicBezTo>
                  <a:cubicBezTo>
                    <a:pt x="720" y="840"/>
                    <a:pt x="720" y="840"/>
                    <a:pt x="720" y="840"/>
                  </a:cubicBezTo>
                  <a:cubicBezTo>
                    <a:pt x="720" y="787"/>
                    <a:pt x="699" y="736"/>
                    <a:pt x="661" y="699"/>
                  </a:cubicBezTo>
                  <a:cubicBezTo>
                    <a:pt x="340" y="378"/>
                    <a:pt x="340" y="378"/>
                    <a:pt x="340" y="378"/>
                  </a:cubicBezTo>
                  <a:cubicBezTo>
                    <a:pt x="303" y="341"/>
                    <a:pt x="253" y="320"/>
                    <a:pt x="200" y="320"/>
                  </a:cubicBezTo>
                  <a:cubicBezTo>
                    <a:pt x="0" y="320"/>
                    <a:pt x="0" y="320"/>
                    <a:pt x="0" y="320"/>
                  </a:cubicBezTo>
                  <a:cubicBezTo>
                    <a:pt x="0" y="0"/>
                    <a:pt x="0" y="0"/>
                    <a:pt x="0" y="0"/>
                  </a:cubicBezTo>
                  <a:cubicBezTo>
                    <a:pt x="800" y="0"/>
                    <a:pt x="800" y="0"/>
                    <a:pt x="800" y="0"/>
                  </a:cubicBezTo>
                  <a:cubicBezTo>
                    <a:pt x="800" y="480"/>
                    <a:pt x="800" y="480"/>
                    <a:pt x="800" y="480"/>
                  </a:cubicBezTo>
                  <a:lnTo>
                    <a:pt x="1280" y="480"/>
                  </a:lnTo>
                  <a:close/>
                </a:path>
              </a:pathLst>
            </a:custGeom>
            <a:pattFill prst="dkUpDiag">
              <a:fgClr>
                <a:srgbClr val="DEE0E3"/>
              </a:fgClr>
              <a:bgClr>
                <a:srgbClr val="96AECA"/>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marL="0" marR="0" lvl="0" indent="0" algn="l" defTabSz="182880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smtClean="0">
                <a:ln>
                  <a:noFill/>
                </a:ln>
                <a:solidFill>
                  <a:srgbClr val="002060"/>
                </a:solidFill>
                <a:effectLst/>
                <a:uLnTx/>
                <a:uFillTx/>
                <a:latin typeface="Calibri" panose="020F0502020204030204" pitchFamily="34" charset="0"/>
                <a:ea typeface="+mn-ea"/>
                <a:cs typeface="Calibri" panose="020F0502020204030204" pitchFamily="34" charset="0"/>
                <a:sym typeface="+mn-lt"/>
              </a:endParaRPr>
            </a:p>
          </p:txBody>
        </p:sp>
        <p:sp>
          <p:nvSpPr>
            <p:cNvPr id="114" name="Freeform 6"/>
            <p:cNvSpPr>
              <a:spLocks noEditPoints="1"/>
            </p:cNvSpPr>
            <p:nvPr/>
          </p:nvSpPr>
          <p:spPr bwMode="auto">
            <a:xfrm>
              <a:off x="3645429" y="4775200"/>
              <a:ext cx="885021" cy="1404119"/>
            </a:xfrm>
            <a:custGeom>
              <a:avLst/>
              <a:gdLst>
                <a:gd name="T0" fmla="*/ 850 w 1280"/>
                <a:gd name="T1" fmla="*/ 0 h 1680"/>
                <a:gd name="T2" fmla="*/ 925 w 1280"/>
                <a:gd name="T3" fmla="*/ 35 h 1680"/>
                <a:gd name="T4" fmla="*/ 1245 w 1280"/>
                <a:gd name="T5" fmla="*/ 355 h 1680"/>
                <a:gd name="T6" fmla="*/ 1280 w 1280"/>
                <a:gd name="T7" fmla="*/ 430 h 1680"/>
                <a:gd name="T8" fmla="*/ 1200 w 1280"/>
                <a:gd name="T9" fmla="*/ 400 h 1680"/>
                <a:gd name="T10" fmla="*/ 880 w 1280"/>
                <a:gd name="T11" fmla="*/ 400 h 1680"/>
                <a:gd name="T12" fmla="*/ 880 w 1280"/>
                <a:gd name="T13" fmla="*/ 80 h 1680"/>
                <a:gd name="T14" fmla="*/ 850 w 1280"/>
                <a:gd name="T15" fmla="*/ 0 h 1680"/>
                <a:gd name="T16" fmla="*/ 1280 w 1280"/>
                <a:gd name="T17" fmla="*/ 480 h 1680"/>
                <a:gd name="T18" fmla="*/ 1280 w 1280"/>
                <a:gd name="T19" fmla="*/ 1680 h 1680"/>
                <a:gd name="T20" fmla="*/ 0 w 1280"/>
                <a:gd name="T21" fmla="*/ 1680 h 1680"/>
                <a:gd name="T22" fmla="*/ 0 w 1280"/>
                <a:gd name="T23" fmla="*/ 0 h 1680"/>
                <a:gd name="T24" fmla="*/ 800 w 1280"/>
                <a:gd name="T25" fmla="*/ 0 h 1680"/>
                <a:gd name="T26" fmla="*/ 800 w 1280"/>
                <a:gd name="T27" fmla="*/ 480 h 1680"/>
                <a:gd name="T28" fmla="*/ 1280 w 1280"/>
                <a:gd name="T29" fmla="*/ 480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0" h="1680">
                  <a:moveTo>
                    <a:pt x="850" y="0"/>
                  </a:moveTo>
                  <a:cubicBezTo>
                    <a:pt x="879" y="3"/>
                    <a:pt x="905" y="16"/>
                    <a:pt x="925" y="35"/>
                  </a:cubicBezTo>
                  <a:cubicBezTo>
                    <a:pt x="925" y="35"/>
                    <a:pt x="1218" y="329"/>
                    <a:pt x="1245" y="355"/>
                  </a:cubicBezTo>
                  <a:cubicBezTo>
                    <a:pt x="1264" y="375"/>
                    <a:pt x="1277" y="401"/>
                    <a:pt x="1280" y="430"/>
                  </a:cubicBezTo>
                  <a:cubicBezTo>
                    <a:pt x="1258" y="412"/>
                    <a:pt x="1230" y="400"/>
                    <a:pt x="1200" y="400"/>
                  </a:cubicBezTo>
                  <a:cubicBezTo>
                    <a:pt x="880" y="400"/>
                    <a:pt x="880" y="400"/>
                    <a:pt x="880" y="400"/>
                  </a:cubicBezTo>
                  <a:cubicBezTo>
                    <a:pt x="880" y="80"/>
                    <a:pt x="880" y="80"/>
                    <a:pt x="880" y="80"/>
                  </a:cubicBezTo>
                  <a:cubicBezTo>
                    <a:pt x="880" y="50"/>
                    <a:pt x="868" y="22"/>
                    <a:pt x="850" y="0"/>
                  </a:cubicBezTo>
                  <a:close/>
                  <a:moveTo>
                    <a:pt x="1280" y="480"/>
                  </a:moveTo>
                  <a:cubicBezTo>
                    <a:pt x="1280" y="1680"/>
                    <a:pt x="1280" y="1680"/>
                    <a:pt x="1280" y="1680"/>
                  </a:cubicBezTo>
                  <a:cubicBezTo>
                    <a:pt x="0" y="1680"/>
                    <a:pt x="0" y="1680"/>
                    <a:pt x="0" y="1680"/>
                  </a:cubicBezTo>
                  <a:cubicBezTo>
                    <a:pt x="0" y="0"/>
                    <a:pt x="0" y="0"/>
                    <a:pt x="0" y="0"/>
                  </a:cubicBezTo>
                  <a:cubicBezTo>
                    <a:pt x="800" y="0"/>
                    <a:pt x="800" y="0"/>
                    <a:pt x="800" y="0"/>
                  </a:cubicBezTo>
                  <a:cubicBezTo>
                    <a:pt x="800" y="480"/>
                    <a:pt x="800" y="480"/>
                    <a:pt x="800" y="480"/>
                  </a:cubicBezTo>
                  <a:lnTo>
                    <a:pt x="1280" y="480"/>
                  </a:lnTo>
                  <a:close/>
                </a:path>
              </a:pathLst>
            </a:custGeom>
            <a:pattFill prst="dkUpDiag">
              <a:fgClr>
                <a:srgbClr val="00AAC9"/>
              </a:fgClr>
              <a:bgClr>
                <a:srgbClr val="156C9C"/>
              </a:bgClr>
            </a:patt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ctr"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r>
                <a:rPr kumimoji="0" lang="en-GB" sz="2600" b="1" i="0" u="none" strike="noStrike" kern="0" cap="none" spc="0" normalizeH="0" baseline="0" noProof="0" dirty="0" smtClean="0">
                  <a:ln>
                    <a:noFill/>
                  </a:ln>
                  <a:solidFill>
                    <a:schemeClr val="bg1"/>
                  </a:solidFill>
                  <a:effectLst/>
                  <a:uLnTx/>
                  <a:uFillTx/>
                  <a:latin typeface="Calibri" panose="020F0502020204030204" pitchFamily="34" charset="0"/>
                  <a:ea typeface="+mn-ea"/>
                  <a:cs typeface="Calibri" panose="020F0502020204030204" pitchFamily="34" charset="0"/>
                  <a:sym typeface="+mn-lt"/>
                </a:rPr>
                <a:t>FCH Roadmap City B</a:t>
              </a:r>
            </a:p>
          </p:txBody>
        </p:sp>
      </p:grpSp>
      <p:grpSp>
        <p:nvGrpSpPr>
          <p:cNvPr id="115" name="Group 114"/>
          <p:cNvGrpSpPr/>
          <p:nvPr/>
        </p:nvGrpSpPr>
        <p:grpSpPr>
          <a:xfrm>
            <a:off x="12206835" y="8370615"/>
            <a:ext cx="3795166" cy="3306760"/>
            <a:chOff x="4934137" y="4563095"/>
            <a:chExt cx="1897583" cy="1653380"/>
          </a:xfrm>
        </p:grpSpPr>
        <p:grpSp>
          <p:nvGrpSpPr>
            <p:cNvPr id="116" name="Group 115"/>
            <p:cNvGrpSpPr/>
            <p:nvPr/>
          </p:nvGrpSpPr>
          <p:grpSpPr>
            <a:xfrm>
              <a:off x="4934137" y="4730358"/>
              <a:ext cx="295650" cy="1425250"/>
              <a:chOff x="4990361" y="4720167"/>
              <a:chExt cx="295650" cy="1425250"/>
            </a:xfrm>
          </p:grpSpPr>
          <p:cxnSp>
            <p:nvCxnSpPr>
              <p:cNvPr id="126" name="Straight Connector 125"/>
              <p:cNvCxnSpPr/>
              <p:nvPr/>
            </p:nvCxnSpPr>
            <p:spPr>
              <a:xfrm rot="16200000">
                <a:off x="4746592" y="5785679"/>
                <a:ext cx="719476" cy="0"/>
              </a:xfrm>
              <a:prstGeom prst="line">
                <a:avLst/>
              </a:prstGeom>
              <a:noFill/>
              <a:ln w="9525" cap="flat" cmpd="sng" algn="ctr">
                <a:solidFill>
                  <a:srgbClr val="8D9399"/>
                </a:solidFill>
                <a:prstDash val="solid"/>
              </a:ln>
              <a:effectLst/>
            </p:spPr>
          </p:cxnSp>
          <p:cxnSp>
            <p:nvCxnSpPr>
              <p:cNvPr id="127" name="Straight Connector 126"/>
              <p:cNvCxnSpPr/>
              <p:nvPr/>
            </p:nvCxnSpPr>
            <p:spPr>
              <a:xfrm rot="16200000" flipV="1">
                <a:off x="5196170" y="5337103"/>
                <a:ext cx="0" cy="179681"/>
              </a:xfrm>
              <a:prstGeom prst="line">
                <a:avLst/>
              </a:prstGeom>
              <a:noFill/>
              <a:ln w="9525" cap="flat" cmpd="sng" algn="ctr">
                <a:solidFill>
                  <a:srgbClr val="8D9399"/>
                </a:solidFill>
                <a:prstDash val="solid"/>
              </a:ln>
              <a:effectLst/>
            </p:spPr>
          </p:cxnSp>
          <p:cxnSp>
            <p:nvCxnSpPr>
              <p:cNvPr id="128" name="Straight Connector 127"/>
              <p:cNvCxnSpPr/>
              <p:nvPr/>
            </p:nvCxnSpPr>
            <p:spPr>
              <a:xfrm flipH="1">
                <a:off x="5106330" y="6145417"/>
                <a:ext cx="179681" cy="0"/>
              </a:xfrm>
              <a:prstGeom prst="line">
                <a:avLst/>
              </a:prstGeom>
              <a:noFill/>
              <a:ln w="9525" cap="flat" cmpd="sng" algn="ctr">
                <a:solidFill>
                  <a:srgbClr val="8D9399"/>
                </a:solidFill>
                <a:prstDash val="solid"/>
              </a:ln>
              <a:effectLst/>
            </p:spPr>
          </p:cxnSp>
          <p:cxnSp>
            <p:nvCxnSpPr>
              <p:cNvPr id="129" name="Straight Connector 128"/>
              <p:cNvCxnSpPr/>
              <p:nvPr/>
            </p:nvCxnSpPr>
            <p:spPr>
              <a:xfrm rot="16200000">
                <a:off x="4746592" y="5079905"/>
                <a:ext cx="719476" cy="0"/>
              </a:xfrm>
              <a:prstGeom prst="line">
                <a:avLst/>
              </a:prstGeom>
              <a:noFill/>
              <a:ln w="9525" cap="flat" cmpd="sng" algn="ctr">
                <a:solidFill>
                  <a:srgbClr val="8D9399"/>
                </a:solidFill>
                <a:prstDash val="solid"/>
              </a:ln>
              <a:effectLst/>
            </p:spPr>
          </p:cxnSp>
          <p:cxnSp>
            <p:nvCxnSpPr>
              <p:cNvPr id="130" name="Straight Connector 129"/>
              <p:cNvCxnSpPr/>
              <p:nvPr/>
            </p:nvCxnSpPr>
            <p:spPr>
              <a:xfrm rot="16200000" flipV="1">
                <a:off x="5191408" y="4632708"/>
                <a:ext cx="0" cy="179681"/>
              </a:xfrm>
              <a:prstGeom prst="line">
                <a:avLst/>
              </a:prstGeom>
              <a:noFill/>
              <a:ln w="9525" cap="flat" cmpd="sng" algn="ctr">
                <a:solidFill>
                  <a:srgbClr val="8D9399"/>
                </a:solidFill>
                <a:prstDash val="solid"/>
              </a:ln>
              <a:effectLst/>
            </p:spPr>
          </p:cxnSp>
          <p:cxnSp>
            <p:nvCxnSpPr>
              <p:cNvPr id="131" name="Straight Connector 130"/>
              <p:cNvCxnSpPr/>
              <p:nvPr/>
            </p:nvCxnSpPr>
            <p:spPr>
              <a:xfrm rot="16200000" flipV="1">
                <a:off x="5080202" y="5337103"/>
                <a:ext cx="0" cy="179681"/>
              </a:xfrm>
              <a:prstGeom prst="line">
                <a:avLst/>
              </a:prstGeom>
              <a:noFill/>
              <a:ln w="9525" cap="flat" cmpd="sng" algn="ctr">
                <a:solidFill>
                  <a:srgbClr val="8D9399"/>
                </a:solidFill>
                <a:prstDash val="solid"/>
              </a:ln>
              <a:effectLst/>
            </p:spPr>
          </p:cxnSp>
        </p:grpSp>
        <p:sp>
          <p:nvSpPr>
            <p:cNvPr id="117" name="Freeform 5"/>
            <p:cNvSpPr>
              <a:spLocks noEditPoints="1"/>
            </p:cNvSpPr>
            <p:nvPr/>
          </p:nvSpPr>
          <p:spPr bwMode="auto">
            <a:xfrm>
              <a:off x="5490743" y="4563095"/>
              <a:ext cx="286901" cy="347423"/>
            </a:xfrm>
            <a:custGeom>
              <a:avLst/>
              <a:gdLst>
                <a:gd name="T0" fmla="*/ 850 w 1280"/>
                <a:gd name="T1" fmla="*/ 0 h 1680"/>
                <a:gd name="T2" fmla="*/ 925 w 1280"/>
                <a:gd name="T3" fmla="*/ 35 h 1680"/>
                <a:gd name="T4" fmla="*/ 1245 w 1280"/>
                <a:gd name="T5" fmla="*/ 355 h 1680"/>
                <a:gd name="T6" fmla="*/ 1280 w 1280"/>
                <a:gd name="T7" fmla="*/ 430 h 1680"/>
                <a:gd name="T8" fmla="*/ 1200 w 1280"/>
                <a:gd name="T9" fmla="*/ 400 h 1680"/>
                <a:gd name="T10" fmla="*/ 880 w 1280"/>
                <a:gd name="T11" fmla="*/ 400 h 1680"/>
                <a:gd name="T12" fmla="*/ 880 w 1280"/>
                <a:gd name="T13" fmla="*/ 80 h 1680"/>
                <a:gd name="T14" fmla="*/ 850 w 1280"/>
                <a:gd name="T15" fmla="*/ 0 h 1680"/>
                <a:gd name="T16" fmla="*/ 1280 w 1280"/>
                <a:gd name="T17" fmla="*/ 480 h 1680"/>
                <a:gd name="T18" fmla="*/ 1280 w 1280"/>
                <a:gd name="T19" fmla="*/ 1680 h 1680"/>
                <a:gd name="T20" fmla="*/ 720 w 1280"/>
                <a:gd name="T21" fmla="*/ 1680 h 1680"/>
                <a:gd name="T22" fmla="*/ 720 w 1280"/>
                <a:gd name="T23" fmla="*/ 840 h 1680"/>
                <a:gd name="T24" fmla="*/ 661 w 1280"/>
                <a:gd name="T25" fmla="*/ 699 h 1680"/>
                <a:gd name="T26" fmla="*/ 340 w 1280"/>
                <a:gd name="T27" fmla="*/ 378 h 1680"/>
                <a:gd name="T28" fmla="*/ 200 w 1280"/>
                <a:gd name="T29" fmla="*/ 320 h 1680"/>
                <a:gd name="T30" fmla="*/ 0 w 1280"/>
                <a:gd name="T31" fmla="*/ 320 h 1680"/>
                <a:gd name="T32" fmla="*/ 0 w 1280"/>
                <a:gd name="T33" fmla="*/ 0 h 1680"/>
                <a:gd name="T34" fmla="*/ 800 w 1280"/>
                <a:gd name="T35" fmla="*/ 0 h 1680"/>
                <a:gd name="T36" fmla="*/ 800 w 1280"/>
                <a:gd name="T37" fmla="*/ 480 h 1680"/>
                <a:gd name="T38" fmla="*/ 1280 w 1280"/>
                <a:gd name="T39" fmla="*/ 480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0" h="1680">
                  <a:moveTo>
                    <a:pt x="850" y="0"/>
                  </a:moveTo>
                  <a:cubicBezTo>
                    <a:pt x="879" y="3"/>
                    <a:pt x="905" y="16"/>
                    <a:pt x="925" y="35"/>
                  </a:cubicBezTo>
                  <a:cubicBezTo>
                    <a:pt x="925" y="35"/>
                    <a:pt x="1218" y="329"/>
                    <a:pt x="1245" y="355"/>
                  </a:cubicBezTo>
                  <a:cubicBezTo>
                    <a:pt x="1264" y="375"/>
                    <a:pt x="1277" y="401"/>
                    <a:pt x="1280" y="430"/>
                  </a:cubicBezTo>
                  <a:cubicBezTo>
                    <a:pt x="1258" y="412"/>
                    <a:pt x="1230" y="400"/>
                    <a:pt x="1200" y="400"/>
                  </a:cubicBezTo>
                  <a:cubicBezTo>
                    <a:pt x="880" y="400"/>
                    <a:pt x="880" y="400"/>
                    <a:pt x="880" y="400"/>
                  </a:cubicBezTo>
                  <a:cubicBezTo>
                    <a:pt x="880" y="80"/>
                    <a:pt x="880" y="80"/>
                    <a:pt x="880" y="80"/>
                  </a:cubicBezTo>
                  <a:cubicBezTo>
                    <a:pt x="880" y="50"/>
                    <a:pt x="868" y="22"/>
                    <a:pt x="850" y="0"/>
                  </a:cubicBezTo>
                  <a:close/>
                  <a:moveTo>
                    <a:pt x="1280" y="480"/>
                  </a:moveTo>
                  <a:cubicBezTo>
                    <a:pt x="1280" y="1680"/>
                    <a:pt x="1280" y="1680"/>
                    <a:pt x="1280" y="1680"/>
                  </a:cubicBezTo>
                  <a:cubicBezTo>
                    <a:pt x="720" y="1680"/>
                    <a:pt x="720" y="1680"/>
                    <a:pt x="720" y="1680"/>
                  </a:cubicBezTo>
                  <a:cubicBezTo>
                    <a:pt x="720" y="840"/>
                    <a:pt x="720" y="840"/>
                    <a:pt x="720" y="840"/>
                  </a:cubicBezTo>
                  <a:cubicBezTo>
                    <a:pt x="720" y="787"/>
                    <a:pt x="699" y="736"/>
                    <a:pt x="661" y="699"/>
                  </a:cubicBezTo>
                  <a:cubicBezTo>
                    <a:pt x="340" y="378"/>
                    <a:pt x="340" y="378"/>
                    <a:pt x="340" y="378"/>
                  </a:cubicBezTo>
                  <a:cubicBezTo>
                    <a:pt x="303" y="341"/>
                    <a:pt x="253" y="320"/>
                    <a:pt x="200" y="320"/>
                  </a:cubicBezTo>
                  <a:cubicBezTo>
                    <a:pt x="0" y="320"/>
                    <a:pt x="0" y="320"/>
                    <a:pt x="0" y="320"/>
                  </a:cubicBezTo>
                  <a:cubicBezTo>
                    <a:pt x="0" y="0"/>
                    <a:pt x="0" y="0"/>
                    <a:pt x="0" y="0"/>
                  </a:cubicBezTo>
                  <a:cubicBezTo>
                    <a:pt x="800" y="0"/>
                    <a:pt x="800" y="0"/>
                    <a:pt x="800" y="0"/>
                  </a:cubicBezTo>
                  <a:cubicBezTo>
                    <a:pt x="800" y="480"/>
                    <a:pt x="800" y="480"/>
                    <a:pt x="800" y="480"/>
                  </a:cubicBezTo>
                  <a:lnTo>
                    <a:pt x="1280" y="480"/>
                  </a:lnTo>
                  <a:close/>
                </a:path>
              </a:pathLst>
            </a:custGeom>
            <a:solidFill>
              <a:srgbClr val="8D93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marL="0" marR="0" lvl="0" indent="0" algn="l" defTabSz="182880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smtClean="0">
                <a:ln>
                  <a:noFill/>
                </a:ln>
                <a:solidFill>
                  <a:srgbClr val="002060"/>
                </a:solidFill>
                <a:effectLst/>
                <a:uLnTx/>
                <a:uFillTx/>
                <a:latin typeface="Calibri" panose="020F0502020204030204" pitchFamily="34" charset="0"/>
                <a:ea typeface="+mn-ea"/>
                <a:cs typeface="Calibri" panose="020F0502020204030204" pitchFamily="34" charset="0"/>
                <a:sym typeface="+mn-lt"/>
              </a:endParaRPr>
            </a:p>
          </p:txBody>
        </p:sp>
        <p:sp>
          <p:nvSpPr>
            <p:cNvPr id="118" name="Freeform 5"/>
            <p:cNvSpPr>
              <a:spLocks noEditPoints="1"/>
            </p:cNvSpPr>
            <p:nvPr/>
          </p:nvSpPr>
          <p:spPr bwMode="auto">
            <a:xfrm>
              <a:off x="5437971" y="4621702"/>
              <a:ext cx="286901" cy="347423"/>
            </a:xfrm>
            <a:custGeom>
              <a:avLst/>
              <a:gdLst>
                <a:gd name="T0" fmla="*/ 850 w 1280"/>
                <a:gd name="T1" fmla="*/ 0 h 1680"/>
                <a:gd name="T2" fmla="*/ 925 w 1280"/>
                <a:gd name="T3" fmla="*/ 35 h 1680"/>
                <a:gd name="T4" fmla="*/ 1245 w 1280"/>
                <a:gd name="T5" fmla="*/ 355 h 1680"/>
                <a:gd name="T6" fmla="*/ 1280 w 1280"/>
                <a:gd name="T7" fmla="*/ 430 h 1680"/>
                <a:gd name="T8" fmla="*/ 1200 w 1280"/>
                <a:gd name="T9" fmla="*/ 400 h 1680"/>
                <a:gd name="T10" fmla="*/ 880 w 1280"/>
                <a:gd name="T11" fmla="*/ 400 h 1680"/>
                <a:gd name="T12" fmla="*/ 880 w 1280"/>
                <a:gd name="T13" fmla="*/ 80 h 1680"/>
                <a:gd name="T14" fmla="*/ 850 w 1280"/>
                <a:gd name="T15" fmla="*/ 0 h 1680"/>
                <a:gd name="T16" fmla="*/ 1280 w 1280"/>
                <a:gd name="T17" fmla="*/ 480 h 1680"/>
                <a:gd name="T18" fmla="*/ 1280 w 1280"/>
                <a:gd name="T19" fmla="*/ 1680 h 1680"/>
                <a:gd name="T20" fmla="*/ 720 w 1280"/>
                <a:gd name="T21" fmla="*/ 1680 h 1680"/>
                <a:gd name="T22" fmla="*/ 720 w 1280"/>
                <a:gd name="T23" fmla="*/ 840 h 1680"/>
                <a:gd name="T24" fmla="*/ 661 w 1280"/>
                <a:gd name="T25" fmla="*/ 699 h 1680"/>
                <a:gd name="T26" fmla="*/ 340 w 1280"/>
                <a:gd name="T27" fmla="*/ 378 h 1680"/>
                <a:gd name="T28" fmla="*/ 200 w 1280"/>
                <a:gd name="T29" fmla="*/ 320 h 1680"/>
                <a:gd name="T30" fmla="*/ 0 w 1280"/>
                <a:gd name="T31" fmla="*/ 320 h 1680"/>
                <a:gd name="T32" fmla="*/ 0 w 1280"/>
                <a:gd name="T33" fmla="*/ 0 h 1680"/>
                <a:gd name="T34" fmla="*/ 800 w 1280"/>
                <a:gd name="T35" fmla="*/ 0 h 1680"/>
                <a:gd name="T36" fmla="*/ 800 w 1280"/>
                <a:gd name="T37" fmla="*/ 480 h 1680"/>
                <a:gd name="T38" fmla="*/ 1280 w 1280"/>
                <a:gd name="T39" fmla="*/ 480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0" h="1680">
                  <a:moveTo>
                    <a:pt x="850" y="0"/>
                  </a:moveTo>
                  <a:cubicBezTo>
                    <a:pt x="879" y="3"/>
                    <a:pt x="905" y="16"/>
                    <a:pt x="925" y="35"/>
                  </a:cubicBezTo>
                  <a:cubicBezTo>
                    <a:pt x="925" y="35"/>
                    <a:pt x="1218" y="329"/>
                    <a:pt x="1245" y="355"/>
                  </a:cubicBezTo>
                  <a:cubicBezTo>
                    <a:pt x="1264" y="375"/>
                    <a:pt x="1277" y="401"/>
                    <a:pt x="1280" y="430"/>
                  </a:cubicBezTo>
                  <a:cubicBezTo>
                    <a:pt x="1258" y="412"/>
                    <a:pt x="1230" y="400"/>
                    <a:pt x="1200" y="400"/>
                  </a:cubicBezTo>
                  <a:cubicBezTo>
                    <a:pt x="880" y="400"/>
                    <a:pt x="880" y="400"/>
                    <a:pt x="880" y="400"/>
                  </a:cubicBezTo>
                  <a:cubicBezTo>
                    <a:pt x="880" y="80"/>
                    <a:pt x="880" y="80"/>
                    <a:pt x="880" y="80"/>
                  </a:cubicBezTo>
                  <a:cubicBezTo>
                    <a:pt x="880" y="50"/>
                    <a:pt x="868" y="22"/>
                    <a:pt x="850" y="0"/>
                  </a:cubicBezTo>
                  <a:close/>
                  <a:moveTo>
                    <a:pt x="1280" y="480"/>
                  </a:moveTo>
                  <a:cubicBezTo>
                    <a:pt x="1280" y="1680"/>
                    <a:pt x="1280" y="1680"/>
                    <a:pt x="1280" y="1680"/>
                  </a:cubicBezTo>
                  <a:cubicBezTo>
                    <a:pt x="720" y="1680"/>
                    <a:pt x="720" y="1680"/>
                    <a:pt x="720" y="1680"/>
                  </a:cubicBezTo>
                  <a:cubicBezTo>
                    <a:pt x="720" y="840"/>
                    <a:pt x="720" y="840"/>
                    <a:pt x="720" y="840"/>
                  </a:cubicBezTo>
                  <a:cubicBezTo>
                    <a:pt x="720" y="787"/>
                    <a:pt x="699" y="736"/>
                    <a:pt x="661" y="699"/>
                  </a:cubicBezTo>
                  <a:cubicBezTo>
                    <a:pt x="340" y="378"/>
                    <a:pt x="340" y="378"/>
                    <a:pt x="340" y="378"/>
                  </a:cubicBezTo>
                  <a:cubicBezTo>
                    <a:pt x="303" y="341"/>
                    <a:pt x="253" y="320"/>
                    <a:pt x="200" y="320"/>
                  </a:cubicBezTo>
                  <a:cubicBezTo>
                    <a:pt x="0" y="320"/>
                    <a:pt x="0" y="320"/>
                    <a:pt x="0" y="320"/>
                  </a:cubicBezTo>
                  <a:cubicBezTo>
                    <a:pt x="0" y="0"/>
                    <a:pt x="0" y="0"/>
                    <a:pt x="0" y="0"/>
                  </a:cubicBezTo>
                  <a:cubicBezTo>
                    <a:pt x="800" y="0"/>
                    <a:pt x="800" y="0"/>
                    <a:pt x="800" y="0"/>
                  </a:cubicBezTo>
                  <a:cubicBezTo>
                    <a:pt x="800" y="480"/>
                    <a:pt x="800" y="480"/>
                    <a:pt x="800" y="480"/>
                  </a:cubicBezTo>
                  <a:lnTo>
                    <a:pt x="1280" y="480"/>
                  </a:lnTo>
                  <a:close/>
                </a:path>
              </a:pathLst>
            </a:custGeom>
            <a:solidFill>
              <a:srgbClr val="156C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marL="0" marR="0" lvl="0" indent="0" algn="l" defTabSz="182880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smtClean="0">
                <a:ln>
                  <a:noFill/>
                </a:ln>
                <a:solidFill>
                  <a:srgbClr val="002060"/>
                </a:solidFill>
                <a:effectLst/>
                <a:uLnTx/>
                <a:uFillTx/>
                <a:latin typeface="Calibri" panose="020F0502020204030204" pitchFamily="34" charset="0"/>
                <a:ea typeface="+mn-ea"/>
                <a:cs typeface="Calibri" panose="020F0502020204030204" pitchFamily="34" charset="0"/>
                <a:sym typeface="+mn-lt"/>
              </a:endParaRPr>
            </a:p>
          </p:txBody>
        </p:sp>
        <p:sp>
          <p:nvSpPr>
            <p:cNvPr id="119" name="Freeform 5"/>
            <p:cNvSpPr>
              <a:spLocks noEditPoints="1"/>
            </p:cNvSpPr>
            <p:nvPr/>
          </p:nvSpPr>
          <p:spPr bwMode="auto">
            <a:xfrm>
              <a:off x="5385199" y="4680309"/>
              <a:ext cx="286901" cy="347423"/>
            </a:xfrm>
            <a:custGeom>
              <a:avLst/>
              <a:gdLst>
                <a:gd name="T0" fmla="*/ 850 w 1280"/>
                <a:gd name="T1" fmla="*/ 0 h 1680"/>
                <a:gd name="T2" fmla="*/ 925 w 1280"/>
                <a:gd name="T3" fmla="*/ 35 h 1680"/>
                <a:gd name="T4" fmla="*/ 1245 w 1280"/>
                <a:gd name="T5" fmla="*/ 355 h 1680"/>
                <a:gd name="T6" fmla="*/ 1280 w 1280"/>
                <a:gd name="T7" fmla="*/ 430 h 1680"/>
                <a:gd name="T8" fmla="*/ 1200 w 1280"/>
                <a:gd name="T9" fmla="*/ 400 h 1680"/>
                <a:gd name="T10" fmla="*/ 880 w 1280"/>
                <a:gd name="T11" fmla="*/ 400 h 1680"/>
                <a:gd name="T12" fmla="*/ 880 w 1280"/>
                <a:gd name="T13" fmla="*/ 80 h 1680"/>
                <a:gd name="T14" fmla="*/ 850 w 1280"/>
                <a:gd name="T15" fmla="*/ 0 h 1680"/>
                <a:gd name="T16" fmla="*/ 1280 w 1280"/>
                <a:gd name="T17" fmla="*/ 480 h 1680"/>
                <a:gd name="T18" fmla="*/ 1280 w 1280"/>
                <a:gd name="T19" fmla="*/ 1680 h 1680"/>
                <a:gd name="T20" fmla="*/ 720 w 1280"/>
                <a:gd name="T21" fmla="*/ 1680 h 1680"/>
                <a:gd name="T22" fmla="*/ 720 w 1280"/>
                <a:gd name="T23" fmla="*/ 840 h 1680"/>
                <a:gd name="T24" fmla="*/ 661 w 1280"/>
                <a:gd name="T25" fmla="*/ 699 h 1680"/>
                <a:gd name="T26" fmla="*/ 340 w 1280"/>
                <a:gd name="T27" fmla="*/ 378 h 1680"/>
                <a:gd name="T28" fmla="*/ 200 w 1280"/>
                <a:gd name="T29" fmla="*/ 320 h 1680"/>
                <a:gd name="T30" fmla="*/ 0 w 1280"/>
                <a:gd name="T31" fmla="*/ 320 h 1680"/>
                <a:gd name="T32" fmla="*/ 0 w 1280"/>
                <a:gd name="T33" fmla="*/ 0 h 1680"/>
                <a:gd name="T34" fmla="*/ 800 w 1280"/>
                <a:gd name="T35" fmla="*/ 0 h 1680"/>
                <a:gd name="T36" fmla="*/ 800 w 1280"/>
                <a:gd name="T37" fmla="*/ 480 h 1680"/>
                <a:gd name="T38" fmla="*/ 1280 w 1280"/>
                <a:gd name="T39" fmla="*/ 480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0" h="1680">
                  <a:moveTo>
                    <a:pt x="850" y="0"/>
                  </a:moveTo>
                  <a:cubicBezTo>
                    <a:pt x="879" y="3"/>
                    <a:pt x="905" y="16"/>
                    <a:pt x="925" y="35"/>
                  </a:cubicBezTo>
                  <a:cubicBezTo>
                    <a:pt x="925" y="35"/>
                    <a:pt x="1218" y="329"/>
                    <a:pt x="1245" y="355"/>
                  </a:cubicBezTo>
                  <a:cubicBezTo>
                    <a:pt x="1264" y="375"/>
                    <a:pt x="1277" y="401"/>
                    <a:pt x="1280" y="430"/>
                  </a:cubicBezTo>
                  <a:cubicBezTo>
                    <a:pt x="1258" y="412"/>
                    <a:pt x="1230" y="400"/>
                    <a:pt x="1200" y="400"/>
                  </a:cubicBezTo>
                  <a:cubicBezTo>
                    <a:pt x="880" y="400"/>
                    <a:pt x="880" y="400"/>
                    <a:pt x="880" y="400"/>
                  </a:cubicBezTo>
                  <a:cubicBezTo>
                    <a:pt x="880" y="80"/>
                    <a:pt x="880" y="80"/>
                    <a:pt x="880" y="80"/>
                  </a:cubicBezTo>
                  <a:cubicBezTo>
                    <a:pt x="880" y="50"/>
                    <a:pt x="868" y="22"/>
                    <a:pt x="850" y="0"/>
                  </a:cubicBezTo>
                  <a:close/>
                  <a:moveTo>
                    <a:pt x="1280" y="480"/>
                  </a:moveTo>
                  <a:cubicBezTo>
                    <a:pt x="1280" y="1680"/>
                    <a:pt x="1280" y="1680"/>
                    <a:pt x="1280" y="1680"/>
                  </a:cubicBezTo>
                  <a:cubicBezTo>
                    <a:pt x="720" y="1680"/>
                    <a:pt x="720" y="1680"/>
                    <a:pt x="720" y="1680"/>
                  </a:cubicBezTo>
                  <a:cubicBezTo>
                    <a:pt x="720" y="840"/>
                    <a:pt x="720" y="840"/>
                    <a:pt x="720" y="840"/>
                  </a:cubicBezTo>
                  <a:cubicBezTo>
                    <a:pt x="720" y="787"/>
                    <a:pt x="699" y="736"/>
                    <a:pt x="661" y="699"/>
                  </a:cubicBezTo>
                  <a:cubicBezTo>
                    <a:pt x="340" y="378"/>
                    <a:pt x="340" y="378"/>
                    <a:pt x="340" y="378"/>
                  </a:cubicBezTo>
                  <a:cubicBezTo>
                    <a:pt x="303" y="341"/>
                    <a:pt x="253" y="320"/>
                    <a:pt x="200" y="320"/>
                  </a:cubicBezTo>
                  <a:cubicBezTo>
                    <a:pt x="0" y="320"/>
                    <a:pt x="0" y="320"/>
                    <a:pt x="0" y="320"/>
                  </a:cubicBezTo>
                  <a:cubicBezTo>
                    <a:pt x="0" y="0"/>
                    <a:pt x="0" y="0"/>
                    <a:pt x="0" y="0"/>
                  </a:cubicBezTo>
                  <a:cubicBezTo>
                    <a:pt x="800" y="0"/>
                    <a:pt x="800" y="0"/>
                    <a:pt x="800" y="0"/>
                  </a:cubicBezTo>
                  <a:cubicBezTo>
                    <a:pt x="800" y="480"/>
                    <a:pt x="800" y="480"/>
                    <a:pt x="800" y="480"/>
                  </a:cubicBezTo>
                  <a:lnTo>
                    <a:pt x="1280" y="480"/>
                  </a:lnTo>
                  <a:close/>
                </a:path>
              </a:pathLst>
            </a:custGeom>
            <a:solidFill>
              <a:srgbClr val="96AE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marL="0" marR="0" lvl="0" indent="0" algn="l" defTabSz="182880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smtClean="0">
                <a:ln>
                  <a:noFill/>
                </a:ln>
                <a:solidFill>
                  <a:srgbClr val="002060"/>
                </a:solidFill>
                <a:effectLst/>
                <a:uLnTx/>
                <a:uFillTx/>
                <a:latin typeface="Calibri" panose="020F0502020204030204" pitchFamily="34" charset="0"/>
                <a:ea typeface="+mn-ea"/>
                <a:cs typeface="Calibri" panose="020F0502020204030204" pitchFamily="34" charset="0"/>
                <a:sym typeface="+mn-lt"/>
              </a:endParaRPr>
            </a:p>
          </p:txBody>
        </p:sp>
        <p:sp>
          <p:nvSpPr>
            <p:cNvPr id="120" name="Freeform 6"/>
            <p:cNvSpPr>
              <a:spLocks noEditPoints="1"/>
            </p:cNvSpPr>
            <p:nvPr/>
          </p:nvSpPr>
          <p:spPr bwMode="auto">
            <a:xfrm>
              <a:off x="5332427" y="4738917"/>
              <a:ext cx="286901" cy="347423"/>
            </a:xfrm>
            <a:custGeom>
              <a:avLst/>
              <a:gdLst>
                <a:gd name="T0" fmla="*/ 850 w 1280"/>
                <a:gd name="T1" fmla="*/ 0 h 1680"/>
                <a:gd name="T2" fmla="*/ 925 w 1280"/>
                <a:gd name="T3" fmla="*/ 35 h 1680"/>
                <a:gd name="T4" fmla="*/ 1245 w 1280"/>
                <a:gd name="T5" fmla="*/ 355 h 1680"/>
                <a:gd name="T6" fmla="*/ 1280 w 1280"/>
                <a:gd name="T7" fmla="*/ 430 h 1680"/>
                <a:gd name="T8" fmla="*/ 1200 w 1280"/>
                <a:gd name="T9" fmla="*/ 400 h 1680"/>
                <a:gd name="T10" fmla="*/ 880 w 1280"/>
                <a:gd name="T11" fmla="*/ 400 h 1680"/>
                <a:gd name="T12" fmla="*/ 880 w 1280"/>
                <a:gd name="T13" fmla="*/ 80 h 1680"/>
                <a:gd name="T14" fmla="*/ 850 w 1280"/>
                <a:gd name="T15" fmla="*/ 0 h 1680"/>
                <a:gd name="T16" fmla="*/ 1280 w 1280"/>
                <a:gd name="T17" fmla="*/ 480 h 1680"/>
                <a:gd name="T18" fmla="*/ 1280 w 1280"/>
                <a:gd name="T19" fmla="*/ 1680 h 1680"/>
                <a:gd name="T20" fmla="*/ 0 w 1280"/>
                <a:gd name="T21" fmla="*/ 1680 h 1680"/>
                <a:gd name="T22" fmla="*/ 0 w 1280"/>
                <a:gd name="T23" fmla="*/ 0 h 1680"/>
                <a:gd name="T24" fmla="*/ 800 w 1280"/>
                <a:gd name="T25" fmla="*/ 0 h 1680"/>
                <a:gd name="T26" fmla="*/ 800 w 1280"/>
                <a:gd name="T27" fmla="*/ 480 h 1680"/>
                <a:gd name="T28" fmla="*/ 1280 w 1280"/>
                <a:gd name="T29" fmla="*/ 480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0" h="1680">
                  <a:moveTo>
                    <a:pt x="850" y="0"/>
                  </a:moveTo>
                  <a:cubicBezTo>
                    <a:pt x="879" y="3"/>
                    <a:pt x="905" y="16"/>
                    <a:pt x="925" y="35"/>
                  </a:cubicBezTo>
                  <a:cubicBezTo>
                    <a:pt x="925" y="35"/>
                    <a:pt x="1218" y="329"/>
                    <a:pt x="1245" y="355"/>
                  </a:cubicBezTo>
                  <a:cubicBezTo>
                    <a:pt x="1264" y="375"/>
                    <a:pt x="1277" y="401"/>
                    <a:pt x="1280" y="430"/>
                  </a:cubicBezTo>
                  <a:cubicBezTo>
                    <a:pt x="1258" y="412"/>
                    <a:pt x="1230" y="400"/>
                    <a:pt x="1200" y="400"/>
                  </a:cubicBezTo>
                  <a:cubicBezTo>
                    <a:pt x="880" y="400"/>
                    <a:pt x="880" y="400"/>
                    <a:pt x="880" y="400"/>
                  </a:cubicBezTo>
                  <a:cubicBezTo>
                    <a:pt x="880" y="80"/>
                    <a:pt x="880" y="80"/>
                    <a:pt x="880" y="80"/>
                  </a:cubicBezTo>
                  <a:cubicBezTo>
                    <a:pt x="880" y="50"/>
                    <a:pt x="868" y="22"/>
                    <a:pt x="850" y="0"/>
                  </a:cubicBezTo>
                  <a:close/>
                  <a:moveTo>
                    <a:pt x="1280" y="480"/>
                  </a:moveTo>
                  <a:cubicBezTo>
                    <a:pt x="1280" y="1680"/>
                    <a:pt x="1280" y="1680"/>
                    <a:pt x="1280" y="1680"/>
                  </a:cubicBezTo>
                  <a:cubicBezTo>
                    <a:pt x="0" y="1680"/>
                    <a:pt x="0" y="1680"/>
                    <a:pt x="0" y="1680"/>
                  </a:cubicBezTo>
                  <a:cubicBezTo>
                    <a:pt x="0" y="0"/>
                    <a:pt x="0" y="0"/>
                    <a:pt x="0" y="0"/>
                  </a:cubicBezTo>
                  <a:cubicBezTo>
                    <a:pt x="800" y="0"/>
                    <a:pt x="800" y="0"/>
                    <a:pt x="800" y="0"/>
                  </a:cubicBezTo>
                  <a:cubicBezTo>
                    <a:pt x="800" y="480"/>
                    <a:pt x="800" y="480"/>
                    <a:pt x="800" y="480"/>
                  </a:cubicBezTo>
                  <a:lnTo>
                    <a:pt x="1280" y="480"/>
                  </a:lnTo>
                  <a:close/>
                </a:path>
              </a:pathLst>
            </a:custGeom>
            <a:solidFill>
              <a:srgbClr val="00AA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ctr"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err="1" smtClean="0">
                  <a:ln>
                    <a:noFill/>
                  </a:ln>
                  <a:solidFill>
                    <a:srgbClr val="002060"/>
                  </a:solidFill>
                  <a:effectLst/>
                  <a:uLnTx/>
                  <a:uFillTx/>
                  <a:latin typeface="Calibri" panose="020F0502020204030204" pitchFamily="34" charset="0"/>
                  <a:ea typeface="+mn-ea"/>
                  <a:cs typeface="Calibri" panose="020F0502020204030204" pitchFamily="34" charset="0"/>
                  <a:sym typeface="+mn-lt"/>
                </a:rPr>
                <a:t>B</a:t>
              </a:r>
              <a:r>
                <a:rPr kumimoji="0" lang="en-GB" sz="1800" b="1" i="0" u="none" strike="noStrike" kern="0" cap="none" spc="0" normalizeH="0" baseline="-25000" noProof="0" dirty="0" err="1" smtClean="0">
                  <a:ln>
                    <a:noFill/>
                  </a:ln>
                  <a:solidFill>
                    <a:srgbClr val="002060"/>
                  </a:solidFill>
                  <a:effectLst/>
                  <a:uLnTx/>
                  <a:uFillTx/>
                  <a:latin typeface="Calibri" panose="020F0502020204030204" pitchFamily="34" charset="0"/>
                  <a:ea typeface="+mn-ea"/>
                  <a:cs typeface="Calibri" panose="020F0502020204030204" pitchFamily="34" charset="0"/>
                  <a:sym typeface="+mn-lt"/>
                </a:rPr>
                <a:t>1</a:t>
              </a:r>
              <a:endParaRPr kumimoji="0" lang="en-GB" sz="1800" b="1" i="0" u="none" strike="noStrike" kern="0" cap="none" spc="0" normalizeH="0" baseline="-25000" noProof="0" dirty="0" smtClean="0">
                <a:ln>
                  <a:noFill/>
                </a:ln>
                <a:solidFill>
                  <a:srgbClr val="002060"/>
                </a:solidFill>
                <a:effectLst/>
                <a:uLnTx/>
                <a:uFillTx/>
                <a:latin typeface="Calibri" panose="020F0502020204030204" pitchFamily="34" charset="0"/>
                <a:ea typeface="+mn-ea"/>
                <a:cs typeface="Calibri" panose="020F0502020204030204" pitchFamily="34" charset="0"/>
                <a:sym typeface="+mn-lt"/>
              </a:endParaRPr>
            </a:p>
          </p:txBody>
        </p:sp>
        <p:sp>
          <p:nvSpPr>
            <p:cNvPr id="121" name="Freeform 5"/>
            <p:cNvSpPr>
              <a:spLocks noEditPoints="1"/>
            </p:cNvSpPr>
            <p:nvPr/>
          </p:nvSpPr>
          <p:spPr bwMode="auto">
            <a:xfrm>
              <a:off x="5490743" y="5181361"/>
              <a:ext cx="286901" cy="347423"/>
            </a:xfrm>
            <a:custGeom>
              <a:avLst/>
              <a:gdLst>
                <a:gd name="T0" fmla="*/ 850 w 1280"/>
                <a:gd name="T1" fmla="*/ 0 h 1680"/>
                <a:gd name="T2" fmla="*/ 925 w 1280"/>
                <a:gd name="T3" fmla="*/ 35 h 1680"/>
                <a:gd name="T4" fmla="*/ 1245 w 1280"/>
                <a:gd name="T5" fmla="*/ 355 h 1680"/>
                <a:gd name="T6" fmla="*/ 1280 w 1280"/>
                <a:gd name="T7" fmla="*/ 430 h 1680"/>
                <a:gd name="T8" fmla="*/ 1200 w 1280"/>
                <a:gd name="T9" fmla="*/ 400 h 1680"/>
                <a:gd name="T10" fmla="*/ 880 w 1280"/>
                <a:gd name="T11" fmla="*/ 400 h 1680"/>
                <a:gd name="T12" fmla="*/ 880 w 1280"/>
                <a:gd name="T13" fmla="*/ 80 h 1680"/>
                <a:gd name="T14" fmla="*/ 850 w 1280"/>
                <a:gd name="T15" fmla="*/ 0 h 1680"/>
                <a:gd name="T16" fmla="*/ 1280 w 1280"/>
                <a:gd name="T17" fmla="*/ 480 h 1680"/>
                <a:gd name="T18" fmla="*/ 1280 w 1280"/>
                <a:gd name="T19" fmla="*/ 1680 h 1680"/>
                <a:gd name="T20" fmla="*/ 720 w 1280"/>
                <a:gd name="T21" fmla="*/ 1680 h 1680"/>
                <a:gd name="T22" fmla="*/ 720 w 1280"/>
                <a:gd name="T23" fmla="*/ 840 h 1680"/>
                <a:gd name="T24" fmla="*/ 661 w 1280"/>
                <a:gd name="T25" fmla="*/ 699 h 1680"/>
                <a:gd name="T26" fmla="*/ 340 w 1280"/>
                <a:gd name="T27" fmla="*/ 378 h 1680"/>
                <a:gd name="T28" fmla="*/ 200 w 1280"/>
                <a:gd name="T29" fmla="*/ 320 h 1680"/>
                <a:gd name="T30" fmla="*/ 0 w 1280"/>
                <a:gd name="T31" fmla="*/ 320 h 1680"/>
                <a:gd name="T32" fmla="*/ 0 w 1280"/>
                <a:gd name="T33" fmla="*/ 0 h 1680"/>
                <a:gd name="T34" fmla="*/ 800 w 1280"/>
                <a:gd name="T35" fmla="*/ 0 h 1680"/>
                <a:gd name="T36" fmla="*/ 800 w 1280"/>
                <a:gd name="T37" fmla="*/ 480 h 1680"/>
                <a:gd name="T38" fmla="*/ 1280 w 1280"/>
                <a:gd name="T39" fmla="*/ 480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0" h="1680">
                  <a:moveTo>
                    <a:pt x="850" y="0"/>
                  </a:moveTo>
                  <a:cubicBezTo>
                    <a:pt x="879" y="3"/>
                    <a:pt x="905" y="16"/>
                    <a:pt x="925" y="35"/>
                  </a:cubicBezTo>
                  <a:cubicBezTo>
                    <a:pt x="925" y="35"/>
                    <a:pt x="1218" y="329"/>
                    <a:pt x="1245" y="355"/>
                  </a:cubicBezTo>
                  <a:cubicBezTo>
                    <a:pt x="1264" y="375"/>
                    <a:pt x="1277" y="401"/>
                    <a:pt x="1280" y="430"/>
                  </a:cubicBezTo>
                  <a:cubicBezTo>
                    <a:pt x="1258" y="412"/>
                    <a:pt x="1230" y="400"/>
                    <a:pt x="1200" y="400"/>
                  </a:cubicBezTo>
                  <a:cubicBezTo>
                    <a:pt x="880" y="400"/>
                    <a:pt x="880" y="400"/>
                    <a:pt x="880" y="400"/>
                  </a:cubicBezTo>
                  <a:cubicBezTo>
                    <a:pt x="880" y="80"/>
                    <a:pt x="880" y="80"/>
                    <a:pt x="880" y="80"/>
                  </a:cubicBezTo>
                  <a:cubicBezTo>
                    <a:pt x="880" y="50"/>
                    <a:pt x="868" y="22"/>
                    <a:pt x="850" y="0"/>
                  </a:cubicBezTo>
                  <a:close/>
                  <a:moveTo>
                    <a:pt x="1280" y="480"/>
                  </a:moveTo>
                  <a:cubicBezTo>
                    <a:pt x="1280" y="1680"/>
                    <a:pt x="1280" y="1680"/>
                    <a:pt x="1280" y="1680"/>
                  </a:cubicBezTo>
                  <a:cubicBezTo>
                    <a:pt x="720" y="1680"/>
                    <a:pt x="720" y="1680"/>
                    <a:pt x="720" y="1680"/>
                  </a:cubicBezTo>
                  <a:cubicBezTo>
                    <a:pt x="720" y="840"/>
                    <a:pt x="720" y="840"/>
                    <a:pt x="720" y="840"/>
                  </a:cubicBezTo>
                  <a:cubicBezTo>
                    <a:pt x="720" y="787"/>
                    <a:pt x="699" y="736"/>
                    <a:pt x="661" y="699"/>
                  </a:cubicBezTo>
                  <a:cubicBezTo>
                    <a:pt x="340" y="378"/>
                    <a:pt x="340" y="378"/>
                    <a:pt x="340" y="378"/>
                  </a:cubicBezTo>
                  <a:cubicBezTo>
                    <a:pt x="303" y="341"/>
                    <a:pt x="253" y="320"/>
                    <a:pt x="200" y="320"/>
                  </a:cubicBezTo>
                  <a:cubicBezTo>
                    <a:pt x="0" y="320"/>
                    <a:pt x="0" y="320"/>
                    <a:pt x="0" y="320"/>
                  </a:cubicBezTo>
                  <a:cubicBezTo>
                    <a:pt x="0" y="0"/>
                    <a:pt x="0" y="0"/>
                    <a:pt x="0" y="0"/>
                  </a:cubicBezTo>
                  <a:cubicBezTo>
                    <a:pt x="800" y="0"/>
                    <a:pt x="800" y="0"/>
                    <a:pt x="800" y="0"/>
                  </a:cubicBezTo>
                  <a:cubicBezTo>
                    <a:pt x="800" y="480"/>
                    <a:pt x="800" y="480"/>
                    <a:pt x="800" y="480"/>
                  </a:cubicBezTo>
                  <a:lnTo>
                    <a:pt x="1280" y="480"/>
                  </a:lnTo>
                  <a:close/>
                </a:path>
              </a:pathLst>
            </a:custGeom>
            <a:solidFill>
              <a:srgbClr val="8D93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marL="0" marR="0" lvl="0" indent="0" algn="l" defTabSz="182880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smtClean="0">
                <a:ln>
                  <a:noFill/>
                </a:ln>
                <a:solidFill>
                  <a:srgbClr val="002060"/>
                </a:solidFill>
                <a:effectLst/>
                <a:uLnTx/>
                <a:uFillTx/>
                <a:latin typeface="Calibri" panose="020F0502020204030204" pitchFamily="34" charset="0"/>
                <a:ea typeface="+mn-ea"/>
                <a:cs typeface="Calibri" panose="020F0502020204030204" pitchFamily="34" charset="0"/>
                <a:sym typeface="+mn-lt"/>
              </a:endParaRPr>
            </a:p>
          </p:txBody>
        </p:sp>
        <p:sp>
          <p:nvSpPr>
            <p:cNvPr id="122" name="Freeform 5"/>
            <p:cNvSpPr>
              <a:spLocks noEditPoints="1"/>
            </p:cNvSpPr>
            <p:nvPr/>
          </p:nvSpPr>
          <p:spPr bwMode="auto">
            <a:xfrm>
              <a:off x="5437971" y="5239968"/>
              <a:ext cx="286901" cy="347423"/>
            </a:xfrm>
            <a:custGeom>
              <a:avLst/>
              <a:gdLst>
                <a:gd name="T0" fmla="*/ 850 w 1280"/>
                <a:gd name="T1" fmla="*/ 0 h 1680"/>
                <a:gd name="T2" fmla="*/ 925 w 1280"/>
                <a:gd name="T3" fmla="*/ 35 h 1680"/>
                <a:gd name="T4" fmla="*/ 1245 w 1280"/>
                <a:gd name="T5" fmla="*/ 355 h 1680"/>
                <a:gd name="T6" fmla="*/ 1280 w 1280"/>
                <a:gd name="T7" fmla="*/ 430 h 1680"/>
                <a:gd name="T8" fmla="*/ 1200 w 1280"/>
                <a:gd name="T9" fmla="*/ 400 h 1680"/>
                <a:gd name="T10" fmla="*/ 880 w 1280"/>
                <a:gd name="T11" fmla="*/ 400 h 1680"/>
                <a:gd name="T12" fmla="*/ 880 w 1280"/>
                <a:gd name="T13" fmla="*/ 80 h 1680"/>
                <a:gd name="T14" fmla="*/ 850 w 1280"/>
                <a:gd name="T15" fmla="*/ 0 h 1680"/>
                <a:gd name="T16" fmla="*/ 1280 w 1280"/>
                <a:gd name="T17" fmla="*/ 480 h 1680"/>
                <a:gd name="T18" fmla="*/ 1280 w 1280"/>
                <a:gd name="T19" fmla="*/ 1680 h 1680"/>
                <a:gd name="T20" fmla="*/ 720 w 1280"/>
                <a:gd name="T21" fmla="*/ 1680 h 1680"/>
                <a:gd name="T22" fmla="*/ 720 w 1280"/>
                <a:gd name="T23" fmla="*/ 840 h 1680"/>
                <a:gd name="T24" fmla="*/ 661 w 1280"/>
                <a:gd name="T25" fmla="*/ 699 h 1680"/>
                <a:gd name="T26" fmla="*/ 340 w 1280"/>
                <a:gd name="T27" fmla="*/ 378 h 1680"/>
                <a:gd name="T28" fmla="*/ 200 w 1280"/>
                <a:gd name="T29" fmla="*/ 320 h 1680"/>
                <a:gd name="T30" fmla="*/ 0 w 1280"/>
                <a:gd name="T31" fmla="*/ 320 h 1680"/>
                <a:gd name="T32" fmla="*/ 0 w 1280"/>
                <a:gd name="T33" fmla="*/ 0 h 1680"/>
                <a:gd name="T34" fmla="*/ 800 w 1280"/>
                <a:gd name="T35" fmla="*/ 0 h 1680"/>
                <a:gd name="T36" fmla="*/ 800 w 1280"/>
                <a:gd name="T37" fmla="*/ 480 h 1680"/>
                <a:gd name="T38" fmla="*/ 1280 w 1280"/>
                <a:gd name="T39" fmla="*/ 480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0" h="1680">
                  <a:moveTo>
                    <a:pt x="850" y="0"/>
                  </a:moveTo>
                  <a:cubicBezTo>
                    <a:pt x="879" y="3"/>
                    <a:pt x="905" y="16"/>
                    <a:pt x="925" y="35"/>
                  </a:cubicBezTo>
                  <a:cubicBezTo>
                    <a:pt x="925" y="35"/>
                    <a:pt x="1218" y="329"/>
                    <a:pt x="1245" y="355"/>
                  </a:cubicBezTo>
                  <a:cubicBezTo>
                    <a:pt x="1264" y="375"/>
                    <a:pt x="1277" y="401"/>
                    <a:pt x="1280" y="430"/>
                  </a:cubicBezTo>
                  <a:cubicBezTo>
                    <a:pt x="1258" y="412"/>
                    <a:pt x="1230" y="400"/>
                    <a:pt x="1200" y="400"/>
                  </a:cubicBezTo>
                  <a:cubicBezTo>
                    <a:pt x="880" y="400"/>
                    <a:pt x="880" y="400"/>
                    <a:pt x="880" y="400"/>
                  </a:cubicBezTo>
                  <a:cubicBezTo>
                    <a:pt x="880" y="80"/>
                    <a:pt x="880" y="80"/>
                    <a:pt x="880" y="80"/>
                  </a:cubicBezTo>
                  <a:cubicBezTo>
                    <a:pt x="880" y="50"/>
                    <a:pt x="868" y="22"/>
                    <a:pt x="850" y="0"/>
                  </a:cubicBezTo>
                  <a:close/>
                  <a:moveTo>
                    <a:pt x="1280" y="480"/>
                  </a:moveTo>
                  <a:cubicBezTo>
                    <a:pt x="1280" y="1680"/>
                    <a:pt x="1280" y="1680"/>
                    <a:pt x="1280" y="1680"/>
                  </a:cubicBezTo>
                  <a:cubicBezTo>
                    <a:pt x="720" y="1680"/>
                    <a:pt x="720" y="1680"/>
                    <a:pt x="720" y="1680"/>
                  </a:cubicBezTo>
                  <a:cubicBezTo>
                    <a:pt x="720" y="840"/>
                    <a:pt x="720" y="840"/>
                    <a:pt x="720" y="840"/>
                  </a:cubicBezTo>
                  <a:cubicBezTo>
                    <a:pt x="720" y="787"/>
                    <a:pt x="699" y="736"/>
                    <a:pt x="661" y="699"/>
                  </a:cubicBezTo>
                  <a:cubicBezTo>
                    <a:pt x="340" y="378"/>
                    <a:pt x="340" y="378"/>
                    <a:pt x="340" y="378"/>
                  </a:cubicBezTo>
                  <a:cubicBezTo>
                    <a:pt x="303" y="341"/>
                    <a:pt x="253" y="320"/>
                    <a:pt x="200" y="320"/>
                  </a:cubicBezTo>
                  <a:cubicBezTo>
                    <a:pt x="0" y="320"/>
                    <a:pt x="0" y="320"/>
                    <a:pt x="0" y="320"/>
                  </a:cubicBezTo>
                  <a:cubicBezTo>
                    <a:pt x="0" y="0"/>
                    <a:pt x="0" y="0"/>
                    <a:pt x="0" y="0"/>
                  </a:cubicBezTo>
                  <a:cubicBezTo>
                    <a:pt x="800" y="0"/>
                    <a:pt x="800" y="0"/>
                    <a:pt x="800" y="0"/>
                  </a:cubicBezTo>
                  <a:cubicBezTo>
                    <a:pt x="800" y="480"/>
                    <a:pt x="800" y="480"/>
                    <a:pt x="800" y="480"/>
                  </a:cubicBezTo>
                  <a:lnTo>
                    <a:pt x="1280" y="480"/>
                  </a:lnTo>
                  <a:close/>
                </a:path>
              </a:pathLst>
            </a:custGeom>
            <a:solidFill>
              <a:srgbClr val="156C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marL="0" marR="0" lvl="0" indent="0" algn="l" defTabSz="182880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smtClean="0">
                <a:ln>
                  <a:noFill/>
                </a:ln>
                <a:solidFill>
                  <a:srgbClr val="002060"/>
                </a:solidFill>
                <a:effectLst/>
                <a:uLnTx/>
                <a:uFillTx/>
                <a:latin typeface="Calibri" panose="020F0502020204030204" pitchFamily="34" charset="0"/>
                <a:ea typeface="+mn-ea"/>
                <a:cs typeface="Calibri" panose="020F0502020204030204" pitchFamily="34" charset="0"/>
                <a:sym typeface="+mn-lt"/>
              </a:endParaRPr>
            </a:p>
          </p:txBody>
        </p:sp>
        <p:sp>
          <p:nvSpPr>
            <p:cNvPr id="123" name="Freeform 5"/>
            <p:cNvSpPr>
              <a:spLocks noEditPoints="1"/>
            </p:cNvSpPr>
            <p:nvPr/>
          </p:nvSpPr>
          <p:spPr bwMode="auto">
            <a:xfrm>
              <a:off x="5385199" y="5298575"/>
              <a:ext cx="286901" cy="347423"/>
            </a:xfrm>
            <a:custGeom>
              <a:avLst/>
              <a:gdLst>
                <a:gd name="T0" fmla="*/ 850 w 1280"/>
                <a:gd name="T1" fmla="*/ 0 h 1680"/>
                <a:gd name="T2" fmla="*/ 925 w 1280"/>
                <a:gd name="T3" fmla="*/ 35 h 1680"/>
                <a:gd name="T4" fmla="*/ 1245 w 1280"/>
                <a:gd name="T5" fmla="*/ 355 h 1680"/>
                <a:gd name="T6" fmla="*/ 1280 w 1280"/>
                <a:gd name="T7" fmla="*/ 430 h 1680"/>
                <a:gd name="T8" fmla="*/ 1200 w 1280"/>
                <a:gd name="T9" fmla="*/ 400 h 1680"/>
                <a:gd name="T10" fmla="*/ 880 w 1280"/>
                <a:gd name="T11" fmla="*/ 400 h 1680"/>
                <a:gd name="T12" fmla="*/ 880 w 1280"/>
                <a:gd name="T13" fmla="*/ 80 h 1680"/>
                <a:gd name="T14" fmla="*/ 850 w 1280"/>
                <a:gd name="T15" fmla="*/ 0 h 1680"/>
                <a:gd name="T16" fmla="*/ 1280 w 1280"/>
                <a:gd name="T17" fmla="*/ 480 h 1680"/>
                <a:gd name="T18" fmla="*/ 1280 w 1280"/>
                <a:gd name="T19" fmla="*/ 1680 h 1680"/>
                <a:gd name="T20" fmla="*/ 720 w 1280"/>
                <a:gd name="T21" fmla="*/ 1680 h 1680"/>
                <a:gd name="T22" fmla="*/ 720 w 1280"/>
                <a:gd name="T23" fmla="*/ 840 h 1680"/>
                <a:gd name="T24" fmla="*/ 661 w 1280"/>
                <a:gd name="T25" fmla="*/ 699 h 1680"/>
                <a:gd name="T26" fmla="*/ 340 w 1280"/>
                <a:gd name="T27" fmla="*/ 378 h 1680"/>
                <a:gd name="T28" fmla="*/ 200 w 1280"/>
                <a:gd name="T29" fmla="*/ 320 h 1680"/>
                <a:gd name="T30" fmla="*/ 0 w 1280"/>
                <a:gd name="T31" fmla="*/ 320 h 1680"/>
                <a:gd name="T32" fmla="*/ 0 w 1280"/>
                <a:gd name="T33" fmla="*/ 0 h 1680"/>
                <a:gd name="T34" fmla="*/ 800 w 1280"/>
                <a:gd name="T35" fmla="*/ 0 h 1680"/>
                <a:gd name="T36" fmla="*/ 800 w 1280"/>
                <a:gd name="T37" fmla="*/ 480 h 1680"/>
                <a:gd name="T38" fmla="*/ 1280 w 1280"/>
                <a:gd name="T39" fmla="*/ 480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0" h="1680">
                  <a:moveTo>
                    <a:pt x="850" y="0"/>
                  </a:moveTo>
                  <a:cubicBezTo>
                    <a:pt x="879" y="3"/>
                    <a:pt x="905" y="16"/>
                    <a:pt x="925" y="35"/>
                  </a:cubicBezTo>
                  <a:cubicBezTo>
                    <a:pt x="925" y="35"/>
                    <a:pt x="1218" y="329"/>
                    <a:pt x="1245" y="355"/>
                  </a:cubicBezTo>
                  <a:cubicBezTo>
                    <a:pt x="1264" y="375"/>
                    <a:pt x="1277" y="401"/>
                    <a:pt x="1280" y="430"/>
                  </a:cubicBezTo>
                  <a:cubicBezTo>
                    <a:pt x="1258" y="412"/>
                    <a:pt x="1230" y="400"/>
                    <a:pt x="1200" y="400"/>
                  </a:cubicBezTo>
                  <a:cubicBezTo>
                    <a:pt x="880" y="400"/>
                    <a:pt x="880" y="400"/>
                    <a:pt x="880" y="400"/>
                  </a:cubicBezTo>
                  <a:cubicBezTo>
                    <a:pt x="880" y="80"/>
                    <a:pt x="880" y="80"/>
                    <a:pt x="880" y="80"/>
                  </a:cubicBezTo>
                  <a:cubicBezTo>
                    <a:pt x="880" y="50"/>
                    <a:pt x="868" y="22"/>
                    <a:pt x="850" y="0"/>
                  </a:cubicBezTo>
                  <a:close/>
                  <a:moveTo>
                    <a:pt x="1280" y="480"/>
                  </a:moveTo>
                  <a:cubicBezTo>
                    <a:pt x="1280" y="1680"/>
                    <a:pt x="1280" y="1680"/>
                    <a:pt x="1280" y="1680"/>
                  </a:cubicBezTo>
                  <a:cubicBezTo>
                    <a:pt x="720" y="1680"/>
                    <a:pt x="720" y="1680"/>
                    <a:pt x="720" y="1680"/>
                  </a:cubicBezTo>
                  <a:cubicBezTo>
                    <a:pt x="720" y="840"/>
                    <a:pt x="720" y="840"/>
                    <a:pt x="720" y="840"/>
                  </a:cubicBezTo>
                  <a:cubicBezTo>
                    <a:pt x="720" y="787"/>
                    <a:pt x="699" y="736"/>
                    <a:pt x="661" y="699"/>
                  </a:cubicBezTo>
                  <a:cubicBezTo>
                    <a:pt x="340" y="378"/>
                    <a:pt x="340" y="378"/>
                    <a:pt x="340" y="378"/>
                  </a:cubicBezTo>
                  <a:cubicBezTo>
                    <a:pt x="303" y="341"/>
                    <a:pt x="253" y="320"/>
                    <a:pt x="200" y="320"/>
                  </a:cubicBezTo>
                  <a:cubicBezTo>
                    <a:pt x="0" y="320"/>
                    <a:pt x="0" y="320"/>
                    <a:pt x="0" y="320"/>
                  </a:cubicBezTo>
                  <a:cubicBezTo>
                    <a:pt x="0" y="0"/>
                    <a:pt x="0" y="0"/>
                    <a:pt x="0" y="0"/>
                  </a:cubicBezTo>
                  <a:cubicBezTo>
                    <a:pt x="800" y="0"/>
                    <a:pt x="800" y="0"/>
                    <a:pt x="800" y="0"/>
                  </a:cubicBezTo>
                  <a:cubicBezTo>
                    <a:pt x="800" y="480"/>
                    <a:pt x="800" y="480"/>
                    <a:pt x="800" y="480"/>
                  </a:cubicBezTo>
                  <a:lnTo>
                    <a:pt x="1280" y="480"/>
                  </a:lnTo>
                  <a:close/>
                </a:path>
              </a:pathLst>
            </a:custGeom>
            <a:solidFill>
              <a:srgbClr val="96AE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marL="0" marR="0" lvl="0" indent="0" algn="l" defTabSz="182880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smtClean="0">
                <a:ln>
                  <a:noFill/>
                </a:ln>
                <a:solidFill>
                  <a:srgbClr val="002060"/>
                </a:solidFill>
                <a:effectLst/>
                <a:uLnTx/>
                <a:uFillTx/>
                <a:latin typeface="Calibri" panose="020F0502020204030204" pitchFamily="34" charset="0"/>
                <a:ea typeface="+mn-ea"/>
                <a:cs typeface="Calibri" panose="020F0502020204030204" pitchFamily="34" charset="0"/>
                <a:sym typeface="+mn-lt"/>
              </a:endParaRPr>
            </a:p>
          </p:txBody>
        </p:sp>
        <p:sp>
          <p:nvSpPr>
            <p:cNvPr id="124" name="Freeform 6"/>
            <p:cNvSpPr>
              <a:spLocks noEditPoints="1"/>
            </p:cNvSpPr>
            <p:nvPr/>
          </p:nvSpPr>
          <p:spPr bwMode="auto">
            <a:xfrm>
              <a:off x="5332427" y="5357183"/>
              <a:ext cx="286901" cy="347423"/>
            </a:xfrm>
            <a:custGeom>
              <a:avLst/>
              <a:gdLst>
                <a:gd name="T0" fmla="*/ 850 w 1280"/>
                <a:gd name="T1" fmla="*/ 0 h 1680"/>
                <a:gd name="T2" fmla="*/ 925 w 1280"/>
                <a:gd name="T3" fmla="*/ 35 h 1680"/>
                <a:gd name="T4" fmla="*/ 1245 w 1280"/>
                <a:gd name="T5" fmla="*/ 355 h 1680"/>
                <a:gd name="T6" fmla="*/ 1280 w 1280"/>
                <a:gd name="T7" fmla="*/ 430 h 1680"/>
                <a:gd name="T8" fmla="*/ 1200 w 1280"/>
                <a:gd name="T9" fmla="*/ 400 h 1680"/>
                <a:gd name="T10" fmla="*/ 880 w 1280"/>
                <a:gd name="T11" fmla="*/ 400 h 1680"/>
                <a:gd name="T12" fmla="*/ 880 w 1280"/>
                <a:gd name="T13" fmla="*/ 80 h 1680"/>
                <a:gd name="T14" fmla="*/ 850 w 1280"/>
                <a:gd name="T15" fmla="*/ 0 h 1680"/>
                <a:gd name="T16" fmla="*/ 1280 w 1280"/>
                <a:gd name="T17" fmla="*/ 480 h 1680"/>
                <a:gd name="T18" fmla="*/ 1280 w 1280"/>
                <a:gd name="T19" fmla="*/ 1680 h 1680"/>
                <a:gd name="T20" fmla="*/ 0 w 1280"/>
                <a:gd name="T21" fmla="*/ 1680 h 1680"/>
                <a:gd name="T22" fmla="*/ 0 w 1280"/>
                <a:gd name="T23" fmla="*/ 0 h 1680"/>
                <a:gd name="T24" fmla="*/ 800 w 1280"/>
                <a:gd name="T25" fmla="*/ 0 h 1680"/>
                <a:gd name="T26" fmla="*/ 800 w 1280"/>
                <a:gd name="T27" fmla="*/ 480 h 1680"/>
                <a:gd name="T28" fmla="*/ 1280 w 1280"/>
                <a:gd name="T29" fmla="*/ 480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0" h="1680">
                  <a:moveTo>
                    <a:pt x="850" y="0"/>
                  </a:moveTo>
                  <a:cubicBezTo>
                    <a:pt x="879" y="3"/>
                    <a:pt x="905" y="16"/>
                    <a:pt x="925" y="35"/>
                  </a:cubicBezTo>
                  <a:cubicBezTo>
                    <a:pt x="925" y="35"/>
                    <a:pt x="1218" y="329"/>
                    <a:pt x="1245" y="355"/>
                  </a:cubicBezTo>
                  <a:cubicBezTo>
                    <a:pt x="1264" y="375"/>
                    <a:pt x="1277" y="401"/>
                    <a:pt x="1280" y="430"/>
                  </a:cubicBezTo>
                  <a:cubicBezTo>
                    <a:pt x="1258" y="412"/>
                    <a:pt x="1230" y="400"/>
                    <a:pt x="1200" y="400"/>
                  </a:cubicBezTo>
                  <a:cubicBezTo>
                    <a:pt x="880" y="400"/>
                    <a:pt x="880" y="400"/>
                    <a:pt x="880" y="400"/>
                  </a:cubicBezTo>
                  <a:cubicBezTo>
                    <a:pt x="880" y="80"/>
                    <a:pt x="880" y="80"/>
                    <a:pt x="880" y="80"/>
                  </a:cubicBezTo>
                  <a:cubicBezTo>
                    <a:pt x="880" y="50"/>
                    <a:pt x="868" y="22"/>
                    <a:pt x="850" y="0"/>
                  </a:cubicBezTo>
                  <a:close/>
                  <a:moveTo>
                    <a:pt x="1280" y="480"/>
                  </a:moveTo>
                  <a:cubicBezTo>
                    <a:pt x="1280" y="1680"/>
                    <a:pt x="1280" y="1680"/>
                    <a:pt x="1280" y="1680"/>
                  </a:cubicBezTo>
                  <a:cubicBezTo>
                    <a:pt x="0" y="1680"/>
                    <a:pt x="0" y="1680"/>
                    <a:pt x="0" y="1680"/>
                  </a:cubicBezTo>
                  <a:cubicBezTo>
                    <a:pt x="0" y="0"/>
                    <a:pt x="0" y="0"/>
                    <a:pt x="0" y="0"/>
                  </a:cubicBezTo>
                  <a:cubicBezTo>
                    <a:pt x="800" y="0"/>
                    <a:pt x="800" y="0"/>
                    <a:pt x="800" y="0"/>
                  </a:cubicBezTo>
                  <a:cubicBezTo>
                    <a:pt x="800" y="480"/>
                    <a:pt x="800" y="480"/>
                    <a:pt x="800" y="480"/>
                  </a:cubicBezTo>
                  <a:lnTo>
                    <a:pt x="1280" y="480"/>
                  </a:lnTo>
                  <a:close/>
                </a:path>
              </a:pathLst>
            </a:custGeom>
            <a:solidFill>
              <a:srgbClr val="00AA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ctr"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err="1" smtClean="0">
                  <a:ln>
                    <a:noFill/>
                  </a:ln>
                  <a:solidFill>
                    <a:srgbClr val="002060"/>
                  </a:solidFill>
                  <a:effectLst/>
                  <a:uLnTx/>
                  <a:uFillTx/>
                  <a:latin typeface="Calibri" panose="020F0502020204030204" pitchFamily="34" charset="0"/>
                  <a:ea typeface="+mn-ea"/>
                  <a:cs typeface="Calibri" panose="020F0502020204030204" pitchFamily="34" charset="0"/>
                  <a:sym typeface="+mn-lt"/>
                </a:rPr>
                <a:t>B</a:t>
              </a:r>
              <a:r>
                <a:rPr kumimoji="0" lang="en-GB" sz="1800" b="1" i="0" u="none" strike="noStrike" kern="0" cap="none" spc="0" normalizeH="0" baseline="-25000" noProof="0" dirty="0" err="1" smtClean="0">
                  <a:ln>
                    <a:noFill/>
                  </a:ln>
                  <a:solidFill>
                    <a:srgbClr val="002060"/>
                  </a:solidFill>
                  <a:effectLst/>
                  <a:uLnTx/>
                  <a:uFillTx/>
                  <a:latin typeface="Calibri" panose="020F0502020204030204" pitchFamily="34" charset="0"/>
                  <a:ea typeface="+mn-ea"/>
                  <a:cs typeface="Calibri" panose="020F0502020204030204" pitchFamily="34" charset="0"/>
                  <a:sym typeface="+mn-lt"/>
                </a:rPr>
                <a:t>2</a:t>
              </a:r>
              <a:endParaRPr kumimoji="0" lang="en-GB" sz="1800" b="1" i="0" u="none" strike="noStrike" kern="0" cap="none" spc="0" normalizeH="0" baseline="-25000" noProof="0" dirty="0" smtClean="0">
                <a:ln>
                  <a:noFill/>
                </a:ln>
                <a:solidFill>
                  <a:srgbClr val="002060"/>
                </a:solidFill>
                <a:effectLst/>
                <a:uLnTx/>
                <a:uFillTx/>
                <a:latin typeface="Calibri" panose="020F0502020204030204" pitchFamily="34" charset="0"/>
                <a:ea typeface="+mn-ea"/>
                <a:cs typeface="Calibri" panose="020F0502020204030204" pitchFamily="34" charset="0"/>
                <a:sym typeface="+mn-lt"/>
              </a:endParaRPr>
            </a:p>
          </p:txBody>
        </p:sp>
        <p:sp>
          <p:nvSpPr>
            <p:cNvPr id="125" name="RBContent131"/>
            <p:cNvSpPr txBox="1">
              <a:spLocks/>
            </p:cNvSpPr>
            <p:nvPr/>
          </p:nvSpPr>
          <p:spPr>
            <a:xfrm>
              <a:off x="5330420" y="5856376"/>
              <a:ext cx="1501300" cy="360099"/>
            </a:xfrm>
            <a:prstGeom prst="rect">
              <a:avLst/>
            </a:prstGeom>
            <a:noFill/>
            <a:ln w="9525">
              <a:noFill/>
            </a:ln>
          </p:spPr>
          <p:txBody>
            <a:bodyPr vert="horz" wrap="square" lIns="0" tIns="0" rIns="0" bIns="0" rtlCol="0">
              <a:spAutoFit/>
            </a:bodyPr>
            <a:lstStyle/>
            <a:p>
              <a:pPr marL="0" marR="0" lvl="0" indent="0" algn="l" defTabSz="1828800" eaLnBrk="1" fontAlgn="auto" latinLnBrk="0" hangingPunct="1">
                <a:lnSpc>
                  <a:spcPct val="90000"/>
                </a:lnSpc>
                <a:spcBef>
                  <a:spcPts val="800"/>
                </a:spcBef>
                <a:spcAft>
                  <a:spcPts val="0"/>
                </a:spcAft>
                <a:buClrTx/>
                <a:buSzPct val="100000"/>
                <a:buFontTx/>
                <a:buNone/>
                <a:tabLst/>
                <a:defRPr/>
              </a:pPr>
              <a:r>
                <a:rPr kumimoji="0" lang="en-GB" sz="2600" b="0" i="0" u="none" strike="noStrike" kern="0" cap="none" spc="0" normalizeH="0" baseline="0" noProof="0" dirty="0" smtClean="0">
                  <a:ln>
                    <a:noFill/>
                  </a:ln>
                  <a:solidFill>
                    <a:srgbClr val="002060"/>
                  </a:solidFill>
                  <a:effectLst/>
                  <a:uLnTx/>
                  <a:uFillTx/>
                  <a:latin typeface="Calibri" panose="020F0502020204030204" pitchFamily="34" charset="0"/>
                  <a:ea typeface="+mn-ea"/>
                  <a:cs typeface="Calibri" panose="020F0502020204030204" pitchFamily="34" charset="0"/>
                  <a:sym typeface="+mn-lt"/>
                </a:rPr>
                <a:t>"1st project" </a:t>
              </a:r>
              <a:br>
                <a:rPr kumimoji="0" lang="en-GB" sz="2600" b="0" i="0" u="none" strike="noStrike" kern="0" cap="none" spc="0" normalizeH="0" baseline="0" noProof="0" dirty="0" smtClean="0">
                  <a:ln>
                    <a:noFill/>
                  </a:ln>
                  <a:solidFill>
                    <a:srgbClr val="002060"/>
                  </a:solidFill>
                  <a:effectLst/>
                  <a:uLnTx/>
                  <a:uFillTx/>
                  <a:latin typeface="Calibri" panose="020F0502020204030204" pitchFamily="34" charset="0"/>
                  <a:ea typeface="+mn-ea"/>
                  <a:cs typeface="Calibri" panose="020F0502020204030204" pitchFamily="34" charset="0"/>
                  <a:sym typeface="+mn-lt"/>
                </a:rPr>
              </a:br>
              <a:r>
                <a:rPr kumimoji="0" lang="en-GB" sz="2600" b="0" i="0" u="none" strike="noStrike" kern="0" cap="none" spc="0" normalizeH="0" baseline="0" noProof="0" dirty="0" smtClean="0">
                  <a:ln>
                    <a:noFill/>
                  </a:ln>
                  <a:solidFill>
                    <a:srgbClr val="002060"/>
                  </a:solidFill>
                  <a:effectLst/>
                  <a:uLnTx/>
                  <a:uFillTx/>
                  <a:latin typeface="Calibri" panose="020F0502020204030204" pitchFamily="34" charset="0"/>
                  <a:ea typeface="+mn-ea"/>
                  <a:cs typeface="Calibri" panose="020F0502020204030204" pitchFamily="34" charset="0"/>
                  <a:sym typeface="+mn-lt"/>
                </a:rPr>
                <a:t>concepts by app.</a:t>
              </a:r>
            </a:p>
          </p:txBody>
        </p:sp>
      </p:grpSp>
      <p:grpSp>
        <p:nvGrpSpPr>
          <p:cNvPr id="132" name="Group 131"/>
          <p:cNvGrpSpPr/>
          <p:nvPr/>
        </p:nvGrpSpPr>
        <p:grpSpPr>
          <a:xfrm>
            <a:off x="12206835" y="4471714"/>
            <a:ext cx="2806682" cy="3306760"/>
            <a:chOff x="4934137" y="4563095"/>
            <a:chExt cx="1403341" cy="1653380"/>
          </a:xfrm>
        </p:grpSpPr>
        <p:grpSp>
          <p:nvGrpSpPr>
            <p:cNvPr id="133" name="Group 132"/>
            <p:cNvGrpSpPr/>
            <p:nvPr/>
          </p:nvGrpSpPr>
          <p:grpSpPr>
            <a:xfrm>
              <a:off x="4934137" y="4730358"/>
              <a:ext cx="295650" cy="1425250"/>
              <a:chOff x="4990361" y="4720167"/>
              <a:chExt cx="295650" cy="1425250"/>
            </a:xfrm>
          </p:grpSpPr>
          <p:cxnSp>
            <p:nvCxnSpPr>
              <p:cNvPr id="143" name="Straight Connector 142"/>
              <p:cNvCxnSpPr/>
              <p:nvPr/>
            </p:nvCxnSpPr>
            <p:spPr>
              <a:xfrm rot="16200000">
                <a:off x="4746592" y="5785679"/>
                <a:ext cx="719476" cy="0"/>
              </a:xfrm>
              <a:prstGeom prst="line">
                <a:avLst/>
              </a:prstGeom>
              <a:noFill/>
              <a:ln w="9525" cap="flat" cmpd="sng" algn="ctr">
                <a:solidFill>
                  <a:srgbClr val="8D9399"/>
                </a:solidFill>
                <a:prstDash val="solid"/>
              </a:ln>
              <a:effectLst/>
            </p:spPr>
          </p:cxnSp>
          <p:cxnSp>
            <p:nvCxnSpPr>
              <p:cNvPr id="144" name="Straight Connector 143"/>
              <p:cNvCxnSpPr/>
              <p:nvPr/>
            </p:nvCxnSpPr>
            <p:spPr>
              <a:xfrm rot="16200000" flipV="1">
                <a:off x="5196170" y="5337103"/>
                <a:ext cx="0" cy="179681"/>
              </a:xfrm>
              <a:prstGeom prst="line">
                <a:avLst/>
              </a:prstGeom>
              <a:noFill/>
              <a:ln w="9525" cap="flat" cmpd="sng" algn="ctr">
                <a:solidFill>
                  <a:srgbClr val="8D9399"/>
                </a:solidFill>
                <a:prstDash val="solid"/>
              </a:ln>
              <a:effectLst/>
            </p:spPr>
          </p:cxnSp>
          <p:cxnSp>
            <p:nvCxnSpPr>
              <p:cNvPr id="145" name="Straight Connector 144"/>
              <p:cNvCxnSpPr/>
              <p:nvPr/>
            </p:nvCxnSpPr>
            <p:spPr>
              <a:xfrm flipH="1">
                <a:off x="5106330" y="6145417"/>
                <a:ext cx="179681" cy="0"/>
              </a:xfrm>
              <a:prstGeom prst="line">
                <a:avLst/>
              </a:prstGeom>
              <a:noFill/>
              <a:ln w="9525" cap="flat" cmpd="sng" algn="ctr">
                <a:solidFill>
                  <a:srgbClr val="8D9399"/>
                </a:solidFill>
                <a:prstDash val="solid"/>
              </a:ln>
              <a:effectLst/>
            </p:spPr>
          </p:cxnSp>
          <p:cxnSp>
            <p:nvCxnSpPr>
              <p:cNvPr id="146" name="Straight Connector 145"/>
              <p:cNvCxnSpPr/>
              <p:nvPr/>
            </p:nvCxnSpPr>
            <p:spPr>
              <a:xfrm rot="16200000">
                <a:off x="4746592" y="5079905"/>
                <a:ext cx="719476" cy="0"/>
              </a:xfrm>
              <a:prstGeom prst="line">
                <a:avLst/>
              </a:prstGeom>
              <a:noFill/>
              <a:ln w="9525" cap="flat" cmpd="sng" algn="ctr">
                <a:solidFill>
                  <a:srgbClr val="8D9399"/>
                </a:solidFill>
                <a:prstDash val="solid"/>
              </a:ln>
              <a:effectLst/>
            </p:spPr>
          </p:cxnSp>
          <p:cxnSp>
            <p:nvCxnSpPr>
              <p:cNvPr id="147" name="Straight Connector 146"/>
              <p:cNvCxnSpPr/>
              <p:nvPr/>
            </p:nvCxnSpPr>
            <p:spPr>
              <a:xfrm rot="16200000" flipV="1">
                <a:off x="5191408" y="4632708"/>
                <a:ext cx="0" cy="179681"/>
              </a:xfrm>
              <a:prstGeom prst="line">
                <a:avLst/>
              </a:prstGeom>
              <a:noFill/>
              <a:ln w="9525" cap="flat" cmpd="sng" algn="ctr">
                <a:solidFill>
                  <a:srgbClr val="8D9399"/>
                </a:solidFill>
                <a:prstDash val="solid"/>
              </a:ln>
              <a:effectLst/>
            </p:spPr>
          </p:cxnSp>
          <p:cxnSp>
            <p:nvCxnSpPr>
              <p:cNvPr id="148" name="Straight Connector 147"/>
              <p:cNvCxnSpPr/>
              <p:nvPr/>
            </p:nvCxnSpPr>
            <p:spPr>
              <a:xfrm rot="16200000" flipV="1">
                <a:off x="5080202" y="5337103"/>
                <a:ext cx="0" cy="179681"/>
              </a:xfrm>
              <a:prstGeom prst="line">
                <a:avLst/>
              </a:prstGeom>
              <a:noFill/>
              <a:ln w="9525" cap="flat" cmpd="sng" algn="ctr">
                <a:solidFill>
                  <a:srgbClr val="8D9399"/>
                </a:solidFill>
                <a:prstDash val="solid"/>
              </a:ln>
              <a:effectLst/>
            </p:spPr>
          </p:cxnSp>
        </p:grpSp>
        <p:sp>
          <p:nvSpPr>
            <p:cNvPr id="134" name="Freeform 5"/>
            <p:cNvSpPr>
              <a:spLocks noEditPoints="1"/>
            </p:cNvSpPr>
            <p:nvPr/>
          </p:nvSpPr>
          <p:spPr bwMode="auto">
            <a:xfrm>
              <a:off x="5490743" y="4563095"/>
              <a:ext cx="286901" cy="347423"/>
            </a:xfrm>
            <a:custGeom>
              <a:avLst/>
              <a:gdLst>
                <a:gd name="T0" fmla="*/ 850 w 1280"/>
                <a:gd name="T1" fmla="*/ 0 h 1680"/>
                <a:gd name="T2" fmla="*/ 925 w 1280"/>
                <a:gd name="T3" fmla="*/ 35 h 1680"/>
                <a:gd name="T4" fmla="*/ 1245 w 1280"/>
                <a:gd name="T5" fmla="*/ 355 h 1680"/>
                <a:gd name="T6" fmla="*/ 1280 w 1280"/>
                <a:gd name="T7" fmla="*/ 430 h 1680"/>
                <a:gd name="T8" fmla="*/ 1200 w 1280"/>
                <a:gd name="T9" fmla="*/ 400 h 1680"/>
                <a:gd name="T10" fmla="*/ 880 w 1280"/>
                <a:gd name="T11" fmla="*/ 400 h 1680"/>
                <a:gd name="T12" fmla="*/ 880 w 1280"/>
                <a:gd name="T13" fmla="*/ 80 h 1680"/>
                <a:gd name="T14" fmla="*/ 850 w 1280"/>
                <a:gd name="T15" fmla="*/ 0 h 1680"/>
                <a:gd name="T16" fmla="*/ 1280 w 1280"/>
                <a:gd name="T17" fmla="*/ 480 h 1680"/>
                <a:gd name="T18" fmla="*/ 1280 w 1280"/>
                <a:gd name="T19" fmla="*/ 1680 h 1680"/>
                <a:gd name="T20" fmla="*/ 720 w 1280"/>
                <a:gd name="T21" fmla="*/ 1680 h 1680"/>
                <a:gd name="T22" fmla="*/ 720 w 1280"/>
                <a:gd name="T23" fmla="*/ 840 h 1680"/>
                <a:gd name="T24" fmla="*/ 661 w 1280"/>
                <a:gd name="T25" fmla="*/ 699 h 1680"/>
                <a:gd name="T26" fmla="*/ 340 w 1280"/>
                <a:gd name="T27" fmla="*/ 378 h 1680"/>
                <a:gd name="T28" fmla="*/ 200 w 1280"/>
                <a:gd name="T29" fmla="*/ 320 h 1680"/>
                <a:gd name="T30" fmla="*/ 0 w 1280"/>
                <a:gd name="T31" fmla="*/ 320 h 1680"/>
                <a:gd name="T32" fmla="*/ 0 w 1280"/>
                <a:gd name="T33" fmla="*/ 0 h 1680"/>
                <a:gd name="T34" fmla="*/ 800 w 1280"/>
                <a:gd name="T35" fmla="*/ 0 h 1680"/>
                <a:gd name="T36" fmla="*/ 800 w 1280"/>
                <a:gd name="T37" fmla="*/ 480 h 1680"/>
                <a:gd name="T38" fmla="*/ 1280 w 1280"/>
                <a:gd name="T39" fmla="*/ 480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0" h="1680">
                  <a:moveTo>
                    <a:pt x="850" y="0"/>
                  </a:moveTo>
                  <a:cubicBezTo>
                    <a:pt x="879" y="3"/>
                    <a:pt x="905" y="16"/>
                    <a:pt x="925" y="35"/>
                  </a:cubicBezTo>
                  <a:cubicBezTo>
                    <a:pt x="925" y="35"/>
                    <a:pt x="1218" y="329"/>
                    <a:pt x="1245" y="355"/>
                  </a:cubicBezTo>
                  <a:cubicBezTo>
                    <a:pt x="1264" y="375"/>
                    <a:pt x="1277" y="401"/>
                    <a:pt x="1280" y="430"/>
                  </a:cubicBezTo>
                  <a:cubicBezTo>
                    <a:pt x="1258" y="412"/>
                    <a:pt x="1230" y="400"/>
                    <a:pt x="1200" y="400"/>
                  </a:cubicBezTo>
                  <a:cubicBezTo>
                    <a:pt x="880" y="400"/>
                    <a:pt x="880" y="400"/>
                    <a:pt x="880" y="400"/>
                  </a:cubicBezTo>
                  <a:cubicBezTo>
                    <a:pt x="880" y="80"/>
                    <a:pt x="880" y="80"/>
                    <a:pt x="880" y="80"/>
                  </a:cubicBezTo>
                  <a:cubicBezTo>
                    <a:pt x="880" y="50"/>
                    <a:pt x="868" y="22"/>
                    <a:pt x="850" y="0"/>
                  </a:cubicBezTo>
                  <a:close/>
                  <a:moveTo>
                    <a:pt x="1280" y="480"/>
                  </a:moveTo>
                  <a:cubicBezTo>
                    <a:pt x="1280" y="1680"/>
                    <a:pt x="1280" y="1680"/>
                    <a:pt x="1280" y="1680"/>
                  </a:cubicBezTo>
                  <a:cubicBezTo>
                    <a:pt x="720" y="1680"/>
                    <a:pt x="720" y="1680"/>
                    <a:pt x="720" y="1680"/>
                  </a:cubicBezTo>
                  <a:cubicBezTo>
                    <a:pt x="720" y="840"/>
                    <a:pt x="720" y="840"/>
                    <a:pt x="720" y="840"/>
                  </a:cubicBezTo>
                  <a:cubicBezTo>
                    <a:pt x="720" y="787"/>
                    <a:pt x="699" y="736"/>
                    <a:pt x="661" y="699"/>
                  </a:cubicBezTo>
                  <a:cubicBezTo>
                    <a:pt x="340" y="378"/>
                    <a:pt x="340" y="378"/>
                    <a:pt x="340" y="378"/>
                  </a:cubicBezTo>
                  <a:cubicBezTo>
                    <a:pt x="303" y="341"/>
                    <a:pt x="253" y="320"/>
                    <a:pt x="200" y="320"/>
                  </a:cubicBezTo>
                  <a:cubicBezTo>
                    <a:pt x="0" y="320"/>
                    <a:pt x="0" y="320"/>
                    <a:pt x="0" y="320"/>
                  </a:cubicBezTo>
                  <a:cubicBezTo>
                    <a:pt x="0" y="0"/>
                    <a:pt x="0" y="0"/>
                    <a:pt x="0" y="0"/>
                  </a:cubicBezTo>
                  <a:cubicBezTo>
                    <a:pt x="800" y="0"/>
                    <a:pt x="800" y="0"/>
                    <a:pt x="800" y="0"/>
                  </a:cubicBezTo>
                  <a:cubicBezTo>
                    <a:pt x="800" y="480"/>
                    <a:pt x="800" y="480"/>
                    <a:pt x="800" y="480"/>
                  </a:cubicBezTo>
                  <a:lnTo>
                    <a:pt x="1280" y="480"/>
                  </a:lnTo>
                  <a:close/>
                </a:path>
              </a:pathLst>
            </a:custGeom>
            <a:solidFill>
              <a:srgbClr val="8D93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marL="0" marR="0" lvl="0" indent="0" algn="l" defTabSz="182880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smtClean="0">
                <a:ln>
                  <a:noFill/>
                </a:ln>
                <a:solidFill>
                  <a:srgbClr val="002060"/>
                </a:solidFill>
                <a:effectLst/>
                <a:uLnTx/>
                <a:uFillTx/>
                <a:latin typeface="Calibri" panose="020F0502020204030204" pitchFamily="34" charset="0"/>
                <a:ea typeface="+mn-ea"/>
                <a:cs typeface="Calibri" panose="020F0502020204030204" pitchFamily="34" charset="0"/>
                <a:sym typeface="+mn-lt"/>
              </a:endParaRPr>
            </a:p>
          </p:txBody>
        </p:sp>
        <p:sp>
          <p:nvSpPr>
            <p:cNvPr id="135" name="Freeform 5"/>
            <p:cNvSpPr>
              <a:spLocks noEditPoints="1"/>
            </p:cNvSpPr>
            <p:nvPr/>
          </p:nvSpPr>
          <p:spPr bwMode="auto">
            <a:xfrm>
              <a:off x="5437971" y="4621702"/>
              <a:ext cx="286901" cy="347423"/>
            </a:xfrm>
            <a:custGeom>
              <a:avLst/>
              <a:gdLst>
                <a:gd name="T0" fmla="*/ 850 w 1280"/>
                <a:gd name="T1" fmla="*/ 0 h 1680"/>
                <a:gd name="T2" fmla="*/ 925 w 1280"/>
                <a:gd name="T3" fmla="*/ 35 h 1680"/>
                <a:gd name="T4" fmla="*/ 1245 w 1280"/>
                <a:gd name="T5" fmla="*/ 355 h 1680"/>
                <a:gd name="T6" fmla="*/ 1280 w 1280"/>
                <a:gd name="T7" fmla="*/ 430 h 1680"/>
                <a:gd name="T8" fmla="*/ 1200 w 1280"/>
                <a:gd name="T9" fmla="*/ 400 h 1680"/>
                <a:gd name="T10" fmla="*/ 880 w 1280"/>
                <a:gd name="T11" fmla="*/ 400 h 1680"/>
                <a:gd name="T12" fmla="*/ 880 w 1280"/>
                <a:gd name="T13" fmla="*/ 80 h 1680"/>
                <a:gd name="T14" fmla="*/ 850 w 1280"/>
                <a:gd name="T15" fmla="*/ 0 h 1680"/>
                <a:gd name="T16" fmla="*/ 1280 w 1280"/>
                <a:gd name="T17" fmla="*/ 480 h 1680"/>
                <a:gd name="T18" fmla="*/ 1280 w 1280"/>
                <a:gd name="T19" fmla="*/ 1680 h 1680"/>
                <a:gd name="T20" fmla="*/ 720 w 1280"/>
                <a:gd name="T21" fmla="*/ 1680 h 1680"/>
                <a:gd name="T22" fmla="*/ 720 w 1280"/>
                <a:gd name="T23" fmla="*/ 840 h 1680"/>
                <a:gd name="T24" fmla="*/ 661 w 1280"/>
                <a:gd name="T25" fmla="*/ 699 h 1680"/>
                <a:gd name="T26" fmla="*/ 340 w 1280"/>
                <a:gd name="T27" fmla="*/ 378 h 1680"/>
                <a:gd name="T28" fmla="*/ 200 w 1280"/>
                <a:gd name="T29" fmla="*/ 320 h 1680"/>
                <a:gd name="T30" fmla="*/ 0 w 1280"/>
                <a:gd name="T31" fmla="*/ 320 h 1680"/>
                <a:gd name="T32" fmla="*/ 0 w 1280"/>
                <a:gd name="T33" fmla="*/ 0 h 1680"/>
                <a:gd name="T34" fmla="*/ 800 w 1280"/>
                <a:gd name="T35" fmla="*/ 0 h 1680"/>
                <a:gd name="T36" fmla="*/ 800 w 1280"/>
                <a:gd name="T37" fmla="*/ 480 h 1680"/>
                <a:gd name="T38" fmla="*/ 1280 w 1280"/>
                <a:gd name="T39" fmla="*/ 480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0" h="1680">
                  <a:moveTo>
                    <a:pt x="850" y="0"/>
                  </a:moveTo>
                  <a:cubicBezTo>
                    <a:pt x="879" y="3"/>
                    <a:pt x="905" y="16"/>
                    <a:pt x="925" y="35"/>
                  </a:cubicBezTo>
                  <a:cubicBezTo>
                    <a:pt x="925" y="35"/>
                    <a:pt x="1218" y="329"/>
                    <a:pt x="1245" y="355"/>
                  </a:cubicBezTo>
                  <a:cubicBezTo>
                    <a:pt x="1264" y="375"/>
                    <a:pt x="1277" y="401"/>
                    <a:pt x="1280" y="430"/>
                  </a:cubicBezTo>
                  <a:cubicBezTo>
                    <a:pt x="1258" y="412"/>
                    <a:pt x="1230" y="400"/>
                    <a:pt x="1200" y="400"/>
                  </a:cubicBezTo>
                  <a:cubicBezTo>
                    <a:pt x="880" y="400"/>
                    <a:pt x="880" y="400"/>
                    <a:pt x="880" y="400"/>
                  </a:cubicBezTo>
                  <a:cubicBezTo>
                    <a:pt x="880" y="80"/>
                    <a:pt x="880" y="80"/>
                    <a:pt x="880" y="80"/>
                  </a:cubicBezTo>
                  <a:cubicBezTo>
                    <a:pt x="880" y="50"/>
                    <a:pt x="868" y="22"/>
                    <a:pt x="850" y="0"/>
                  </a:cubicBezTo>
                  <a:close/>
                  <a:moveTo>
                    <a:pt x="1280" y="480"/>
                  </a:moveTo>
                  <a:cubicBezTo>
                    <a:pt x="1280" y="1680"/>
                    <a:pt x="1280" y="1680"/>
                    <a:pt x="1280" y="1680"/>
                  </a:cubicBezTo>
                  <a:cubicBezTo>
                    <a:pt x="720" y="1680"/>
                    <a:pt x="720" y="1680"/>
                    <a:pt x="720" y="1680"/>
                  </a:cubicBezTo>
                  <a:cubicBezTo>
                    <a:pt x="720" y="840"/>
                    <a:pt x="720" y="840"/>
                    <a:pt x="720" y="840"/>
                  </a:cubicBezTo>
                  <a:cubicBezTo>
                    <a:pt x="720" y="787"/>
                    <a:pt x="699" y="736"/>
                    <a:pt x="661" y="699"/>
                  </a:cubicBezTo>
                  <a:cubicBezTo>
                    <a:pt x="340" y="378"/>
                    <a:pt x="340" y="378"/>
                    <a:pt x="340" y="378"/>
                  </a:cubicBezTo>
                  <a:cubicBezTo>
                    <a:pt x="303" y="341"/>
                    <a:pt x="253" y="320"/>
                    <a:pt x="200" y="320"/>
                  </a:cubicBezTo>
                  <a:cubicBezTo>
                    <a:pt x="0" y="320"/>
                    <a:pt x="0" y="320"/>
                    <a:pt x="0" y="320"/>
                  </a:cubicBezTo>
                  <a:cubicBezTo>
                    <a:pt x="0" y="0"/>
                    <a:pt x="0" y="0"/>
                    <a:pt x="0" y="0"/>
                  </a:cubicBezTo>
                  <a:cubicBezTo>
                    <a:pt x="800" y="0"/>
                    <a:pt x="800" y="0"/>
                    <a:pt x="800" y="0"/>
                  </a:cubicBezTo>
                  <a:cubicBezTo>
                    <a:pt x="800" y="480"/>
                    <a:pt x="800" y="480"/>
                    <a:pt x="800" y="480"/>
                  </a:cubicBezTo>
                  <a:lnTo>
                    <a:pt x="1280" y="480"/>
                  </a:lnTo>
                  <a:close/>
                </a:path>
              </a:pathLst>
            </a:custGeom>
            <a:solidFill>
              <a:srgbClr val="156C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marL="0" marR="0" lvl="0" indent="0" algn="l" defTabSz="182880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smtClean="0">
                <a:ln>
                  <a:noFill/>
                </a:ln>
                <a:solidFill>
                  <a:srgbClr val="002060"/>
                </a:solidFill>
                <a:effectLst/>
                <a:uLnTx/>
                <a:uFillTx/>
                <a:latin typeface="Calibri" panose="020F0502020204030204" pitchFamily="34" charset="0"/>
                <a:ea typeface="+mn-ea"/>
                <a:cs typeface="Calibri" panose="020F0502020204030204" pitchFamily="34" charset="0"/>
                <a:sym typeface="+mn-lt"/>
              </a:endParaRPr>
            </a:p>
          </p:txBody>
        </p:sp>
        <p:sp>
          <p:nvSpPr>
            <p:cNvPr id="136" name="Freeform 5"/>
            <p:cNvSpPr>
              <a:spLocks noEditPoints="1"/>
            </p:cNvSpPr>
            <p:nvPr/>
          </p:nvSpPr>
          <p:spPr bwMode="auto">
            <a:xfrm>
              <a:off x="5385199" y="4680309"/>
              <a:ext cx="286901" cy="347423"/>
            </a:xfrm>
            <a:custGeom>
              <a:avLst/>
              <a:gdLst>
                <a:gd name="T0" fmla="*/ 850 w 1280"/>
                <a:gd name="T1" fmla="*/ 0 h 1680"/>
                <a:gd name="T2" fmla="*/ 925 w 1280"/>
                <a:gd name="T3" fmla="*/ 35 h 1680"/>
                <a:gd name="T4" fmla="*/ 1245 w 1280"/>
                <a:gd name="T5" fmla="*/ 355 h 1680"/>
                <a:gd name="T6" fmla="*/ 1280 w 1280"/>
                <a:gd name="T7" fmla="*/ 430 h 1680"/>
                <a:gd name="T8" fmla="*/ 1200 w 1280"/>
                <a:gd name="T9" fmla="*/ 400 h 1680"/>
                <a:gd name="T10" fmla="*/ 880 w 1280"/>
                <a:gd name="T11" fmla="*/ 400 h 1680"/>
                <a:gd name="T12" fmla="*/ 880 w 1280"/>
                <a:gd name="T13" fmla="*/ 80 h 1680"/>
                <a:gd name="T14" fmla="*/ 850 w 1280"/>
                <a:gd name="T15" fmla="*/ 0 h 1680"/>
                <a:gd name="T16" fmla="*/ 1280 w 1280"/>
                <a:gd name="T17" fmla="*/ 480 h 1680"/>
                <a:gd name="T18" fmla="*/ 1280 w 1280"/>
                <a:gd name="T19" fmla="*/ 1680 h 1680"/>
                <a:gd name="T20" fmla="*/ 720 w 1280"/>
                <a:gd name="T21" fmla="*/ 1680 h 1680"/>
                <a:gd name="T22" fmla="*/ 720 w 1280"/>
                <a:gd name="T23" fmla="*/ 840 h 1680"/>
                <a:gd name="T24" fmla="*/ 661 w 1280"/>
                <a:gd name="T25" fmla="*/ 699 h 1680"/>
                <a:gd name="T26" fmla="*/ 340 w 1280"/>
                <a:gd name="T27" fmla="*/ 378 h 1680"/>
                <a:gd name="T28" fmla="*/ 200 w 1280"/>
                <a:gd name="T29" fmla="*/ 320 h 1680"/>
                <a:gd name="T30" fmla="*/ 0 w 1280"/>
                <a:gd name="T31" fmla="*/ 320 h 1680"/>
                <a:gd name="T32" fmla="*/ 0 w 1280"/>
                <a:gd name="T33" fmla="*/ 0 h 1680"/>
                <a:gd name="T34" fmla="*/ 800 w 1280"/>
                <a:gd name="T35" fmla="*/ 0 h 1680"/>
                <a:gd name="T36" fmla="*/ 800 w 1280"/>
                <a:gd name="T37" fmla="*/ 480 h 1680"/>
                <a:gd name="T38" fmla="*/ 1280 w 1280"/>
                <a:gd name="T39" fmla="*/ 480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0" h="1680">
                  <a:moveTo>
                    <a:pt x="850" y="0"/>
                  </a:moveTo>
                  <a:cubicBezTo>
                    <a:pt x="879" y="3"/>
                    <a:pt x="905" y="16"/>
                    <a:pt x="925" y="35"/>
                  </a:cubicBezTo>
                  <a:cubicBezTo>
                    <a:pt x="925" y="35"/>
                    <a:pt x="1218" y="329"/>
                    <a:pt x="1245" y="355"/>
                  </a:cubicBezTo>
                  <a:cubicBezTo>
                    <a:pt x="1264" y="375"/>
                    <a:pt x="1277" y="401"/>
                    <a:pt x="1280" y="430"/>
                  </a:cubicBezTo>
                  <a:cubicBezTo>
                    <a:pt x="1258" y="412"/>
                    <a:pt x="1230" y="400"/>
                    <a:pt x="1200" y="400"/>
                  </a:cubicBezTo>
                  <a:cubicBezTo>
                    <a:pt x="880" y="400"/>
                    <a:pt x="880" y="400"/>
                    <a:pt x="880" y="400"/>
                  </a:cubicBezTo>
                  <a:cubicBezTo>
                    <a:pt x="880" y="80"/>
                    <a:pt x="880" y="80"/>
                    <a:pt x="880" y="80"/>
                  </a:cubicBezTo>
                  <a:cubicBezTo>
                    <a:pt x="880" y="50"/>
                    <a:pt x="868" y="22"/>
                    <a:pt x="850" y="0"/>
                  </a:cubicBezTo>
                  <a:close/>
                  <a:moveTo>
                    <a:pt x="1280" y="480"/>
                  </a:moveTo>
                  <a:cubicBezTo>
                    <a:pt x="1280" y="1680"/>
                    <a:pt x="1280" y="1680"/>
                    <a:pt x="1280" y="1680"/>
                  </a:cubicBezTo>
                  <a:cubicBezTo>
                    <a:pt x="720" y="1680"/>
                    <a:pt x="720" y="1680"/>
                    <a:pt x="720" y="1680"/>
                  </a:cubicBezTo>
                  <a:cubicBezTo>
                    <a:pt x="720" y="840"/>
                    <a:pt x="720" y="840"/>
                    <a:pt x="720" y="840"/>
                  </a:cubicBezTo>
                  <a:cubicBezTo>
                    <a:pt x="720" y="787"/>
                    <a:pt x="699" y="736"/>
                    <a:pt x="661" y="699"/>
                  </a:cubicBezTo>
                  <a:cubicBezTo>
                    <a:pt x="340" y="378"/>
                    <a:pt x="340" y="378"/>
                    <a:pt x="340" y="378"/>
                  </a:cubicBezTo>
                  <a:cubicBezTo>
                    <a:pt x="303" y="341"/>
                    <a:pt x="253" y="320"/>
                    <a:pt x="200" y="320"/>
                  </a:cubicBezTo>
                  <a:cubicBezTo>
                    <a:pt x="0" y="320"/>
                    <a:pt x="0" y="320"/>
                    <a:pt x="0" y="320"/>
                  </a:cubicBezTo>
                  <a:cubicBezTo>
                    <a:pt x="0" y="0"/>
                    <a:pt x="0" y="0"/>
                    <a:pt x="0" y="0"/>
                  </a:cubicBezTo>
                  <a:cubicBezTo>
                    <a:pt x="800" y="0"/>
                    <a:pt x="800" y="0"/>
                    <a:pt x="800" y="0"/>
                  </a:cubicBezTo>
                  <a:cubicBezTo>
                    <a:pt x="800" y="480"/>
                    <a:pt x="800" y="480"/>
                    <a:pt x="800" y="480"/>
                  </a:cubicBezTo>
                  <a:lnTo>
                    <a:pt x="1280" y="480"/>
                  </a:lnTo>
                  <a:close/>
                </a:path>
              </a:pathLst>
            </a:custGeom>
            <a:solidFill>
              <a:srgbClr val="96AE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marL="0" marR="0" lvl="0" indent="0" algn="l" defTabSz="182880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smtClean="0">
                <a:ln>
                  <a:noFill/>
                </a:ln>
                <a:solidFill>
                  <a:srgbClr val="002060"/>
                </a:solidFill>
                <a:effectLst/>
                <a:uLnTx/>
                <a:uFillTx/>
                <a:latin typeface="Calibri" panose="020F0502020204030204" pitchFamily="34" charset="0"/>
                <a:ea typeface="+mn-ea"/>
                <a:cs typeface="Calibri" panose="020F0502020204030204" pitchFamily="34" charset="0"/>
                <a:sym typeface="+mn-lt"/>
              </a:endParaRPr>
            </a:p>
          </p:txBody>
        </p:sp>
        <p:sp>
          <p:nvSpPr>
            <p:cNvPr id="137" name="Freeform 6"/>
            <p:cNvSpPr>
              <a:spLocks noEditPoints="1"/>
            </p:cNvSpPr>
            <p:nvPr/>
          </p:nvSpPr>
          <p:spPr bwMode="auto">
            <a:xfrm>
              <a:off x="5332427" y="4738917"/>
              <a:ext cx="286901" cy="347423"/>
            </a:xfrm>
            <a:custGeom>
              <a:avLst/>
              <a:gdLst>
                <a:gd name="T0" fmla="*/ 850 w 1280"/>
                <a:gd name="T1" fmla="*/ 0 h 1680"/>
                <a:gd name="T2" fmla="*/ 925 w 1280"/>
                <a:gd name="T3" fmla="*/ 35 h 1680"/>
                <a:gd name="T4" fmla="*/ 1245 w 1280"/>
                <a:gd name="T5" fmla="*/ 355 h 1680"/>
                <a:gd name="T6" fmla="*/ 1280 w 1280"/>
                <a:gd name="T7" fmla="*/ 430 h 1680"/>
                <a:gd name="T8" fmla="*/ 1200 w 1280"/>
                <a:gd name="T9" fmla="*/ 400 h 1680"/>
                <a:gd name="T10" fmla="*/ 880 w 1280"/>
                <a:gd name="T11" fmla="*/ 400 h 1680"/>
                <a:gd name="T12" fmla="*/ 880 w 1280"/>
                <a:gd name="T13" fmla="*/ 80 h 1680"/>
                <a:gd name="T14" fmla="*/ 850 w 1280"/>
                <a:gd name="T15" fmla="*/ 0 h 1680"/>
                <a:gd name="T16" fmla="*/ 1280 w 1280"/>
                <a:gd name="T17" fmla="*/ 480 h 1680"/>
                <a:gd name="T18" fmla="*/ 1280 w 1280"/>
                <a:gd name="T19" fmla="*/ 1680 h 1680"/>
                <a:gd name="T20" fmla="*/ 0 w 1280"/>
                <a:gd name="T21" fmla="*/ 1680 h 1680"/>
                <a:gd name="T22" fmla="*/ 0 w 1280"/>
                <a:gd name="T23" fmla="*/ 0 h 1680"/>
                <a:gd name="T24" fmla="*/ 800 w 1280"/>
                <a:gd name="T25" fmla="*/ 0 h 1680"/>
                <a:gd name="T26" fmla="*/ 800 w 1280"/>
                <a:gd name="T27" fmla="*/ 480 h 1680"/>
                <a:gd name="T28" fmla="*/ 1280 w 1280"/>
                <a:gd name="T29" fmla="*/ 480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0" h="1680">
                  <a:moveTo>
                    <a:pt x="850" y="0"/>
                  </a:moveTo>
                  <a:cubicBezTo>
                    <a:pt x="879" y="3"/>
                    <a:pt x="905" y="16"/>
                    <a:pt x="925" y="35"/>
                  </a:cubicBezTo>
                  <a:cubicBezTo>
                    <a:pt x="925" y="35"/>
                    <a:pt x="1218" y="329"/>
                    <a:pt x="1245" y="355"/>
                  </a:cubicBezTo>
                  <a:cubicBezTo>
                    <a:pt x="1264" y="375"/>
                    <a:pt x="1277" y="401"/>
                    <a:pt x="1280" y="430"/>
                  </a:cubicBezTo>
                  <a:cubicBezTo>
                    <a:pt x="1258" y="412"/>
                    <a:pt x="1230" y="400"/>
                    <a:pt x="1200" y="400"/>
                  </a:cubicBezTo>
                  <a:cubicBezTo>
                    <a:pt x="880" y="400"/>
                    <a:pt x="880" y="400"/>
                    <a:pt x="880" y="400"/>
                  </a:cubicBezTo>
                  <a:cubicBezTo>
                    <a:pt x="880" y="80"/>
                    <a:pt x="880" y="80"/>
                    <a:pt x="880" y="80"/>
                  </a:cubicBezTo>
                  <a:cubicBezTo>
                    <a:pt x="880" y="50"/>
                    <a:pt x="868" y="22"/>
                    <a:pt x="850" y="0"/>
                  </a:cubicBezTo>
                  <a:close/>
                  <a:moveTo>
                    <a:pt x="1280" y="480"/>
                  </a:moveTo>
                  <a:cubicBezTo>
                    <a:pt x="1280" y="1680"/>
                    <a:pt x="1280" y="1680"/>
                    <a:pt x="1280" y="1680"/>
                  </a:cubicBezTo>
                  <a:cubicBezTo>
                    <a:pt x="0" y="1680"/>
                    <a:pt x="0" y="1680"/>
                    <a:pt x="0" y="1680"/>
                  </a:cubicBezTo>
                  <a:cubicBezTo>
                    <a:pt x="0" y="0"/>
                    <a:pt x="0" y="0"/>
                    <a:pt x="0" y="0"/>
                  </a:cubicBezTo>
                  <a:cubicBezTo>
                    <a:pt x="800" y="0"/>
                    <a:pt x="800" y="0"/>
                    <a:pt x="800" y="0"/>
                  </a:cubicBezTo>
                  <a:cubicBezTo>
                    <a:pt x="800" y="480"/>
                    <a:pt x="800" y="480"/>
                    <a:pt x="800" y="480"/>
                  </a:cubicBezTo>
                  <a:lnTo>
                    <a:pt x="1280" y="480"/>
                  </a:lnTo>
                  <a:close/>
                </a:path>
              </a:pathLst>
            </a:custGeom>
            <a:solidFill>
              <a:srgbClr val="00AA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ctr"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smtClean="0">
                  <a:ln>
                    <a:noFill/>
                  </a:ln>
                  <a:solidFill>
                    <a:srgbClr val="002060"/>
                  </a:solidFill>
                  <a:effectLst/>
                  <a:uLnTx/>
                  <a:uFillTx/>
                  <a:latin typeface="Calibri" panose="020F0502020204030204" pitchFamily="34" charset="0"/>
                  <a:ea typeface="+mn-ea"/>
                  <a:cs typeface="Calibri" panose="020F0502020204030204" pitchFamily="34" charset="0"/>
                  <a:sym typeface="+mn-lt"/>
                </a:rPr>
                <a:t>A</a:t>
              </a:r>
              <a:r>
                <a:rPr kumimoji="0" lang="en-GB" sz="1800" b="1" i="0" u="none" strike="noStrike" kern="0" cap="none" spc="0" normalizeH="0" baseline="-25000" noProof="0" dirty="0" smtClean="0">
                  <a:ln>
                    <a:noFill/>
                  </a:ln>
                  <a:solidFill>
                    <a:srgbClr val="002060"/>
                  </a:solidFill>
                  <a:effectLst/>
                  <a:uLnTx/>
                  <a:uFillTx/>
                  <a:latin typeface="Calibri" panose="020F0502020204030204" pitchFamily="34" charset="0"/>
                  <a:ea typeface="+mn-ea"/>
                  <a:cs typeface="Calibri" panose="020F0502020204030204" pitchFamily="34" charset="0"/>
                  <a:sym typeface="+mn-lt"/>
                </a:rPr>
                <a:t>1</a:t>
              </a:r>
            </a:p>
          </p:txBody>
        </p:sp>
        <p:sp>
          <p:nvSpPr>
            <p:cNvPr id="138" name="Freeform 5"/>
            <p:cNvSpPr>
              <a:spLocks noEditPoints="1"/>
            </p:cNvSpPr>
            <p:nvPr/>
          </p:nvSpPr>
          <p:spPr bwMode="auto">
            <a:xfrm>
              <a:off x="5490743" y="5181361"/>
              <a:ext cx="286901" cy="347423"/>
            </a:xfrm>
            <a:custGeom>
              <a:avLst/>
              <a:gdLst>
                <a:gd name="T0" fmla="*/ 850 w 1280"/>
                <a:gd name="T1" fmla="*/ 0 h 1680"/>
                <a:gd name="T2" fmla="*/ 925 w 1280"/>
                <a:gd name="T3" fmla="*/ 35 h 1680"/>
                <a:gd name="T4" fmla="*/ 1245 w 1280"/>
                <a:gd name="T5" fmla="*/ 355 h 1680"/>
                <a:gd name="T6" fmla="*/ 1280 w 1280"/>
                <a:gd name="T7" fmla="*/ 430 h 1680"/>
                <a:gd name="T8" fmla="*/ 1200 w 1280"/>
                <a:gd name="T9" fmla="*/ 400 h 1680"/>
                <a:gd name="T10" fmla="*/ 880 w 1280"/>
                <a:gd name="T11" fmla="*/ 400 h 1680"/>
                <a:gd name="T12" fmla="*/ 880 w 1280"/>
                <a:gd name="T13" fmla="*/ 80 h 1680"/>
                <a:gd name="T14" fmla="*/ 850 w 1280"/>
                <a:gd name="T15" fmla="*/ 0 h 1680"/>
                <a:gd name="T16" fmla="*/ 1280 w 1280"/>
                <a:gd name="T17" fmla="*/ 480 h 1680"/>
                <a:gd name="T18" fmla="*/ 1280 w 1280"/>
                <a:gd name="T19" fmla="*/ 1680 h 1680"/>
                <a:gd name="T20" fmla="*/ 720 w 1280"/>
                <a:gd name="T21" fmla="*/ 1680 h 1680"/>
                <a:gd name="T22" fmla="*/ 720 w 1280"/>
                <a:gd name="T23" fmla="*/ 840 h 1680"/>
                <a:gd name="T24" fmla="*/ 661 w 1280"/>
                <a:gd name="T25" fmla="*/ 699 h 1680"/>
                <a:gd name="T26" fmla="*/ 340 w 1280"/>
                <a:gd name="T27" fmla="*/ 378 h 1680"/>
                <a:gd name="T28" fmla="*/ 200 w 1280"/>
                <a:gd name="T29" fmla="*/ 320 h 1680"/>
                <a:gd name="T30" fmla="*/ 0 w 1280"/>
                <a:gd name="T31" fmla="*/ 320 h 1680"/>
                <a:gd name="T32" fmla="*/ 0 w 1280"/>
                <a:gd name="T33" fmla="*/ 0 h 1680"/>
                <a:gd name="T34" fmla="*/ 800 w 1280"/>
                <a:gd name="T35" fmla="*/ 0 h 1680"/>
                <a:gd name="T36" fmla="*/ 800 w 1280"/>
                <a:gd name="T37" fmla="*/ 480 h 1680"/>
                <a:gd name="T38" fmla="*/ 1280 w 1280"/>
                <a:gd name="T39" fmla="*/ 480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0" h="1680">
                  <a:moveTo>
                    <a:pt x="850" y="0"/>
                  </a:moveTo>
                  <a:cubicBezTo>
                    <a:pt x="879" y="3"/>
                    <a:pt x="905" y="16"/>
                    <a:pt x="925" y="35"/>
                  </a:cubicBezTo>
                  <a:cubicBezTo>
                    <a:pt x="925" y="35"/>
                    <a:pt x="1218" y="329"/>
                    <a:pt x="1245" y="355"/>
                  </a:cubicBezTo>
                  <a:cubicBezTo>
                    <a:pt x="1264" y="375"/>
                    <a:pt x="1277" y="401"/>
                    <a:pt x="1280" y="430"/>
                  </a:cubicBezTo>
                  <a:cubicBezTo>
                    <a:pt x="1258" y="412"/>
                    <a:pt x="1230" y="400"/>
                    <a:pt x="1200" y="400"/>
                  </a:cubicBezTo>
                  <a:cubicBezTo>
                    <a:pt x="880" y="400"/>
                    <a:pt x="880" y="400"/>
                    <a:pt x="880" y="400"/>
                  </a:cubicBezTo>
                  <a:cubicBezTo>
                    <a:pt x="880" y="80"/>
                    <a:pt x="880" y="80"/>
                    <a:pt x="880" y="80"/>
                  </a:cubicBezTo>
                  <a:cubicBezTo>
                    <a:pt x="880" y="50"/>
                    <a:pt x="868" y="22"/>
                    <a:pt x="850" y="0"/>
                  </a:cubicBezTo>
                  <a:close/>
                  <a:moveTo>
                    <a:pt x="1280" y="480"/>
                  </a:moveTo>
                  <a:cubicBezTo>
                    <a:pt x="1280" y="1680"/>
                    <a:pt x="1280" y="1680"/>
                    <a:pt x="1280" y="1680"/>
                  </a:cubicBezTo>
                  <a:cubicBezTo>
                    <a:pt x="720" y="1680"/>
                    <a:pt x="720" y="1680"/>
                    <a:pt x="720" y="1680"/>
                  </a:cubicBezTo>
                  <a:cubicBezTo>
                    <a:pt x="720" y="840"/>
                    <a:pt x="720" y="840"/>
                    <a:pt x="720" y="840"/>
                  </a:cubicBezTo>
                  <a:cubicBezTo>
                    <a:pt x="720" y="787"/>
                    <a:pt x="699" y="736"/>
                    <a:pt x="661" y="699"/>
                  </a:cubicBezTo>
                  <a:cubicBezTo>
                    <a:pt x="340" y="378"/>
                    <a:pt x="340" y="378"/>
                    <a:pt x="340" y="378"/>
                  </a:cubicBezTo>
                  <a:cubicBezTo>
                    <a:pt x="303" y="341"/>
                    <a:pt x="253" y="320"/>
                    <a:pt x="200" y="320"/>
                  </a:cubicBezTo>
                  <a:cubicBezTo>
                    <a:pt x="0" y="320"/>
                    <a:pt x="0" y="320"/>
                    <a:pt x="0" y="320"/>
                  </a:cubicBezTo>
                  <a:cubicBezTo>
                    <a:pt x="0" y="0"/>
                    <a:pt x="0" y="0"/>
                    <a:pt x="0" y="0"/>
                  </a:cubicBezTo>
                  <a:cubicBezTo>
                    <a:pt x="800" y="0"/>
                    <a:pt x="800" y="0"/>
                    <a:pt x="800" y="0"/>
                  </a:cubicBezTo>
                  <a:cubicBezTo>
                    <a:pt x="800" y="480"/>
                    <a:pt x="800" y="480"/>
                    <a:pt x="800" y="480"/>
                  </a:cubicBezTo>
                  <a:lnTo>
                    <a:pt x="1280" y="480"/>
                  </a:lnTo>
                  <a:close/>
                </a:path>
              </a:pathLst>
            </a:custGeom>
            <a:solidFill>
              <a:srgbClr val="8D93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marL="0" marR="0" lvl="0" indent="0" algn="l" defTabSz="182880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smtClean="0">
                <a:ln>
                  <a:noFill/>
                </a:ln>
                <a:solidFill>
                  <a:srgbClr val="002060"/>
                </a:solidFill>
                <a:effectLst/>
                <a:uLnTx/>
                <a:uFillTx/>
                <a:latin typeface="Calibri" panose="020F0502020204030204" pitchFamily="34" charset="0"/>
                <a:ea typeface="+mn-ea"/>
                <a:cs typeface="Calibri" panose="020F0502020204030204" pitchFamily="34" charset="0"/>
                <a:sym typeface="+mn-lt"/>
              </a:endParaRPr>
            </a:p>
          </p:txBody>
        </p:sp>
        <p:sp>
          <p:nvSpPr>
            <p:cNvPr id="139" name="Freeform 5"/>
            <p:cNvSpPr>
              <a:spLocks noEditPoints="1"/>
            </p:cNvSpPr>
            <p:nvPr/>
          </p:nvSpPr>
          <p:spPr bwMode="auto">
            <a:xfrm>
              <a:off x="5437971" y="5239968"/>
              <a:ext cx="286901" cy="347423"/>
            </a:xfrm>
            <a:custGeom>
              <a:avLst/>
              <a:gdLst>
                <a:gd name="T0" fmla="*/ 850 w 1280"/>
                <a:gd name="T1" fmla="*/ 0 h 1680"/>
                <a:gd name="T2" fmla="*/ 925 w 1280"/>
                <a:gd name="T3" fmla="*/ 35 h 1680"/>
                <a:gd name="T4" fmla="*/ 1245 w 1280"/>
                <a:gd name="T5" fmla="*/ 355 h 1680"/>
                <a:gd name="T6" fmla="*/ 1280 w 1280"/>
                <a:gd name="T7" fmla="*/ 430 h 1680"/>
                <a:gd name="T8" fmla="*/ 1200 w 1280"/>
                <a:gd name="T9" fmla="*/ 400 h 1680"/>
                <a:gd name="T10" fmla="*/ 880 w 1280"/>
                <a:gd name="T11" fmla="*/ 400 h 1680"/>
                <a:gd name="T12" fmla="*/ 880 w 1280"/>
                <a:gd name="T13" fmla="*/ 80 h 1680"/>
                <a:gd name="T14" fmla="*/ 850 w 1280"/>
                <a:gd name="T15" fmla="*/ 0 h 1680"/>
                <a:gd name="T16" fmla="*/ 1280 w 1280"/>
                <a:gd name="T17" fmla="*/ 480 h 1680"/>
                <a:gd name="T18" fmla="*/ 1280 w 1280"/>
                <a:gd name="T19" fmla="*/ 1680 h 1680"/>
                <a:gd name="T20" fmla="*/ 720 w 1280"/>
                <a:gd name="T21" fmla="*/ 1680 h 1680"/>
                <a:gd name="T22" fmla="*/ 720 w 1280"/>
                <a:gd name="T23" fmla="*/ 840 h 1680"/>
                <a:gd name="T24" fmla="*/ 661 w 1280"/>
                <a:gd name="T25" fmla="*/ 699 h 1680"/>
                <a:gd name="T26" fmla="*/ 340 w 1280"/>
                <a:gd name="T27" fmla="*/ 378 h 1680"/>
                <a:gd name="T28" fmla="*/ 200 w 1280"/>
                <a:gd name="T29" fmla="*/ 320 h 1680"/>
                <a:gd name="T30" fmla="*/ 0 w 1280"/>
                <a:gd name="T31" fmla="*/ 320 h 1680"/>
                <a:gd name="T32" fmla="*/ 0 w 1280"/>
                <a:gd name="T33" fmla="*/ 0 h 1680"/>
                <a:gd name="T34" fmla="*/ 800 w 1280"/>
                <a:gd name="T35" fmla="*/ 0 h 1680"/>
                <a:gd name="T36" fmla="*/ 800 w 1280"/>
                <a:gd name="T37" fmla="*/ 480 h 1680"/>
                <a:gd name="T38" fmla="*/ 1280 w 1280"/>
                <a:gd name="T39" fmla="*/ 480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0" h="1680">
                  <a:moveTo>
                    <a:pt x="850" y="0"/>
                  </a:moveTo>
                  <a:cubicBezTo>
                    <a:pt x="879" y="3"/>
                    <a:pt x="905" y="16"/>
                    <a:pt x="925" y="35"/>
                  </a:cubicBezTo>
                  <a:cubicBezTo>
                    <a:pt x="925" y="35"/>
                    <a:pt x="1218" y="329"/>
                    <a:pt x="1245" y="355"/>
                  </a:cubicBezTo>
                  <a:cubicBezTo>
                    <a:pt x="1264" y="375"/>
                    <a:pt x="1277" y="401"/>
                    <a:pt x="1280" y="430"/>
                  </a:cubicBezTo>
                  <a:cubicBezTo>
                    <a:pt x="1258" y="412"/>
                    <a:pt x="1230" y="400"/>
                    <a:pt x="1200" y="400"/>
                  </a:cubicBezTo>
                  <a:cubicBezTo>
                    <a:pt x="880" y="400"/>
                    <a:pt x="880" y="400"/>
                    <a:pt x="880" y="400"/>
                  </a:cubicBezTo>
                  <a:cubicBezTo>
                    <a:pt x="880" y="80"/>
                    <a:pt x="880" y="80"/>
                    <a:pt x="880" y="80"/>
                  </a:cubicBezTo>
                  <a:cubicBezTo>
                    <a:pt x="880" y="50"/>
                    <a:pt x="868" y="22"/>
                    <a:pt x="850" y="0"/>
                  </a:cubicBezTo>
                  <a:close/>
                  <a:moveTo>
                    <a:pt x="1280" y="480"/>
                  </a:moveTo>
                  <a:cubicBezTo>
                    <a:pt x="1280" y="1680"/>
                    <a:pt x="1280" y="1680"/>
                    <a:pt x="1280" y="1680"/>
                  </a:cubicBezTo>
                  <a:cubicBezTo>
                    <a:pt x="720" y="1680"/>
                    <a:pt x="720" y="1680"/>
                    <a:pt x="720" y="1680"/>
                  </a:cubicBezTo>
                  <a:cubicBezTo>
                    <a:pt x="720" y="840"/>
                    <a:pt x="720" y="840"/>
                    <a:pt x="720" y="840"/>
                  </a:cubicBezTo>
                  <a:cubicBezTo>
                    <a:pt x="720" y="787"/>
                    <a:pt x="699" y="736"/>
                    <a:pt x="661" y="699"/>
                  </a:cubicBezTo>
                  <a:cubicBezTo>
                    <a:pt x="340" y="378"/>
                    <a:pt x="340" y="378"/>
                    <a:pt x="340" y="378"/>
                  </a:cubicBezTo>
                  <a:cubicBezTo>
                    <a:pt x="303" y="341"/>
                    <a:pt x="253" y="320"/>
                    <a:pt x="200" y="320"/>
                  </a:cubicBezTo>
                  <a:cubicBezTo>
                    <a:pt x="0" y="320"/>
                    <a:pt x="0" y="320"/>
                    <a:pt x="0" y="320"/>
                  </a:cubicBezTo>
                  <a:cubicBezTo>
                    <a:pt x="0" y="0"/>
                    <a:pt x="0" y="0"/>
                    <a:pt x="0" y="0"/>
                  </a:cubicBezTo>
                  <a:cubicBezTo>
                    <a:pt x="800" y="0"/>
                    <a:pt x="800" y="0"/>
                    <a:pt x="800" y="0"/>
                  </a:cubicBezTo>
                  <a:cubicBezTo>
                    <a:pt x="800" y="480"/>
                    <a:pt x="800" y="480"/>
                    <a:pt x="800" y="480"/>
                  </a:cubicBezTo>
                  <a:lnTo>
                    <a:pt x="1280" y="480"/>
                  </a:lnTo>
                  <a:close/>
                </a:path>
              </a:pathLst>
            </a:custGeom>
            <a:solidFill>
              <a:srgbClr val="156C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marL="0" marR="0" lvl="0" indent="0" algn="l" defTabSz="182880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smtClean="0">
                <a:ln>
                  <a:noFill/>
                </a:ln>
                <a:solidFill>
                  <a:srgbClr val="002060"/>
                </a:solidFill>
                <a:effectLst/>
                <a:uLnTx/>
                <a:uFillTx/>
                <a:latin typeface="Calibri" panose="020F0502020204030204" pitchFamily="34" charset="0"/>
                <a:ea typeface="+mn-ea"/>
                <a:cs typeface="Calibri" panose="020F0502020204030204" pitchFamily="34" charset="0"/>
                <a:sym typeface="+mn-lt"/>
              </a:endParaRPr>
            </a:p>
          </p:txBody>
        </p:sp>
        <p:sp>
          <p:nvSpPr>
            <p:cNvPr id="140" name="Freeform 5"/>
            <p:cNvSpPr>
              <a:spLocks noEditPoints="1"/>
            </p:cNvSpPr>
            <p:nvPr/>
          </p:nvSpPr>
          <p:spPr bwMode="auto">
            <a:xfrm>
              <a:off x="5385199" y="5298575"/>
              <a:ext cx="286901" cy="347423"/>
            </a:xfrm>
            <a:custGeom>
              <a:avLst/>
              <a:gdLst>
                <a:gd name="T0" fmla="*/ 850 w 1280"/>
                <a:gd name="T1" fmla="*/ 0 h 1680"/>
                <a:gd name="T2" fmla="*/ 925 w 1280"/>
                <a:gd name="T3" fmla="*/ 35 h 1680"/>
                <a:gd name="T4" fmla="*/ 1245 w 1280"/>
                <a:gd name="T5" fmla="*/ 355 h 1680"/>
                <a:gd name="T6" fmla="*/ 1280 w 1280"/>
                <a:gd name="T7" fmla="*/ 430 h 1680"/>
                <a:gd name="T8" fmla="*/ 1200 w 1280"/>
                <a:gd name="T9" fmla="*/ 400 h 1680"/>
                <a:gd name="T10" fmla="*/ 880 w 1280"/>
                <a:gd name="T11" fmla="*/ 400 h 1680"/>
                <a:gd name="T12" fmla="*/ 880 w 1280"/>
                <a:gd name="T13" fmla="*/ 80 h 1680"/>
                <a:gd name="T14" fmla="*/ 850 w 1280"/>
                <a:gd name="T15" fmla="*/ 0 h 1680"/>
                <a:gd name="T16" fmla="*/ 1280 w 1280"/>
                <a:gd name="T17" fmla="*/ 480 h 1680"/>
                <a:gd name="T18" fmla="*/ 1280 w 1280"/>
                <a:gd name="T19" fmla="*/ 1680 h 1680"/>
                <a:gd name="T20" fmla="*/ 720 w 1280"/>
                <a:gd name="T21" fmla="*/ 1680 h 1680"/>
                <a:gd name="T22" fmla="*/ 720 w 1280"/>
                <a:gd name="T23" fmla="*/ 840 h 1680"/>
                <a:gd name="T24" fmla="*/ 661 w 1280"/>
                <a:gd name="T25" fmla="*/ 699 h 1680"/>
                <a:gd name="T26" fmla="*/ 340 w 1280"/>
                <a:gd name="T27" fmla="*/ 378 h 1680"/>
                <a:gd name="T28" fmla="*/ 200 w 1280"/>
                <a:gd name="T29" fmla="*/ 320 h 1680"/>
                <a:gd name="T30" fmla="*/ 0 w 1280"/>
                <a:gd name="T31" fmla="*/ 320 h 1680"/>
                <a:gd name="T32" fmla="*/ 0 w 1280"/>
                <a:gd name="T33" fmla="*/ 0 h 1680"/>
                <a:gd name="T34" fmla="*/ 800 w 1280"/>
                <a:gd name="T35" fmla="*/ 0 h 1680"/>
                <a:gd name="T36" fmla="*/ 800 w 1280"/>
                <a:gd name="T37" fmla="*/ 480 h 1680"/>
                <a:gd name="T38" fmla="*/ 1280 w 1280"/>
                <a:gd name="T39" fmla="*/ 480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0" h="1680">
                  <a:moveTo>
                    <a:pt x="850" y="0"/>
                  </a:moveTo>
                  <a:cubicBezTo>
                    <a:pt x="879" y="3"/>
                    <a:pt x="905" y="16"/>
                    <a:pt x="925" y="35"/>
                  </a:cubicBezTo>
                  <a:cubicBezTo>
                    <a:pt x="925" y="35"/>
                    <a:pt x="1218" y="329"/>
                    <a:pt x="1245" y="355"/>
                  </a:cubicBezTo>
                  <a:cubicBezTo>
                    <a:pt x="1264" y="375"/>
                    <a:pt x="1277" y="401"/>
                    <a:pt x="1280" y="430"/>
                  </a:cubicBezTo>
                  <a:cubicBezTo>
                    <a:pt x="1258" y="412"/>
                    <a:pt x="1230" y="400"/>
                    <a:pt x="1200" y="400"/>
                  </a:cubicBezTo>
                  <a:cubicBezTo>
                    <a:pt x="880" y="400"/>
                    <a:pt x="880" y="400"/>
                    <a:pt x="880" y="400"/>
                  </a:cubicBezTo>
                  <a:cubicBezTo>
                    <a:pt x="880" y="80"/>
                    <a:pt x="880" y="80"/>
                    <a:pt x="880" y="80"/>
                  </a:cubicBezTo>
                  <a:cubicBezTo>
                    <a:pt x="880" y="50"/>
                    <a:pt x="868" y="22"/>
                    <a:pt x="850" y="0"/>
                  </a:cubicBezTo>
                  <a:close/>
                  <a:moveTo>
                    <a:pt x="1280" y="480"/>
                  </a:moveTo>
                  <a:cubicBezTo>
                    <a:pt x="1280" y="1680"/>
                    <a:pt x="1280" y="1680"/>
                    <a:pt x="1280" y="1680"/>
                  </a:cubicBezTo>
                  <a:cubicBezTo>
                    <a:pt x="720" y="1680"/>
                    <a:pt x="720" y="1680"/>
                    <a:pt x="720" y="1680"/>
                  </a:cubicBezTo>
                  <a:cubicBezTo>
                    <a:pt x="720" y="840"/>
                    <a:pt x="720" y="840"/>
                    <a:pt x="720" y="840"/>
                  </a:cubicBezTo>
                  <a:cubicBezTo>
                    <a:pt x="720" y="787"/>
                    <a:pt x="699" y="736"/>
                    <a:pt x="661" y="699"/>
                  </a:cubicBezTo>
                  <a:cubicBezTo>
                    <a:pt x="340" y="378"/>
                    <a:pt x="340" y="378"/>
                    <a:pt x="340" y="378"/>
                  </a:cubicBezTo>
                  <a:cubicBezTo>
                    <a:pt x="303" y="341"/>
                    <a:pt x="253" y="320"/>
                    <a:pt x="200" y="320"/>
                  </a:cubicBezTo>
                  <a:cubicBezTo>
                    <a:pt x="0" y="320"/>
                    <a:pt x="0" y="320"/>
                    <a:pt x="0" y="320"/>
                  </a:cubicBezTo>
                  <a:cubicBezTo>
                    <a:pt x="0" y="0"/>
                    <a:pt x="0" y="0"/>
                    <a:pt x="0" y="0"/>
                  </a:cubicBezTo>
                  <a:cubicBezTo>
                    <a:pt x="800" y="0"/>
                    <a:pt x="800" y="0"/>
                    <a:pt x="800" y="0"/>
                  </a:cubicBezTo>
                  <a:cubicBezTo>
                    <a:pt x="800" y="480"/>
                    <a:pt x="800" y="480"/>
                    <a:pt x="800" y="480"/>
                  </a:cubicBezTo>
                  <a:lnTo>
                    <a:pt x="1280" y="480"/>
                  </a:lnTo>
                  <a:close/>
                </a:path>
              </a:pathLst>
            </a:custGeom>
            <a:solidFill>
              <a:srgbClr val="96AE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marL="0" marR="0" lvl="0" indent="0" algn="l" defTabSz="1828800" eaLnBrk="1" fontAlgn="auto" latinLnBrk="0" hangingPunct="1">
                <a:lnSpc>
                  <a:spcPct val="100000"/>
                </a:lnSpc>
                <a:spcBef>
                  <a:spcPts val="0"/>
                </a:spcBef>
                <a:spcAft>
                  <a:spcPts val="0"/>
                </a:spcAft>
                <a:buClrTx/>
                <a:buSzTx/>
                <a:buFontTx/>
                <a:buNone/>
                <a:tabLst/>
                <a:defRPr/>
              </a:pPr>
              <a:endParaRPr kumimoji="0" lang="en-GB" sz="2600" b="0" i="0" u="none" strike="noStrike" kern="0" cap="none" spc="0" normalizeH="0" baseline="0" noProof="0" dirty="0" smtClean="0">
                <a:ln>
                  <a:noFill/>
                </a:ln>
                <a:solidFill>
                  <a:srgbClr val="002060"/>
                </a:solidFill>
                <a:effectLst/>
                <a:uLnTx/>
                <a:uFillTx/>
                <a:latin typeface="Calibri" panose="020F0502020204030204" pitchFamily="34" charset="0"/>
                <a:ea typeface="+mn-ea"/>
                <a:cs typeface="Calibri" panose="020F0502020204030204" pitchFamily="34" charset="0"/>
                <a:sym typeface="+mn-lt"/>
              </a:endParaRPr>
            </a:p>
          </p:txBody>
        </p:sp>
        <p:sp>
          <p:nvSpPr>
            <p:cNvPr id="141" name="Freeform 6"/>
            <p:cNvSpPr>
              <a:spLocks noEditPoints="1"/>
            </p:cNvSpPr>
            <p:nvPr/>
          </p:nvSpPr>
          <p:spPr bwMode="auto">
            <a:xfrm>
              <a:off x="5332427" y="5357183"/>
              <a:ext cx="286901" cy="347423"/>
            </a:xfrm>
            <a:custGeom>
              <a:avLst/>
              <a:gdLst>
                <a:gd name="T0" fmla="*/ 850 w 1280"/>
                <a:gd name="T1" fmla="*/ 0 h 1680"/>
                <a:gd name="T2" fmla="*/ 925 w 1280"/>
                <a:gd name="T3" fmla="*/ 35 h 1680"/>
                <a:gd name="T4" fmla="*/ 1245 w 1280"/>
                <a:gd name="T5" fmla="*/ 355 h 1680"/>
                <a:gd name="T6" fmla="*/ 1280 w 1280"/>
                <a:gd name="T7" fmla="*/ 430 h 1680"/>
                <a:gd name="T8" fmla="*/ 1200 w 1280"/>
                <a:gd name="T9" fmla="*/ 400 h 1680"/>
                <a:gd name="T10" fmla="*/ 880 w 1280"/>
                <a:gd name="T11" fmla="*/ 400 h 1680"/>
                <a:gd name="T12" fmla="*/ 880 w 1280"/>
                <a:gd name="T13" fmla="*/ 80 h 1680"/>
                <a:gd name="T14" fmla="*/ 850 w 1280"/>
                <a:gd name="T15" fmla="*/ 0 h 1680"/>
                <a:gd name="T16" fmla="*/ 1280 w 1280"/>
                <a:gd name="T17" fmla="*/ 480 h 1680"/>
                <a:gd name="T18" fmla="*/ 1280 w 1280"/>
                <a:gd name="T19" fmla="*/ 1680 h 1680"/>
                <a:gd name="T20" fmla="*/ 0 w 1280"/>
                <a:gd name="T21" fmla="*/ 1680 h 1680"/>
                <a:gd name="T22" fmla="*/ 0 w 1280"/>
                <a:gd name="T23" fmla="*/ 0 h 1680"/>
                <a:gd name="T24" fmla="*/ 800 w 1280"/>
                <a:gd name="T25" fmla="*/ 0 h 1680"/>
                <a:gd name="T26" fmla="*/ 800 w 1280"/>
                <a:gd name="T27" fmla="*/ 480 h 1680"/>
                <a:gd name="T28" fmla="*/ 1280 w 1280"/>
                <a:gd name="T29" fmla="*/ 480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0" h="1680">
                  <a:moveTo>
                    <a:pt x="850" y="0"/>
                  </a:moveTo>
                  <a:cubicBezTo>
                    <a:pt x="879" y="3"/>
                    <a:pt x="905" y="16"/>
                    <a:pt x="925" y="35"/>
                  </a:cubicBezTo>
                  <a:cubicBezTo>
                    <a:pt x="925" y="35"/>
                    <a:pt x="1218" y="329"/>
                    <a:pt x="1245" y="355"/>
                  </a:cubicBezTo>
                  <a:cubicBezTo>
                    <a:pt x="1264" y="375"/>
                    <a:pt x="1277" y="401"/>
                    <a:pt x="1280" y="430"/>
                  </a:cubicBezTo>
                  <a:cubicBezTo>
                    <a:pt x="1258" y="412"/>
                    <a:pt x="1230" y="400"/>
                    <a:pt x="1200" y="400"/>
                  </a:cubicBezTo>
                  <a:cubicBezTo>
                    <a:pt x="880" y="400"/>
                    <a:pt x="880" y="400"/>
                    <a:pt x="880" y="400"/>
                  </a:cubicBezTo>
                  <a:cubicBezTo>
                    <a:pt x="880" y="80"/>
                    <a:pt x="880" y="80"/>
                    <a:pt x="880" y="80"/>
                  </a:cubicBezTo>
                  <a:cubicBezTo>
                    <a:pt x="880" y="50"/>
                    <a:pt x="868" y="22"/>
                    <a:pt x="850" y="0"/>
                  </a:cubicBezTo>
                  <a:close/>
                  <a:moveTo>
                    <a:pt x="1280" y="480"/>
                  </a:moveTo>
                  <a:cubicBezTo>
                    <a:pt x="1280" y="1680"/>
                    <a:pt x="1280" y="1680"/>
                    <a:pt x="1280" y="1680"/>
                  </a:cubicBezTo>
                  <a:cubicBezTo>
                    <a:pt x="0" y="1680"/>
                    <a:pt x="0" y="1680"/>
                    <a:pt x="0" y="1680"/>
                  </a:cubicBezTo>
                  <a:cubicBezTo>
                    <a:pt x="0" y="0"/>
                    <a:pt x="0" y="0"/>
                    <a:pt x="0" y="0"/>
                  </a:cubicBezTo>
                  <a:cubicBezTo>
                    <a:pt x="800" y="0"/>
                    <a:pt x="800" y="0"/>
                    <a:pt x="800" y="0"/>
                  </a:cubicBezTo>
                  <a:cubicBezTo>
                    <a:pt x="800" y="480"/>
                    <a:pt x="800" y="480"/>
                    <a:pt x="800" y="480"/>
                  </a:cubicBezTo>
                  <a:lnTo>
                    <a:pt x="1280" y="480"/>
                  </a:lnTo>
                  <a:close/>
                </a:path>
              </a:pathLst>
            </a:custGeom>
            <a:solidFill>
              <a:srgbClr val="00AA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ctr" anchorCtr="0" compatLnSpc="1">
              <a:prstTxWarp prst="textNoShape">
                <a:avLst/>
              </a:prstTxWarp>
            </a:bodyPr>
            <a:lstStyle/>
            <a:p>
              <a:pPr marL="0" marR="0" lvl="0" indent="0" defTabSz="18288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err="1" smtClean="0">
                  <a:ln>
                    <a:noFill/>
                  </a:ln>
                  <a:solidFill>
                    <a:srgbClr val="002060"/>
                  </a:solidFill>
                  <a:effectLst/>
                  <a:uLnTx/>
                  <a:uFillTx/>
                  <a:latin typeface="Calibri" panose="020F0502020204030204" pitchFamily="34" charset="0"/>
                  <a:ea typeface="+mn-ea"/>
                  <a:cs typeface="Calibri" panose="020F0502020204030204" pitchFamily="34" charset="0"/>
                  <a:sym typeface="+mn-lt"/>
                </a:rPr>
                <a:t>A</a:t>
              </a:r>
              <a:r>
                <a:rPr kumimoji="0" lang="en-GB" sz="1800" b="1" i="0" u="none" strike="noStrike" kern="0" cap="none" spc="0" normalizeH="0" baseline="-25000" noProof="0" dirty="0" err="1" smtClean="0">
                  <a:ln>
                    <a:noFill/>
                  </a:ln>
                  <a:solidFill>
                    <a:srgbClr val="002060"/>
                  </a:solidFill>
                  <a:effectLst/>
                  <a:uLnTx/>
                  <a:uFillTx/>
                  <a:latin typeface="Calibri" panose="020F0502020204030204" pitchFamily="34" charset="0"/>
                  <a:ea typeface="+mn-ea"/>
                  <a:cs typeface="Calibri" panose="020F0502020204030204" pitchFamily="34" charset="0"/>
                  <a:sym typeface="+mn-lt"/>
                </a:rPr>
                <a:t>2</a:t>
              </a:r>
              <a:endParaRPr kumimoji="0" lang="en-GB" sz="1800" b="1" i="0" u="none" strike="noStrike" kern="0" cap="none" spc="0" normalizeH="0" baseline="-25000" noProof="0" dirty="0" smtClean="0">
                <a:ln>
                  <a:noFill/>
                </a:ln>
                <a:solidFill>
                  <a:srgbClr val="002060"/>
                </a:solidFill>
                <a:effectLst/>
                <a:uLnTx/>
                <a:uFillTx/>
                <a:latin typeface="Calibri" panose="020F0502020204030204" pitchFamily="34" charset="0"/>
                <a:ea typeface="+mn-ea"/>
                <a:cs typeface="Calibri" panose="020F0502020204030204" pitchFamily="34" charset="0"/>
                <a:sym typeface="+mn-lt"/>
              </a:endParaRPr>
            </a:p>
          </p:txBody>
        </p:sp>
        <p:sp>
          <p:nvSpPr>
            <p:cNvPr id="142" name="RBContent131"/>
            <p:cNvSpPr txBox="1">
              <a:spLocks/>
            </p:cNvSpPr>
            <p:nvPr/>
          </p:nvSpPr>
          <p:spPr>
            <a:xfrm>
              <a:off x="5330420" y="5856376"/>
              <a:ext cx="1007058" cy="360099"/>
            </a:xfrm>
            <a:prstGeom prst="rect">
              <a:avLst/>
            </a:prstGeom>
            <a:noFill/>
            <a:ln w="9525">
              <a:noFill/>
            </a:ln>
          </p:spPr>
          <p:txBody>
            <a:bodyPr vert="horz" wrap="square" lIns="0" tIns="0" rIns="0" bIns="0" rtlCol="0">
              <a:spAutoFit/>
            </a:bodyPr>
            <a:lstStyle/>
            <a:p>
              <a:pPr marL="0" marR="0" lvl="0" indent="0" algn="l" defTabSz="1828800" eaLnBrk="1" fontAlgn="auto" latinLnBrk="0" hangingPunct="1">
                <a:lnSpc>
                  <a:spcPct val="90000"/>
                </a:lnSpc>
                <a:spcBef>
                  <a:spcPts val="800"/>
                </a:spcBef>
                <a:spcAft>
                  <a:spcPts val="0"/>
                </a:spcAft>
                <a:buClrTx/>
                <a:buSzPct val="100000"/>
                <a:buFontTx/>
                <a:buNone/>
                <a:tabLst/>
                <a:defRPr/>
              </a:pPr>
              <a:r>
                <a:rPr kumimoji="0" lang="en-GB" sz="2600" b="0" i="0" u="none" strike="noStrike" kern="0" cap="none" spc="0" normalizeH="0" baseline="0" noProof="0" dirty="0" smtClean="0">
                  <a:ln>
                    <a:noFill/>
                  </a:ln>
                  <a:solidFill>
                    <a:srgbClr val="002060"/>
                  </a:solidFill>
                  <a:effectLst/>
                  <a:uLnTx/>
                  <a:uFillTx/>
                  <a:latin typeface="Calibri" panose="020F0502020204030204" pitchFamily="34" charset="0"/>
                  <a:ea typeface="+mn-ea"/>
                  <a:cs typeface="Calibri" panose="020F0502020204030204" pitchFamily="34" charset="0"/>
                  <a:sym typeface="+mn-lt"/>
                </a:rPr>
                <a:t>Sub-projects </a:t>
              </a:r>
              <a:br>
                <a:rPr kumimoji="0" lang="en-GB" sz="2600" b="0" i="0" u="none" strike="noStrike" kern="0" cap="none" spc="0" normalizeH="0" baseline="0" noProof="0" dirty="0" smtClean="0">
                  <a:ln>
                    <a:noFill/>
                  </a:ln>
                  <a:solidFill>
                    <a:srgbClr val="002060"/>
                  </a:solidFill>
                  <a:effectLst/>
                  <a:uLnTx/>
                  <a:uFillTx/>
                  <a:latin typeface="Calibri" panose="020F0502020204030204" pitchFamily="34" charset="0"/>
                  <a:ea typeface="+mn-ea"/>
                  <a:cs typeface="Calibri" panose="020F0502020204030204" pitchFamily="34" charset="0"/>
                  <a:sym typeface="+mn-lt"/>
                </a:rPr>
              </a:br>
              <a:r>
                <a:rPr kumimoji="0" lang="en-GB" sz="2600" b="0" i="0" u="none" strike="noStrike" kern="0" cap="none" spc="0" normalizeH="0" baseline="0" noProof="0" dirty="0" smtClean="0">
                  <a:ln>
                    <a:noFill/>
                  </a:ln>
                  <a:solidFill>
                    <a:srgbClr val="002060"/>
                  </a:solidFill>
                  <a:effectLst/>
                  <a:uLnTx/>
                  <a:uFillTx/>
                  <a:latin typeface="Calibri" panose="020F0502020204030204" pitchFamily="34" charset="0"/>
                  <a:ea typeface="+mn-ea"/>
                  <a:cs typeface="Calibri" panose="020F0502020204030204" pitchFamily="34" charset="0"/>
                  <a:sym typeface="+mn-lt"/>
                </a:rPr>
                <a:t>by application</a:t>
              </a:r>
            </a:p>
          </p:txBody>
        </p:sp>
      </p:grpSp>
      <p:sp>
        <p:nvSpPr>
          <p:cNvPr id="149" name="Flowchart: Multidocument 148"/>
          <p:cNvSpPr/>
          <p:nvPr/>
        </p:nvSpPr>
        <p:spPr>
          <a:xfrm>
            <a:off x="16097660" y="5757590"/>
            <a:ext cx="2221548" cy="4548504"/>
          </a:xfrm>
          <a:prstGeom prst="flowChartMultidocument">
            <a:avLst/>
          </a:prstGeom>
          <a:solidFill>
            <a:srgbClr val="DEE0E3"/>
          </a:solidFill>
          <a:ln w="15875" cap="flat" cmpd="sng" algn="ctr">
            <a:solidFill>
              <a:srgbClr val="FFFFFF"/>
            </a:solidFill>
            <a:prstDash val="solid"/>
          </a:ln>
          <a:effectLst/>
        </p:spPr>
        <p:txBody>
          <a:bodyPr lIns="144000" tIns="144000" rIns="144000" bIns="144000" rtlCol="0" anchor="t" anchorCtr="0">
            <a:noAutofit/>
          </a:bodyPr>
          <a:lstStyle/>
          <a:p>
            <a:pPr marL="0" marR="0" lvl="0" indent="0" algn="l" defTabSz="1828800" eaLnBrk="1" fontAlgn="auto" latinLnBrk="0" hangingPunct="1">
              <a:lnSpc>
                <a:spcPct val="90000"/>
              </a:lnSpc>
              <a:spcBef>
                <a:spcPts val="800"/>
              </a:spcBef>
              <a:spcAft>
                <a:spcPts val="0"/>
              </a:spcAft>
              <a:buClrTx/>
              <a:buSzTx/>
              <a:buFontTx/>
              <a:buNone/>
              <a:tabLst/>
              <a:defRPr/>
            </a:pPr>
            <a:r>
              <a:rPr kumimoji="0" lang="en-GB" sz="2200" b="0" i="0" u="none" strike="noStrike" kern="0" cap="none" spc="0" normalizeH="0" baseline="0" noProof="0" dirty="0" smtClean="0">
                <a:ln>
                  <a:noFill/>
                </a:ln>
                <a:solidFill>
                  <a:srgbClr val="002060"/>
                </a:solidFill>
                <a:effectLst/>
                <a:uLnTx/>
                <a:uFillTx/>
                <a:latin typeface="Calibri" panose="020F0502020204030204" pitchFamily="34" charset="0"/>
                <a:ea typeface="+mn-ea"/>
                <a:cs typeface="Calibri" panose="020F0502020204030204" pitchFamily="34" charset="0"/>
              </a:rPr>
              <a:t>Market intelligence, e.g. volumes </a:t>
            </a:r>
            <a:r>
              <a:rPr kumimoji="0" lang="en-GB" sz="2200" b="0" i="0" u="none" strike="noStrike" kern="0" cap="none" spc="0" normalizeH="0" baseline="0" noProof="0" dirty="0" err="1" smtClean="0">
                <a:ln>
                  <a:noFill/>
                </a:ln>
                <a:solidFill>
                  <a:srgbClr val="002060"/>
                </a:solidFill>
                <a:effectLst/>
                <a:uLnTx/>
                <a:uFillTx/>
                <a:latin typeface="Calibri" panose="020F0502020204030204" pitchFamily="34" charset="0"/>
                <a:ea typeface="+mn-ea"/>
                <a:cs typeface="Calibri" panose="020F0502020204030204" pitchFamily="34" charset="0"/>
              </a:rPr>
              <a:t>Application</a:t>
            </a:r>
            <a:r>
              <a:rPr kumimoji="0" lang="en-GB" sz="2200" b="0" i="0" u="none" strike="noStrike" kern="0" cap="none" spc="0" normalizeH="0" baseline="-25000" noProof="0" dirty="0" err="1" smtClean="0">
                <a:ln>
                  <a:noFill/>
                </a:ln>
                <a:solidFill>
                  <a:srgbClr val="002060"/>
                </a:solidFill>
                <a:effectLst/>
                <a:uLnTx/>
                <a:uFillTx/>
                <a:latin typeface="Calibri" panose="020F0502020204030204" pitchFamily="34" charset="0"/>
                <a:ea typeface="+mn-ea"/>
                <a:cs typeface="Calibri" panose="020F0502020204030204" pitchFamily="34" charset="0"/>
              </a:rPr>
              <a:t>1</a:t>
            </a:r>
            <a:endParaRPr kumimoji="0" lang="en-GB" sz="2200" b="0" i="0" u="none" strike="noStrike" kern="0" cap="none" spc="0" normalizeH="0" baseline="-25000" noProof="0" dirty="0" smtClean="0">
              <a:ln>
                <a:noFill/>
              </a:ln>
              <a:solidFill>
                <a:srgbClr val="002060"/>
              </a:solidFill>
              <a:effectLst/>
              <a:uLnTx/>
              <a:uFillTx/>
              <a:latin typeface="Calibri" panose="020F0502020204030204" pitchFamily="34" charset="0"/>
              <a:ea typeface="+mn-ea"/>
              <a:cs typeface="Calibri" panose="020F0502020204030204" pitchFamily="34" charset="0"/>
            </a:endParaRPr>
          </a:p>
        </p:txBody>
      </p:sp>
      <p:grpSp>
        <p:nvGrpSpPr>
          <p:cNvPr id="150" name="Group 149"/>
          <p:cNvGrpSpPr/>
          <p:nvPr/>
        </p:nvGrpSpPr>
        <p:grpSpPr>
          <a:xfrm>
            <a:off x="16324740" y="8224673"/>
            <a:ext cx="1464096" cy="1109194"/>
            <a:chOff x="140153" y="5656976"/>
            <a:chExt cx="341993" cy="339041"/>
          </a:xfrm>
        </p:grpSpPr>
        <p:cxnSp>
          <p:nvCxnSpPr>
            <p:cNvPr id="151" name="Straight Connector 150"/>
            <p:cNvCxnSpPr/>
            <p:nvPr/>
          </p:nvCxnSpPr>
          <p:spPr>
            <a:xfrm>
              <a:off x="140153" y="5713483"/>
              <a:ext cx="341993" cy="0"/>
            </a:xfrm>
            <a:prstGeom prst="line">
              <a:avLst/>
            </a:prstGeom>
            <a:noFill/>
            <a:ln w="9525" cap="flat" cmpd="sng" algn="ctr">
              <a:solidFill>
                <a:srgbClr val="000000"/>
              </a:solidFill>
              <a:prstDash val="solid"/>
            </a:ln>
            <a:effectLst/>
          </p:spPr>
        </p:cxnSp>
        <p:cxnSp>
          <p:nvCxnSpPr>
            <p:cNvPr id="152" name="Straight Connector 151"/>
            <p:cNvCxnSpPr/>
            <p:nvPr/>
          </p:nvCxnSpPr>
          <p:spPr>
            <a:xfrm>
              <a:off x="140153" y="5769990"/>
              <a:ext cx="341993" cy="0"/>
            </a:xfrm>
            <a:prstGeom prst="line">
              <a:avLst/>
            </a:prstGeom>
            <a:noFill/>
            <a:ln w="9525" cap="flat" cmpd="sng" algn="ctr">
              <a:solidFill>
                <a:srgbClr val="000000"/>
              </a:solidFill>
              <a:prstDash val="solid"/>
            </a:ln>
            <a:effectLst/>
          </p:spPr>
        </p:cxnSp>
        <p:cxnSp>
          <p:nvCxnSpPr>
            <p:cNvPr id="153" name="Straight Connector 152"/>
            <p:cNvCxnSpPr/>
            <p:nvPr/>
          </p:nvCxnSpPr>
          <p:spPr>
            <a:xfrm>
              <a:off x="140153" y="5939511"/>
              <a:ext cx="341993" cy="0"/>
            </a:xfrm>
            <a:prstGeom prst="line">
              <a:avLst/>
            </a:prstGeom>
            <a:noFill/>
            <a:ln w="9525" cap="flat" cmpd="sng" algn="ctr">
              <a:solidFill>
                <a:srgbClr val="000000"/>
              </a:solidFill>
              <a:prstDash val="solid"/>
            </a:ln>
            <a:effectLst/>
          </p:spPr>
        </p:cxnSp>
        <p:cxnSp>
          <p:nvCxnSpPr>
            <p:cNvPr id="154" name="Straight Connector 153"/>
            <p:cNvCxnSpPr/>
            <p:nvPr/>
          </p:nvCxnSpPr>
          <p:spPr>
            <a:xfrm>
              <a:off x="140153" y="5826497"/>
              <a:ext cx="341993" cy="0"/>
            </a:xfrm>
            <a:prstGeom prst="line">
              <a:avLst/>
            </a:prstGeom>
            <a:noFill/>
            <a:ln w="9525" cap="flat" cmpd="sng" algn="ctr">
              <a:solidFill>
                <a:srgbClr val="000000"/>
              </a:solidFill>
              <a:prstDash val="solid"/>
            </a:ln>
            <a:effectLst/>
          </p:spPr>
        </p:cxnSp>
        <p:cxnSp>
          <p:nvCxnSpPr>
            <p:cNvPr id="155" name="Straight Connector 154"/>
            <p:cNvCxnSpPr/>
            <p:nvPr/>
          </p:nvCxnSpPr>
          <p:spPr>
            <a:xfrm>
              <a:off x="140153" y="5996017"/>
              <a:ext cx="341993" cy="0"/>
            </a:xfrm>
            <a:prstGeom prst="line">
              <a:avLst/>
            </a:prstGeom>
            <a:noFill/>
            <a:ln w="9525" cap="flat" cmpd="sng" algn="ctr">
              <a:solidFill>
                <a:srgbClr val="000000"/>
              </a:solidFill>
              <a:prstDash val="solid"/>
            </a:ln>
            <a:effectLst/>
          </p:spPr>
        </p:cxnSp>
        <p:cxnSp>
          <p:nvCxnSpPr>
            <p:cNvPr id="156" name="Straight Connector 155"/>
            <p:cNvCxnSpPr/>
            <p:nvPr/>
          </p:nvCxnSpPr>
          <p:spPr>
            <a:xfrm>
              <a:off x="140153" y="5883004"/>
              <a:ext cx="341993" cy="0"/>
            </a:xfrm>
            <a:prstGeom prst="line">
              <a:avLst/>
            </a:prstGeom>
            <a:noFill/>
            <a:ln w="9525" cap="flat" cmpd="sng" algn="ctr">
              <a:solidFill>
                <a:srgbClr val="000000"/>
              </a:solidFill>
              <a:prstDash val="solid"/>
            </a:ln>
            <a:effectLst/>
          </p:spPr>
        </p:cxnSp>
        <p:cxnSp>
          <p:nvCxnSpPr>
            <p:cNvPr id="157" name="Straight Connector 156"/>
            <p:cNvCxnSpPr/>
            <p:nvPr/>
          </p:nvCxnSpPr>
          <p:spPr>
            <a:xfrm>
              <a:off x="140153" y="5656976"/>
              <a:ext cx="341993" cy="0"/>
            </a:xfrm>
            <a:prstGeom prst="line">
              <a:avLst/>
            </a:prstGeom>
            <a:noFill/>
            <a:ln w="9525" cap="flat" cmpd="sng" algn="ctr">
              <a:solidFill>
                <a:srgbClr val="000000"/>
              </a:solidFill>
              <a:prstDash val="solid"/>
            </a:ln>
            <a:effectLst/>
          </p:spPr>
        </p:cxnSp>
      </p:grpSp>
      <p:sp>
        <p:nvSpPr>
          <p:cNvPr id="158" name="Flowchart: Multidocument 157"/>
          <p:cNvSpPr/>
          <p:nvPr/>
        </p:nvSpPr>
        <p:spPr>
          <a:xfrm>
            <a:off x="18609628" y="5757590"/>
            <a:ext cx="2221548" cy="4548504"/>
          </a:xfrm>
          <a:prstGeom prst="flowChartMultidocument">
            <a:avLst/>
          </a:prstGeom>
          <a:solidFill>
            <a:srgbClr val="DEE0E3"/>
          </a:solidFill>
          <a:ln w="15875" cap="flat" cmpd="sng" algn="ctr">
            <a:solidFill>
              <a:srgbClr val="FFFFFF"/>
            </a:solidFill>
            <a:prstDash val="solid"/>
          </a:ln>
          <a:effectLst/>
        </p:spPr>
        <p:txBody>
          <a:bodyPr lIns="144000" tIns="144000" rIns="144000" bIns="144000" rtlCol="0" anchor="t" anchorCtr="0">
            <a:noAutofit/>
          </a:bodyPr>
          <a:lstStyle/>
          <a:p>
            <a:pPr marL="0" marR="0" lvl="0" indent="0" algn="l" defTabSz="1828800" eaLnBrk="1" fontAlgn="auto" latinLnBrk="0" hangingPunct="1">
              <a:lnSpc>
                <a:spcPct val="90000"/>
              </a:lnSpc>
              <a:spcBef>
                <a:spcPts val="800"/>
              </a:spcBef>
              <a:spcAft>
                <a:spcPts val="0"/>
              </a:spcAft>
              <a:buClrTx/>
              <a:buSzTx/>
              <a:buFontTx/>
              <a:buNone/>
              <a:tabLst/>
              <a:defRPr/>
            </a:pPr>
            <a:r>
              <a:rPr kumimoji="0" lang="en-GB" sz="2200" b="0" i="0" u="none" strike="noStrike" kern="0" cap="none" spc="0" normalizeH="0" baseline="0" noProof="0" dirty="0" smtClean="0">
                <a:ln>
                  <a:noFill/>
                </a:ln>
                <a:solidFill>
                  <a:srgbClr val="002060"/>
                </a:solidFill>
                <a:effectLst/>
                <a:uLnTx/>
                <a:uFillTx/>
                <a:latin typeface="Calibri" panose="020F0502020204030204" pitchFamily="34" charset="0"/>
                <a:ea typeface="+mn-ea"/>
                <a:cs typeface="Calibri" panose="020F0502020204030204" pitchFamily="34" charset="0"/>
              </a:rPr>
              <a:t>(EU) funding priorities for FCH</a:t>
            </a:r>
          </a:p>
        </p:txBody>
      </p:sp>
      <p:cxnSp>
        <p:nvCxnSpPr>
          <p:cNvPr id="159" name="Straight Connector 158"/>
          <p:cNvCxnSpPr/>
          <p:nvPr/>
        </p:nvCxnSpPr>
        <p:spPr>
          <a:xfrm>
            <a:off x="18850780" y="8408714"/>
            <a:ext cx="1464096" cy="0"/>
          </a:xfrm>
          <a:prstGeom prst="line">
            <a:avLst/>
          </a:prstGeom>
          <a:noFill/>
          <a:ln w="9525" cap="flat" cmpd="sng" algn="ctr">
            <a:solidFill>
              <a:srgbClr val="000000"/>
            </a:solidFill>
            <a:prstDash val="solid"/>
          </a:ln>
          <a:effectLst/>
        </p:spPr>
      </p:cxnSp>
      <p:cxnSp>
        <p:nvCxnSpPr>
          <p:cNvPr id="160" name="Straight Connector 159"/>
          <p:cNvCxnSpPr/>
          <p:nvPr/>
        </p:nvCxnSpPr>
        <p:spPr>
          <a:xfrm>
            <a:off x="18850780" y="8592864"/>
            <a:ext cx="1464096" cy="0"/>
          </a:xfrm>
          <a:prstGeom prst="line">
            <a:avLst/>
          </a:prstGeom>
          <a:noFill/>
          <a:ln w="9525" cap="flat" cmpd="sng" algn="ctr">
            <a:solidFill>
              <a:srgbClr val="000000"/>
            </a:solidFill>
            <a:prstDash val="solid"/>
          </a:ln>
          <a:effectLst/>
        </p:spPr>
      </p:cxnSp>
      <p:cxnSp>
        <p:nvCxnSpPr>
          <p:cNvPr id="161" name="Straight Connector 160"/>
          <p:cNvCxnSpPr/>
          <p:nvPr/>
        </p:nvCxnSpPr>
        <p:spPr>
          <a:xfrm>
            <a:off x="18850780" y="9148490"/>
            <a:ext cx="1464096" cy="0"/>
          </a:xfrm>
          <a:prstGeom prst="line">
            <a:avLst/>
          </a:prstGeom>
          <a:noFill/>
          <a:ln w="9525" cap="flat" cmpd="sng" algn="ctr">
            <a:solidFill>
              <a:srgbClr val="000000"/>
            </a:solidFill>
            <a:prstDash val="solid"/>
          </a:ln>
          <a:effectLst/>
        </p:spPr>
      </p:cxnSp>
      <p:cxnSp>
        <p:nvCxnSpPr>
          <p:cNvPr id="162" name="Straight Connector 161"/>
          <p:cNvCxnSpPr/>
          <p:nvPr/>
        </p:nvCxnSpPr>
        <p:spPr>
          <a:xfrm>
            <a:off x="18850780" y="8780190"/>
            <a:ext cx="1464096" cy="0"/>
          </a:xfrm>
          <a:prstGeom prst="line">
            <a:avLst/>
          </a:prstGeom>
          <a:noFill/>
          <a:ln w="9525" cap="flat" cmpd="sng" algn="ctr">
            <a:solidFill>
              <a:srgbClr val="000000"/>
            </a:solidFill>
            <a:prstDash val="solid"/>
          </a:ln>
          <a:effectLst/>
        </p:spPr>
      </p:cxnSp>
      <p:cxnSp>
        <p:nvCxnSpPr>
          <p:cNvPr id="163" name="Straight Connector 162"/>
          <p:cNvCxnSpPr/>
          <p:nvPr/>
        </p:nvCxnSpPr>
        <p:spPr>
          <a:xfrm>
            <a:off x="18850780" y="9332640"/>
            <a:ext cx="1464096" cy="0"/>
          </a:xfrm>
          <a:prstGeom prst="line">
            <a:avLst/>
          </a:prstGeom>
          <a:noFill/>
          <a:ln w="9525" cap="flat" cmpd="sng" algn="ctr">
            <a:solidFill>
              <a:srgbClr val="000000"/>
            </a:solidFill>
            <a:prstDash val="solid"/>
          </a:ln>
          <a:effectLst/>
        </p:spPr>
      </p:cxnSp>
      <p:cxnSp>
        <p:nvCxnSpPr>
          <p:cNvPr id="164" name="Straight Connector 163"/>
          <p:cNvCxnSpPr/>
          <p:nvPr/>
        </p:nvCxnSpPr>
        <p:spPr>
          <a:xfrm>
            <a:off x="18850780" y="8964340"/>
            <a:ext cx="1464096" cy="0"/>
          </a:xfrm>
          <a:prstGeom prst="line">
            <a:avLst/>
          </a:prstGeom>
          <a:noFill/>
          <a:ln w="9525" cap="flat" cmpd="sng" algn="ctr">
            <a:solidFill>
              <a:srgbClr val="000000"/>
            </a:solidFill>
            <a:prstDash val="solid"/>
          </a:ln>
          <a:effectLst/>
        </p:spPr>
      </p:cxnSp>
      <p:cxnSp>
        <p:nvCxnSpPr>
          <p:cNvPr id="165" name="Straight Connector 164"/>
          <p:cNvCxnSpPr/>
          <p:nvPr/>
        </p:nvCxnSpPr>
        <p:spPr>
          <a:xfrm>
            <a:off x="18850780" y="8224564"/>
            <a:ext cx="1464096" cy="0"/>
          </a:xfrm>
          <a:prstGeom prst="line">
            <a:avLst/>
          </a:prstGeom>
          <a:noFill/>
          <a:ln w="9525" cap="flat" cmpd="sng" algn="ctr">
            <a:solidFill>
              <a:srgbClr val="000000"/>
            </a:solidFill>
            <a:prstDash val="solid"/>
          </a:ln>
          <a:effectLst/>
        </p:spPr>
      </p:cxnSp>
      <p:sp>
        <p:nvSpPr>
          <p:cNvPr id="166" name="RBContent131"/>
          <p:cNvSpPr txBox="1">
            <a:spLocks/>
          </p:cNvSpPr>
          <p:nvPr/>
        </p:nvSpPr>
        <p:spPr>
          <a:xfrm>
            <a:off x="4961100" y="12639685"/>
            <a:ext cx="14621728" cy="720197"/>
          </a:xfrm>
          <a:prstGeom prst="rect">
            <a:avLst/>
          </a:prstGeom>
          <a:solidFill>
            <a:srgbClr val="FFFFFF"/>
          </a:solidFill>
          <a:ln w="9525">
            <a:noFill/>
          </a:ln>
        </p:spPr>
        <p:txBody>
          <a:bodyPr vert="horz" wrap="square" lIns="0" tIns="0" rIns="0" bIns="0" rtlCol="0">
            <a:spAutoFit/>
          </a:bodyPr>
          <a:lstStyle/>
          <a:p>
            <a:pPr marL="0" marR="0" lvl="0" indent="0" defTabSz="1828800" eaLnBrk="1" fontAlgn="auto" latinLnBrk="0" hangingPunct="1">
              <a:lnSpc>
                <a:spcPct val="90000"/>
              </a:lnSpc>
              <a:spcBef>
                <a:spcPts val="800"/>
              </a:spcBef>
              <a:spcAft>
                <a:spcPts val="0"/>
              </a:spcAft>
              <a:buClrTx/>
              <a:buSzPct val="100000"/>
              <a:buFontTx/>
              <a:buNone/>
              <a:tabLst/>
              <a:defRPr/>
            </a:pPr>
            <a:r>
              <a:rPr kumimoji="0" lang="en-GB" sz="2600" b="0" i="1" u="none" strike="noStrike" kern="0" cap="none" spc="0" normalizeH="0" baseline="0" noProof="0" dirty="0" smtClean="0">
                <a:ln>
                  <a:noFill/>
                </a:ln>
                <a:solidFill>
                  <a:srgbClr val="002060"/>
                </a:solidFill>
                <a:effectLst/>
                <a:uLnTx/>
                <a:uFillTx/>
                <a:latin typeface="Calibri" panose="020F0502020204030204" pitchFamily="34" charset="0"/>
                <a:ea typeface="+mn-ea"/>
                <a:cs typeface="Calibri" panose="020F0502020204030204" pitchFamily="34" charset="0"/>
                <a:sym typeface="+mn-lt"/>
              </a:rPr>
              <a:t>Regions &amp; Cities develop, </a:t>
            </a:r>
            <a:r>
              <a:rPr kumimoji="0" lang="en-GB" sz="2600" b="0" i="1" u="none" strike="noStrike" kern="0" cap="none" spc="0" normalizeH="0" baseline="0" noProof="0" dirty="0" err="1" smtClean="0">
                <a:ln>
                  <a:noFill/>
                </a:ln>
                <a:solidFill>
                  <a:srgbClr val="002060"/>
                </a:solidFill>
                <a:effectLst/>
                <a:uLnTx/>
                <a:uFillTx/>
                <a:latin typeface="Calibri" panose="020F0502020204030204" pitchFamily="34" charset="0"/>
                <a:ea typeface="+mn-ea"/>
                <a:cs typeface="Calibri" panose="020F0502020204030204" pitchFamily="34" charset="0"/>
                <a:sym typeface="+mn-lt"/>
              </a:rPr>
              <a:t>RB</a:t>
            </a:r>
            <a:r>
              <a:rPr kumimoji="0" lang="en-GB" sz="2600" b="0" i="1" u="none" strike="noStrike" kern="0" cap="none" spc="0" normalizeH="0" baseline="0" noProof="0" dirty="0" smtClean="0">
                <a:ln>
                  <a:noFill/>
                </a:ln>
                <a:solidFill>
                  <a:srgbClr val="002060"/>
                </a:solidFill>
                <a:effectLst/>
                <a:uLnTx/>
                <a:uFillTx/>
                <a:latin typeface="Calibri" panose="020F0502020204030204" pitchFamily="34" charset="0"/>
                <a:ea typeface="+mn-ea"/>
                <a:cs typeface="Calibri" panose="020F0502020204030204" pitchFamily="34" charset="0"/>
                <a:sym typeface="+mn-lt"/>
              </a:rPr>
              <a:t> facilitates &amp; supports in the process, FCH industry assists with experience and expertise</a:t>
            </a:r>
          </a:p>
        </p:txBody>
      </p:sp>
      <p:sp>
        <p:nvSpPr>
          <p:cNvPr id="167" name="RbLeanShape Left U-Shape 59"/>
          <p:cNvSpPr>
            <a:spLocks/>
          </p:cNvSpPr>
          <p:nvPr/>
        </p:nvSpPr>
        <p:spPr>
          <a:xfrm>
            <a:off x="15394517" y="6665632"/>
            <a:ext cx="374622" cy="2871260"/>
          </a:xfrm>
          <a:custGeom>
            <a:avLst/>
            <a:gdLst>
              <a:gd name="connsiteX0" fmla="*/ 0 w 1270000"/>
              <a:gd name="connsiteY0" fmla="*/ 0 h 3175000"/>
              <a:gd name="connsiteX1" fmla="*/ 1270000 w 1270000"/>
              <a:gd name="connsiteY1" fmla="*/ 0 h 3175000"/>
              <a:gd name="connsiteX2" fmla="*/ 1270000 w 1270000"/>
              <a:gd name="connsiteY2" fmla="*/ 3175000 h 3175000"/>
              <a:gd name="connsiteX3" fmla="*/ 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0" y="0"/>
                </a:moveTo>
                <a:lnTo>
                  <a:pt x="1270000" y="0"/>
                </a:lnTo>
                <a:lnTo>
                  <a:pt x="1270000" y="3175000"/>
                </a:lnTo>
                <a:lnTo>
                  <a:pt x="0" y="3175000"/>
                </a:lnTo>
              </a:path>
            </a:pathLst>
          </a:custGeom>
          <a:noFill/>
          <a:ln w="15875" cap="flat" cmpd="sng" algn="ctr">
            <a:solidFill>
              <a:srgbClr val="8D9399"/>
            </a:solidFill>
            <a:prstDash val="solid"/>
          </a:ln>
          <a:effectLst/>
        </p:spPr>
        <p:txBody>
          <a:bodyPr lIns="0" tIns="0" rIns="0" bIns="0" rtlCol="0" anchor="ctr"/>
          <a:lstStyle/>
          <a:p>
            <a:pPr marL="0" marR="0" lvl="0" indent="0" algn="l" defTabSz="1828800" eaLnBrk="1" fontAlgn="auto" latinLnBrk="0" hangingPunct="1">
              <a:lnSpc>
                <a:spcPct val="90000"/>
              </a:lnSpc>
              <a:spcBef>
                <a:spcPts val="0"/>
              </a:spcBef>
              <a:spcAft>
                <a:spcPts val="0"/>
              </a:spcAft>
              <a:buClrTx/>
              <a:buSzTx/>
              <a:buFontTx/>
              <a:buNone/>
              <a:tabLst/>
              <a:defRPr/>
            </a:pPr>
            <a:endParaRPr kumimoji="0" lang="en-GB" sz="2600" b="1" i="0" u="none" strike="noStrike" kern="0" cap="none" spc="0" normalizeH="0" baseline="0" noProof="0" dirty="0" smtClean="0">
              <a:ln>
                <a:noFill/>
              </a:ln>
              <a:solidFill>
                <a:srgbClr val="002060"/>
              </a:solidFill>
              <a:effectLst/>
              <a:uLnTx/>
              <a:uFillTx/>
              <a:latin typeface="Calibri" panose="020F0502020204030204" pitchFamily="34" charset="0"/>
              <a:ea typeface="+mn-ea"/>
              <a:cs typeface="Calibri" panose="020F0502020204030204" pitchFamily="34" charset="0"/>
            </a:endParaRPr>
          </a:p>
        </p:txBody>
      </p:sp>
      <p:sp>
        <p:nvSpPr>
          <p:cNvPr id="168" name="IsoscelesTriangle491526"/>
          <p:cNvSpPr/>
          <p:nvPr/>
        </p:nvSpPr>
        <p:spPr bwMode="auto">
          <a:xfrm rot="5400000">
            <a:off x="15408278" y="7947049"/>
            <a:ext cx="723900" cy="311150"/>
          </a:xfrm>
          <a:prstGeom prst="triangle">
            <a:avLst/>
          </a:prstGeom>
          <a:solidFill>
            <a:srgbClr val="8D9399"/>
          </a:solidFill>
          <a:ln w="22225" cmpd="sng">
            <a:solidFill>
              <a:srgbClr val="FFFFFF"/>
            </a:solidFill>
            <a:round/>
            <a:headEnd/>
            <a:tailEnd/>
          </a:ln>
        </p:spPr>
        <p:txBody>
          <a:bodyPr rtlCol="0" anchor="ctr"/>
          <a:lstStyle/>
          <a:p>
            <a:pPr marL="0" marR="0" lvl="0" indent="0" defTabSz="1828800" eaLnBrk="1" fontAlgn="auto" latinLnBrk="0" hangingPunct="1">
              <a:lnSpc>
                <a:spcPct val="100000"/>
              </a:lnSpc>
              <a:spcBef>
                <a:spcPts val="0"/>
              </a:spcBef>
              <a:spcAft>
                <a:spcPts val="0"/>
              </a:spcAft>
              <a:buClrTx/>
              <a:buSzTx/>
              <a:buFontTx/>
              <a:buNone/>
              <a:tabLst/>
              <a:defRPr/>
            </a:pPr>
            <a:endParaRPr kumimoji="0" lang="en-GB" sz="2600" b="1" i="0" u="none" strike="noStrike" kern="0" cap="none" spc="0" normalizeH="0" baseline="0" noProof="0" dirty="0" smtClean="0">
              <a:ln>
                <a:noFill/>
              </a:ln>
              <a:solidFill>
                <a:srgbClr val="00206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472561038"/>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20"/>
          </p:nvPr>
        </p:nvSpPr>
        <p:spPr/>
        <p:txBody>
          <a:bodyPr/>
          <a:lstStyle/>
          <a:p>
            <a:r>
              <a:rPr lang="de-DE" dirty="0" err="1" smtClean="0"/>
              <a:t>Regions</a:t>
            </a:r>
            <a:r>
              <a:rPr lang="de-DE" dirty="0" smtClean="0"/>
              <a:t> &amp; Cities </a:t>
            </a:r>
            <a:r>
              <a:rPr lang="de-DE" dirty="0" err="1" smtClean="0"/>
              <a:t>are</a:t>
            </a:r>
            <a:r>
              <a:rPr lang="de-DE" dirty="0" smtClean="0"/>
              <a:t> </a:t>
            </a:r>
            <a:r>
              <a:rPr lang="de-DE" dirty="0" err="1" smtClean="0"/>
              <a:t>looking</a:t>
            </a:r>
            <a:r>
              <a:rPr lang="de-DE" dirty="0" smtClean="0"/>
              <a:t> </a:t>
            </a:r>
            <a:r>
              <a:rPr lang="de-DE" dirty="0" err="1" smtClean="0"/>
              <a:t>to</a:t>
            </a:r>
            <a:r>
              <a:rPr lang="de-DE" dirty="0" smtClean="0"/>
              <a:t> </a:t>
            </a:r>
            <a:r>
              <a:rPr lang="de-DE" dirty="0" err="1" smtClean="0"/>
              <a:t>implement</a:t>
            </a:r>
            <a:r>
              <a:rPr lang="de-DE" dirty="0" smtClean="0"/>
              <a:t> </a:t>
            </a:r>
            <a:r>
              <a:rPr lang="de-DE" dirty="0" err="1" smtClean="0"/>
              <a:t>the</a:t>
            </a:r>
            <a:r>
              <a:rPr lang="de-DE" dirty="0" smtClean="0"/>
              <a:t> </a:t>
            </a:r>
            <a:r>
              <a:rPr lang="de-DE" dirty="0" err="1" smtClean="0"/>
              <a:t>concrete</a:t>
            </a:r>
            <a:r>
              <a:rPr lang="de-DE" dirty="0" smtClean="0"/>
              <a:t> </a:t>
            </a:r>
            <a:r>
              <a:rPr lang="de-DE" dirty="0" err="1" smtClean="0"/>
              <a:t>next</a:t>
            </a:r>
            <a:r>
              <a:rPr lang="de-DE" dirty="0" smtClean="0"/>
              <a:t> </a:t>
            </a:r>
            <a:r>
              <a:rPr lang="de-DE" dirty="0" err="1" smtClean="0"/>
              <a:t>steps</a:t>
            </a:r>
            <a:r>
              <a:rPr lang="de-DE" dirty="0" smtClean="0"/>
              <a:t> </a:t>
            </a:r>
            <a:r>
              <a:rPr lang="de-DE" dirty="0" err="1" smtClean="0"/>
              <a:t>of</a:t>
            </a:r>
            <a:r>
              <a:rPr lang="de-DE" dirty="0" smtClean="0"/>
              <a:t> a </a:t>
            </a:r>
            <a:r>
              <a:rPr lang="de-DE" dirty="0" err="1" smtClean="0"/>
              <a:t>long</a:t>
            </a:r>
            <a:r>
              <a:rPr lang="de-DE" dirty="0" smtClean="0"/>
              <a:t>-term </a:t>
            </a:r>
            <a:r>
              <a:rPr lang="de-DE" dirty="0" err="1" smtClean="0"/>
              <a:t>development</a:t>
            </a:r>
            <a:r>
              <a:rPr lang="de-DE" dirty="0" smtClean="0"/>
              <a:t> </a:t>
            </a:r>
            <a:r>
              <a:rPr lang="de-DE" dirty="0" err="1" smtClean="0"/>
              <a:t>towards</a:t>
            </a:r>
            <a:r>
              <a:rPr lang="de-DE" dirty="0" smtClean="0"/>
              <a:t> </a:t>
            </a:r>
            <a:r>
              <a:rPr lang="de-DE" dirty="0" err="1" smtClean="0"/>
              <a:t>widespread</a:t>
            </a:r>
            <a:r>
              <a:rPr lang="de-DE" dirty="0" smtClean="0"/>
              <a:t> </a:t>
            </a:r>
            <a:r>
              <a:rPr lang="de-DE" dirty="0" err="1" smtClean="0"/>
              <a:t>use</a:t>
            </a:r>
            <a:r>
              <a:rPr lang="de-DE" dirty="0" smtClean="0"/>
              <a:t> </a:t>
            </a:r>
            <a:r>
              <a:rPr lang="de-DE" dirty="0" err="1" smtClean="0"/>
              <a:t>of</a:t>
            </a:r>
            <a:r>
              <a:rPr lang="de-DE" dirty="0" smtClean="0"/>
              <a:t> FCH</a:t>
            </a:r>
            <a:endParaRPr lang="de-DE" dirty="0"/>
          </a:p>
        </p:txBody>
      </p:sp>
      <p:sp>
        <p:nvSpPr>
          <p:cNvPr id="5" name="Slide Number Placeholder 4"/>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D1E7C23-2AAD-0D45-B01B-5A673730BB06}" type="slidenum">
              <a:rPr kumimoji="0" lang="en-US" sz="2400" b="0" i="0" u="none" strike="noStrike" kern="1200" cap="none" spc="0" normalizeH="0" baseline="0" noProof="0" smtClean="0">
                <a:ln>
                  <a:noFill/>
                </a:ln>
                <a:solidFill>
                  <a:srgbClr val="004494"/>
                </a:solidFill>
                <a:effectLst/>
                <a:uLnTx/>
                <a:uFillTx/>
                <a:latin typeface="Calibri" charset="0"/>
                <a:cs typeface="Calibri" charset="0"/>
                <a:sym typeface="Gill Sans" charset="0"/>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US" sz="2400" b="0" i="0" u="none" strike="noStrike" kern="1200" cap="none" spc="0" normalizeH="0" baseline="0" noProof="0" dirty="0">
              <a:ln>
                <a:noFill/>
              </a:ln>
              <a:solidFill>
                <a:srgbClr val="004494"/>
              </a:solidFill>
              <a:effectLst/>
              <a:uLnTx/>
              <a:uFillTx/>
              <a:latin typeface="Calibri" charset="0"/>
              <a:cs typeface="Calibri" charset="0"/>
              <a:sym typeface="Gill Sans" charset="0"/>
            </a:endParaRPr>
          </a:p>
        </p:txBody>
      </p:sp>
      <p:sp>
        <p:nvSpPr>
          <p:cNvPr id="9" name="Content Placeholder 5"/>
          <p:cNvSpPr>
            <a:spLocks noGrp="1"/>
          </p:cNvSpPr>
          <p:nvPr>
            <p:ph sz="quarter" idx="23"/>
          </p:nvPr>
        </p:nvSpPr>
        <p:spPr>
          <a:xfrm>
            <a:off x="1102768" y="3595760"/>
            <a:ext cx="22185320" cy="677108"/>
          </a:xfrm>
        </p:spPr>
        <p:txBody>
          <a:bodyPr/>
          <a:lstStyle/>
          <a:p>
            <a:r>
              <a:rPr lang="en-US" dirty="0" smtClean="0"/>
              <a:t>FCH market development perspective from the FCH JU Regions &amp; Cities Initiative</a:t>
            </a:r>
            <a:endParaRPr lang="en-US" dirty="0"/>
          </a:p>
        </p:txBody>
      </p:sp>
      <p:sp>
        <p:nvSpPr>
          <p:cNvPr id="10" name="RbLeanShape Right U-Shape 5"/>
          <p:cNvSpPr/>
          <p:nvPr/>
        </p:nvSpPr>
        <p:spPr>
          <a:xfrm flipH="1">
            <a:off x="1387338" y="5126278"/>
            <a:ext cx="20152081" cy="6412242"/>
          </a:xfrm>
          <a:custGeom>
            <a:avLst/>
            <a:gdLst>
              <a:gd name="connsiteX0" fmla="*/ 1270000 w 1270000"/>
              <a:gd name="connsiteY0" fmla="*/ 0 h 3175000"/>
              <a:gd name="connsiteX1" fmla="*/ 0 w 1270000"/>
              <a:gd name="connsiteY1" fmla="*/ 0 h 3175000"/>
              <a:gd name="connsiteX2" fmla="*/ 0 w 1270000"/>
              <a:gd name="connsiteY2" fmla="*/ 3175000 h 3175000"/>
              <a:gd name="connsiteX3" fmla="*/ 1270000 w 1270000"/>
              <a:gd name="connsiteY3" fmla="*/ 3175000 h 3175000"/>
            </a:gdLst>
            <a:ahLst/>
            <a:cxnLst>
              <a:cxn ang="0">
                <a:pos x="connsiteX0" y="connsiteY0"/>
              </a:cxn>
              <a:cxn ang="0">
                <a:pos x="connsiteX1" y="connsiteY1"/>
              </a:cxn>
              <a:cxn ang="0">
                <a:pos x="connsiteX2" y="connsiteY2"/>
              </a:cxn>
              <a:cxn ang="0">
                <a:pos x="connsiteX3" y="connsiteY3"/>
              </a:cxn>
            </a:cxnLst>
            <a:rect l="l" t="t" r="r" b="b"/>
            <a:pathLst>
              <a:path w="1270000" h="3175000">
                <a:moveTo>
                  <a:pt x="1270000" y="0"/>
                </a:moveTo>
                <a:lnTo>
                  <a:pt x="0" y="0"/>
                </a:lnTo>
                <a:lnTo>
                  <a:pt x="0" y="3175000"/>
                </a:lnTo>
                <a:lnTo>
                  <a:pt x="1270000" y="3175000"/>
                </a:lnTo>
              </a:path>
            </a:pathLst>
          </a:custGeom>
          <a:ln w="47625" cmpd="sng">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0" tIns="0" rIns="0" bIns="0" rtlCol="0" anchor="ctr"/>
          <a:lstStyle/>
          <a:p>
            <a:pPr marL="0" marR="0" lvl="0" indent="0" algn="ctr" defTabSz="914400" rtl="0" eaLnBrk="1" fontAlgn="base" latinLnBrk="0" hangingPunct="1">
              <a:lnSpc>
                <a:spcPct val="90000"/>
              </a:lnSpc>
              <a:spcBef>
                <a:spcPts val="0"/>
              </a:spcBef>
              <a:spcAft>
                <a:spcPct val="0"/>
              </a:spcAft>
              <a:buClrTx/>
              <a:buSzTx/>
              <a:buFontTx/>
              <a:buNone/>
              <a:tabLst/>
              <a:defRPr/>
            </a:pPr>
            <a:endParaRPr kumimoji="0" lang="de-DE" sz="6000" b="0" i="0" u="none" strike="noStrike" kern="1200" cap="none" spc="0" normalizeH="0" baseline="0" noProof="0">
              <a:ln>
                <a:noFill/>
              </a:ln>
              <a:solidFill>
                <a:srgbClr val="7F7F7F"/>
              </a:solidFill>
              <a:effectLst/>
              <a:uLnTx/>
              <a:uFillTx/>
              <a:latin typeface="Calibri" panose="020F0502020204030204"/>
              <a:ea typeface="+mn-ea"/>
              <a:cs typeface="+mn-cs"/>
              <a:sym typeface="Gill Sans" charset="0"/>
            </a:endParaRPr>
          </a:p>
        </p:txBody>
      </p:sp>
      <p:sp>
        <p:nvSpPr>
          <p:cNvPr id="12" name="TextBox 11"/>
          <p:cNvSpPr txBox="1">
            <a:spLocks/>
          </p:cNvSpPr>
          <p:nvPr/>
        </p:nvSpPr>
        <p:spPr>
          <a:xfrm>
            <a:off x="1462808" y="5357238"/>
            <a:ext cx="7731668" cy="572464"/>
          </a:xfrm>
          <a:prstGeom prst="rect">
            <a:avLst/>
          </a:prstGeom>
        </p:spPr>
        <p:txBody>
          <a:bodyPr wrap="none" lIns="0" tIns="0" rIns="0" bIns="0" rtlCol="0">
            <a:spAutoFit/>
          </a:bodyPr>
          <a:lstStyle>
            <a:defPPr>
              <a:defRPr lang="de-DE"/>
            </a:defPPr>
            <a:lvl1pPr>
              <a:lnSpc>
                <a:spcPct val="93000"/>
              </a:lnSpc>
              <a:spcBef>
                <a:spcPts val="0"/>
              </a:spcBef>
              <a:defRPr sz="1600" b="0"/>
            </a:lvl1pPr>
          </a:lstStyle>
          <a:p>
            <a:pPr marL="0" marR="0" lvl="0" indent="0" algn="l" defTabSz="914400" rtl="0" eaLnBrk="1" fontAlgn="base" latinLnBrk="0" hangingPunct="1">
              <a:lnSpc>
                <a:spcPct val="93000"/>
              </a:lnSpc>
              <a:spcBef>
                <a:spcPts val="0"/>
              </a:spcBef>
              <a:spcAft>
                <a:spcPct val="0"/>
              </a:spcAft>
              <a:buClrTx/>
              <a:buSzTx/>
              <a:buFontTx/>
              <a:buNone/>
              <a:tabLst/>
              <a:defRPr/>
            </a:pPr>
            <a:r>
              <a:rPr kumimoji="0" lang="en-GB" sz="4000" b="1" i="0" u="none" strike="noStrike" kern="1200" cap="none" spc="0" normalizeH="0" baseline="0" noProof="0" dirty="0" smtClean="0">
                <a:ln>
                  <a:noFill/>
                </a:ln>
                <a:solidFill>
                  <a:srgbClr val="3DA7AB"/>
                </a:solidFill>
                <a:effectLst/>
                <a:uLnTx/>
                <a:uFillTx/>
                <a:latin typeface="Calibri" panose="020F0502020204030204"/>
                <a:sym typeface="Gill Sans" charset="0"/>
              </a:rPr>
              <a:t>Key learnings from the project so far</a:t>
            </a:r>
            <a:endParaRPr kumimoji="0" lang="en-GB" sz="4000" b="1" i="0" u="none" strike="noStrike" kern="1200" cap="none" spc="0" normalizeH="0" baseline="0" noProof="0" dirty="0">
              <a:ln>
                <a:noFill/>
              </a:ln>
              <a:solidFill>
                <a:srgbClr val="3DA7AB"/>
              </a:solidFill>
              <a:effectLst/>
              <a:uLnTx/>
              <a:uFillTx/>
              <a:latin typeface="Calibri" panose="020F0502020204030204"/>
              <a:sym typeface="Gill Sans" charset="0"/>
            </a:endParaRPr>
          </a:p>
        </p:txBody>
      </p:sp>
      <p:sp>
        <p:nvSpPr>
          <p:cNvPr id="14" name="RBContent64"/>
          <p:cNvSpPr txBox="1">
            <a:spLocks/>
          </p:cNvSpPr>
          <p:nvPr/>
        </p:nvSpPr>
        <p:spPr>
          <a:xfrm>
            <a:off x="1117620" y="6054792"/>
            <a:ext cx="20219396" cy="5293757"/>
          </a:xfrm>
          <a:prstGeom prst="rect">
            <a:avLst/>
          </a:prstGeom>
          <a:noFill/>
          <a:ln w="9525">
            <a:noFill/>
          </a:ln>
        </p:spPr>
        <p:txBody>
          <a:bodyPr vert="horz" wrap="square" lIns="0" tIns="0" rIns="0" bIns="0" rtlCol="0">
            <a:spAutoFit/>
          </a:bodyPr>
          <a:lstStyle/>
          <a:p>
            <a:pPr marL="774700" marR="0" lvl="1" indent="-412750" algn="l" defTabSz="914400" rtl="0" eaLnBrk="1" fontAlgn="base" latinLnBrk="0" hangingPunct="1">
              <a:spcBef>
                <a:spcPts val="0"/>
              </a:spcBef>
              <a:spcAft>
                <a:spcPts val="600"/>
              </a:spcAft>
              <a:buClrTx/>
              <a:buSzPct val="100000"/>
              <a:buFont typeface="Arial" charset="0"/>
              <a:buChar char="•"/>
              <a:tabLst/>
              <a:defRPr/>
            </a:pPr>
            <a:r>
              <a:rPr lang="en-GB" sz="3600" b="1" dirty="0" smtClean="0">
                <a:solidFill>
                  <a:srgbClr val="0181C7"/>
                </a:solidFill>
                <a:latin typeface="Calibri" charset="0"/>
                <a:ea typeface="Calibri" charset="0"/>
                <a:cs typeface="Calibri" charset="0"/>
                <a:sym typeface="+mn-lt"/>
              </a:rPr>
              <a:t>Large interest </a:t>
            </a:r>
            <a:r>
              <a:rPr lang="en-GB" sz="3600" b="1" dirty="0">
                <a:solidFill>
                  <a:srgbClr val="0181C7"/>
                </a:solidFill>
                <a:latin typeface="Calibri" charset="0"/>
                <a:ea typeface="Calibri" charset="0"/>
                <a:cs typeface="Calibri" charset="0"/>
                <a:sym typeface="+mn-lt"/>
              </a:rPr>
              <a:t>of Regions &amp; Cities </a:t>
            </a:r>
            <a:r>
              <a:rPr kumimoji="0" lang="en-GB" sz="3600" b="0" i="0" u="none" strike="noStrike" kern="1200" cap="none" spc="0" normalizeH="0" baseline="0" noProof="0" dirty="0" smtClean="0">
                <a:ln>
                  <a:noFill/>
                </a:ln>
                <a:solidFill>
                  <a:srgbClr val="7F7F7F"/>
                </a:solidFill>
                <a:effectLst/>
                <a:uLnTx/>
                <a:uFillTx/>
                <a:latin typeface="Calibri" charset="0"/>
                <a:ea typeface="Calibri" charset="0"/>
                <a:cs typeface="Calibri" charset="0"/>
                <a:sym typeface="+mn-lt"/>
              </a:rPr>
              <a:t>to engage in FCH deployment projects</a:t>
            </a:r>
          </a:p>
          <a:p>
            <a:pPr marL="774700" marR="0" lvl="1" indent="-412750" algn="l" defTabSz="914400" rtl="0" eaLnBrk="1" fontAlgn="base" latinLnBrk="0" hangingPunct="1">
              <a:spcBef>
                <a:spcPts val="0"/>
              </a:spcBef>
              <a:spcAft>
                <a:spcPts val="600"/>
              </a:spcAft>
              <a:buClrTx/>
              <a:buSzPct val="100000"/>
              <a:buFont typeface="Arial" charset="0"/>
              <a:buChar char="•"/>
              <a:tabLst/>
              <a:defRPr/>
            </a:pPr>
            <a:r>
              <a:rPr kumimoji="0" lang="en-GB" sz="3600" b="0" i="0" u="none" strike="noStrike" kern="1200" cap="none" spc="0" normalizeH="0" baseline="0" noProof="0" dirty="0" smtClean="0">
                <a:ln>
                  <a:noFill/>
                </a:ln>
                <a:solidFill>
                  <a:srgbClr val="7F7F7F"/>
                </a:solidFill>
                <a:effectLst/>
                <a:uLnTx/>
                <a:uFillTx/>
                <a:latin typeface="Calibri" charset="0"/>
                <a:ea typeface="Calibri" charset="0"/>
                <a:cs typeface="Calibri" charset="0"/>
                <a:sym typeface="+mn-lt"/>
              </a:rPr>
              <a:t>Many participants see </a:t>
            </a:r>
            <a:r>
              <a:rPr lang="en-GB" sz="3600" b="1" dirty="0">
                <a:solidFill>
                  <a:srgbClr val="0181C7"/>
                </a:solidFill>
                <a:latin typeface="Calibri" charset="0"/>
                <a:ea typeface="Calibri" charset="0"/>
                <a:cs typeface="Calibri" charset="0"/>
                <a:sym typeface="+mn-lt"/>
              </a:rPr>
              <a:t>H2 to play a central role in sector coupling</a:t>
            </a:r>
            <a:r>
              <a:rPr kumimoji="0" lang="en-GB" sz="3600" b="0" i="0" u="none" strike="noStrike" kern="1200" cap="none" spc="0" normalizeH="0" baseline="0" noProof="0" dirty="0" smtClean="0">
                <a:ln>
                  <a:noFill/>
                </a:ln>
                <a:solidFill>
                  <a:srgbClr val="7F7F7F"/>
                </a:solidFill>
                <a:effectLst/>
                <a:uLnTx/>
                <a:uFillTx/>
                <a:latin typeface="Calibri" charset="0"/>
                <a:ea typeface="Calibri" charset="0"/>
                <a:cs typeface="Calibri" charset="0"/>
                <a:sym typeface="+mn-lt"/>
              </a:rPr>
              <a:t> and in a broad range of application areas</a:t>
            </a:r>
          </a:p>
          <a:p>
            <a:pPr marL="774700" marR="0" lvl="1" indent="-412750" algn="l" defTabSz="914400" rtl="0" eaLnBrk="1" fontAlgn="base" latinLnBrk="0" hangingPunct="1">
              <a:spcBef>
                <a:spcPts val="0"/>
              </a:spcBef>
              <a:spcAft>
                <a:spcPts val="600"/>
              </a:spcAft>
              <a:buClrTx/>
              <a:buSzPct val="100000"/>
              <a:buFont typeface="Arial" charset="0"/>
              <a:buChar char="•"/>
              <a:tabLst/>
              <a:defRPr/>
            </a:pPr>
            <a:r>
              <a:rPr kumimoji="0" lang="en-GB" sz="3600" b="0" i="0" u="none" strike="noStrike" kern="1200" cap="none" spc="0" normalizeH="0" baseline="0" noProof="0" dirty="0" smtClean="0">
                <a:ln>
                  <a:noFill/>
                </a:ln>
                <a:solidFill>
                  <a:srgbClr val="7F7F7F"/>
                </a:solidFill>
                <a:effectLst/>
                <a:uLnTx/>
                <a:uFillTx/>
                <a:latin typeface="Calibri" charset="0"/>
                <a:ea typeface="Calibri" charset="0"/>
                <a:cs typeface="Calibri" charset="0"/>
                <a:sym typeface="+mn-lt"/>
              </a:rPr>
              <a:t>To initiate this development, a </a:t>
            </a:r>
            <a:r>
              <a:rPr lang="en-GB" sz="3600" b="1" dirty="0">
                <a:solidFill>
                  <a:srgbClr val="0181C7"/>
                </a:solidFill>
                <a:latin typeface="Calibri" charset="0"/>
                <a:ea typeface="Calibri" charset="0"/>
                <a:cs typeface="Calibri" charset="0"/>
                <a:sym typeface="+mn-lt"/>
              </a:rPr>
              <a:t>group of participants aims to realise "</a:t>
            </a:r>
            <a:r>
              <a:rPr lang="en-GB" sz="3600" b="1" dirty="0" err="1">
                <a:solidFill>
                  <a:srgbClr val="0181C7"/>
                </a:solidFill>
                <a:latin typeface="Calibri" charset="0"/>
                <a:ea typeface="Calibri" charset="0"/>
                <a:cs typeface="Calibri" charset="0"/>
                <a:sym typeface="+mn-lt"/>
              </a:rPr>
              <a:t>H2</a:t>
            </a:r>
            <a:r>
              <a:rPr lang="en-GB" sz="3600" b="1" dirty="0">
                <a:solidFill>
                  <a:srgbClr val="0181C7"/>
                </a:solidFill>
                <a:latin typeface="Calibri" charset="0"/>
                <a:ea typeface="Calibri" charset="0"/>
                <a:cs typeface="Calibri" charset="0"/>
                <a:sym typeface="+mn-lt"/>
              </a:rPr>
              <a:t> Valley" projects</a:t>
            </a:r>
            <a:r>
              <a:rPr kumimoji="0" lang="en-GB" sz="3600" b="0" i="0" u="none" strike="noStrike" kern="1200" cap="none" spc="0" normalizeH="0" baseline="0" noProof="0" dirty="0" smtClean="0">
                <a:ln>
                  <a:noFill/>
                </a:ln>
                <a:solidFill>
                  <a:srgbClr val="7F7F7F"/>
                </a:solidFill>
                <a:effectLst/>
                <a:uLnTx/>
                <a:uFillTx/>
                <a:latin typeface="Calibri" charset="0"/>
                <a:ea typeface="Calibri" charset="0"/>
                <a:cs typeface="Calibri" charset="0"/>
                <a:sym typeface="+mn-lt"/>
              </a:rPr>
              <a:t> covering the entire </a:t>
            </a:r>
            <a:r>
              <a:rPr kumimoji="0" lang="en-GB" sz="3600" b="0" i="0" u="none" strike="noStrike" kern="1200" cap="none" spc="0" normalizeH="0" baseline="0" noProof="0" dirty="0" err="1" smtClean="0">
                <a:ln>
                  <a:noFill/>
                </a:ln>
                <a:solidFill>
                  <a:srgbClr val="7F7F7F"/>
                </a:solidFill>
                <a:effectLst/>
                <a:uLnTx/>
                <a:uFillTx/>
                <a:latin typeface="Calibri" charset="0"/>
                <a:ea typeface="Calibri" charset="0"/>
                <a:cs typeface="Calibri" charset="0"/>
                <a:sym typeface="+mn-lt"/>
              </a:rPr>
              <a:t>H</a:t>
            </a:r>
            <a:r>
              <a:rPr kumimoji="0" lang="en-GB" sz="3600" b="0" i="0" u="none" strike="noStrike" kern="1200" cap="none" spc="0" normalizeH="0" baseline="-25000" noProof="0" dirty="0" err="1" smtClean="0">
                <a:ln>
                  <a:noFill/>
                </a:ln>
                <a:solidFill>
                  <a:srgbClr val="7F7F7F"/>
                </a:solidFill>
                <a:effectLst/>
                <a:uLnTx/>
                <a:uFillTx/>
                <a:latin typeface="Calibri" charset="0"/>
                <a:ea typeface="Calibri" charset="0"/>
                <a:cs typeface="Calibri" charset="0"/>
                <a:sym typeface="+mn-lt"/>
              </a:rPr>
              <a:t>2</a:t>
            </a:r>
            <a:r>
              <a:rPr kumimoji="0" lang="en-GB" sz="3600" b="0" i="0" u="none" strike="noStrike" kern="1200" cap="none" spc="0" normalizeH="0" baseline="0" noProof="0" dirty="0" smtClean="0">
                <a:ln>
                  <a:noFill/>
                </a:ln>
                <a:solidFill>
                  <a:srgbClr val="7F7F7F"/>
                </a:solidFill>
                <a:effectLst/>
                <a:uLnTx/>
                <a:uFillTx/>
                <a:latin typeface="Calibri" charset="0"/>
                <a:ea typeface="Calibri" charset="0"/>
                <a:cs typeface="Calibri" charset="0"/>
                <a:sym typeface="+mn-lt"/>
              </a:rPr>
              <a:t> value chain and including different kinds of applications</a:t>
            </a:r>
            <a:endParaRPr kumimoji="0" lang="en-GB" sz="3600" b="0" i="0" u="none" strike="noStrike" kern="1200" cap="none" spc="0" normalizeH="0" baseline="0" noProof="0" dirty="0">
              <a:ln>
                <a:noFill/>
              </a:ln>
              <a:solidFill>
                <a:srgbClr val="7F7F7F"/>
              </a:solidFill>
              <a:effectLst/>
              <a:uLnTx/>
              <a:uFillTx/>
              <a:latin typeface="Calibri" charset="0"/>
              <a:ea typeface="Calibri" charset="0"/>
              <a:cs typeface="Calibri" charset="0"/>
              <a:sym typeface="+mn-lt"/>
            </a:endParaRPr>
          </a:p>
          <a:p>
            <a:pPr marL="774700" marR="0" lvl="1" indent="-412750" algn="l" defTabSz="914400" rtl="0" eaLnBrk="1" fontAlgn="base" latinLnBrk="0" hangingPunct="1">
              <a:spcBef>
                <a:spcPts val="0"/>
              </a:spcBef>
              <a:spcAft>
                <a:spcPts val="600"/>
              </a:spcAft>
              <a:buClrTx/>
              <a:buSzPct val="100000"/>
              <a:buFont typeface="Arial" charset="0"/>
              <a:buChar char="•"/>
              <a:tabLst/>
              <a:defRPr/>
            </a:pPr>
            <a:r>
              <a:rPr kumimoji="0" lang="en-GB" sz="3600" b="0" i="0" u="none" strike="noStrike" kern="1200" cap="none" spc="0" normalizeH="0" baseline="0" noProof="0" dirty="0" smtClean="0">
                <a:ln>
                  <a:noFill/>
                </a:ln>
                <a:solidFill>
                  <a:srgbClr val="7F7F7F"/>
                </a:solidFill>
                <a:effectLst/>
                <a:uLnTx/>
                <a:uFillTx/>
                <a:latin typeface="Calibri" charset="0"/>
                <a:ea typeface="Calibri" charset="0"/>
                <a:cs typeface="Calibri" charset="0"/>
                <a:sym typeface="+mn-lt"/>
              </a:rPr>
              <a:t>Besides this, </a:t>
            </a:r>
            <a:r>
              <a:rPr lang="en-GB" sz="3600" b="1" dirty="0">
                <a:solidFill>
                  <a:srgbClr val="0181C7"/>
                </a:solidFill>
                <a:latin typeface="Calibri" charset="0"/>
                <a:ea typeface="Calibri" charset="0"/>
                <a:cs typeface="Calibri" charset="0"/>
                <a:sym typeface="+mn-lt"/>
              </a:rPr>
              <a:t>levels of ambition, experience and concreteness of plans are highly heterogeneous</a:t>
            </a:r>
            <a:r>
              <a:rPr kumimoji="0" lang="en-GB" sz="3600" b="0" i="0" u="none" strike="noStrike" kern="1200" cap="none" spc="0" normalizeH="0" baseline="0" noProof="0" dirty="0" smtClean="0">
                <a:ln>
                  <a:noFill/>
                </a:ln>
                <a:solidFill>
                  <a:srgbClr val="7F7F7F"/>
                </a:solidFill>
                <a:effectLst/>
                <a:uLnTx/>
                <a:uFillTx/>
                <a:latin typeface="Calibri" charset="0"/>
                <a:ea typeface="Calibri" charset="0"/>
                <a:cs typeface="Calibri" charset="0"/>
                <a:sym typeface="+mn-lt"/>
              </a:rPr>
              <a:t>, but many </a:t>
            </a:r>
            <a:r>
              <a:rPr kumimoji="0" lang="en-GB" sz="3600" b="0" i="0" u="none" strike="noStrike" kern="1200" cap="none" spc="0" normalizeH="0" baseline="0" noProof="0" dirty="0">
                <a:ln>
                  <a:noFill/>
                </a:ln>
                <a:solidFill>
                  <a:srgbClr val="7F7F7F"/>
                </a:solidFill>
                <a:effectLst/>
                <a:uLnTx/>
                <a:uFillTx/>
                <a:latin typeface="Calibri" charset="0"/>
                <a:ea typeface="Calibri" charset="0"/>
                <a:cs typeface="Calibri" charset="0"/>
                <a:sym typeface="+mn-lt"/>
              </a:rPr>
              <a:t>regions and cities aim at realising the concrete next steps </a:t>
            </a:r>
            <a:endParaRPr kumimoji="0" lang="en-GB" sz="3600" b="0" i="0" u="none" strike="noStrike" kern="1200" cap="none" spc="0" normalizeH="0" baseline="0" noProof="0" dirty="0" smtClean="0">
              <a:ln>
                <a:noFill/>
              </a:ln>
              <a:solidFill>
                <a:srgbClr val="7F7F7F"/>
              </a:solidFill>
              <a:effectLst/>
              <a:uLnTx/>
              <a:uFillTx/>
              <a:latin typeface="Calibri" charset="0"/>
              <a:ea typeface="Calibri" charset="0"/>
              <a:cs typeface="Calibri" charset="0"/>
              <a:sym typeface="+mn-lt"/>
            </a:endParaRPr>
          </a:p>
          <a:p>
            <a:pPr marL="774700" marR="0" lvl="1" indent="-412750" algn="l" defTabSz="914400" rtl="0" eaLnBrk="1" fontAlgn="base" latinLnBrk="0" hangingPunct="1">
              <a:spcBef>
                <a:spcPts val="0"/>
              </a:spcBef>
              <a:spcAft>
                <a:spcPts val="600"/>
              </a:spcAft>
              <a:buClrTx/>
              <a:buSzPct val="100000"/>
              <a:buFont typeface="Arial" charset="0"/>
              <a:buChar char="•"/>
              <a:tabLst/>
              <a:defRPr/>
            </a:pPr>
            <a:r>
              <a:rPr lang="en-GB" sz="3600" b="1" dirty="0" smtClean="0">
                <a:solidFill>
                  <a:srgbClr val="0181C7"/>
                </a:solidFill>
                <a:latin typeface="Calibri" charset="0"/>
                <a:ea typeface="Calibri" charset="0"/>
                <a:cs typeface="Calibri" charset="0"/>
                <a:sym typeface="+mn-lt"/>
              </a:rPr>
              <a:t>Main challenges are lack </a:t>
            </a:r>
            <a:r>
              <a:rPr lang="en-GB" sz="3600" b="1" dirty="0">
                <a:solidFill>
                  <a:srgbClr val="0181C7"/>
                </a:solidFill>
                <a:latin typeface="Calibri" charset="0"/>
                <a:ea typeface="Calibri" charset="0"/>
                <a:cs typeface="Calibri" charset="0"/>
                <a:sym typeface="+mn-lt"/>
              </a:rPr>
              <a:t>of commercial availability </a:t>
            </a:r>
            <a:r>
              <a:rPr kumimoji="0" lang="en-GB" sz="3600" b="0" i="0" u="none" strike="noStrike" kern="1200" cap="none" spc="0" normalizeH="0" baseline="0" noProof="0" dirty="0">
                <a:ln>
                  <a:noFill/>
                </a:ln>
                <a:solidFill>
                  <a:srgbClr val="7F7F7F"/>
                </a:solidFill>
                <a:effectLst/>
                <a:uLnTx/>
                <a:uFillTx/>
                <a:latin typeface="Calibri" charset="0"/>
                <a:ea typeface="Calibri" charset="0"/>
                <a:cs typeface="Calibri" charset="0"/>
                <a:sym typeface="+mn-lt"/>
              </a:rPr>
              <a:t>of relevant products </a:t>
            </a:r>
            <a:r>
              <a:rPr kumimoji="0" lang="en-GB" sz="3600" b="0" i="0" u="none" strike="noStrike" kern="1200" cap="none" spc="0" normalizeH="0" baseline="0" noProof="0" dirty="0" smtClean="0">
                <a:ln>
                  <a:noFill/>
                </a:ln>
                <a:solidFill>
                  <a:srgbClr val="7F7F7F"/>
                </a:solidFill>
                <a:effectLst/>
                <a:uLnTx/>
                <a:uFillTx/>
                <a:latin typeface="Calibri" charset="0"/>
                <a:ea typeface="Calibri" charset="0"/>
                <a:cs typeface="Calibri" charset="0"/>
                <a:sym typeface="+mn-lt"/>
              </a:rPr>
              <a:t>and </a:t>
            </a:r>
            <a:r>
              <a:rPr lang="en-GB" sz="3600" b="1" dirty="0">
                <a:solidFill>
                  <a:srgbClr val="0181C7"/>
                </a:solidFill>
                <a:latin typeface="Calibri" charset="0"/>
                <a:ea typeface="Calibri" charset="0"/>
                <a:cs typeface="Calibri" charset="0"/>
                <a:sym typeface="+mn-lt"/>
              </a:rPr>
              <a:t>lack of funding </a:t>
            </a:r>
            <a:r>
              <a:rPr kumimoji="0" lang="en-GB" sz="3600" b="0" i="0" u="none" strike="noStrike" kern="1200" cap="none" spc="0" normalizeH="0" baseline="0" noProof="0" dirty="0" smtClean="0">
                <a:ln>
                  <a:noFill/>
                </a:ln>
                <a:solidFill>
                  <a:srgbClr val="7F7F7F"/>
                </a:solidFill>
                <a:effectLst/>
                <a:uLnTx/>
                <a:uFillTx/>
                <a:latin typeface="Calibri" charset="0"/>
                <a:ea typeface="Calibri" charset="0"/>
                <a:cs typeface="Calibri" charset="0"/>
                <a:sym typeface="+mn-lt"/>
              </a:rPr>
              <a:t>for the cost premium</a:t>
            </a:r>
            <a:endParaRPr kumimoji="0" lang="en-GB" sz="3600" b="0" i="0" u="none" strike="noStrike" kern="1200" cap="none" spc="0" normalizeH="0" baseline="0" noProof="0" dirty="0">
              <a:ln>
                <a:noFill/>
              </a:ln>
              <a:solidFill>
                <a:srgbClr val="7F7F7F"/>
              </a:solidFill>
              <a:effectLst/>
              <a:uLnTx/>
              <a:uFillTx/>
              <a:latin typeface="Calibri" charset="0"/>
              <a:ea typeface="Calibri" charset="0"/>
              <a:cs typeface="Calibri" charset="0"/>
              <a:sym typeface="+mn-lt"/>
            </a:endParaRPr>
          </a:p>
        </p:txBody>
      </p:sp>
    </p:spTree>
    <p:extLst>
      <p:ext uri="{BB962C8B-B14F-4D97-AF65-F5344CB8AC3E}">
        <p14:creationId xmlns:p14="http://schemas.microsoft.com/office/powerpoint/2010/main" val="3583341274"/>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 name="Rounded Rectangle 168"/>
          <p:cNvSpPr/>
          <p:nvPr/>
        </p:nvSpPr>
        <p:spPr>
          <a:xfrm>
            <a:off x="1103314" y="3412767"/>
            <a:ext cx="22034500" cy="8945872"/>
          </a:xfrm>
          <a:prstGeom prst="roundRect">
            <a:avLst>
              <a:gd name="adj" fmla="val 5506"/>
            </a:avLst>
          </a:prstGeom>
          <a:solidFill>
            <a:schemeClr val="bg1"/>
          </a:solidFill>
          <a:ln w="1270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934" b="0" i="0" u="none" strike="noStrike" kern="1200" cap="none" spc="0" normalizeH="0" baseline="0" noProof="0" dirty="0">
              <a:ln>
                <a:noFill/>
              </a:ln>
              <a:solidFill>
                <a:srgbClr val="FFFFFF"/>
              </a:solidFill>
              <a:effectLst/>
              <a:uLnTx/>
              <a:uFillTx/>
              <a:latin typeface="Calibri"/>
              <a:ea typeface="+mn-ea"/>
              <a:cs typeface="+mn-cs"/>
              <a:sym typeface="Gill Sans" charset="0"/>
            </a:endParaRPr>
          </a:p>
        </p:txBody>
      </p:sp>
      <p:sp>
        <p:nvSpPr>
          <p:cNvPr id="2" name="Slide Number Placeholder 1"/>
          <p:cNvSpPr>
            <a:spLocks noGrp="1"/>
          </p:cNvSpPr>
          <p:nvPr>
            <p:ph type="sldNum" sz="quarter" idx="10"/>
          </p:nvPr>
        </p:nvSpPr>
        <p:spPr/>
        <p:txBody>
          <a:bodyPr/>
          <a:lstStyle/>
          <a:p>
            <a:fld id="{CD1E7C23-2AAD-0D45-B01B-5A673730BB06}" type="slidenum">
              <a:rPr lang="en-US" smtClean="0"/>
              <a:pPr/>
              <a:t>13</a:t>
            </a:fld>
            <a:endParaRPr lang="en-US" dirty="0"/>
          </a:p>
        </p:txBody>
      </p:sp>
      <p:sp>
        <p:nvSpPr>
          <p:cNvPr id="3" name="Content Placeholder 2"/>
          <p:cNvSpPr>
            <a:spLocks noGrp="1"/>
          </p:cNvSpPr>
          <p:nvPr>
            <p:ph sz="quarter" idx="20"/>
          </p:nvPr>
        </p:nvSpPr>
        <p:spPr>
          <a:xfrm>
            <a:off x="958752" y="834811"/>
            <a:ext cx="20351467" cy="830997"/>
          </a:xfrm>
        </p:spPr>
        <p:txBody>
          <a:bodyPr/>
          <a:lstStyle/>
          <a:p>
            <a:pPr>
              <a:spcBef>
                <a:spcPts val="600"/>
              </a:spcBef>
            </a:pPr>
            <a:r>
              <a:rPr lang="en-GB" dirty="0"/>
              <a:t>ESIF 2014-2020 </a:t>
            </a:r>
            <a:r>
              <a:rPr lang="en-GB" dirty="0" smtClean="0"/>
              <a:t>regional eligibility</a:t>
            </a:r>
          </a:p>
          <a:p>
            <a:pPr>
              <a:spcBef>
                <a:spcPts val="600"/>
              </a:spcBef>
            </a:pPr>
            <a:r>
              <a:rPr lang="en-GB" dirty="0" smtClean="0"/>
              <a:t>– budget earmarked for </a:t>
            </a:r>
            <a:r>
              <a:rPr lang="en-GB" dirty="0" smtClean="0">
                <a:solidFill>
                  <a:srgbClr val="338FFF"/>
                </a:solidFill>
              </a:rPr>
              <a:t>Clean Urban Transport</a:t>
            </a:r>
            <a:r>
              <a:rPr lang="en-GB" dirty="0" smtClean="0"/>
              <a:t> (by region)</a:t>
            </a:r>
            <a:endParaRPr lang="en-GB" dirty="0"/>
          </a:p>
        </p:txBody>
      </p:sp>
      <p:sp>
        <p:nvSpPr>
          <p:cNvPr id="93" name="Title44"/>
          <p:cNvSpPr txBox="1"/>
          <p:nvPr/>
        </p:nvSpPr>
        <p:spPr>
          <a:xfrm>
            <a:off x="14018709" y="5417840"/>
            <a:ext cx="1876847" cy="2287462"/>
          </a:xfrm>
          <a:prstGeom prst="rect">
            <a:avLst/>
          </a:prstGeom>
          <a:noFill/>
          <a:ln w="9525">
            <a:noFill/>
          </a:ln>
        </p:spPr>
        <p:txBody>
          <a:bodyPr vert="horz" wrap="square" lIns="0" tIns="0" rIns="0" bIns="141900" rtlCol="0" anchor="b">
            <a:spAutoFit/>
          </a:bodyPr>
          <a:lstStyle/>
          <a:p>
            <a:pPr algn="r" defTabSz="1828800">
              <a:lnSpc>
                <a:spcPct val="90000"/>
              </a:lnSpc>
              <a:spcBef>
                <a:spcPts val="800"/>
              </a:spcBef>
              <a:buClr>
                <a:srgbClr val="000000"/>
              </a:buClr>
              <a:buSzPct val="100000"/>
            </a:pPr>
            <a:r>
              <a:rPr lang="en-GB" sz="3000" b="1" dirty="0" smtClean="0">
                <a:solidFill>
                  <a:srgbClr val="338FFF"/>
                </a:solidFill>
                <a:latin typeface="Calibri" panose="020F0502020204030204" pitchFamily="34" charset="0"/>
                <a:ea typeface="+mn-ea"/>
                <a:cs typeface="Calibri" panose="020F0502020204030204" pitchFamily="34" charset="0"/>
              </a:rPr>
              <a:t>Cohesion Countries (#15)</a:t>
            </a:r>
          </a:p>
          <a:p>
            <a:pPr algn="r" defTabSz="1828800">
              <a:lnSpc>
                <a:spcPct val="90000"/>
              </a:lnSpc>
              <a:spcBef>
                <a:spcPts val="800"/>
              </a:spcBef>
              <a:buClr>
                <a:srgbClr val="000000"/>
              </a:buClr>
              <a:buSzPct val="100000"/>
            </a:pPr>
            <a:endParaRPr lang="pt-PT" sz="3000" b="1" dirty="0">
              <a:solidFill>
                <a:srgbClr val="338FFF"/>
              </a:solidFill>
              <a:latin typeface="Calibri" panose="020F0502020204030204" pitchFamily="34" charset="0"/>
              <a:ea typeface="+mn-ea"/>
              <a:cs typeface="Calibri" panose="020F0502020204030204" pitchFamily="34" charset="0"/>
            </a:endParaRPr>
          </a:p>
          <a:p>
            <a:pPr algn="r" defTabSz="1828800">
              <a:lnSpc>
                <a:spcPct val="90000"/>
              </a:lnSpc>
              <a:spcBef>
                <a:spcPts val="800"/>
              </a:spcBef>
              <a:buClr>
                <a:srgbClr val="000000"/>
              </a:buClr>
              <a:buSzPct val="100000"/>
            </a:pPr>
            <a:r>
              <a:rPr lang="pt-PT" sz="2000" b="1" dirty="0" smtClean="0">
                <a:solidFill>
                  <a:srgbClr val="338FFF"/>
                </a:solidFill>
                <a:latin typeface="Calibri" panose="020F0502020204030204" pitchFamily="34" charset="0"/>
                <a:ea typeface="+mn-ea"/>
                <a:cs typeface="Calibri" panose="020F0502020204030204" pitchFamily="34" charset="0"/>
              </a:rPr>
              <a:t>(i.e. 80%)</a:t>
            </a:r>
            <a:endParaRPr lang="en-GB" sz="3000" b="1" dirty="0">
              <a:solidFill>
                <a:srgbClr val="338FFF"/>
              </a:solidFill>
              <a:latin typeface="Calibri" panose="020F0502020204030204" pitchFamily="34" charset="0"/>
              <a:ea typeface="+mn-ea"/>
              <a:cs typeface="Calibri" panose="020F0502020204030204" pitchFamily="34" charset="0"/>
            </a:endParaRPr>
          </a:p>
        </p:txBody>
      </p:sp>
      <p:sp>
        <p:nvSpPr>
          <p:cNvPr id="95" name="Title1111"/>
          <p:cNvSpPr txBox="1"/>
          <p:nvPr/>
        </p:nvSpPr>
        <p:spPr>
          <a:xfrm>
            <a:off x="1623684" y="4107244"/>
            <a:ext cx="5436658" cy="558784"/>
          </a:xfrm>
          <a:prstGeom prst="rect">
            <a:avLst/>
          </a:prstGeom>
          <a:noFill/>
          <a:ln w="9525">
            <a:noFill/>
          </a:ln>
        </p:spPr>
        <p:txBody>
          <a:bodyPr vert="horz" wrap="square" lIns="0" tIns="0" rIns="0" bIns="141900" rtlCol="0" anchor="b">
            <a:spAutoFit/>
          </a:bodyPr>
          <a:lstStyle/>
          <a:p>
            <a:pPr defTabSz="1828800">
              <a:lnSpc>
                <a:spcPct val="90000"/>
              </a:lnSpc>
              <a:spcBef>
                <a:spcPts val="800"/>
              </a:spcBef>
              <a:buClr>
                <a:srgbClr val="000000"/>
              </a:buClr>
              <a:buSzPct val="100000"/>
            </a:pPr>
            <a:r>
              <a:rPr lang="en-GB" sz="3000" b="1" dirty="0" smtClean="0">
                <a:solidFill>
                  <a:srgbClr val="002060"/>
                </a:solidFill>
                <a:latin typeface="Calibri" panose="020F0502020204030204" pitchFamily="34" charset="0"/>
                <a:ea typeface="+mn-ea"/>
                <a:cs typeface="Calibri" panose="020F0502020204030204" pitchFamily="34" charset="0"/>
              </a:rPr>
              <a:t>Structural Funds eligibility</a:t>
            </a:r>
            <a:endParaRPr lang="en-GB" sz="3000" b="1" dirty="0">
              <a:solidFill>
                <a:srgbClr val="002060"/>
              </a:solidFill>
              <a:latin typeface="Calibri" panose="020F0502020204030204" pitchFamily="34" charset="0"/>
              <a:ea typeface="+mn-ea"/>
              <a:cs typeface="Calibri" panose="020F0502020204030204" pitchFamily="34" charset="0"/>
            </a:endParaRPr>
          </a:p>
        </p:txBody>
      </p:sp>
      <p:sp>
        <p:nvSpPr>
          <p:cNvPr id="166" name="RBContent131"/>
          <p:cNvSpPr txBox="1">
            <a:spLocks/>
          </p:cNvSpPr>
          <p:nvPr/>
        </p:nvSpPr>
        <p:spPr>
          <a:xfrm>
            <a:off x="4961100" y="12639685"/>
            <a:ext cx="14621728" cy="822789"/>
          </a:xfrm>
          <a:prstGeom prst="rect">
            <a:avLst/>
          </a:prstGeom>
          <a:solidFill>
            <a:srgbClr val="FFFFFF"/>
          </a:solidFill>
          <a:ln w="9525">
            <a:noFill/>
          </a:ln>
        </p:spPr>
        <p:txBody>
          <a:bodyPr vert="horz" wrap="square" lIns="0" tIns="0" rIns="0" bIns="0" rtlCol="0">
            <a:spAutoFit/>
          </a:bodyPr>
          <a:lstStyle/>
          <a:p>
            <a:pPr marL="0" marR="0" lvl="0" indent="0" defTabSz="1828800" eaLnBrk="1" fontAlgn="auto" latinLnBrk="0" hangingPunct="1">
              <a:lnSpc>
                <a:spcPct val="90000"/>
              </a:lnSpc>
              <a:spcBef>
                <a:spcPts val="800"/>
              </a:spcBef>
              <a:spcAft>
                <a:spcPts val="0"/>
              </a:spcAft>
              <a:buClrTx/>
              <a:buSzPct val="100000"/>
              <a:buFontTx/>
              <a:buNone/>
              <a:tabLst/>
              <a:defRPr/>
            </a:pPr>
            <a:r>
              <a:rPr lang="en-US" sz="2600" i="1" kern="0" dirty="0" smtClean="0">
                <a:solidFill>
                  <a:srgbClr val="002060"/>
                </a:solidFill>
                <a:latin typeface="Calibri" panose="020F0502020204030204" pitchFamily="34" charset="0"/>
                <a:ea typeface="+mn-ea"/>
                <a:cs typeface="Calibri" panose="020F0502020204030204" pitchFamily="34" charset="0"/>
                <a:sym typeface="+mn-lt"/>
              </a:rPr>
              <a:t>Huge </a:t>
            </a:r>
            <a:r>
              <a:rPr lang="en-US" sz="2600" i="1" kern="0" dirty="0">
                <a:solidFill>
                  <a:srgbClr val="002060"/>
                </a:solidFill>
                <a:latin typeface="Calibri" panose="020F0502020204030204" pitchFamily="34" charset="0"/>
                <a:ea typeface="+mn-ea"/>
                <a:cs typeface="Calibri" panose="020F0502020204030204" pitchFamily="34" charset="0"/>
                <a:sym typeface="+mn-lt"/>
              </a:rPr>
              <a:t>discrepancy between the level of EU funding </a:t>
            </a:r>
            <a:r>
              <a:rPr lang="en-US" sz="2600" i="1" kern="0" dirty="0" smtClean="0">
                <a:solidFill>
                  <a:srgbClr val="002060"/>
                </a:solidFill>
                <a:latin typeface="Calibri" panose="020F0502020204030204" pitchFamily="34" charset="0"/>
                <a:ea typeface="+mn-ea"/>
                <a:cs typeface="Calibri" panose="020F0502020204030204" pitchFamily="34" charset="0"/>
                <a:sym typeface="+mn-lt"/>
              </a:rPr>
              <a:t>available</a:t>
            </a:r>
          </a:p>
          <a:p>
            <a:pPr marL="0" marR="0" lvl="0" indent="0" defTabSz="1828800" eaLnBrk="1" fontAlgn="auto" latinLnBrk="0" hangingPunct="1">
              <a:lnSpc>
                <a:spcPct val="90000"/>
              </a:lnSpc>
              <a:spcBef>
                <a:spcPts val="800"/>
              </a:spcBef>
              <a:spcAft>
                <a:spcPts val="0"/>
              </a:spcAft>
              <a:buClrTx/>
              <a:buSzPct val="100000"/>
              <a:buFontTx/>
              <a:buNone/>
              <a:tabLst/>
              <a:defRPr/>
            </a:pPr>
            <a:r>
              <a:rPr lang="en-US" sz="2600" i="1" kern="0" dirty="0" smtClean="0">
                <a:solidFill>
                  <a:srgbClr val="002060"/>
                </a:solidFill>
                <a:latin typeface="Calibri" panose="020F0502020204030204" pitchFamily="34" charset="0"/>
                <a:ea typeface="+mn-ea"/>
                <a:cs typeface="Calibri" panose="020F0502020204030204" pitchFamily="34" charset="0"/>
                <a:sym typeface="+mn-lt"/>
              </a:rPr>
              <a:t>Regions </a:t>
            </a:r>
            <a:r>
              <a:rPr lang="en-US" sz="2600" i="1" kern="0" dirty="0">
                <a:solidFill>
                  <a:srgbClr val="002060"/>
                </a:solidFill>
                <a:latin typeface="Calibri" panose="020F0502020204030204" pitchFamily="34" charset="0"/>
                <a:ea typeface="+mn-ea"/>
                <a:cs typeface="Calibri" panose="020F0502020204030204" pitchFamily="34" charset="0"/>
                <a:sym typeface="+mn-lt"/>
              </a:rPr>
              <a:t>in the </a:t>
            </a:r>
            <a:r>
              <a:rPr lang="en-US" sz="2600" i="1" kern="0" dirty="0" smtClean="0">
                <a:solidFill>
                  <a:srgbClr val="002060"/>
                </a:solidFill>
                <a:latin typeface="Calibri" panose="020F0502020204030204" pitchFamily="34" charset="0"/>
                <a:ea typeface="+mn-ea"/>
                <a:cs typeface="Calibri" panose="020F0502020204030204" pitchFamily="34" charset="0"/>
                <a:sym typeface="+mn-lt"/>
              </a:rPr>
              <a:t>EUcc15+2 well placed </a:t>
            </a:r>
            <a:r>
              <a:rPr lang="en-US" sz="2600" i="1" kern="0" dirty="0">
                <a:solidFill>
                  <a:srgbClr val="002060"/>
                </a:solidFill>
                <a:latin typeface="Calibri" panose="020F0502020204030204" pitchFamily="34" charset="0"/>
                <a:ea typeface="+mn-ea"/>
                <a:cs typeface="Calibri" panose="020F0502020204030204" pitchFamily="34" charset="0"/>
                <a:sym typeface="+mn-lt"/>
              </a:rPr>
              <a:t>to deploy </a:t>
            </a:r>
            <a:r>
              <a:rPr lang="en-US" sz="2600" i="1" kern="0" dirty="0" smtClean="0">
                <a:solidFill>
                  <a:srgbClr val="002060"/>
                </a:solidFill>
                <a:latin typeface="Calibri" panose="020F0502020204030204" pitchFamily="34" charset="0"/>
                <a:ea typeface="+mn-ea"/>
                <a:cs typeface="Calibri" panose="020F0502020204030204" pitchFamily="34" charset="0"/>
                <a:sym typeface="+mn-lt"/>
              </a:rPr>
              <a:t>Clean Urban Transport projects under </a:t>
            </a:r>
            <a:r>
              <a:rPr lang="en-US" sz="2600" i="1" kern="0" dirty="0">
                <a:solidFill>
                  <a:srgbClr val="002060"/>
                </a:solidFill>
                <a:latin typeface="Calibri" panose="020F0502020204030204" pitchFamily="34" charset="0"/>
                <a:ea typeface="+mn-ea"/>
                <a:cs typeface="Calibri" panose="020F0502020204030204" pitchFamily="34" charset="0"/>
                <a:sym typeface="+mn-lt"/>
              </a:rPr>
              <a:t>ESIF </a:t>
            </a:r>
            <a:r>
              <a:rPr lang="en-US" sz="2600" i="1" kern="0" dirty="0" smtClean="0">
                <a:solidFill>
                  <a:srgbClr val="002060"/>
                </a:solidFill>
                <a:latin typeface="Calibri" panose="020F0502020204030204" pitchFamily="34" charset="0"/>
                <a:ea typeface="+mn-ea"/>
                <a:cs typeface="Calibri" panose="020F0502020204030204" pitchFamily="34" charset="0"/>
                <a:sym typeface="+mn-lt"/>
              </a:rPr>
              <a:t>budget</a:t>
            </a:r>
            <a:endParaRPr kumimoji="0" lang="en-GB" sz="2600" b="0" i="1" u="none" strike="noStrike" kern="0" cap="none" spc="0" normalizeH="0" baseline="0" noProof="0" dirty="0" smtClean="0">
              <a:ln>
                <a:noFill/>
              </a:ln>
              <a:solidFill>
                <a:srgbClr val="002060"/>
              </a:solidFill>
              <a:effectLst/>
              <a:uLnTx/>
              <a:uFillTx/>
              <a:latin typeface="Calibri" panose="020F0502020204030204" pitchFamily="34" charset="0"/>
              <a:ea typeface="+mn-ea"/>
              <a:cs typeface="Calibri" panose="020F0502020204030204" pitchFamily="34" charset="0"/>
              <a:sym typeface="+mn-lt"/>
            </a:endParaRPr>
          </a:p>
        </p:txBody>
      </p:sp>
      <p:pic>
        <p:nvPicPr>
          <p:cNvPr id="6" name="Picture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390800" y="4875098"/>
            <a:ext cx="5902426" cy="6087358"/>
          </a:xfrm>
          <a:prstGeom prst="rect">
            <a:avLst/>
          </a:prstGeom>
        </p:spPr>
      </p:pic>
      <p:pic>
        <p:nvPicPr>
          <p:cNvPr id="7" name="Picture 6"/>
          <p:cNvPicPr>
            <a:picLocks noChangeAspect="1"/>
          </p:cNvPicPr>
          <p:nvPr/>
        </p:nvPicPr>
        <p:blipFill>
          <a:blip r:embed="rId4"/>
          <a:stretch>
            <a:fillRect/>
          </a:stretch>
        </p:blipFill>
        <p:spPr>
          <a:xfrm>
            <a:off x="1390800" y="10962456"/>
            <a:ext cx="5898115" cy="878726"/>
          </a:xfrm>
          <a:prstGeom prst="rect">
            <a:avLst/>
          </a:prstGeom>
        </p:spPr>
      </p:pic>
      <p:pic>
        <p:nvPicPr>
          <p:cNvPr id="9" name="Pictur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566330" y="4875098"/>
            <a:ext cx="5904000" cy="6272539"/>
          </a:xfrm>
          <a:prstGeom prst="rect">
            <a:avLst/>
          </a:prstGeom>
        </p:spPr>
      </p:pic>
      <p:pic>
        <p:nvPicPr>
          <p:cNvPr id="10" name="Picture 9"/>
          <p:cNvPicPr>
            <a:picLocks noChangeAspect="1"/>
          </p:cNvPicPr>
          <p:nvPr/>
        </p:nvPicPr>
        <p:blipFill>
          <a:blip r:embed="rId6"/>
          <a:stretch>
            <a:fillRect/>
          </a:stretch>
        </p:blipFill>
        <p:spPr>
          <a:xfrm>
            <a:off x="7545077" y="10943512"/>
            <a:ext cx="6375115" cy="942408"/>
          </a:xfrm>
          <a:prstGeom prst="rect">
            <a:avLst/>
          </a:prstGeom>
        </p:spPr>
      </p:pic>
      <p:pic>
        <p:nvPicPr>
          <p:cNvPr id="174" name="Picture 173"/>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11130006" y="11336182"/>
            <a:ext cx="2600672" cy="499800"/>
          </a:xfrm>
          <a:prstGeom prst="rect">
            <a:avLst/>
          </a:prstGeom>
        </p:spPr>
      </p:pic>
      <p:sp>
        <p:nvSpPr>
          <p:cNvPr id="175" name="Title1111"/>
          <p:cNvSpPr txBox="1"/>
          <p:nvPr/>
        </p:nvSpPr>
        <p:spPr>
          <a:xfrm>
            <a:off x="7784639" y="4107244"/>
            <a:ext cx="5436658" cy="558784"/>
          </a:xfrm>
          <a:prstGeom prst="rect">
            <a:avLst/>
          </a:prstGeom>
          <a:noFill/>
          <a:ln w="9525">
            <a:noFill/>
          </a:ln>
        </p:spPr>
        <p:txBody>
          <a:bodyPr vert="horz" wrap="square" lIns="0" tIns="0" rIns="0" bIns="141900" rtlCol="0" anchor="b">
            <a:spAutoFit/>
          </a:bodyPr>
          <a:lstStyle/>
          <a:p>
            <a:pPr defTabSz="1828800">
              <a:lnSpc>
                <a:spcPct val="90000"/>
              </a:lnSpc>
              <a:spcBef>
                <a:spcPts val="800"/>
              </a:spcBef>
              <a:buClr>
                <a:srgbClr val="000000"/>
              </a:buClr>
              <a:buSzPct val="100000"/>
            </a:pPr>
            <a:r>
              <a:rPr lang="en-GB" sz="3000" b="1" dirty="0" smtClean="0">
                <a:solidFill>
                  <a:srgbClr val="002060"/>
                </a:solidFill>
                <a:latin typeface="Calibri" panose="020F0502020204030204" pitchFamily="34" charset="0"/>
                <a:ea typeface="+mn-ea"/>
                <a:cs typeface="Calibri" panose="020F0502020204030204" pitchFamily="34" charset="0"/>
              </a:rPr>
              <a:t>Cohesion Fund eligibility </a:t>
            </a:r>
            <a:r>
              <a:rPr lang="en-GB" sz="2400" b="1" dirty="0" smtClean="0">
                <a:solidFill>
                  <a:srgbClr val="002060"/>
                </a:solidFill>
                <a:latin typeface="Calibri" panose="020F0502020204030204" pitchFamily="34" charset="0"/>
                <a:ea typeface="+mn-ea"/>
                <a:cs typeface="Calibri" panose="020F0502020204030204" pitchFamily="34" charset="0"/>
              </a:rPr>
              <a:t>(15 MS)</a:t>
            </a:r>
            <a:endParaRPr lang="en-GB" sz="3000" b="1" dirty="0">
              <a:solidFill>
                <a:srgbClr val="002060"/>
              </a:solidFill>
              <a:latin typeface="Calibri" panose="020F0502020204030204" pitchFamily="34" charset="0"/>
              <a:ea typeface="+mn-ea"/>
              <a:cs typeface="Calibri" panose="020F0502020204030204" pitchFamily="34" charset="0"/>
            </a:endParaRPr>
          </a:p>
        </p:txBody>
      </p:sp>
      <p:sp>
        <p:nvSpPr>
          <p:cNvPr id="176" name="Title44"/>
          <p:cNvSpPr txBox="1"/>
          <p:nvPr/>
        </p:nvSpPr>
        <p:spPr>
          <a:xfrm>
            <a:off x="14018710" y="9192773"/>
            <a:ext cx="1876846" cy="2417755"/>
          </a:xfrm>
          <a:prstGeom prst="rect">
            <a:avLst/>
          </a:prstGeom>
          <a:noFill/>
          <a:ln w="9525">
            <a:noFill/>
          </a:ln>
        </p:spPr>
        <p:txBody>
          <a:bodyPr vert="horz" wrap="square" lIns="0" tIns="0" rIns="0" bIns="141900" rtlCol="0" anchor="b">
            <a:spAutoFit/>
          </a:bodyPr>
          <a:lstStyle/>
          <a:p>
            <a:pPr algn="r" defTabSz="1828800">
              <a:lnSpc>
                <a:spcPct val="90000"/>
              </a:lnSpc>
              <a:spcBef>
                <a:spcPts val="800"/>
              </a:spcBef>
              <a:buClr>
                <a:srgbClr val="000000"/>
              </a:buClr>
              <a:buSzPct val="100000"/>
            </a:pPr>
            <a:r>
              <a:rPr lang="en-GB" sz="3000" b="1" dirty="0" smtClean="0">
                <a:solidFill>
                  <a:srgbClr val="338FFF"/>
                </a:solidFill>
                <a:latin typeface="Calibri" panose="020F0502020204030204" pitchFamily="34" charset="0"/>
                <a:ea typeface="+mn-ea"/>
                <a:cs typeface="Calibri" panose="020F0502020204030204" pitchFamily="34" charset="0"/>
              </a:rPr>
              <a:t>+ Spain and Italy</a:t>
            </a:r>
            <a:endParaRPr lang="en-GB" sz="4400" b="1" dirty="0">
              <a:solidFill>
                <a:srgbClr val="338FFF"/>
              </a:solidFill>
              <a:latin typeface="Calibri" panose="020F0502020204030204" pitchFamily="34" charset="0"/>
              <a:cs typeface="Calibri" panose="020F0502020204030204" pitchFamily="34" charset="0"/>
            </a:endParaRPr>
          </a:p>
          <a:p>
            <a:pPr algn="r" defTabSz="1828800">
              <a:lnSpc>
                <a:spcPct val="90000"/>
              </a:lnSpc>
              <a:spcBef>
                <a:spcPts val="800"/>
              </a:spcBef>
              <a:buClr>
                <a:srgbClr val="000000"/>
              </a:buClr>
              <a:buSzPct val="100000"/>
            </a:pPr>
            <a:endParaRPr lang="pt-PT" sz="3200" b="1" dirty="0">
              <a:solidFill>
                <a:srgbClr val="338FFF"/>
              </a:solidFill>
              <a:latin typeface="Calibri" panose="020F0502020204030204" pitchFamily="34" charset="0"/>
              <a:cs typeface="Calibri" panose="020F0502020204030204" pitchFamily="34" charset="0"/>
            </a:endParaRPr>
          </a:p>
          <a:p>
            <a:pPr algn="r" defTabSz="1828800">
              <a:lnSpc>
                <a:spcPct val="90000"/>
              </a:lnSpc>
              <a:spcBef>
                <a:spcPts val="800"/>
              </a:spcBef>
              <a:buClr>
                <a:srgbClr val="000000"/>
              </a:buClr>
              <a:buSzPct val="100000"/>
            </a:pPr>
            <a:r>
              <a:rPr lang="pt-PT" sz="2000" b="1" dirty="0" smtClean="0">
                <a:solidFill>
                  <a:srgbClr val="338FFF"/>
                </a:solidFill>
                <a:latin typeface="Calibri" panose="020F0502020204030204" pitchFamily="34" charset="0"/>
                <a:cs typeface="Calibri" panose="020F0502020204030204" pitchFamily="34" charset="0"/>
              </a:rPr>
              <a:t>(i.e. 93%)</a:t>
            </a:r>
            <a:endParaRPr lang="en-GB" sz="4400" b="1" dirty="0">
              <a:solidFill>
                <a:srgbClr val="338FFF"/>
              </a:solidFill>
              <a:latin typeface="Calibri" panose="020F0502020204030204" pitchFamily="34" charset="0"/>
              <a:cs typeface="Calibri" panose="020F0502020204030204" pitchFamily="34" charset="0"/>
            </a:endParaRPr>
          </a:p>
          <a:p>
            <a:pPr algn="r" defTabSz="1828800">
              <a:lnSpc>
                <a:spcPct val="90000"/>
              </a:lnSpc>
              <a:spcBef>
                <a:spcPts val="800"/>
              </a:spcBef>
              <a:buClr>
                <a:srgbClr val="000000"/>
              </a:buClr>
              <a:buSzPct val="100000"/>
            </a:pPr>
            <a:endParaRPr lang="en-GB" sz="3000" b="1" dirty="0">
              <a:solidFill>
                <a:srgbClr val="338FFF"/>
              </a:solidFill>
              <a:latin typeface="Calibri" panose="020F0502020204030204" pitchFamily="34" charset="0"/>
              <a:ea typeface="+mn-ea"/>
              <a:cs typeface="Calibri" panose="020F0502020204030204" pitchFamily="34" charset="0"/>
            </a:endParaRPr>
          </a:p>
        </p:txBody>
      </p:sp>
      <p:pic>
        <p:nvPicPr>
          <p:cNvPr id="8" name="Picture 7"/>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16152440" y="4892533"/>
            <a:ext cx="6768752" cy="5972175"/>
          </a:xfrm>
          <a:prstGeom prst="rect">
            <a:avLst/>
          </a:prstGeom>
        </p:spPr>
      </p:pic>
      <p:pic>
        <p:nvPicPr>
          <p:cNvPr id="11" name="Picture 10"/>
          <p:cNvPicPr>
            <a:picLocks noChangeAspect="1"/>
          </p:cNvPicPr>
          <p:nvPr/>
        </p:nvPicPr>
        <p:blipFill>
          <a:blip r:embed="rId9"/>
          <a:stretch>
            <a:fillRect/>
          </a:stretch>
        </p:blipFill>
        <p:spPr>
          <a:xfrm>
            <a:off x="16213827" y="6227181"/>
            <a:ext cx="1828800" cy="600075"/>
          </a:xfrm>
          <a:prstGeom prst="rect">
            <a:avLst/>
          </a:prstGeom>
        </p:spPr>
      </p:pic>
      <p:pic>
        <p:nvPicPr>
          <p:cNvPr id="23" name="Picture 22"/>
          <p:cNvPicPr>
            <a:picLocks noChangeAspect="1"/>
          </p:cNvPicPr>
          <p:nvPr/>
        </p:nvPicPr>
        <p:blipFill rotWithShape="1">
          <a:blip r:embed="rId10" cstate="email">
            <a:clrChange>
              <a:clrFrom>
                <a:srgbClr val="FEFEFF"/>
              </a:clrFrom>
              <a:clrTo>
                <a:srgbClr val="FEFEFF">
                  <a:alpha val="0"/>
                </a:srgbClr>
              </a:clrTo>
            </a:clrChange>
            <a:extLst>
              <a:ext uri="{28A0092B-C50C-407E-A947-70E740481C1C}">
                <a14:useLocalDpi xmlns:a14="http://schemas.microsoft.com/office/drawing/2010/main"/>
              </a:ext>
            </a:extLst>
          </a:blip>
          <a:srcRect b="-5467"/>
          <a:stretch/>
        </p:blipFill>
        <p:spPr>
          <a:xfrm>
            <a:off x="16194282" y="10333185"/>
            <a:ext cx="1584176" cy="576064"/>
          </a:xfrm>
          <a:prstGeom prst="rect">
            <a:avLst/>
          </a:prstGeom>
        </p:spPr>
      </p:pic>
      <p:pic>
        <p:nvPicPr>
          <p:cNvPr id="24" name="Picture 23"/>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16152440" y="7751458"/>
            <a:ext cx="1080120" cy="1584176"/>
          </a:xfrm>
          <a:prstGeom prst="rect">
            <a:avLst/>
          </a:prstGeom>
        </p:spPr>
      </p:pic>
      <p:sp>
        <p:nvSpPr>
          <p:cNvPr id="25" name="Title1111"/>
          <p:cNvSpPr txBox="1"/>
          <p:nvPr/>
        </p:nvSpPr>
        <p:spPr>
          <a:xfrm>
            <a:off x="14999714" y="3939502"/>
            <a:ext cx="8065494" cy="974282"/>
          </a:xfrm>
          <a:prstGeom prst="rect">
            <a:avLst/>
          </a:prstGeom>
          <a:noFill/>
          <a:ln w="9525">
            <a:noFill/>
          </a:ln>
        </p:spPr>
        <p:txBody>
          <a:bodyPr vert="horz" wrap="square" lIns="0" tIns="0" rIns="0" bIns="141900" rtlCol="0" anchor="b">
            <a:spAutoFit/>
          </a:bodyPr>
          <a:lstStyle/>
          <a:p>
            <a:pPr defTabSz="1828800">
              <a:lnSpc>
                <a:spcPct val="90000"/>
              </a:lnSpc>
              <a:spcBef>
                <a:spcPts val="800"/>
              </a:spcBef>
              <a:buClr>
                <a:srgbClr val="000000"/>
              </a:buClr>
              <a:buSzPct val="100000"/>
            </a:pPr>
            <a:r>
              <a:rPr lang="en-GB" sz="3000" b="1" dirty="0">
                <a:solidFill>
                  <a:srgbClr val="338FFF"/>
                </a:solidFill>
                <a:latin typeface="+mj-lt"/>
              </a:rPr>
              <a:t>Clean Urban </a:t>
            </a:r>
            <a:r>
              <a:rPr lang="en-GB" sz="3000" b="1" dirty="0" smtClean="0">
                <a:solidFill>
                  <a:srgbClr val="338FFF"/>
                </a:solidFill>
                <a:latin typeface="+mj-lt"/>
              </a:rPr>
              <a:t>Transport </a:t>
            </a:r>
            <a:r>
              <a:rPr lang="en-US" sz="3000" b="1" dirty="0" smtClean="0">
                <a:solidFill>
                  <a:srgbClr val="338FFF"/>
                </a:solidFill>
                <a:latin typeface="+mj-lt"/>
              </a:rPr>
              <a:t>infrastructure </a:t>
            </a:r>
            <a:r>
              <a:rPr lang="en-US" sz="3000" b="1" dirty="0">
                <a:solidFill>
                  <a:srgbClr val="338FFF"/>
                </a:solidFill>
                <a:latin typeface="+mj-lt"/>
              </a:rPr>
              <a:t>and promotion (including equipment and rolling stock)</a:t>
            </a:r>
            <a:endParaRPr lang="en-GB" sz="3000" b="1" dirty="0">
              <a:solidFill>
                <a:srgbClr val="002060"/>
              </a:solidFill>
              <a:latin typeface="+mj-lt"/>
              <a:ea typeface="+mn-ea"/>
              <a:cs typeface="Calibri" panose="020F0502020204030204" pitchFamily="34" charset="0"/>
            </a:endParaRPr>
          </a:p>
        </p:txBody>
      </p:sp>
      <p:pic>
        <p:nvPicPr>
          <p:cNvPr id="12" name="Picture 11"/>
          <p:cNvPicPr>
            <a:picLocks noChangeAspect="1"/>
          </p:cNvPicPr>
          <p:nvPr/>
        </p:nvPicPr>
        <p:blipFill>
          <a:blip r:embed="rId12"/>
          <a:stretch>
            <a:fillRect/>
          </a:stretch>
        </p:blipFill>
        <p:spPr>
          <a:xfrm>
            <a:off x="14356407" y="6680036"/>
            <a:ext cx="1724025" cy="581025"/>
          </a:xfrm>
          <a:prstGeom prst="rect">
            <a:avLst/>
          </a:prstGeom>
        </p:spPr>
      </p:pic>
      <p:pic>
        <p:nvPicPr>
          <p:cNvPr id="13" name="Picture 12"/>
          <p:cNvPicPr>
            <a:picLocks noChangeAspect="1"/>
          </p:cNvPicPr>
          <p:nvPr/>
        </p:nvPicPr>
        <p:blipFill>
          <a:blip r:embed="rId13"/>
          <a:stretch>
            <a:fillRect/>
          </a:stretch>
        </p:blipFill>
        <p:spPr>
          <a:xfrm>
            <a:off x="14297161" y="10059658"/>
            <a:ext cx="1819275" cy="581025"/>
          </a:xfrm>
          <a:prstGeom prst="rect">
            <a:avLst/>
          </a:prstGeom>
        </p:spPr>
      </p:pic>
      <p:sp>
        <p:nvSpPr>
          <p:cNvPr id="4" name="TextBox 3"/>
          <p:cNvSpPr txBox="1"/>
          <p:nvPr/>
        </p:nvSpPr>
        <p:spPr>
          <a:xfrm>
            <a:off x="15792400" y="10788823"/>
            <a:ext cx="7138176" cy="461665"/>
          </a:xfrm>
          <a:prstGeom prst="rect">
            <a:avLst/>
          </a:prstGeom>
          <a:noFill/>
        </p:spPr>
        <p:txBody>
          <a:bodyPr wrap="square" rtlCol="0">
            <a:spAutoFit/>
          </a:bodyPr>
          <a:lstStyle/>
          <a:p>
            <a:pPr algn="r"/>
            <a:r>
              <a:rPr lang="en-GB" sz="2400" dirty="0">
                <a:solidFill>
                  <a:srgbClr val="338FFF"/>
                </a:solidFill>
                <a:latin typeface="Calibri" panose="020F0502020204030204" pitchFamily="34" charset="0"/>
                <a:ea typeface="+mn-ea"/>
                <a:cs typeface="Calibri" panose="020F0502020204030204" pitchFamily="34" charset="0"/>
                <a:hlinkClick r:id="rId14"/>
              </a:rPr>
              <a:t>http://s3platform.jrc.ec.europa.eu/esif-viewer</a:t>
            </a:r>
            <a:r>
              <a:rPr lang="en-GB" sz="2400" dirty="0">
                <a:solidFill>
                  <a:srgbClr val="338FFF"/>
                </a:solidFill>
                <a:latin typeface="Calibri" panose="020F0502020204030204" pitchFamily="34" charset="0"/>
                <a:ea typeface="+mn-ea"/>
                <a:cs typeface="Calibri" panose="020F0502020204030204" pitchFamily="34" charset="0"/>
              </a:rPr>
              <a:t> </a:t>
            </a:r>
          </a:p>
        </p:txBody>
      </p:sp>
      <p:sp>
        <p:nvSpPr>
          <p:cNvPr id="28" name="RBContent131"/>
          <p:cNvSpPr txBox="1">
            <a:spLocks/>
          </p:cNvSpPr>
          <p:nvPr/>
        </p:nvSpPr>
        <p:spPr>
          <a:xfrm>
            <a:off x="13848184" y="11421126"/>
            <a:ext cx="9033234" cy="822789"/>
          </a:xfrm>
          <a:prstGeom prst="rect">
            <a:avLst/>
          </a:prstGeom>
          <a:solidFill>
            <a:srgbClr val="FFFFFF"/>
          </a:solidFill>
          <a:ln w="9525">
            <a:noFill/>
          </a:ln>
        </p:spPr>
        <p:txBody>
          <a:bodyPr vert="horz" wrap="square" lIns="0" tIns="0" rIns="0" bIns="0" rtlCol="0">
            <a:spAutoFit/>
          </a:bodyPr>
          <a:lstStyle/>
          <a:p>
            <a:pPr marL="457200" marR="0" lvl="0" indent="-457200" algn="l" defTabSz="1828800" eaLnBrk="1" fontAlgn="auto" latinLnBrk="0" hangingPunct="1">
              <a:lnSpc>
                <a:spcPct val="90000"/>
              </a:lnSpc>
              <a:spcBef>
                <a:spcPts val="800"/>
              </a:spcBef>
              <a:spcAft>
                <a:spcPts val="0"/>
              </a:spcAft>
              <a:buClrTx/>
              <a:buSzPct val="100000"/>
              <a:buFont typeface="Arial" panose="020B0604020202020204" pitchFamily="34" charset="0"/>
              <a:buChar char="•"/>
              <a:tabLst/>
              <a:defRPr/>
            </a:pPr>
            <a:r>
              <a:rPr lang="en-US" sz="2600" i="1" kern="0" dirty="0" smtClean="0">
                <a:solidFill>
                  <a:srgbClr val="002060"/>
                </a:solidFill>
                <a:latin typeface="Calibri" panose="020F0502020204030204" pitchFamily="34" charset="0"/>
                <a:ea typeface="+mn-ea"/>
                <a:cs typeface="Calibri" panose="020F0502020204030204" pitchFamily="34" charset="0"/>
                <a:sym typeface="+mn-lt"/>
              </a:rPr>
              <a:t>FCH JU to work on synergies and complementary calls with ESIF</a:t>
            </a:r>
          </a:p>
          <a:p>
            <a:pPr marL="457200" marR="0" lvl="0" indent="-457200" algn="l" defTabSz="1828800" eaLnBrk="1" fontAlgn="auto" latinLnBrk="0" hangingPunct="1">
              <a:lnSpc>
                <a:spcPct val="90000"/>
              </a:lnSpc>
              <a:spcBef>
                <a:spcPts val="800"/>
              </a:spcBef>
              <a:spcAft>
                <a:spcPts val="0"/>
              </a:spcAft>
              <a:buClrTx/>
              <a:buSzPct val="100000"/>
              <a:buFont typeface="Arial" panose="020B0604020202020204" pitchFamily="34" charset="0"/>
              <a:buChar char="•"/>
              <a:tabLst/>
              <a:defRPr/>
            </a:pPr>
            <a:r>
              <a:rPr kumimoji="0" lang="en-US" sz="2600" b="0" i="1" u="none" strike="noStrike" kern="0" cap="none" spc="0" normalizeH="0" baseline="0" noProof="0" dirty="0" smtClean="0">
                <a:ln>
                  <a:noFill/>
                </a:ln>
                <a:solidFill>
                  <a:srgbClr val="002060"/>
                </a:solidFill>
                <a:effectLst/>
                <a:uLnTx/>
                <a:uFillTx/>
                <a:latin typeface="Calibri" panose="020F0502020204030204" pitchFamily="34" charset="0"/>
                <a:ea typeface="+mn-ea"/>
                <a:cs typeface="Calibri" panose="020F0502020204030204" pitchFamily="34" charset="0"/>
                <a:sym typeface="+mn-lt"/>
              </a:rPr>
              <a:t>Bottom-</a:t>
            </a:r>
            <a:r>
              <a:rPr lang="en-US" sz="2600" i="1" kern="0" dirty="0" smtClean="0">
                <a:solidFill>
                  <a:srgbClr val="002060"/>
                </a:solidFill>
                <a:latin typeface="Calibri" panose="020F0502020204030204" pitchFamily="34" charset="0"/>
                <a:ea typeface="+mn-ea"/>
                <a:cs typeface="Calibri" panose="020F0502020204030204" pitchFamily="34" charset="0"/>
                <a:sym typeface="+mn-lt"/>
              </a:rPr>
              <a:t>up (Regions) Vs. Top-down (Member States) approach</a:t>
            </a:r>
            <a:endParaRPr kumimoji="0" lang="en-GB" sz="2600" b="0" i="1" u="none" strike="noStrike" kern="0" cap="none" spc="0" normalizeH="0" baseline="0" noProof="0" dirty="0" smtClean="0">
              <a:ln>
                <a:noFill/>
              </a:ln>
              <a:solidFill>
                <a:srgbClr val="002060"/>
              </a:solidFill>
              <a:effectLst/>
              <a:uLnTx/>
              <a:uFillTx/>
              <a:latin typeface="Calibri" panose="020F0502020204030204" pitchFamily="34" charset="0"/>
              <a:ea typeface="+mn-ea"/>
              <a:cs typeface="Calibri" panose="020F0502020204030204" pitchFamily="34" charset="0"/>
              <a:sym typeface="+mn-lt"/>
            </a:endParaRPr>
          </a:p>
        </p:txBody>
      </p:sp>
    </p:spTree>
    <p:extLst>
      <p:ext uri="{BB962C8B-B14F-4D97-AF65-F5344CB8AC3E}">
        <p14:creationId xmlns:p14="http://schemas.microsoft.com/office/powerpoint/2010/main" val="533952425"/>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 name="Rounded Rectangle 168"/>
          <p:cNvSpPr/>
          <p:nvPr/>
        </p:nvSpPr>
        <p:spPr>
          <a:xfrm>
            <a:off x="1103314" y="3412767"/>
            <a:ext cx="22034500" cy="8945872"/>
          </a:xfrm>
          <a:prstGeom prst="roundRect">
            <a:avLst>
              <a:gd name="adj" fmla="val 5506"/>
            </a:avLst>
          </a:prstGeom>
          <a:solidFill>
            <a:schemeClr val="bg1"/>
          </a:solidFill>
          <a:ln w="1270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934" b="0" i="0" u="none" strike="noStrike" kern="1200" cap="none" spc="0" normalizeH="0" baseline="0" noProof="0" dirty="0">
              <a:ln>
                <a:noFill/>
              </a:ln>
              <a:solidFill>
                <a:srgbClr val="FFFFFF"/>
              </a:solidFill>
              <a:effectLst/>
              <a:uLnTx/>
              <a:uFillTx/>
              <a:latin typeface="Calibri"/>
              <a:ea typeface="+mn-ea"/>
              <a:cs typeface="+mn-cs"/>
              <a:sym typeface="Gill Sans" charset="0"/>
            </a:endParaRPr>
          </a:p>
        </p:txBody>
      </p:sp>
      <p:sp>
        <p:nvSpPr>
          <p:cNvPr id="2" name="Slide Number Placeholder 1"/>
          <p:cNvSpPr>
            <a:spLocks noGrp="1"/>
          </p:cNvSpPr>
          <p:nvPr>
            <p:ph type="sldNum" sz="quarter" idx="10"/>
          </p:nvPr>
        </p:nvSpPr>
        <p:spPr/>
        <p:txBody>
          <a:bodyPr/>
          <a:lstStyle/>
          <a:p>
            <a:fld id="{CD1E7C23-2AAD-0D45-B01B-5A673730BB06}" type="slidenum">
              <a:rPr lang="en-US" smtClean="0"/>
              <a:pPr/>
              <a:t>14</a:t>
            </a:fld>
            <a:endParaRPr lang="en-US" dirty="0"/>
          </a:p>
        </p:txBody>
      </p:sp>
      <p:sp>
        <p:nvSpPr>
          <p:cNvPr id="3" name="Content Placeholder 2"/>
          <p:cNvSpPr>
            <a:spLocks noGrp="1"/>
          </p:cNvSpPr>
          <p:nvPr>
            <p:ph sz="quarter" idx="20"/>
          </p:nvPr>
        </p:nvSpPr>
        <p:spPr>
          <a:xfrm>
            <a:off x="1075971" y="834811"/>
            <a:ext cx="20234248" cy="830997"/>
          </a:xfrm>
        </p:spPr>
        <p:txBody>
          <a:bodyPr/>
          <a:lstStyle/>
          <a:p>
            <a:r>
              <a:rPr lang="en-GB" dirty="0" smtClean="0"/>
              <a:t>Funding and Financing Navigation Tool</a:t>
            </a:r>
          </a:p>
          <a:p>
            <a:pPr>
              <a:spcBef>
                <a:spcPts val="1200"/>
              </a:spcBef>
            </a:pPr>
            <a:r>
              <a:rPr lang="en-US" sz="4000" dirty="0" smtClean="0"/>
              <a:t>One of the various practical outputs of the FCH </a:t>
            </a:r>
            <a:r>
              <a:rPr lang="en-US" sz="4000" dirty="0"/>
              <a:t>Regions and Cities Initiative</a:t>
            </a:r>
          </a:p>
          <a:p>
            <a:endParaRPr lang="en-GB" sz="4000" dirty="0"/>
          </a:p>
        </p:txBody>
      </p:sp>
      <p:sp>
        <p:nvSpPr>
          <p:cNvPr id="93" name="Title44"/>
          <p:cNvSpPr txBox="1"/>
          <p:nvPr/>
        </p:nvSpPr>
        <p:spPr>
          <a:xfrm>
            <a:off x="1955336" y="11594533"/>
            <a:ext cx="9516583" cy="808083"/>
          </a:xfrm>
          <a:prstGeom prst="rect">
            <a:avLst/>
          </a:prstGeom>
          <a:noFill/>
          <a:ln w="9525">
            <a:noFill/>
          </a:ln>
        </p:spPr>
        <p:txBody>
          <a:bodyPr vert="horz" wrap="square" lIns="0" tIns="0" rIns="0" bIns="141900" rtlCol="0" anchor="b">
            <a:spAutoFit/>
          </a:bodyPr>
          <a:lstStyle/>
          <a:p>
            <a:pPr algn="l" defTabSz="1828800">
              <a:lnSpc>
                <a:spcPct val="90000"/>
              </a:lnSpc>
              <a:spcBef>
                <a:spcPts val="800"/>
              </a:spcBef>
              <a:buClr>
                <a:srgbClr val="000000"/>
              </a:buClr>
              <a:buSzPct val="100000"/>
            </a:pPr>
            <a:r>
              <a:rPr lang="en-US" sz="2400" b="1" dirty="0">
                <a:solidFill>
                  <a:srgbClr val="002060"/>
                </a:solidFill>
                <a:latin typeface="Calibri" panose="020F0502020204030204" pitchFamily="34" charset="0"/>
                <a:ea typeface="+mn-ea"/>
                <a:cs typeface="Calibri" panose="020F0502020204030204" pitchFamily="34" charset="0"/>
              </a:rPr>
              <a:t>The cockpit of the funding and financing navigation allows you to set different filters to identify potential sources for local FCH projects</a:t>
            </a:r>
            <a:endParaRPr lang="en-GB" sz="2400" b="1" dirty="0">
              <a:solidFill>
                <a:srgbClr val="002060"/>
              </a:solidFill>
              <a:latin typeface="Calibri" panose="020F0502020204030204" pitchFamily="34" charset="0"/>
              <a:ea typeface="+mn-ea"/>
              <a:cs typeface="Calibri" panose="020F0502020204030204" pitchFamily="34" charset="0"/>
            </a:endParaRPr>
          </a:p>
        </p:txBody>
      </p:sp>
      <p:sp>
        <p:nvSpPr>
          <p:cNvPr id="97" name="Title1414"/>
          <p:cNvSpPr txBox="1"/>
          <p:nvPr/>
        </p:nvSpPr>
        <p:spPr>
          <a:xfrm>
            <a:off x="12949274" y="11594532"/>
            <a:ext cx="9323846" cy="808083"/>
          </a:xfrm>
          <a:prstGeom prst="rect">
            <a:avLst/>
          </a:prstGeom>
          <a:noFill/>
          <a:ln w="9525">
            <a:noFill/>
          </a:ln>
        </p:spPr>
        <p:txBody>
          <a:bodyPr vert="horz" wrap="square" lIns="0" tIns="0" rIns="0" bIns="141900" rtlCol="0" anchor="b">
            <a:spAutoFit/>
          </a:bodyPr>
          <a:lstStyle/>
          <a:p>
            <a:pPr algn="l" defTabSz="1828800">
              <a:lnSpc>
                <a:spcPct val="90000"/>
              </a:lnSpc>
              <a:spcBef>
                <a:spcPts val="800"/>
              </a:spcBef>
              <a:buClr>
                <a:srgbClr val="000000"/>
              </a:buClr>
              <a:buSzPct val="100000"/>
            </a:pPr>
            <a:r>
              <a:rPr lang="en-US" sz="2400" b="1" dirty="0">
                <a:solidFill>
                  <a:srgbClr val="002060"/>
                </a:solidFill>
                <a:latin typeface="Calibri" panose="020F0502020204030204" pitchFamily="34" charset="0"/>
                <a:ea typeface="+mn-ea"/>
                <a:cs typeface="Calibri" panose="020F0502020204030204" pitchFamily="34" charset="0"/>
              </a:rPr>
              <a:t>As search result, comprehensive fact sheets summarize information on the individual funding </a:t>
            </a:r>
            <a:r>
              <a:rPr lang="en-US" sz="2400" b="1" dirty="0" err="1">
                <a:solidFill>
                  <a:srgbClr val="002060"/>
                </a:solidFill>
                <a:latin typeface="Calibri" panose="020F0502020204030204" pitchFamily="34" charset="0"/>
                <a:ea typeface="+mn-ea"/>
                <a:cs typeface="Calibri" panose="020F0502020204030204" pitchFamily="34" charset="0"/>
              </a:rPr>
              <a:t>programmes</a:t>
            </a:r>
            <a:endParaRPr lang="en-GB" sz="2400" b="1" dirty="0">
              <a:solidFill>
                <a:srgbClr val="002060"/>
              </a:solidFill>
              <a:latin typeface="Calibri" panose="020F0502020204030204" pitchFamily="34" charset="0"/>
              <a:ea typeface="+mn-ea"/>
              <a:cs typeface="Calibri" panose="020F0502020204030204" pitchFamily="34" charset="0"/>
            </a:endParaRPr>
          </a:p>
        </p:txBody>
      </p:sp>
      <p:sp>
        <p:nvSpPr>
          <p:cNvPr id="166" name="RBContent131"/>
          <p:cNvSpPr txBox="1">
            <a:spLocks/>
          </p:cNvSpPr>
          <p:nvPr/>
        </p:nvSpPr>
        <p:spPr>
          <a:xfrm>
            <a:off x="4961100" y="12639685"/>
            <a:ext cx="14621728" cy="360099"/>
          </a:xfrm>
          <a:prstGeom prst="rect">
            <a:avLst/>
          </a:prstGeom>
          <a:solidFill>
            <a:srgbClr val="FFFFFF"/>
          </a:solidFill>
          <a:ln w="9525">
            <a:noFill/>
          </a:ln>
        </p:spPr>
        <p:txBody>
          <a:bodyPr vert="horz" wrap="square" lIns="0" tIns="0" rIns="0" bIns="0" rtlCol="0">
            <a:spAutoFit/>
          </a:bodyPr>
          <a:lstStyle/>
          <a:p>
            <a:pPr marL="0" marR="0" lvl="0" indent="0" defTabSz="1828800" eaLnBrk="1" fontAlgn="auto" latinLnBrk="0" hangingPunct="1">
              <a:lnSpc>
                <a:spcPct val="90000"/>
              </a:lnSpc>
              <a:spcBef>
                <a:spcPts val="800"/>
              </a:spcBef>
              <a:spcAft>
                <a:spcPts val="0"/>
              </a:spcAft>
              <a:buClrTx/>
              <a:buSzPct val="100000"/>
              <a:buFontTx/>
              <a:buNone/>
              <a:tabLst/>
              <a:defRPr/>
            </a:pPr>
            <a:r>
              <a:rPr lang="en-US" sz="2600" i="1" kern="0" dirty="0">
                <a:solidFill>
                  <a:srgbClr val="002060"/>
                </a:solidFill>
                <a:latin typeface="Calibri" panose="020F0502020204030204" pitchFamily="34" charset="0"/>
                <a:ea typeface="+mn-ea"/>
                <a:cs typeface="Calibri" panose="020F0502020204030204" pitchFamily="34" charset="0"/>
                <a:sym typeface="+mn-lt"/>
              </a:rPr>
              <a:t>Identify and maximize the use of regional and Europe-wide funding/financing </a:t>
            </a:r>
            <a:r>
              <a:rPr lang="en-US" sz="2600" i="1" kern="0" dirty="0" smtClean="0">
                <a:solidFill>
                  <a:srgbClr val="002060"/>
                </a:solidFill>
                <a:latin typeface="Calibri" panose="020F0502020204030204" pitchFamily="34" charset="0"/>
                <a:ea typeface="+mn-ea"/>
                <a:cs typeface="Calibri" panose="020F0502020204030204" pitchFamily="34" charset="0"/>
                <a:sym typeface="+mn-lt"/>
              </a:rPr>
              <a:t>options</a:t>
            </a:r>
            <a:endParaRPr lang="en-US" sz="2600" i="1" kern="0" dirty="0">
              <a:solidFill>
                <a:srgbClr val="002060"/>
              </a:solidFill>
              <a:latin typeface="Calibri" panose="020F0502020204030204" pitchFamily="34" charset="0"/>
              <a:ea typeface="+mn-ea"/>
              <a:cs typeface="Calibri" panose="020F0502020204030204" pitchFamily="34" charset="0"/>
              <a:sym typeface="+mn-lt"/>
            </a:endParaRPr>
          </a:p>
        </p:txBody>
      </p:sp>
      <p:pic>
        <p:nvPicPr>
          <p:cNvPr id="5" name="Picture 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462809" y="3617640"/>
            <a:ext cx="10153128" cy="7720006"/>
          </a:xfrm>
          <a:prstGeom prst="rect">
            <a:avLst/>
          </a:prstGeom>
        </p:spPr>
      </p:pic>
      <p:pic>
        <p:nvPicPr>
          <p:cNvPr id="6" name="Picture 5"/>
          <p:cNvPicPr>
            <a:picLocks noChangeAspect="1"/>
          </p:cNvPicPr>
          <p:nvPr/>
        </p:nvPicPr>
        <p:blipFill rotWithShape="1">
          <a:blip r:embed="rId4" cstate="email">
            <a:extLst>
              <a:ext uri="{28A0092B-C50C-407E-A947-70E740481C1C}">
                <a14:useLocalDpi xmlns:a14="http://schemas.microsoft.com/office/drawing/2010/main"/>
              </a:ext>
            </a:extLst>
          </a:blip>
          <a:srcRect r="5037" b="2041"/>
          <a:stretch/>
        </p:blipFill>
        <p:spPr>
          <a:xfrm>
            <a:off x="11915974" y="3545632"/>
            <a:ext cx="10861202" cy="7560840"/>
          </a:xfrm>
          <a:prstGeom prst="rect">
            <a:avLst/>
          </a:prstGeom>
        </p:spPr>
      </p:pic>
      <p:cxnSp>
        <p:nvCxnSpPr>
          <p:cNvPr id="8" name="Straight Connector 7"/>
          <p:cNvCxnSpPr/>
          <p:nvPr/>
        </p:nvCxnSpPr>
        <p:spPr bwMode="auto">
          <a:xfrm>
            <a:off x="11759952" y="3617640"/>
            <a:ext cx="0" cy="7848872"/>
          </a:xfrm>
          <a:prstGeom prst="line">
            <a:avLst/>
          </a:prstGeom>
          <a:blipFill dpi="0" rotWithShape="0">
            <a:blip r:embed="rId5"/>
            <a:srcRect/>
            <a:tile tx="0" ty="0" sx="100000" sy="100000" flip="none" algn="tl"/>
          </a:blipFill>
          <a:ln w="25400" cap="flat" cmpd="sng" algn="ctr">
            <a:solidFill>
              <a:srgbClr val="8D9399"/>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9" name="Right Arrow 8"/>
          <p:cNvSpPr/>
          <p:nvPr/>
        </p:nvSpPr>
        <p:spPr bwMode="auto">
          <a:xfrm>
            <a:off x="11183889" y="11618692"/>
            <a:ext cx="1140052" cy="567900"/>
          </a:xfrm>
          <a:prstGeom prst="rightArrow">
            <a:avLst/>
          </a:prstGeom>
          <a:solidFill>
            <a:schemeClr val="bg2"/>
          </a:solidFill>
          <a:ln w="25400"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5600" b="0" i="0" u="none" strike="noStrike" cap="none" normalizeH="0" baseline="0" smtClean="0">
              <a:ln>
                <a:noFill/>
              </a:ln>
              <a:solidFill>
                <a:srgbClr val="000000"/>
              </a:solidFill>
              <a:effectLst/>
              <a:latin typeface="Gill Sans" charset="0"/>
              <a:ea typeface="Heiti SC Light" charset="0"/>
              <a:cs typeface="Heiti SC Light" charset="0"/>
              <a:sym typeface="Gill Sans" charset="0"/>
            </a:endParaRPr>
          </a:p>
        </p:txBody>
      </p:sp>
    </p:spTree>
    <p:extLst>
      <p:ext uri="{BB962C8B-B14F-4D97-AF65-F5344CB8AC3E}">
        <p14:creationId xmlns:p14="http://schemas.microsoft.com/office/powerpoint/2010/main" val="734704529"/>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22"/>
          <p:cNvSpPr txBox="1"/>
          <p:nvPr/>
        </p:nvSpPr>
        <p:spPr>
          <a:xfrm>
            <a:off x="2824885" y="8432185"/>
            <a:ext cx="7848872" cy="2831544"/>
          </a:xfrm>
          <a:prstGeom prst="rect">
            <a:avLst/>
          </a:prstGeom>
          <a:noFill/>
        </p:spPr>
        <p:txBody>
          <a:bodyPr wrap="square" rtlCol="0">
            <a:spAutoFit/>
          </a:bodyPr>
          <a:lstStyle/>
          <a:p>
            <a:r>
              <a:rPr lang="fr-FR" sz="3800" b="1" dirty="0">
                <a:solidFill>
                  <a:srgbClr val="174489"/>
                </a:solidFill>
                <a:latin typeface="Calibri" charset="0"/>
                <a:ea typeface="Calibri" charset="0"/>
                <a:cs typeface="Calibri" charset="0"/>
              </a:rPr>
              <a:t>For </a:t>
            </a:r>
            <a:r>
              <a:rPr lang="fr-FR" sz="3800" b="1" dirty="0" err="1" smtClean="0">
                <a:solidFill>
                  <a:srgbClr val="174489"/>
                </a:solidFill>
                <a:latin typeface="Calibri" charset="0"/>
                <a:ea typeface="Calibri" charset="0"/>
                <a:cs typeface="Calibri" charset="0"/>
              </a:rPr>
              <a:t>further</a:t>
            </a:r>
            <a:r>
              <a:rPr lang="fr-FR" sz="3800" b="1" dirty="0" smtClean="0">
                <a:solidFill>
                  <a:srgbClr val="174489"/>
                </a:solidFill>
                <a:latin typeface="Calibri" charset="0"/>
                <a:ea typeface="Calibri" charset="0"/>
                <a:cs typeface="Calibri" charset="0"/>
              </a:rPr>
              <a:t> </a:t>
            </a:r>
            <a:r>
              <a:rPr lang="fr-FR" sz="3800" b="1" dirty="0">
                <a:solidFill>
                  <a:srgbClr val="174489"/>
                </a:solidFill>
                <a:latin typeface="Calibri" charset="0"/>
                <a:ea typeface="Calibri" charset="0"/>
                <a:cs typeface="Calibri" charset="0"/>
              </a:rPr>
              <a:t>information</a:t>
            </a:r>
            <a:endParaRPr lang="fr-FR" sz="3800" dirty="0">
              <a:solidFill>
                <a:srgbClr val="174489"/>
              </a:solidFill>
              <a:latin typeface="Calibri" charset="0"/>
              <a:ea typeface="Calibri" charset="0"/>
              <a:cs typeface="Calibri" charset="0"/>
              <a:hlinkClick r:id="rId3"/>
            </a:endParaRPr>
          </a:p>
          <a:p>
            <a:r>
              <a:rPr lang="fr-FR" sz="2800" dirty="0" err="1">
                <a:solidFill>
                  <a:srgbClr val="174489"/>
                </a:solidFill>
                <a:latin typeface="Calibri" charset="0"/>
                <a:ea typeface="Calibri" charset="0"/>
                <a:cs typeface="Calibri" charset="0"/>
              </a:rPr>
              <a:t>www.fch.europa.eu</a:t>
            </a:r>
            <a:r>
              <a:rPr lang="fr-FR" sz="2800" dirty="0">
                <a:solidFill>
                  <a:srgbClr val="174489"/>
                </a:solidFill>
                <a:latin typeface="Calibri" charset="0"/>
                <a:ea typeface="Calibri" charset="0"/>
                <a:cs typeface="Calibri" charset="0"/>
              </a:rPr>
              <a:t>   </a:t>
            </a:r>
          </a:p>
          <a:p>
            <a:r>
              <a:rPr lang="fr-FR" sz="2800" dirty="0" err="1">
                <a:solidFill>
                  <a:srgbClr val="174489"/>
                </a:solidFill>
                <a:latin typeface="Calibri" charset="0"/>
                <a:ea typeface="Calibri" charset="0"/>
                <a:cs typeface="Calibri" charset="0"/>
              </a:rPr>
              <a:t>www.hydrogeneurope.eu</a:t>
            </a:r>
            <a:r>
              <a:rPr lang="fr-FR" sz="2800" dirty="0">
                <a:solidFill>
                  <a:srgbClr val="174489"/>
                </a:solidFill>
                <a:latin typeface="Calibri" charset="0"/>
                <a:ea typeface="Calibri" charset="0"/>
                <a:cs typeface="Calibri" charset="0"/>
              </a:rPr>
              <a:t>   </a:t>
            </a:r>
          </a:p>
          <a:p>
            <a:r>
              <a:rPr lang="fr-FR" sz="2800" dirty="0" err="1" smtClean="0">
                <a:solidFill>
                  <a:srgbClr val="174489"/>
                </a:solidFill>
                <a:latin typeface="Calibri" charset="0"/>
                <a:ea typeface="Calibri" charset="0"/>
                <a:cs typeface="Calibri" charset="0"/>
              </a:rPr>
              <a:t>www.nerghy.eu</a:t>
            </a:r>
            <a:endParaRPr lang="fr-FR" sz="2800" dirty="0">
              <a:solidFill>
                <a:srgbClr val="174489"/>
              </a:solidFill>
              <a:latin typeface="Calibri" charset="0"/>
              <a:ea typeface="Calibri" charset="0"/>
              <a:cs typeface="Calibri" charset="0"/>
            </a:endParaRPr>
          </a:p>
          <a:p>
            <a:endParaRPr lang="fr-FR" dirty="0">
              <a:solidFill>
                <a:srgbClr val="174489"/>
              </a:solidFill>
              <a:latin typeface="Calibri" charset="0"/>
              <a:ea typeface="Calibri" charset="0"/>
              <a:cs typeface="Calibri" charset="0"/>
            </a:endParaRPr>
          </a:p>
        </p:txBody>
      </p:sp>
      <p:sp>
        <p:nvSpPr>
          <p:cNvPr id="3" name="ZoneTexte 23"/>
          <p:cNvSpPr txBox="1"/>
          <p:nvPr/>
        </p:nvSpPr>
        <p:spPr>
          <a:xfrm>
            <a:off x="3263008" y="4939536"/>
            <a:ext cx="6972626" cy="2523768"/>
          </a:xfrm>
          <a:prstGeom prst="rect">
            <a:avLst/>
          </a:prstGeom>
          <a:noFill/>
        </p:spPr>
        <p:txBody>
          <a:bodyPr wrap="square" rtlCol="0">
            <a:spAutoFit/>
          </a:bodyPr>
          <a:lstStyle/>
          <a:p>
            <a:r>
              <a:rPr lang="en-US" sz="3600" b="1" dirty="0">
                <a:solidFill>
                  <a:srgbClr val="174489"/>
                </a:solidFill>
                <a:latin typeface="Calibri" charset="0"/>
                <a:ea typeface="Calibri" charset="0"/>
                <a:cs typeface="Calibri" charset="0"/>
              </a:rPr>
              <a:t/>
            </a:r>
            <a:br>
              <a:rPr lang="en-US" sz="3600" b="1" dirty="0">
                <a:solidFill>
                  <a:srgbClr val="174489"/>
                </a:solidFill>
                <a:latin typeface="Calibri" charset="0"/>
                <a:ea typeface="Calibri" charset="0"/>
                <a:cs typeface="Calibri" charset="0"/>
              </a:rPr>
            </a:br>
            <a:r>
              <a:rPr lang="en-GB" altLang="en-US" sz="3600" b="1" dirty="0">
                <a:solidFill>
                  <a:srgbClr val="174489"/>
                </a:solidFill>
                <a:latin typeface="DIN Condensed" charset="0"/>
                <a:ea typeface="DIN Condensed" charset="0"/>
                <a:cs typeface="DIN Condensed" charset="0"/>
              </a:rPr>
              <a:t> </a:t>
            </a:r>
            <a:r>
              <a:rPr lang="en-GB" altLang="en-US" sz="3800" b="1" dirty="0">
                <a:solidFill>
                  <a:srgbClr val="174489"/>
                </a:solidFill>
                <a:latin typeface="Calibri" charset="0"/>
                <a:ea typeface="Calibri" charset="0"/>
                <a:cs typeface="Calibri" charset="0"/>
              </a:rPr>
              <a:t>Bart </a:t>
            </a:r>
            <a:r>
              <a:rPr lang="en-GB" altLang="en-US" sz="3800" b="1" dirty="0" err="1">
                <a:solidFill>
                  <a:srgbClr val="174489"/>
                </a:solidFill>
                <a:latin typeface="Calibri" charset="0"/>
                <a:ea typeface="Calibri" charset="0"/>
                <a:cs typeface="Calibri" charset="0"/>
              </a:rPr>
              <a:t>Biebuyck</a:t>
            </a:r>
            <a:r>
              <a:rPr lang="en-GB" altLang="fr-FR" sz="3600" dirty="0">
                <a:solidFill>
                  <a:srgbClr val="174489"/>
                </a:solidFill>
                <a:latin typeface="DIN Regular" charset="0"/>
                <a:ea typeface="DIN Regular" charset="0"/>
                <a:cs typeface="DIN Regular" charset="0"/>
              </a:rPr>
              <a:t/>
            </a:r>
            <a:br>
              <a:rPr lang="en-GB" altLang="fr-FR" sz="3600" dirty="0">
                <a:solidFill>
                  <a:srgbClr val="174489"/>
                </a:solidFill>
                <a:latin typeface="DIN Regular" charset="0"/>
                <a:ea typeface="DIN Regular" charset="0"/>
                <a:cs typeface="DIN Regular" charset="0"/>
              </a:rPr>
            </a:br>
            <a:r>
              <a:rPr lang="en-US" altLang="fr-FR" sz="2800" dirty="0" smtClean="0">
                <a:solidFill>
                  <a:srgbClr val="174489"/>
                </a:solidFill>
                <a:latin typeface="Calibri" charset="0"/>
                <a:ea typeface="Calibri" charset="0"/>
                <a:cs typeface="Calibri" charset="0"/>
              </a:rPr>
              <a:t>Executive Director</a:t>
            </a:r>
            <a:endParaRPr lang="en-US" altLang="fr-FR" sz="2800" dirty="0">
              <a:solidFill>
                <a:srgbClr val="174489"/>
              </a:solidFill>
              <a:latin typeface="Calibri" charset="0"/>
              <a:ea typeface="Calibri" charset="0"/>
              <a:cs typeface="Calibri" charset="0"/>
            </a:endParaRPr>
          </a:p>
          <a:p>
            <a:r>
              <a:rPr lang="en-US" altLang="en-US" sz="2800" dirty="0" err="1" smtClean="0">
                <a:solidFill>
                  <a:srgbClr val="174489"/>
                </a:solidFill>
                <a:latin typeface="Calibri" charset="0"/>
                <a:ea typeface="Calibri" charset="0"/>
                <a:cs typeface="Calibri" charset="0"/>
              </a:rPr>
              <a:t>bart.biebuyck</a:t>
            </a:r>
            <a:r>
              <a:rPr lang="en-GB" altLang="en-US" sz="2800" dirty="0" smtClean="0">
                <a:solidFill>
                  <a:srgbClr val="174489"/>
                </a:solidFill>
                <a:latin typeface="Calibri" charset="0"/>
                <a:ea typeface="Calibri" charset="0"/>
                <a:cs typeface="Calibri" charset="0"/>
              </a:rPr>
              <a:t>@fch.europa.eu</a:t>
            </a:r>
            <a:endParaRPr lang="en-US" sz="2800" dirty="0">
              <a:solidFill>
                <a:srgbClr val="174489"/>
              </a:solidFill>
              <a:latin typeface="Calibri" charset="0"/>
              <a:ea typeface="Calibri" charset="0"/>
              <a:cs typeface="Calibri" charset="0"/>
            </a:endParaRPr>
          </a:p>
          <a:p>
            <a:endParaRPr lang="fr-FR" sz="2800" dirty="0">
              <a:solidFill>
                <a:srgbClr val="174489"/>
              </a:solidFill>
              <a:latin typeface="Calibri" charset="0"/>
              <a:ea typeface="Calibri" charset="0"/>
              <a:cs typeface="Calibri" charset="0"/>
            </a:endParaRPr>
          </a:p>
        </p:txBody>
      </p:sp>
      <p:cxnSp>
        <p:nvCxnSpPr>
          <p:cNvPr id="4" name="Connecteur droit 38"/>
          <p:cNvCxnSpPr/>
          <p:nvPr/>
        </p:nvCxnSpPr>
        <p:spPr bwMode="auto">
          <a:xfrm flipV="1">
            <a:off x="4265045" y="7770907"/>
            <a:ext cx="5040560" cy="8765"/>
          </a:xfrm>
          <a:prstGeom prst="line">
            <a:avLst/>
          </a:prstGeom>
          <a:blipFill dpi="0" rotWithShape="0">
            <a:blip r:embed="rId4"/>
            <a:srcRect/>
            <a:tile tx="0" ty="0" sx="100000" sy="100000" flip="none" algn="tl"/>
          </a:blipFill>
          <a:ln w="28575" cap="flat" cmpd="sng" algn="ctr">
            <a:solidFill>
              <a:srgbClr val="174489"/>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5" name="ZoneTexte 30"/>
          <p:cNvSpPr txBox="1"/>
          <p:nvPr/>
        </p:nvSpPr>
        <p:spPr>
          <a:xfrm>
            <a:off x="19282821" y="9233927"/>
            <a:ext cx="1420582" cy="954107"/>
          </a:xfrm>
          <a:prstGeom prst="rect">
            <a:avLst/>
          </a:prstGeom>
          <a:noFill/>
        </p:spPr>
        <p:txBody>
          <a:bodyPr wrap="none" rtlCol="0">
            <a:spAutoFit/>
          </a:bodyPr>
          <a:lstStyle/>
          <a:p>
            <a:r>
              <a:rPr lang="en-US" sz="2800" dirty="0">
                <a:solidFill>
                  <a:schemeClr val="bg1"/>
                </a:solidFill>
                <a:latin typeface="Calibri" charset="0"/>
                <a:ea typeface="Calibri" charset="0"/>
                <a:cs typeface="Calibri" charset="0"/>
              </a:rPr>
              <a:t>@</a:t>
            </a:r>
            <a:r>
              <a:rPr lang="en-US" sz="2800" dirty="0" err="1">
                <a:solidFill>
                  <a:schemeClr val="bg1"/>
                </a:solidFill>
                <a:latin typeface="Calibri" charset="0"/>
                <a:ea typeface="Calibri" charset="0"/>
                <a:cs typeface="Calibri" charset="0"/>
              </a:rPr>
              <a:t>fch_ju</a:t>
            </a:r>
            <a:endParaRPr lang="en-US" sz="2800" dirty="0">
              <a:solidFill>
                <a:schemeClr val="bg1"/>
              </a:solidFill>
              <a:latin typeface="Calibri" charset="0"/>
              <a:ea typeface="Calibri" charset="0"/>
              <a:cs typeface="Calibri" charset="0"/>
            </a:endParaRPr>
          </a:p>
          <a:p>
            <a:endParaRPr lang="fr-FR" sz="2800" dirty="0">
              <a:solidFill>
                <a:schemeClr val="bg1"/>
              </a:solidFill>
              <a:latin typeface="Calibri" charset="0"/>
              <a:ea typeface="Calibri" charset="0"/>
              <a:cs typeface="Calibri" charset="0"/>
            </a:endParaRPr>
          </a:p>
        </p:txBody>
      </p:sp>
      <p:sp>
        <p:nvSpPr>
          <p:cNvPr id="6" name="ZoneTexte 31"/>
          <p:cNvSpPr txBox="1"/>
          <p:nvPr/>
        </p:nvSpPr>
        <p:spPr>
          <a:xfrm>
            <a:off x="19282821" y="10320177"/>
            <a:ext cx="3422347" cy="954107"/>
          </a:xfrm>
          <a:prstGeom prst="rect">
            <a:avLst/>
          </a:prstGeom>
          <a:noFill/>
        </p:spPr>
        <p:txBody>
          <a:bodyPr wrap="none" rtlCol="0">
            <a:spAutoFit/>
          </a:bodyPr>
          <a:lstStyle/>
          <a:p>
            <a:r>
              <a:rPr lang="en-US" sz="2800" dirty="0" err="1">
                <a:solidFill>
                  <a:schemeClr val="bg1"/>
                </a:solidFill>
                <a:latin typeface="Calibri" charset="0"/>
                <a:ea typeface="Calibri" charset="0"/>
                <a:cs typeface="Calibri" charset="0"/>
              </a:rPr>
              <a:t>Fch-ju@fch.europa.eu</a:t>
            </a:r>
            <a:endParaRPr lang="en-US" sz="2800" dirty="0">
              <a:solidFill>
                <a:schemeClr val="bg1"/>
              </a:solidFill>
              <a:latin typeface="Calibri" charset="0"/>
              <a:ea typeface="Calibri" charset="0"/>
              <a:cs typeface="Calibri" charset="0"/>
            </a:endParaRPr>
          </a:p>
          <a:p>
            <a:endParaRPr lang="fr-FR" sz="2800" dirty="0">
              <a:solidFill>
                <a:schemeClr val="bg1"/>
              </a:solidFill>
              <a:latin typeface="Calibri" charset="0"/>
              <a:ea typeface="Calibri" charset="0"/>
              <a:cs typeface="Calibri" charset="0"/>
            </a:endParaRPr>
          </a:p>
        </p:txBody>
      </p:sp>
      <p:sp>
        <p:nvSpPr>
          <p:cNvPr id="7" name="ZoneTexte 33"/>
          <p:cNvSpPr txBox="1"/>
          <p:nvPr/>
        </p:nvSpPr>
        <p:spPr>
          <a:xfrm>
            <a:off x="19282821" y="11378773"/>
            <a:ext cx="1188466" cy="954107"/>
          </a:xfrm>
          <a:prstGeom prst="rect">
            <a:avLst/>
          </a:prstGeom>
          <a:noFill/>
        </p:spPr>
        <p:txBody>
          <a:bodyPr wrap="none" rtlCol="0">
            <a:spAutoFit/>
          </a:bodyPr>
          <a:lstStyle/>
          <a:p>
            <a:r>
              <a:rPr lang="en-US" sz="2800" dirty="0">
                <a:solidFill>
                  <a:schemeClr val="bg1"/>
                </a:solidFill>
                <a:latin typeface="Calibri" charset="0"/>
                <a:ea typeface="Calibri" charset="0"/>
                <a:cs typeface="Calibri" charset="0"/>
              </a:rPr>
              <a:t>FCH JU</a:t>
            </a:r>
          </a:p>
          <a:p>
            <a:endParaRPr lang="fr-FR" sz="2800" dirty="0">
              <a:solidFill>
                <a:schemeClr val="bg1"/>
              </a:solidFill>
              <a:latin typeface="Calibri" charset="0"/>
              <a:ea typeface="Calibri" charset="0"/>
              <a:cs typeface="Calibri" charset="0"/>
            </a:endParaRPr>
          </a:p>
        </p:txBody>
      </p:sp>
      <p:grpSp>
        <p:nvGrpSpPr>
          <p:cNvPr id="8" name="Grouper 1"/>
          <p:cNvGrpSpPr/>
          <p:nvPr/>
        </p:nvGrpSpPr>
        <p:grpSpPr>
          <a:xfrm>
            <a:off x="18378098" y="11268154"/>
            <a:ext cx="738973" cy="738973"/>
            <a:chOff x="7674701" y="4266872"/>
            <a:chExt cx="894157" cy="894157"/>
          </a:xfrm>
        </p:grpSpPr>
        <p:sp>
          <p:nvSpPr>
            <p:cNvPr id="9" name="Ellipse 25"/>
            <p:cNvSpPr/>
            <p:nvPr/>
          </p:nvSpPr>
          <p:spPr bwMode="auto">
            <a:xfrm>
              <a:off x="7674701" y="4266872"/>
              <a:ext cx="894157" cy="894157"/>
            </a:xfrm>
            <a:prstGeom prst="ellipse">
              <a:avLst/>
            </a:prstGeom>
            <a:solidFill>
              <a:schemeClr val="bg1"/>
            </a:solidFill>
            <a:ln w="25400"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5600" b="0" i="0" u="none" strike="noStrike" cap="none" normalizeH="0" baseline="0">
                <a:ln>
                  <a:noFill/>
                </a:ln>
                <a:solidFill>
                  <a:srgbClr val="000000"/>
                </a:solidFill>
                <a:effectLst/>
                <a:latin typeface="Gill Sans" charset="0"/>
                <a:ea typeface="Heiti SC Light" charset="0"/>
                <a:cs typeface="Heiti SC Light" charset="0"/>
                <a:sym typeface="Gill Sans" charset="0"/>
              </a:endParaRPr>
            </a:p>
          </p:txBody>
        </p:sp>
        <p:pic>
          <p:nvPicPr>
            <p:cNvPr id="10" name="Image 4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931935" y="4502565"/>
              <a:ext cx="396029" cy="361821"/>
            </a:xfrm>
            <a:prstGeom prst="rect">
              <a:avLst/>
            </a:prstGeom>
          </p:spPr>
        </p:pic>
      </p:grpSp>
      <p:grpSp>
        <p:nvGrpSpPr>
          <p:cNvPr id="11" name="Grouper 2"/>
          <p:cNvGrpSpPr/>
          <p:nvPr/>
        </p:nvGrpSpPr>
        <p:grpSpPr>
          <a:xfrm>
            <a:off x="18385434" y="10219986"/>
            <a:ext cx="738973" cy="738973"/>
            <a:chOff x="5473223" y="4265712"/>
            <a:chExt cx="894157" cy="894157"/>
          </a:xfrm>
        </p:grpSpPr>
        <p:sp>
          <p:nvSpPr>
            <p:cNvPr id="12" name="Ellipse 24"/>
            <p:cNvSpPr/>
            <p:nvPr/>
          </p:nvSpPr>
          <p:spPr bwMode="auto">
            <a:xfrm>
              <a:off x="5473223" y="4265712"/>
              <a:ext cx="894157" cy="894157"/>
            </a:xfrm>
            <a:prstGeom prst="ellipse">
              <a:avLst/>
            </a:prstGeom>
            <a:solidFill>
              <a:schemeClr val="bg1"/>
            </a:solidFill>
            <a:ln w="25400"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5600" b="0" i="0" u="none" strike="noStrike" cap="none" normalizeH="0" baseline="0">
                <a:ln>
                  <a:noFill/>
                </a:ln>
                <a:solidFill>
                  <a:srgbClr val="000000"/>
                </a:solidFill>
                <a:effectLst/>
                <a:latin typeface="Gill Sans" charset="0"/>
                <a:ea typeface="Heiti SC Light" charset="0"/>
                <a:cs typeface="Heiti SC Light" charset="0"/>
                <a:sym typeface="Gill Sans" charset="0"/>
              </a:endParaRPr>
            </a:p>
          </p:txBody>
        </p:sp>
        <p:pic>
          <p:nvPicPr>
            <p:cNvPr id="13" name="Image 43"/>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677637" y="4542058"/>
              <a:ext cx="485328" cy="357610"/>
            </a:xfrm>
            <a:prstGeom prst="rect">
              <a:avLst/>
            </a:prstGeom>
          </p:spPr>
        </p:pic>
      </p:grpSp>
      <p:grpSp>
        <p:nvGrpSpPr>
          <p:cNvPr id="14" name="Grouper 4"/>
          <p:cNvGrpSpPr/>
          <p:nvPr/>
        </p:nvGrpSpPr>
        <p:grpSpPr>
          <a:xfrm>
            <a:off x="18378099" y="9144164"/>
            <a:ext cx="738973" cy="738973"/>
            <a:chOff x="3290667" y="4265713"/>
            <a:chExt cx="894157" cy="894157"/>
          </a:xfrm>
        </p:grpSpPr>
        <p:sp>
          <p:nvSpPr>
            <p:cNvPr id="15" name="Ellipse 3"/>
            <p:cNvSpPr/>
            <p:nvPr/>
          </p:nvSpPr>
          <p:spPr bwMode="auto">
            <a:xfrm>
              <a:off x="3290667" y="4265713"/>
              <a:ext cx="894157" cy="894157"/>
            </a:xfrm>
            <a:prstGeom prst="ellipse">
              <a:avLst/>
            </a:prstGeom>
            <a:solidFill>
              <a:schemeClr val="bg1"/>
            </a:solidFill>
            <a:ln w="25400"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5600" b="0" i="0" u="none" strike="noStrike" cap="none" normalizeH="0" baseline="0">
                <a:ln>
                  <a:noFill/>
                </a:ln>
                <a:solidFill>
                  <a:srgbClr val="000000"/>
                </a:solidFill>
                <a:effectLst/>
                <a:latin typeface="Gill Sans" charset="0"/>
                <a:ea typeface="Heiti SC Light" charset="0"/>
                <a:cs typeface="Heiti SC Light" charset="0"/>
                <a:sym typeface="Gill Sans" charset="0"/>
              </a:endParaRPr>
            </a:p>
          </p:txBody>
        </p:sp>
        <p:pic>
          <p:nvPicPr>
            <p:cNvPr id="16" name="Image 44"/>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491225" y="4542058"/>
              <a:ext cx="493040" cy="400186"/>
            </a:xfrm>
            <a:prstGeom prst="rect">
              <a:avLst/>
            </a:prstGeom>
          </p:spPr>
        </p:pic>
      </p:grpSp>
    </p:spTree>
    <p:extLst>
      <p:ext uri="{BB962C8B-B14F-4D97-AF65-F5344CB8AC3E}">
        <p14:creationId xmlns:p14="http://schemas.microsoft.com/office/powerpoint/2010/main" val="951536927"/>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CD1E7C23-2AAD-0D45-B01B-5A673730BB06}" type="slidenum">
              <a:rPr lang="en-US" smtClean="0"/>
              <a:pPr/>
              <a:t>2</a:t>
            </a:fld>
            <a:endParaRPr lang="en-US" dirty="0"/>
          </a:p>
        </p:txBody>
      </p:sp>
      <p:sp>
        <p:nvSpPr>
          <p:cNvPr id="3" name="Content Placeholder 2"/>
          <p:cNvSpPr>
            <a:spLocks noGrp="1"/>
          </p:cNvSpPr>
          <p:nvPr>
            <p:ph sz="quarter" idx="20"/>
          </p:nvPr>
        </p:nvSpPr>
        <p:spPr/>
        <p:txBody>
          <a:bodyPr/>
          <a:lstStyle/>
          <a:p>
            <a:r>
              <a:rPr lang="en-GB" dirty="0" smtClean="0"/>
              <a:t>Why the FCH JU works with Regions</a:t>
            </a:r>
            <a:endParaRPr lang="en-IE" dirty="0"/>
          </a:p>
        </p:txBody>
      </p:sp>
      <p:sp>
        <p:nvSpPr>
          <p:cNvPr id="4" name="Content Placeholder 3"/>
          <p:cNvSpPr>
            <a:spLocks noGrp="1"/>
          </p:cNvSpPr>
          <p:nvPr>
            <p:ph sz="quarter" idx="21"/>
          </p:nvPr>
        </p:nvSpPr>
        <p:spPr/>
        <p:txBody>
          <a:bodyPr/>
          <a:lstStyle/>
          <a:p>
            <a:endParaRPr lang="en-IE" dirty="0"/>
          </a:p>
        </p:txBody>
      </p:sp>
      <p:sp>
        <p:nvSpPr>
          <p:cNvPr id="11" name="Rounded Rectangle 10"/>
          <p:cNvSpPr>
            <a:spLocks noChangeAspect="1"/>
          </p:cNvSpPr>
          <p:nvPr/>
        </p:nvSpPr>
        <p:spPr bwMode="auto">
          <a:xfrm>
            <a:off x="16060017" y="3689648"/>
            <a:ext cx="6213103" cy="6590757"/>
          </a:xfrm>
          <a:prstGeom prst="roundRect">
            <a:avLst/>
          </a:prstGeom>
          <a:solidFill>
            <a:srgbClr val="4472C4">
              <a:lumMod val="75000"/>
            </a:srgbClr>
          </a:solidFill>
          <a:ln w="25400"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182880" tIns="91440" rIns="182880" bIns="91440" numCol="1" rtlCol="0" anchor="ctr" anchorCtr="0" compatLnSpc="1">
            <a:prstTxWarp prst="textNoShape">
              <a:avLst/>
            </a:prstTxWarp>
          </a:bodyPr>
          <a:lstStyle/>
          <a:p>
            <a:pPr algn="l" defTabSz="1828800" fontAlgn="auto">
              <a:spcBef>
                <a:spcPts val="0"/>
              </a:spcBef>
              <a:spcAft>
                <a:spcPts val="1200"/>
              </a:spcAft>
            </a:pPr>
            <a:r>
              <a:rPr lang="en-GB" sz="3600" u="sng" dirty="0" smtClean="0">
                <a:solidFill>
                  <a:prstClr val="white"/>
                </a:solidFill>
                <a:latin typeface="Calibri" panose="020F0502020204030204"/>
              </a:rPr>
              <a:t>INDUSTRY perspective</a:t>
            </a:r>
            <a:endParaRPr kumimoji="0" lang="en-GB" sz="3600" b="0" i="0" u="sng" strike="noStrike" kern="0" cap="none" spc="0" normalizeH="0" baseline="0" noProof="0" dirty="0" smtClean="0">
              <a:ln>
                <a:noFill/>
              </a:ln>
              <a:solidFill>
                <a:prstClr val="white"/>
              </a:solidFill>
              <a:effectLst/>
              <a:uLnTx/>
              <a:uFillTx/>
              <a:latin typeface="Calibri" panose="020F0502020204030204"/>
              <a:ea typeface="+mn-ea"/>
              <a:cs typeface="+mn-cs"/>
            </a:endParaRPr>
          </a:p>
          <a:p>
            <a:pPr marL="742950" marR="0" lvl="0" indent="-742950" algn="l" defTabSz="1828800" eaLnBrk="1" fontAlgn="auto" latinLnBrk="0" hangingPunct="1">
              <a:lnSpc>
                <a:spcPct val="100000"/>
              </a:lnSpc>
              <a:spcBef>
                <a:spcPts val="0"/>
              </a:spcBef>
              <a:spcAft>
                <a:spcPts val="1200"/>
              </a:spcAft>
              <a:buClrTx/>
              <a:buSzTx/>
              <a:buFont typeface="+mj-lt"/>
              <a:buAutoNum type="arabicPeriod"/>
              <a:tabLst/>
              <a:defRPr/>
            </a:pPr>
            <a:r>
              <a:rPr kumimoji="0" lang="en-GB" sz="3600" b="0" i="0" u="none" strike="noStrike" kern="0" cap="none" spc="0" normalizeH="0" baseline="0" noProof="0" dirty="0" smtClean="0">
                <a:ln>
                  <a:noFill/>
                </a:ln>
                <a:solidFill>
                  <a:prstClr val="white"/>
                </a:solidFill>
                <a:effectLst/>
                <a:uLnTx/>
                <a:uFillTx/>
                <a:latin typeface="Calibri" panose="020F0502020204030204"/>
                <a:ea typeface="+mn-ea"/>
                <a:cs typeface="+mn-cs"/>
              </a:rPr>
              <a:t>Tap into</a:t>
            </a:r>
            <a:r>
              <a:rPr kumimoji="0" lang="en-GB" sz="3600" b="0" i="0" u="none" strike="noStrike" kern="0" cap="none" spc="0" normalizeH="0" noProof="0" dirty="0" smtClean="0">
                <a:ln>
                  <a:noFill/>
                </a:ln>
                <a:solidFill>
                  <a:prstClr val="white"/>
                </a:solidFill>
                <a:effectLst/>
                <a:uLnTx/>
                <a:uFillTx/>
                <a:latin typeface="Calibri" panose="020F0502020204030204"/>
                <a:ea typeface="+mn-ea"/>
                <a:cs typeface="+mn-cs"/>
              </a:rPr>
              <a:t> new market opportunities</a:t>
            </a:r>
          </a:p>
          <a:p>
            <a:pPr marL="742950" marR="0" lvl="0" indent="-742950" algn="l" defTabSz="1828800" eaLnBrk="1" fontAlgn="auto" latinLnBrk="0" hangingPunct="1">
              <a:lnSpc>
                <a:spcPct val="100000"/>
              </a:lnSpc>
              <a:spcBef>
                <a:spcPts val="0"/>
              </a:spcBef>
              <a:spcAft>
                <a:spcPts val="1200"/>
              </a:spcAft>
              <a:buClrTx/>
              <a:buSzTx/>
              <a:buFont typeface="+mj-lt"/>
              <a:buAutoNum type="arabicPeriod"/>
              <a:tabLst/>
              <a:defRPr/>
            </a:pPr>
            <a:r>
              <a:rPr lang="en-GB" sz="3600" kern="0" baseline="0" dirty="0" smtClean="0">
                <a:solidFill>
                  <a:prstClr val="white"/>
                </a:solidFill>
                <a:latin typeface="Calibri" panose="020F0502020204030204"/>
                <a:ea typeface="+mn-ea"/>
                <a:cs typeface="+mn-cs"/>
              </a:rPr>
              <a:t>Potential</a:t>
            </a:r>
            <a:r>
              <a:rPr lang="en-GB" sz="3600" kern="0" dirty="0" smtClean="0">
                <a:solidFill>
                  <a:prstClr val="white"/>
                </a:solidFill>
                <a:latin typeface="Calibri" panose="020F0502020204030204"/>
                <a:ea typeface="+mn-ea"/>
                <a:cs typeface="+mn-cs"/>
              </a:rPr>
              <a:t> for demand aggregation</a:t>
            </a:r>
          </a:p>
          <a:p>
            <a:pPr marL="742950" marR="0" lvl="0" indent="-742950" algn="l" defTabSz="1828800" eaLnBrk="1" fontAlgn="auto" latinLnBrk="0" hangingPunct="1">
              <a:lnSpc>
                <a:spcPct val="100000"/>
              </a:lnSpc>
              <a:spcBef>
                <a:spcPts val="0"/>
              </a:spcBef>
              <a:spcAft>
                <a:spcPts val="1200"/>
              </a:spcAft>
              <a:buClrTx/>
              <a:buSzTx/>
              <a:buFont typeface="+mj-lt"/>
              <a:buAutoNum type="arabicPeriod"/>
              <a:tabLst/>
              <a:defRPr/>
            </a:pPr>
            <a:r>
              <a:rPr kumimoji="0" lang="en-GB" sz="3600" b="0" i="0" u="none" strike="noStrike" kern="0" cap="none" spc="0" normalizeH="0" baseline="0" noProof="0" dirty="0" smtClean="0">
                <a:ln>
                  <a:noFill/>
                </a:ln>
                <a:solidFill>
                  <a:prstClr val="white"/>
                </a:solidFill>
                <a:effectLst/>
                <a:uLnTx/>
                <a:uFillTx/>
                <a:latin typeface="Calibri" panose="020F0502020204030204"/>
                <a:ea typeface="+mn-ea"/>
                <a:cs typeface="+mn-cs"/>
              </a:rPr>
              <a:t>Helps</a:t>
            </a:r>
            <a:r>
              <a:rPr kumimoji="0" lang="en-GB" sz="3600" b="0" i="0" u="none" strike="noStrike" kern="0" cap="none" spc="0" normalizeH="0" noProof="0" dirty="0" smtClean="0">
                <a:ln>
                  <a:noFill/>
                </a:ln>
                <a:solidFill>
                  <a:prstClr val="white"/>
                </a:solidFill>
                <a:effectLst/>
                <a:uLnTx/>
                <a:uFillTx/>
                <a:latin typeface="Calibri" panose="020F0502020204030204"/>
                <a:ea typeface="+mn-ea"/>
                <a:cs typeface="+mn-cs"/>
              </a:rPr>
              <a:t> define product &amp; development</a:t>
            </a:r>
          </a:p>
          <a:p>
            <a:pPr marR="0" lvl="0" algn="l" defTabSz="1828800" eaLnBrk="1" fontAlgn="auto" latinLnBrk="0" hangingPunct="1">
              <a:lnSpc>
                <a:spcPct val="100000"/>
              </a:lnSpc>
              <a:spcBef>
                <a:spcPts val="0"/>
              </a:spcBef>
              <a:spcAft>
                <a:spcPts val="1200"/>
              </a:spcAft>
              <a:buClrTx/>
              <a:buSzTx/>
              <a:tabLst/>
              <a:defRPr/>
            </a:pPr>
            <a:endParaRPr lang="en-GB" sz="3600" kern="0" baseline="0" dirty="0">
              <a:solidFill>
                <a:prstClr val="white"/>
              </a:solidFill>
              <a:latin typeface="Calibri" panose="020F0502020204030204"/>
              <a:ea typeface="+mn-ea"/>
              <a:cs typeface="+mn-cs"/>
            </a:endParaRPr>
          </a:p>
          <a:p>
            <a:pPr marR="0" lvl="0" algn="l" defTabSz="1828800" eaLnBrk="1" fontAlgn="auto" latinLnBrk="0" hangingPunct="1">
              <a:lnSpc>
                <a:spcPct val="100000"/>
              </a:lnSpc>
              <a:spcBef>
                <a:spcPts val="0"/>
              </a:spcBef>
              <a:spcAft>
                <a:spcPts val="1200"/>
              </a:spcAft>
              <a:buClrTx/>
              <a:buSzTx/>
              <a:tabLst/>
              <a:defRPr/>
            </a:pPr>
            <a:endParaRPr kumimoji="0" lang="en-GB" sz="3600" b="0" i="0" u="none" strike="noStrike" kern="0" cap="none" spc="0" normalizeH="0" baseline="0" noProof="0" dirty="0" smtClean="0">
              <a:ln>
                <a:noFill/>
              </a:ln>
              <a:solidFill>
                <a:prstClr val="white"/>
              </a:solidFill>
              <a:effectLst/>
              <a:uLnTx/>
              <a:uFillTx/>
              <a:latin typeface="Calibri" panose="020F0502020204030204"/>
              <a:ea typeface="+mn-ea"/>
              <a:cs typeface="+mn-cs"/>
            </a:endParaRPr>
          </a:p>
        </p:txBody>
      </p:sp>
      <p:sp>
        <p:nvSpPr>
          <p:cNvPr id="12" name="Oval 11"/>
          <p:cNvSpPr/>
          <p:nvPr/>
        </p:nvSpPr>
        <p:spPr>
          <a:xfrm>
            <a:off x="18465791" y="2657205"/>
            <a:ext cx="1356680" cy="1356680"/>
          </a:xfrm>
          <a:prstGeom prst="ellipse">
            <a:avLst/>
          </a:prstGeom>
          <a:blipFill rotWithShape="0">
            <a:blip r:embed="rId2" cstate="email">
              <a:extLst>
                <a:ext uri="{28A0092B-C50C-407E-A947-70E740481C1C}">
                  <a14:useLocalDpi xmlns:a14="http://schemas.microsoft.com/office/drawing/2010/main"/>
                </a:ext>
              </a:extLst>
            </a:blip>
            <a:stretch>
              <a:fillRect/>
            </a:stretch>
          </a:blipFill>
          <a:ln w="6350" cap="flat" cmpd="sng" algn="ctr">
            <a:solidFill>
              <a:srgbClr val="5B9BD5">
                <a:hueOff val="0"/>
                <a:satOff val="0"/>
                <a:lumOff val="0"/>
                <a:alphaOff val="0"/>
              </a:srgbClr>
            </a:solidFill>
            <a:prstDash val="solid"/>
            <a:miter lim="800000"/>
          </a:ln>
          <a:effectLst/>
        </p:spPr>
      </p:sp>
      <p:sp>
        <p:nvSpPr>
          <p:cNvPr id="13" name="Rounded Rectangle 12"/>
          <p:cNvSpPr>
            <a:spLocks noChangeAspect="1"/>
          </p:cNvSpPr>
          <p:nvPr/>
        </p:nvSpPr>
        <p:spPr bwMode="auto">
          <a:xfrm>
            <a:off x="8949696" y="3689648"/>
            <a:ext cx="6369826" cy="6590757"/>
          </a:xfrm>
          <a:prstGeom prst="roundRect">
            <a:avLst/>
          </a:prstGeom>
          <a:solidFill>
            <a:srgbClr val="0081C7"/>
          </a:solidFill>
          <a:ln w="25400"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182880" tIns="91440" rIns="182880" bIns="91440" numCol="1" rtlCol="0" anchor="ctr" anchorCtr="0" compatLnSpc="1">
            <a:prstTxWarp prst="textNoShape">
              <a:avLst/>
            </a:prstTxWarp>
          </a:bodyPr>
          <a:lstStyle/>
          <a:p>
            <a:pPr algn="l" defTabSz="1828800" fontAlgn="auto">
              <a:spcBef>
                <a:spcPts val="0"/>
              </a:spcBef>
              <a:spcAft>
                <a:spcPts val="1200"/>
              </a:spcAft>
            </a:pPr>
            <a:r>
              <a:rPr lang="en-GB" sz="3600" u="sng" dirty="0" smtClean="0">
                <a:solidFill>
                  <a:prstClr val="white"/>
                </a:solidFill>
                <a:latin typeface="Calibri" panose="020F0502020204030204"/>
                <a:ea typeface="+mn-ea"/>
                <a:cs typeface="+mn-cs"/>
              </a:rPr>
              <a:t>REGIONS perspective</a:t>
            </a:r>
          </a:p>
          <a:p>
            <a:pPr marL="742950" indent="-742950" algn="l" defTabSz="1828800" fontAlgn="auto">
              <a:spcBef>
                <a:spcPts val="0"/>
              </a:spcBef>
              <a:spcAft>
                <a:spcPts val="1200"/>
              </a:spcAft>
              <a:buFont typeface="+mj-lt"/>
              <a:buAutoNum type="arabicPeriod"/>
            </a:pPr>
            <a:r>
              <a:rPr lang="en-GB" sz="3600" dirty="0" smtClean="0">
                <a:solidFill>
                  <a:prstClr val="white"/>
                </a:solidFill>
                <a:latin typeface="Calibri" panose="020F0502020204030204"/>
                <a:ea typeface="+mn-ea"/>
                <a:cs typeface="+mn-cs"/>
              </a:rPr>
              <a:t>Increase awareness of emerging FCH technologies</a:t>
            </a:r>
          </a:p>
          <a:p>
            <a:pPr marL="742950" indent="-742950" algn="l" defTabSz="1828800" fontAlgn="auto">
              <a:spcBef>
                <a:spcPts val="0"/>
              </a:spcBef>
              <a:spcAft>
                <a:spcPts val="1200"/>
              </a:spcAft>
              <a:buFont typeface="+mj-lt"/>
              <a:buAutoNum type="arabicPeriod"/>
            </a:pPr>
            <a:r>
              <a:rPr lang="en-GB" sz="3600" dirty="0" smtClean="0">
                <a:solidFill>
                  <a:prstClr val="white"/>
                </a:solidFill>
                <a:latin typeface="Calibri" panose="020F0502020204030204"/>
                <a:ea typeface="+mn-ea"/>
                <a:cs typeface="+mn-cs"/>
              </a:rPr>
              <a:t>Support local initiatives and strategies</a:t>
            </a:r>
          </a:p>
          <a:p>
            <a:pPr marL="742950" indent="-742950" algn="l" defTabSz="1828800" fontAlgn="auto">
              <a:spcBef>
                <a:spcPts val="0"/>
              </a:spcBef>
              <a:spcAft>
                <a:spcPts val="1200"/>
              </a:spcAft>
              <a:buFont typeface="+mj-lt"/>
              <a:buAutoNum type="arabicPeriod"/>
            </a:pPr>
            <a:r>
              <a:rPr lang="en-GB" sz="3600" dirty="0" smtClean="0">
                <a:solidFill>
                  <a:prstClr val="white"/>
                </a:solidFill>
                <a:latin typeface="Calibri" panose="020F0502020204030204"/>
                <a:ea typeface="+mn-ea"/>
                <a:cs typeface="+mn-cs"/>
              </a:rPr>
              <a:t>Catalyse local project concepts and help start planning</a:t>
            </a:r>
            <a:endParaRPr lang="en-GB" sz="3600" dirty="0">
              <a:solidFill>
                <a:prstClr val="white"/>
              </a:solidFill>
              <a:latin typeface="Calibri" panose="020F0502020204030204"/>
              <a:ea typeface="+mn-ea"/>
              <a:cs typeface="+mn-cs"/>
            </a:endParaRPr>
          </a:p>
        </p:txBody>
      </p:sp>
      <p:pic>
        <p:nvPicPr>
          <p:cNvPr id="14" name="Picture 1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423629" y="2566537"/>
            <a:ext cx="1464732" cy="1424676"/>
          </a:xfrm>
          <a:prstGeom prst="ellipse">
            <a:avLst/>
          </a:prstGeom>
          <a:ln w="6350" cap="rnd">
            <a:solidFill>
              <a:srgbClr val="5B9BD5">
                <a:lumMod val="60000"/>
                <a:lumOff val="40000"/>
              </a:srgbClr>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17" name="Rounded Rectangle 16"/>
          <p:cNvSpPr>
            <a:spLocks noChangeAspect="1"/>
          </p:cNvSpPr>
          <p:nvPr/>
        </p:nvSpPr>
        <p:spPr bwMode="auto">
          <a:xfrm>
            <a:off x="1967965" y="3689648"/>
            <a:ext cx="6309395" cy="6590757"/>
          </a:xfrm>
          <a:prstGeom prst="roundRect">
            <a:avLst/>
          </a:prstGeom>
          <a:solidFill>
            <a:srgbClr val="00B050"/>
          </a:solidFill>
          <a:ln w="25400"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182880" tIns="91440" rIns="182880" bIns="91440" numCol="1" rtlCol="0" anchor="ctr" anchorCtr="0" compatLnSpc="1">
            <a:prstTxWarp prst="textNoShape">
              <a:avLst/>
            </a:prstTxWarp>
          </a:bodyPr>
          <a:lstStyle/>
          <a:p>
            <a:pPr defTabSz="1828800" fontAlgn="auto">
              <a:spcBef>
                <a:spcPts val="0"/>
              </a:spcBef>
              <a:spcAft>
                <a:spcPts val="1200"/>
              </a:spcAft>
            </a:pPr>
            <a:r>
              <a:rPr lang="en-GB" sz="3600" u="sng" dirty="0" smtClean="0">
                <a:solidFill>
                  <a:prstClr val="white"/>
                </a:solidFill>
                <a:latin typeface="Calibri" panose="020F0502020204030204"/>
                <a:ea typeface="+mn-ea"/>
                <a:cs typeface="+mn-cs"/>
              </a:rPr>
              <a:t>EU perspective</a:t>
            </a:r>
          </a:p>
          <a:p>
            <a:pPr marL="742950" indent="-742950" algn="l" defTabSz="1828800" fontAlgn="auto">
              <a:spcBef>
                <a:spcPts val="0"/>
              </a:spcBef>
              <a:spcAft>
                <a:spcPts val="1200"/>
              </a:spcAft>
              <a:buFont typeface="+mj-lt"/>
              <a:buAutoNum type="arabicPeriod"/>
            </a:pPr>
            <a:r>
              <a:rPr lang="en-GB" sz="3600" dirty="0" smtClean="0">
                <a:solidFill>
                  <a:prstClr val="white"/>
                </a:solidFill>
                <a:latin typeface="Calibri" panose="020F0502020204030204"/>
                <a:ea typeface="+mn-ea"/>
                <a:cs typeface="+mn-cs"/>
              </a:rPr>
              <a:t>Contribute to EU social, economic and environmental policies</a:t>
            </a:r>
          </a:p>
          <a:p>
            <a:pPr marL="742950" indent="-742950" algn="l" defTabSz="1828800" fontAlgn="auto">
              <a:spcBef>
                <a:spcPts val="0"/>
              </a:spcBef>
              <a:spcAft>
                <a:spcPts val="1200"/>
              </a:spcAft>
              <a:buFont typeface="+mj-lt"/>
              <a:buAutoNum type="arabicPeriod"/>
            </a:pPr>
            <a:r>
              <a:rPr lang="en-GB" sz="3600" dirty="0" smtClean="0">
                <a:solidFill>
                  <a:prstClr val="white"/>
                </a:solidFill>
                <a:latin typeface="Calibri" panose="020F0502020204030204"/>
                <a:ea typeface="+mn-ea"/>
                <a:cs typeface="+mn-cs"/>
              </a:rPr>
              <a:t>Increase outreach of EU bodies</a:t>
            </a:r>
          </a:p>
          <a:p>
            <a:pPr marL="742950" indent="-742950" algn="l" defTabSz="1828800" fontAlgn="auto">
              <a:spcBef>
                <a:spcPts val="0"/>
              </a:spcBef>
              <a:spcAft>
                <a:spcPts val="1200"/>
              </a:spcAft>
              <a:buFont typeface="+mj-lt"/>
              <a:buAutoNum type="arabicPeriod"/>
            </a:pPr>
            <a:r>
              <a:rPr lang="en-GB" sz="3600" dirty="0" smtClean="0">
                <a:solidFill>
                  <a:prstClr val="white"/>
                </a:solidFill>
                <a:latin typeface="Calibri" panose="020F0502020204030204"/>
                <a:ea typeface="+mn-ea"/>
                <a:cs typeface="+mn-cs"/>
              </a:rPr>
              <a:t>Get closer to citizens by enhancing local collaboration</a:t>
            </a:r>
            <a:endParaRPr lang="en-GB" sz="3600" dirty="0">
              <a:solidFill>
                <a:prstClr val="white"/>
              </a:solidFill>
              <a:latin typeface="Calibri" panose="020F0502020204030204"/>
              <a:ea typeface="+mn-ea"/>
              <a:cs typeface="+mn-cs"/>
            </a:endParaRPr>
          </a:p>
        </p:txBody>
      </p:sp>
      <p:pic>
        <p:nvPicPr>
          <p:cNvPr id="21" name="Picture 2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497876" y="2753544"/>
            <a:ext cx="1573535" cy="1164002"/>
          </a:xfrm>
          <a:prstGeom prst="rect">
            <a:avLst/>
          </a:prstGeom>
        </p:spPr>
      </p:pic>
      <p:cxnSp>
        <p:nvCxnSpPr>
          <p:cNvPr id="22" name="Connecteur droit 37"/>
          <p:cNvCxnSpPr/>
          <p:nvPr/>
        </p:nvCxnSpPr>
        <p:spPr bwMode="auto">
          <a:xfrm flipH="1" flipV="1">
            <a:off x="7545395" y="10280405"/>
            <a:ext cx="1701191" cy="1764320"/>
          </a:xfrm>
          <a:prstGeom prst="line">
            <a:avLst/>
          </a:prstGeom>
          <a:blipFill dpi="0" rotWithShape="0">
            <a:blip r:embed="rId5"/>
            <a:srcRect/>
            <a:tile tx="0" ty="0" sx="100000" sy="100000" flip="none" algn="tl"/>
          </a:blipFill>
          <a:ln w="19050" cap="flat" cmpd="sng" algn="ctr">
            <a:solidFill>
              <a:srgbClr val="174489"/>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23" name="Connecteur droit 37"/>
          <p:cNvCxnSpPr/>
          <p:nvPr/>
        </p:nvCxnSpPr>
        <p:spPr bwMode="auto">
          <a:xfrm flipV="1">
            <a:off x="14856296" y="10195247"/>
            <a:ext cx="1728193" cy="1849478"/>
          </a:xfrm>
          <a:prstGeom prst="line">
            <a:avLst/>
          </a:prstGeom>
          <a:blipFill dpi="0" rotWithShape="0">
            <a:blip r:embed="rId5"/>
            <a:srcRect/>
            <a:tile tx="0" ty="0" sx="100000" sy="100000" flip="none" algn="tl"/>
          </a:blipFill>
          <a:ln w="19050" cap="flat" cmpd="sng" algn="ctr">
            <a:solidFill>
              <a:srgbClr val="174489"/>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25" name="Connecteur droit 37"/>
          <p:cNvCxnSpPr/>
          <p:nvPr/>
        </p:nvCxnSpPr>
        <p:spPr bwMode="auto">
          <a:xfrm flipV="1">
            <a:off x="12155995" y="10280405"/>
            <a:ext cx="1" cy="1764320"/>
          </a:xfrm>
          <a:prstGeom prst="line">
            <a:avLst/>
          </a:prstGeom>
          <a:blipFill dpi="0" rotWithShape="0">
            <a:blip r:embed="rId5"/>
            <a:srcRect/>
            <a:tile tx="0" ty="0" sx="100000" sy="100000" flip="none" algn="tl"/>
          </a:blipFill>
          <a:ln w="19050" cap="flat" cmpd="sng" algn="ctr">
            <a:solidFill>
              <a:srgbClr val="174489"/>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28" name="Rounded Rectangle 27"/>
          <p:cNvSpPr>
            <a:spLocks noChangeAspect="1"/>
          </p:cNvSpPr>
          <p:nvPr/>
        </p:nvSpPr>
        <p:spPr bwMode="auto">
          <a:xfrm>
            <a:off x="8243303" y="11530157"/>
            <a:ext cx="8053153" cy="1512168"/>
          </a:xfrm>
          <a:prstGeom prst="roundRect">
            <a:avLst/>
          </a:prstGeom>
          <a:ln>
            <a:headEnd type="none" w="med" len="med"/>
            <a:tailEnd type="none" w="med" len="med"/>
          </a:ln>
          <a:extLst>
            <a:ext uri="{AF507438-7753-43e0-B8FC-AC1667EBCBE1}">
              <a14:hiddenEffects xmlns:a14="http://schemas.microsoft.com/office/drawing/2010/main" xmlns="">
                <a:effectLst>
                  <a:outerShdw dist="35921" dir="2700000" algn="ctr" rotWithShape="0">
                    <a:schemeClr val="bg2"/>
                  </a:outerShdw>
                </a:effectLst>
              </a14:hiddenEffects>
            </a:ext>
          </a:extLst>
        </p:spPr>
        <p:style>
          <a:lnRef idx="2">
            <a:schemeClr val="accent4">
              <a:shade val="50000"/>
            </a:schemeClr>
          </a:lnRef>
          <a:fillRef idx="1">
            <a:schemeClr val="accent4"/>
          </a:fillRef>
          <a:effectRef idx="0">
            <a:schemeClr val="accent4"/>
          </a:effectRef>
          <a:fontRef idx="minor">
            <a:schemeClr val="lt1"/>
          </a:fontRef>
        </p:style>
        <p:txBody>
          <a:bodyPr vert="horz" wrap="square" lIns="182880" tIns="91440" rIns="182880" bIns="91440" numCol="1" rtlCol="0" anchor="ctr" anchorCtr="0" compatLnSpc="1">
            <a:prstTxWarp prst="textNoShape">
              <a:avLst/>
            </a:prstTxWarp>
          </a:bodyPr>
          <a:lstStyle/>
          <a:p>
            <a:pPr defTabSz="1828800" fontAlgn="auto">
              <a:spcBef>
                <a:spcPts val="0"/>
              </a:spcBef>
              <a:spcAft>
                <a:spcPts val="1200"/>
              </a:spcAft>
            </a:pPr>
            <a:r>
              <a:rPr lang="en-GB" sz="4400" b="1" dirty="0" smtClean="0">
                <a:solidFill>
                  <a:schemeClr val="accent2"/>
                </a:solidFill>
                <a:latin typeface="Calibri" panose="020F0502020204030204"/>
                <a:ea typeface="+mn-ea"/>
                <a:cs typeface="+mn-cs"/>
              </a:rPr>
              <a:t>FCH Regions and Cities Initiative</a:t>
            </a:r>
            <a:endParaRPr lang="en-GB" sz="4400" b="1" dirty="0">
              <a:solidFill>
                <a:schemeClr val="accent2"/>
              </a:solidFill>
              <a:latin typeface="Calibri" panose="020F0502020204030204"/>
              <a:ea typeface="+mn-ea"/>
              <a:cs typeface="+mn-cs"/>
            </a:endParaRPr>
          </a:p>
        </p:txBody>
      </p:sp>
    </p:spTree>
    <p:extLst>
      <p:ext uri="{BB962C8B-B14F-4D97-AF65-F5344CB8AC3E}">
        <p14:creationId xmlns:p14="http://schemas.microsoft.com/office/powerpoint/2010/main" val="2313062244"/>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D1E7C23-2AAD-0D45-B01B-5A673730BB06}" type="slidenum">
              <a:rPr kumimoji="0" lang="en-US" sz="2400" b="0" i="0" u="none" strike="noStrike" kern="1200" cap="none" spc="0" normalizeH="0" baseline="0" noProof="0" smtClean="0">
                <a:ln>
                  <a:noFill/>
                </a:ln>
                <a:solidFill>
                  <a:srgbClr val="004494"/>
                </a:solidFill>
                <a:effectLst/>
                <a:uLnTx/>
                <a:uFillTx/>
                <a:latin typeface="Calibri" charset="0"/>
                <a:cs typeface="Calibri" charset="0"/>
                <a:sym typeface="Gill Sans" charset="0"/>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sz="2400" b="0" i="0" u="none" strike="noStrike" kern="1200" cap="none" spc="0" normalizeH="0" baseline="0" noProof="0" dirty="0">
              <a:ln>
                <a:noFill/>
              </a:ln>
              <a:solidFill>
                <a:srgbClr val="004494"/>
              </a:solidFill>
              <a:effectLst/>
              <a:uLnTx/>
              <a:uFillTx/>
              <a:latin typeface="Calibri" charset="0"/>
              <a:cs typeface="Calibri" charset="0"/>
              <a:sym typeface="Gill Sans" charset="0"/>
            </a:endParaRPr>
          </a:p>
        </p:txBody>
      </p:sp>
      <p:sp>
        <p:nvSpPr>
          <p:cNvPr id="3" name="Content Placeholder 2"/>
          <p:cNvSpPr>
            <a:spLocks noGrp="1"/>
          </p:cNvSpPr>
          <p:nvPr>
            <p:ph sz="quarter" idx="20"/>
          </p:nvPr>
        </p:nvSpPr>
        <p:spPr>
          <a:xfrm>
            <a:off x="1030760" y="1142013"/>
            <a:ext cx="20234248" cy="830997"/>
          </a:xfrm>
        </p:spPr>
        <p:txBody>
          <a:bodyPr/>
          <a:lstStyle/>
          <a:p>
            <a:r>
              <a:rPr lang="en-GB" dirty="0" smtClean="0"/>
              <a:t>OBJECTIVES OF THE STUDY</a:t>
            </a:r>
            <a:endParaRPr lang="en-GB" dirty="0"/>
          </a:p>
        </p:txBody>
      </p:sp>
      <p:sp>
        <p:nvSpPr>
          <p:cNvPr id="5" name="Rounded Rectangle 4"/>
          <p:cNvSpPr/>
          <p:nvPr/>
        </p:nvSpPr>
        <p:spPr bwMode="auto">
          <a:xfrm>
            <a:off x="5734790" y="6065912"/>
            <a:ext cx="16898369" cy="1853303"/>
          </a:xfrm>
          <a:prstGeom prst="roundRect">
            <a:avLst/>
          </a:prstGeom>
          <a:gradFill flip="none" rotWithShape="1">
            <a:gsLst>
              <a:gs pos="100000">
                <a:srgbClr val="0081C7"/>
              </a:gs>
              <a:gs pos="0">
                <a:srgbClr val="3DA7AB"/>
              </a:gs>
            </a:gsLst>
            <a:lin ang="8100000" scaled="1"/>
            <a:tileRect/>
          </a:gradFill>
          <a:ln w="25400"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914400" marR="0" lvl="2" indent="0" algn="l" defTabSz="914400" rtl="0" eaLnBrk="1" fontAlgn="base" latinLnBrk="0" hangingPunct="1">
              <a:lnSpc>
                <a:spcPct val="100000"/>
              </a:lnSpc>
              <a:spcBef>
                <a:spcPct val="0"/>
              </a:spcBef>
              <a:spcAft>
                <a:spcPct val="0"/>
              </a:spcAft>
              <a:buClrTx/>
              <a:buSzTx/>
              <a:buFontTx/>
              <a:buNone/>
              <a:tabLst/>
              <a:defRPr/>
            </a:pPr>
            <a:r>
              <a:rPr kumimoji="0" lang="fr-FR" sz="4400" b="1" i="0" u="none" strike="noStrike" kern="1200" cap="none" spc="0" normalizeH="0" baseline="0" noProof="0" dirty="0" err="1" smtClean="0">
                <a:ln>
                  <a:noFill/>
                </a:ln>
                <a:solidFill>
                  <a:srgbClr val="FFFFFF"/>
                </a:solidFill>
                <a:effectLst/>
                <a:uLnTx/>
                <a:uFillTx/>
                <a:latin typeface="Calibri" charset="0"/>
                <a:ea typeface="Calibri" charset="0"/>
                <a:cs typeface="Calibri" charset="0"/>
                <a:sym typeface="Gill Sans" charset="0"/>
              </a:rPr>
              <a:t>Identify</a:t>
            </a:r>
            <a:r>
              <a:rPr kumimoji="0" lang="fr-FR" sz="4400" b="1" i="0" u="none" strike="noStrike" kern="1200" cap="none" spc="0" normalizeH="0" baseline="0" noProof="0" dirty="0" smtClean="0">
                <a:ln>
                  <a:noFill/>
                </a:ln>
                <a:solidFill>
                  <a:srgbClr val="FFFFFF"/>
                </a:solidFill>
                <a:effectLst/>
                <a:uLnTx/>
                <a:uFillTx/>
                <a:latin typeface="Calibri" charset="0"/>
                <a:ea typeface="Calibri" charset="0"/>
                <a:cs typeface="Calibri" charset="0"/>
                <a:sym typeface="Gill Sans" charset="0"/>
              </a:rPr>
              <a:t> and </a:t>
            </a:r>
            <a:r>
              <a:rPr kumimoji="0" lang="fr-FR" sz="4400" b="1" i="0" u="none" strike="noStrike" kern="1200" cap="none" spc="0" normalizeH="0" baseline="0" noProof="0" dirty="0" err="1" smtClean="0">
                <a:ln>
                  <a:noFill/>
                </a:ln>
                <a:solidFill>
                  <a:srgbClr val="FFFFFF"/>
                </a:solidFill>
                <a:effectLst/>
                <a:uLnTx/>
                <a:uFillTx/>
                <a:latin typeface="Calibri" charset="0"/>
                <a:ea typeface="Calibri" charset="0"/>
                <a:cs typeface="Calibri" charset="0"/>
                <a:sym typeface="Gill Sans" charset="0"/>
              </a:rPr>
              <a:t>maximize</a:t>
            </a:r>
            <a:r>
              <a:rPr kumimoji="0" lang="fr-FR" sz="4400" b="1" i="0" u="none" strike="noStrike" kern="1200" cap="none" spc="0" normalizeH="0" baseline="0" noProof="0" dirty="0" smtClean="0">
                <a:ln>
                  <a:noFill/>
                </a:ln>
                <a:solidFill>
                  <a:srgbClr val="FFFFFF"/>
                </a:solidFill>
                <a:effectLst/>
                <a:uLnTx/>
                <a:uFillTx/>
                <a:latin typeface="Calibri" charset="0"/>
                <a:ea typeface="Calibri" charset="0"/>
                <a:cs typeface="Calibri" charset="0"/>
                <a:sym typeface="Gill Sans" charset="0"/>
              </a:rPr>
              <a:t> the use of </a:t>
            </a:r>
            <a:r>
              <a:rPr kumimoji="0" lang="fr-FR" sz="4400" b="1" i="0" u="none" strike="noStrike" kern="1200" cap="none" spc="0" normalizeH="0" baseline="0" noProof="0" dirty="0" err="1" smtClean="0">
                <a:ln>
                  <a:noFill/>
                </a:ln>
                <a:solidFill>
                  <a:srgbClr val="FFFFFF"/>
                </a:solidFill>
                <a:effectLst/>
                <a:uLnTx/>
                <a:uFillTx/>
                <a:latin typeface="Calibri" charset="0"/>
                <a:ea typeface="Calibri" charset="0"/>
                <a:cs typeface="Calibri" charset="0"/>
                <a:sym typeface="Gill Sans" charset="0"/>
              </a:rPr>
              <a:t>regional</a:t>
            </a:r>
            <a:r>
              <a:rPr kumimoji="0" lang="fr-FR" sz="4400" b="1" i="0" u="none" strike="noStrike" kern="1200" cap="none" spc="0" normalizeH="0" baseline="0" noProof="0" dirty="0" smtClean="0">
                <a:ln>
                  <a:noFill/>
                </a:ln>
                <a:solidFill>
                  <a:srgbClr val="FFFFFF"/>
                </a:solidFill>
                <a:effectLst/>
                <a:uLnTx/>
                <a:uFillTx/>
                <a:latin typeface="Calibri" charset="0"/>
                <a:ea typeface="Calibri" charset="0"/>
                <a:cs typeface="Calibri" charset="0"/>
                <a:sym typeface="Gill Sans" charset="0"/>
              </a:rPr>
              <a:t> and Europe-</a:t>
            </a:r>
            <a:r>
              <a:rPr kumimoji="0" lang="fr-FR" sz="4400" b="1" i="0" u="none" strike="noStrike" kern="1200" cap="none" spc="0" normalizeH="0" baseline="0" noProof="0" dirty="0" err="1" smtClean="0">
                <a:ln>
                  <a:noFill/>
                </a:ln>
                <a:solidFill>
                  <a:srgbClr val="FFFFFF"/>
                </a:solidFill>
                <a:effectLst/>
                <a:uLnTx/>
                <a:uFillTx/>
                <a:latin typeface="Calibri" charset="0"/>
                <a:ea typeface="Calibri" charset="0"/>
                <a:cs typeface="Calibri" charset="0"/>
                <a:sym typeface="Gill Sans" charset="0"/>
              </a:rPr>
              <a:t>wide</a:t>
            </a:r>
            <a:r>
              <a:rPr kumimoji="0" lang="fr-FR" sz="4400" b="1" i="0" u="none" strike="noStrike" kern="1200" cap="none" spc="0" normalizeH="0" baseline="0" noProof="0" dirty="0" smtClean="0">
                <a:ln>
                  <a:noFill/>
                </a:ln>
                <a:solidFill>
                  <a:srgbClr val="FFFFFF"/>
                </a:solidFill>
                <a:effectLst/>
                <a:uLnTx/>
                <a:uFillTx/>
                <a:latin typeface="Calibri" charset="0"/>
                <a:ea typeface="Calibri" charset="0"/>
                <a:cs typeface="Calibri" charset="0"/>
                <a:sym typeface="Gill Sans" charset="0"/>
              </a:rPr>
              <a:t> </a:t>
            </a:r>
            <a:r>
              <a:rPr kumimoji="0" lang="en-GB" sz="4400" b="1" i="0" u="none" strike="noStrike" kern="1200" cap="none" spc="0" normalizeH="0" baseline="0" noProof="0" dirty="0" smtClean="0">
                <a:ln>
                  <a:noFill/>
                </a:ln>
                <a:solidFill>
                  <a:srgbClr val="FFFFFF"/>
                </a:solidFill>
                <a:effectLst/>
                <a:uLnTx/>
                <a:uFillTx/>
                <a:latin typeface="Calibri" charset="0"/>
                <a:ea typeface="Calibri" charset="0"/>
                <a:cs typeface="Calibri" charset="0"/>
                <a:sym typeface="Gill Sans" charset="0"/>
              </a:rPr>
              <a:t>funding/financing</a:t>
            </a:r>
            <a:r>
              <a:rPr kumimoji="0" lang="fr-FR" sz="4400" b="1" i="0" u="none" strike="noStrike" kern="1200" cap="none" spc="0" normalizeH="0" baseline="0" noProof="0" dirty="0" smtClean="0">
                <a:ln>
                  <a:noFill/>
                </a:ln>
                <a:solidFill>
                  <a:srgbClr val="FFFFFF"/>
                </a:solidFill>
                <a:effectLst/>
                <a:uLnTx/>
                <a:uFillTx/>
                <a:latin typeface="Calibri" charset="0"/>
                <a:ea typeface="Calibri" charset="0"/>
                <a:cs typeface="Calibri" charset="0"/>
                <a:sym typeface="Gill Sans" charset="0"/>
              </a:rPr>
              <a:t> options</a:t>
            </a:r>
            <a:endParaRPr kumimoji="0" lang="fr-FR" sz="4400" b="1" i="0" u="none" strike="noStrike" kern="1200" cap="none" spc="0" normalizeH="0" baseline="0" noProof="0" dirty="0">
              <a:ln>
                <a:noFill/>
              </a:ln>
              <a:solidFill>
                <a:srgbClr val="FFFFFF"/>
              </a:solidFill>
              <a:effectLst/>
              <a:uLnTx/>
              <a:uFillTx/>
              <a:latin typeface="Calibri" charset="0"/>
              <a:ea typeface="Calibri" charset="0"/>
              <a:cs typeface="Calibri" charset="0"/>
              <a:sym typeface="Gill Sans" charset="0"/>
            </a:endParaRPr>
          </a:p>
        </p:txBody>
      </p:sp>
      <p:sp>
        <p:nvSpPr>
          <p:cNvPr id="6" name="Rounded Rectangle 5"/>
          <p:cNvSpPr/>
          <p:nvPr/>
        </p:nvSpPr>
        <p:spPr bwMode="auto">
          <a:xfrm>
            <a:off x="3839072" y="3814759"/>
            <a:ext cx="17209912" cy="1853303"/>
          </a:xfrm>
          <a:prstGeom prst="roundRect">
            <a:avLst/>
          </a:prstGeom>
          <a:gradFill flip="none" rotWithShape="1">
            <a:gsLst>
              <a:gs pos="100000">
                <a:srgbClr val="0081C7"/>
              </a:gs>
              <a:gs pos="0">
                <a:srgbClr val="3DA7AB"/>
              </a:gs>
            </a:gsLst>
            <a:lin ang="8100000" scaled="1"/>
            <a:tileRect/>
          </a:gradFill>
          <a:ln w="25400"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914400" marR="0" lvl="2" indent="0" algn="l" defTabSz="914400" rtl="0" eaLnBrk="1" fontAlgn="base" latinLnBrk="0" hangingPunct="1">
              <a:lnSpc>
                <a:spcPct val="100000"/>
              </a:lnSpc>
              <a:spcBef>
                <a:spcPct val="0"/>
              </a:spcBef>
              <a:spcAft>
                <a:spcPct val="0"/>
              </a:spcAft>
              <a:buClrTx/>
              <a:buSzTx/>
              <a:buFontTx/>
              <a:buNone/>
              <a:tabLst/>
              <a:defRPr/>
            </a:pPr>
            <a:r>
              <a:rPr kumimoji="0" lang="fr-FR" sz="4400" b="1" i="0" u="none" strike="noStrike" kern="1200" cap="none" spc="0" normalizeH="0" baseline="0" noProof="0" dirty="0" smtClean="0">
                <a:ln>
                  <a:noFill/>
                </a:ln>
                <a:solidFill>
                  <a:srgbClr val="FFFFFF"/>
                </a:solidFill>
                <a:effectLst/>
                <a:uLnTx/>
                <a:uFillTx/>
                <a:latin typeface="Calibri" charset="0"/>
                <a:ea typeface="Calibri" charset="0"/>
                <a:cs typeface="Calibri" charset="0"/>
                <a:sym typeface="Gill Sans" charset="0"/>
              </a:rPr>
              <a:t>Support </a:t>
            </a:r>
            <a:r>
              <a:rPr kumimoji="0" lang="fr-FR" sz="4400" b="1" i="0" u="none" strike="noStrike" kern="1200" cap="none" spc="0" normalizeH="0" baseline="0" noProof="0" dirty="0" err="1" smtClean="0">
                <a:ln>
                  <a:noFill/>
                </a:ln>
                <a:solidFill>
                  <a:srgbClr val="FFFFFF"/>
                </a:solidFill>
                <a:effectLst/>
                <a:uLnTx/>
                <a:uFillTx/>
                <a:latin typeface="Calibri" charset="0"/>
                <a:ea typeface="Calibri" charset="0"/>
                <a:cs typeface="Calibri" charset="0"/>
                <a:sym typeface="Gill Sans" charset="0"/>
              </a:rPr>
              <a:t>regions</a:t>
            </a:r>
            <a:r>
              <a:rPr kumimoji="0" lang="fr-FR" sz="4400" b="1" i="0" u="none" strike="noStrike" kern="1200" cap="none" spc="0" normalizeH="0" baseline="0" noProof="0" dirty="0" smtClean="0">
                <a:ln>
                  <a:noFill/>
                </a:ln>
                <a:solidFill>
                  <a:srgbClr val="FFFFFF"/>
                </a:solidFill>
                <a:effectLst/>
                <a:uLnTx/>
                <a:uFillTx/>
                <a:latin typeface="Calibri" charset="0"/>
                <a:ea typeface="Calibri" charset="0"/>
                <a:cs typeface="Calibri" charset="0"/>
                <a:sym typeface="Gill Sans" charset="0"/>
              </a:rPr>
              <a:t> in </a:t>
            </a:r>
            <a:r>
              <a:rPr kumimoji="0" lang="fr-FR" sz="4400" b="1" i="0" u="none" strike="noStrike" kern="1200" cap="none" spc="0" normalizeH="0" baseline="0" noProof="0" dirty="0" err="1" smtClean="0">
                <a:ln>
                  <a:noFill/>
                </a:ln>
                <a:solidFill>
                  <a:srgbClr val="FFFFFF"/>
                </a:solidFill>
                <a:effectLst/>
                <a:uLnTx/>
                <a:uFillTx/>
                <a:latin typeface="Calibri" charset="0"/>
                <a:ea typeface="Calibri" charset="0"/>
                <a:cs typeface="Calibri" charset="0"/>
                <a:sym typeface="Gill Sans" charset="0"/>
              </a:rPr>
              <a:t>assessing</a:t>
            </a:r>
            <a:r>
              <a:rPr kumimoji="0" lang="fr-FR" sz="4400" b="1" i="0" u="none" strike="noStrike" kern="1200" cap="none" spc="0" normalizeH="0" baseline="0" noProof="0" dirty="0" smtClean="0">
                <a:ln>
                  <a:noFill/>
                </a:ln>
                <a:solidFill>
                  <a:srgbClr val="FFFFFF"/>
                </a:solidFill>
                <a:effectLst/>
                <a:uLnTx/>
                <a:uFillTx/>
                <a:latin typeface="Calibri" charset="0"/>
                <a:ea typeface="Calibri" charset="0"/>
                <a:cs typeface="Calibri" charset="0"/>
                <a:sym typeface="Gill Sans" charset="0"/>
              </a:rPr>
              <a:t> </a:t>
            </a:r>
            <a:r>
              <a:rPr kumimoji="0" lang="fr-FR" sz="4400" b="1" i="0" u="none" strike="noStrike" kern="1200" cap="none" spc="0" normalizeH="0" baseline="0" noProof="0" dirty="0" err="1" smtClean="0">
                <a:ln>
                  <a:noFill/>
                </a:ln>
                <a:solidFill>
                  <a:srgbClr val="FFFFFF"/>
                </a:solidFill>
                <a:effectLst/>
                <a:uLnTx/>
                <a:uFillTx/>
                <a:latin typeface="Calibri" charset="0"/>
                <a:ea typeface="Calibri" charset="0"/>
                <a:cs typeface="Calibri" charset="0"/>
                <a:sym typeface="Gill Sans" charset="0"/>
              </a:rPr>
              <a:t>various</a:t>
            </a:r>
            <a:r>
              <a:rPr kumimoji="0" lang="fr-FR" sz="4400" b="1" i="0" u="none" strike="noStrike" kern="1200" cap="none" spc="0" normalizeH="0" baseline="0" noProof="0" dirty="0" smtClean="0">
                <a:ln>
                  <a:noFill/>
                </a:ln>
                <a:solidFill>
                  <a:srgbClr val="FFFFFF"/>
                </a:solidFill>
                <a:effectLst/>
                <a:uLnTx/>
                <a:uFillTx/>
                <a:latin typeface="Calibri" charset="0"/>
                <a:ea typeface="Calibri" charset="0"/>
                <a:cs typeface="Calibri" charset="0"/>
                <a:sym typeface="Gill Sans" charset="0"/>
              </a:rPr>
              <a:t> FCH applications</a:t>
            </a:r>
            <a:endParaRPr kumimoji="0" lang="fr-FR" sz="4400" b="1" i="0" u="none" strike="noStrike" kern="1200" cap="none" spc="0" normalizeH="0" baseline="0" noProof="0" dirty="0">
              <a:ln>
                <a:noFill/>
              </a:ln>
              <a:solidFill>
                <a:srgbClr val="FFFFFF"/>
              </a:solidFill>
              <a:effectLst/>
              <a:uLnTx/>
              <a:uFillTx/>
              <a:latin typeface="Calibri" charset="0"/>
              <a:ea typeface="Calibri" charset="0"/>
              <a:cs typeface="Calibri" charset="0"/>
              <a:sym typeface="Gill Sans" charset="0"/>
            </a:endParaRPr>
          </a:p>
        </p:txBody>
      </p:sp>
      <p:sp>
        <p:nvSpPr>
          <p:cNvPr id="7" name="Rounded Rectangle 6"/>
          <p:cNvSpPr/>
          <p:nvPr/>
        </p:nvSpPr>
        <p:spPr bwMode="auto">
          <a:xfrm>
            <a:off x="5734790" y="8370168"/>
            <a:ext cx="16898369" cy="1853303"/>
          </a:xfrm>
          <a:prstGeom prst="roundRect">
            <a:avLst/>
          </a:prstGeom>
          <a:gradFill flip="none" rotWithShape="1">
            <a:gsLst>
              <a:gs pos="100000">
                <a:srgbClr val="0081C7"/>
              </a:gs>
              <a:gs pos="0">
                <a:srgbClr val="3DA7AB"/>
              </a:gs>
            </a:gsLst>
            <a:lin ang="8100000" scaled="1"/>
            <a:tileRect/>
          </a:gradFill>
          <a:ln w="25400"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914400" marR="0" lvl="2" indent="0" algn="l" defTabSz="914400" rtl="0" eaLnBrk="1" fontAlgn="base" latinLnBrk="0" hangingPunct="1">
              <a:lnSpc>
                <a:spcPct val="100000"/>
              </a:lnSpc>
              <a:spcBef>
                <a:spcPct val="0"/>
              </a:spcBef>
              <a:spcAft>
                <a:spcPct val="0"/>
              </a:spcAft>
              <a:buClrTx/>
              <a:buSzTx/>
              <a:buFontTx/>
              <a:buNone/>
              <a:tabLst/>
              <a:defRPr/>
            </a:pPr>
            <a:r>
              <a:rPr kumimoji="0" lang="fr-FR" sz="4400" b="1" i="0" u="none" strike="noStrike" kern="1200" cap="none" spc="0" normalizeH="0" baseline="0" noProof="0" dirty="0" err="1" smtClean="0">
                <a:ln>
                  <a:noFill/>
                </a:ln>
                <a:solidFill>
                  <a:srgbClr val="FFFFFF"/>
                </a:solidFill>
                <a:effectLst/>
                <a:uLnTx/>
                <a:uFillTx/>
                <a:latin typeface="Calibri" charset="0"/>
                <a:ea typeface="Calibri" charset="0"/>
                <a:cs typeface="Calibri" charset="0"/>
                <a:sym typeface="Gill Sans" charset="0"/>
              </a:rPr>
              <a:t>Develop</a:t>
            </a:r>
            <a:r>
              <a:rPr kumimoji="0" lang="fr-FR" sz="4400" b="1" i="0" u="none" strike="noStrike" kern="1200" cap="none" spc="0" normalizeH="0" baseline="0" noProof="0" dirty="0" smtClean="0">
                <a:ln>
                  <a:noFill/>
                </a:ln>
                <a:solidFill>
                  <a:srgbClr val="FFFFFF"/>
                </a:solidFill>
                <a:effectLst/>
                <a:uLnTx/>
                <a:uFillTx/>
                <a:latin typeface="Calibri" charset="0"/>
                <a:ea typeface="Calibri" charset="0"/>
                <a:cs typeface="Calibri" charset="0"/>
                <a:sym typeface="Gill Sans" charset="0"/>
              </a:rPr>
              <a:t> roadmaps and concepts for the </a:t>
            </a:r>
            <a:r>
              <a:rPr kumimoji="0" lang="fr-FR" sz="4400" b="1" i="0" u="none" strike="noStrike" kern="1200" cap="none" spc="0" normalizeH="0" baseline="0" noProof="0" dirty="0" err="1" smtClean="0">
                <a:ln>
                  <a:noFill/>
                </a:ln>
                <a:solidFill>
                  <a:srgbClr val="FFFFFF"/>
                </a:solidFill>
                <a:effectLst/>
                <a:uLnTx/>
                <a:uFillTx/>
                <a:latin typeface="Calibri" charset="0"/>
                <a:ea typeface="Calibri" charset="0"/>
                <a:cs typeface="Calibri" charset="0"/>
                <a:sym typeface="Gill Sans" charset="0"/>
              </a:rPr>
              <a:t>months</a:t>
            </a:r>
            <a:r>
              <a:rPr kumimoji="0" lang="fr-FR" sz="4400" b="1" i="0" u="none" strike="noStrike" kern="1200" cap="none" spc="0" normalizeH="0" baseline="0" noProof="0" dirty="0" smtClean="0">
                <a:ln>
                  <a:noFill/>
                </a:ln>
                <a:solidFill>
                  <a:srgbClr val="FFFFFF"/>
                </a:solidFill>
                <a:effectLst/>
                <a:uLnTx/>
                <a:uFillTx/>
                <a:latin typeface="Calibri" charset="0"/>
                <a:ea typeface="Calibri" charset="0"/>
                <a:cs typeface="Calibri" charset="0"/>
                <a:sym typeface="Gill Sans" charset="0"/>
              </a:rPr>
              <a:t> </a:t>
            </a:r>
            <a:r>
              <a:rPr kumimoji="0" lang="fr-FR" sz="4400" b="1" i="0" u="none" strike="noStrike" kern="1200" cap="none" spc="0" normalizeH="0" baseline="0" noProof="0" dirty="0" err="1" smtClean="0">
                <a:ln>
                  <a:noFill/>
                </a:ln>
                <a:solidFill>
                  <a:srgbClr val="FFFFFF"/>
                </a:solidFill>
                <a:effectLst/>
                <a:uLnTx/>
                <a:uFillTx/>
                <a:latin typeface="Calibri" charset="0"/>
                <a:ea typeface="Calibri" charset="0"/>
                <a:cs typeface="Calibri" charset="0"/>
                <a:sym typeface="Gill Sans" charset="0"/>
              </a:rPr>
              <a:t>after</a:t>
            </a:r>
            <a:r>
              <a:rPr kumimoji="0" lang="fr-FR" sz="4400" b="1" i="0" u="none" strike="noStrike" kern="1200" cap="none" spc="0" normalizeH="0" baseline="0" noProof="0" dirty="0" smtClean="0">
                <a:ln>
                  <a:noFill/>
                </a:ln>
                <a:solidFill>
                  <a:srgbClr val="FFFFFF"/>
                </a:solidFill>
                <a:effectLst/>
                <a:uLnTx/>
                <a:uFillTx/>
                <a:latin typeface="Calibri" charset="0"/>
                <a:ea typeface="Calibri" charset="0"/>
                <a:cs typeface="Calibri" charset="0"/>
                <a:sym typeface="Gill Sans" charset="0"/>
              </a:rPr>
              <a:t> the </a:t>
            </a:r>
            <a:r>
              <a:rPr kumimoji="0" lang="fr-FR" sz="4400" b="1" i="0" u="none" strike="noStrike" kern="1200" cap="none" spc="0" normalizeH="0" baseline="0" noProof="0" dirty="0" err="1" smtClean="0">
                <a:ln>
                  <a:noFill/>
                </a:ln>
                <a:solidFill>
                  <a:srgbClr val="FFFFFF"/>
                </a:solidFill>
                <a:effectLst/>
                <a:uLnTx/>
                <a:uFillTx/>
                <a:latin typeface="Calibri" charset="0"/>
                <a:ea typeface="Calibri" charset="0"/>
                <a:cs typeface="Calibri" charset="0"/>
                <a:sym typeface="Gill Sans" charset="0"/>
              </a:rPr>
              <a:t>study</a:t>
            </a:r>
            <a:r>
              <a:rPr kumimoji="0" lang="fr-FR" sz="4400" b="1" i="0" u="none" strike="noStrike" kern="1200" cap="none" spc="0" normalizeH="0" baseline="0" noProof="0" dirty="0" smtClean="0">
                <a:ln>
                  <a:noFill/>
                </a:ln>
                <a:solidFill>
                  <a:srgbClr val="FFFFFF"/>
                </a:solidFill>
                <a:effectLst/>
                <a:uLnTx/>
                <a:uFillTx/>
                <a:latin typeface="Calibri" charset="0"/>
                <a:ea typeface="Calibri" charset="0"/>
                <a:cs typeface="Calibri" charset="0"/>
                <a:sym typeface="Gill Sans" charset="0"/>
              </a:rPr>
              <a:t>, </a:t>
            </a:r>
            <a:r>
              <a:rPr kumimoji="0" lang="fr-FR" sz="4400" b="1" i="0" u="none" strike="noStrike" kern="1200" cap="none" spc="0" normalizeH="0" baseline="0" noProof="0" dirty="0" err="1" smtClean="0">
                <a:ln>
                  <a:noFill/>
                </a:ln>
                <a:solidFill>
                  <a:srgbClr val="FFFFFF"/>
                </a:solidFill>
                <a:effectLst/>
                <a:uLnTx/>
                <a:uFillTx/>
                <a:latin typeface="Calibri" charset="0"/>
                <a:ea typeface="Calibri" charset="0"/>
                <a:cs typeface="Calibri" charset="0"/>
                <a:sym typeface="Gill Sans" charset="0"/>
              </a:rPr>
              <a:t>prepare</a:t>
            </a:r>
            <a:r>
              <a:rPr kumimoji="0" lang="fr-FR" sz="4400" b="1" i="0" u="none" strike="noStrike" kern="1200" cap="none" spc="0" normalizeH="0" baseline="0" noProof="0" dirty="0" smtClean="0">
                <a:ln>
                  <a:noFill/>
                </a:ln>
                <a:solidFill>
                  <a:srgbClr val="FFFFFF"/>
                </a:solidFill>
                <a:effectLst/>
                <a:uLnTx/>
                <a:uFillTx/>
                <a:latin typeface="Calibri" charset="0"/>
                <a:ea typeface="Calibri" charset="0"/>
                <a:cs typeface="Calibri" charset="0"/>
                <a:sym typeface="Gill Sans" charset="0"/>
              </a:rPr>
              <a:t> and </a:t>
            </a:r>
            <a:r>
              <a:rPr kumimoji="0" lang="fr-FR" sz="4400" b="1" i="0" u="none" strike="noStrike" kern="1200" cap="none" spc="0" normalizeH="0" baseline="0" noProof="0" dirty="0" err="1" smtClean="0">
                <a:ln>
                  <a:noFill/>
                </a:ln>
                <a:solidFill>
                  <a:srgbClr val="FFFFFF"/>
                </a:solidFill>
                <a:effectLst/>
                <a:uLnTx/>
                <a:uFillTx/>
                <a:latin typeface="Calibri" charset="0"/>
                <a:ea typeface="Calibri" charset="0"/>
                <a:cs typeface="Calibri" charset="0"/>
                <a:sym typeface="Gill Sans" charset="0"/>
              </a:rPr>
              <a:t>implement</a:t>
            </a:r>
            <a:r>
              <a:rPr kumimoji="0" lang="fr-FR" sz="4400" b="1" i="0" u="none" strike="noStrike" kern="1200" cap="none" spc="0" normalizeH="0" baseline="0" noProof="0" dirty="0" smtClean="0">
                <a:ln>
                  <a:noFill/>
                </a:ln>
                <a:solidFill>
                  <a:srgbClr val="FFFFFF"/>
                </a:solidFill>
                <a:effectLst/>
                <a:uLnTx/>
                <a:uFillTx/>
                <a:latin typeface="Calibri" charset="0"/>
                <a:ea typeface="Calibri" charset="0"/>
                <a:cs typeface="Calibri" charset="0"/>
                <a:sym typeface="Gill Sans" charset="0"/>
              </a:rPr>
              <a:t> </a:t>
            </a:r>
            <a:r>
              <a:rPr kumimoji="0" lang="fr-FR" sz="4400" b="1" i="0" u="none" strike="noStrike" kern="1200" cap="none" spc="0" normalizeH="0" baseline="0" noProof="0" dirty="0" err="1" smtClean="0">
                <a:ln>
                  <a:noFill/>
                </a:ln>
                <a:solidFill>
                  <a:srgbClr val="FFFFFF"/>
                </a:solidFill>
                <a:effectLst/>
                <a:uLnTx/>
                <a:uFillTx/>
                <a:latin typeface="Calibri" charset="0"/>
                <a:ea typeface="Calibri" charset="0"/>
                <a:cs typeface="Calibri" charset="0"/>
                <a:sym typeface="Gill Sans" charset="0"/>
              </a:rPr>
              <a:t>deployment</a:t>
            </a:r>
            <a:r>
              <a:rPr kumimoji="0" lang="fr-FR" sz="4400" b="1" i="0" u="none" strike="noStrike" kern="1200" cap="none" spc="0" normalizeH="0" baseline="0" noProof="0" dirty="0" smtClean="0">
                <a:ln>
                  <a:noFill/>
                </a:ln>
                <a:solidFill>
                  <a:srgbClr val="FFFFFF"/>
                </a:solidFill>
                <a:effectLst/>
                <a:uLnTx/>
                <a:uFillTx/>
                <a:latin typeface="Calibri" charset="0"/>
                <a:ea typeface="Calibri" charset="0"/>
                <a:cs typeface="Calibri" charset="0"/>
                <a:sym typeface="Gill Sans" charset="0"/>
              </a:rPr>
              <a:t> </a:t>
            </a:r>
            <a:r>
              <a:rPr kumimoji="0" lang="fr-FR" sz="4400" b="1" i="0" u="none" strike="noStrike" kern="1200" cap="none" spc="0" normalizeH="0" baseline="0" noProof="0" dirty="0" err="1" smtClean="0">
                <a:ln>
                  <a:noFill/>
                </a:ln>
                <a:solidFill>
                  <a:srgbClr val="FFFFFF"/>
                </a:solidFill>
                <a:effectLst/>
                <a:uLnTx/>
                <a:uFillTx/>
                <a:latin typeface="Calibri" charset="0"/>
                <a:ea typeface="Calibri" charset="0"/>
                <a:cs typeface="Calibri" charset="0"/>
                <a:sym typeface="Gill Sans" charset="0"/>
              </a:rPr>
              <a:t>projects</a:t>
            </a:r>
            <a:r>
              <a:rPr kumimoji="0" lang="fr-FR" sz="4400" b="1" i="0" u="none" strike="noStrike" kern="1200" cap="none" spc="0" normalizeH="0" baseline="0" noProof="0" dirty="0" smtClean="0">
                <a:ln>
                  <a:noFill/>
                </a:ln>
                <a:solidFill>
                  <a:srgbClr val="FFFFFF"/>
                </a:solidFill>
                <a:effectLst/>
                <a:uLnTx/>
                <a:uFillTx/>
                <a:latin typeface="Calibri" charset="0"/>
                <a:ea typeface="Calibri" charset="0"/>
                <a:cs typeface="Calibri" charset="0"/>
                <a:sym typeface="Gill Sans" charset="0"/>
              </a:rPr>
              <a:t> </a:t>
            </a:r>
            <a:r>
              <a:rPr kumimoji="0" lang="fr-FR" sz="4400" b="1" i="0" u="none" strike="noStrike" kern="1200" cap="none" spc="0" normalizeH="0" baseline="0" noProof="0" dirty="0" err="1" smtClean="0">
                <a:ln>
                  <a:noFill/>
                </a:ln>
                <a:solidFill>
                  <a:srgbClr val="FFFFFF"/>
                </a:solidFill>
                <a:effectLst/>
                <a:uLnTx/>
                <a:uFillTx/>
                <a:latin typeface="Calibri" charset="0"/>
                <a:ea typeface="Calibri" charset="0"/>
                <a:cs typeface="Calibri" charset="0"/>
                <a:sym typeface="Gill Sans" charset="0"/>
              </a:rPr>
              <a:t>from</a:t>
            </a:r>
            <a:r>
              <a:rPr kumimoji="0" lang="fr-FR" sz="4400" b="1" i="0" u="none" strike="noStrike" kern="1200" cap="none" spc="0" normalizeH="0" baseline="0" noProof="0" dirty="0" smtClean="0">
                <a:ln>
                  <a:noFill/>
                </a:ln>
                <a:solidFill>
                  <a:srgbClr val="FFFFFF"/>
                </a:solidFill>
                <a:effectLst/>
                <a:uLnTx/>
                <a:uFillTx/>
                <a:latin typeface="Calibri" charset="0"/>
                <a:ea typeface="Calibri" charset="0"/>
                <a:cs typeface="Calibri" charset="0"/>
                <a:sym typeface="Gill Sans" charset="0"/>
              </a:rPr>
              <a:t> 2018</a:t>
            </a:r>
            <a:endParaRPr kumimoji="0" lang="fr-FR" sz="3200" b="0" i="0" u="none" strike="noStrike" kern="1200" cap="none" spc="0" normalizeH="0" baseline="0" noProof="0" dirty="0">
              <a:ln>
                <a:noFill/>
              </a:ln>
              <a:solidFill>
                <a:srgbClr val="FFFFFF"/>
              </a:solidFill>
              <a:effectLst/>
              <a:uLnTx/>
              <a:uFillTx/>
              <a:latin typeface="Calibri" charset="0"/>
              <a:ea typeface="Calibri" charset="0"/>
              <a:cs typeface="Calibri" charset="0"/>
              <a:sym typeface="Gill Sans" charset="0"/>
            </a:endParaRPr>
          </a:p>
        </p:txBody>
      </p:sp>
      <p:sp>
        <p:nvSpPr>
          <p:cNvPr id="8" name="Rounded Rectangle 7"/>
          <p:cNvSpPr/>
          <p:nvPr/>
        </p:nvSpPr>
        <p:spPr bwMode="auto">
          <a:xfrm>
            <a:off x="3839072" y="10530408"/>
            <a:ext cx="17209912" cy="1853303"/>
          </a:xfrm>
          <a:prstGeom prst="roundRect">
            <a:avLst/>
          </a:prstGeom>
          <a:gradFill flip="none" rotWithShape="1">
            <a:gsLst>
              <a:gs pos="100000">
                <a:srgbClr val="0081C7"/>
              </a:gs>
              <a:gs pos="0">
                <a:srgbClr val="3DA7AB"/>
              </a:gs>
            </a:gsLst>
            <a:lin ang="8100000" scaled="1"/>
            <a:tileRect/>
          </a:gradFill>
          <a:ln w="25400"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914400" marR="0" lvl="2" indent="0" algn="l" defTabSz="914400" rtl="0" eaLnBrk="1" fontAlgn="base" latinLnBrk="0" hangingPunct="1">
              <a:lnSpc>
                <a:spcPct val="100000"/>
              </a:lnSpc>
              <a:spcBef>
                <a:spcPct val="0"/>
              </a:spcBef>
              <a:spcAft>
                <a:spcPct val="0"/>
              </a:spcAft>
              <a:buClrTx/>
              <a:buSzTx/>
              <a:buFontTx/>
              <a:buNone/>
              <a:tabLst/>
              <a:defRPr/>
            </a:pPr>
            <a:r>
              <a:rPr kumimoji="0" lang="fr-FR" sz="4400" b="1" i="0" u="none" strike="noStrike" kern="1200" cap="none" spc="0" normalizeH="0" baseline="0" noProof="0" dirty="0" smtClean="0">
                <a:ln>
                  <a:noFill/>
                </a:ln>
                <a:solidFill>
                  <a:srgbClr val="FFFFFF"/>
                </a:solidFill>
                <a:effectLst/>
                <a:uLnTx/>
                <a:uFillTx/>
                <a:latin typeface="Calibri" charset="0"/>
                <a:ea typeface="Calibri" charset="0"/>
                <a:cs typeface="Calibri" charset="0"/>
                <a:sym typeface="Gill Sans" charset="0"/>
              </a:rPr>
              <a:t>Support the </a:t>
            </a:r>
            <a:r>
              <a:rPr kumimoji="0" lang="fr-FR" sz="4400" b="1" i="0" u="none" strike="noStrike" kern="1200" cap="none" spc="0" normalizeH="0" baseline="0" noProof="0" dirty="0" err="1" smtClean="0">
                <a:ln>
                  <a:noFill/>
                </a:ln>
                <a:solidFill>
                  <a:srgbClr val="FFFFFF"/>
                </a:solidFill>
                <a:effectLst/>
                <a:uLnTx/>
                <a:uFillTx/>
                <a:latin typeface="Calibri" charset="0"/>
                <a:ea typeface="Calibri" charset="0"/>
                <a:cs typeface="Calibri" charset="0"/>
                <a:sym typeface="Gill Sans" charset="0"/>
              </a:rPr>
              <a:t>participating</a:t>
            </a:r>
            <a:r>
              <a:rPr kumimoji="0" lang="fr-FR" sz="4400" b="1" i="0" u="none" strike="noStrike" kern="1200" cap="none" spc="0" normalizeH="0" baseline="0" noProof="0" dirty="0" smtClean="0">
                <a:ln>
                  <a:noFill/>
                </a:ln>
                <a:solidFill>
                  <a:srgbClr val="FFFFFF"/>
                </a:solidFill>
                <a:effectLst/>
                <a:uLnTx/>
                <a:uFillTx/>
                <a:latin typeface="Calibri" charset="0"/>
                <a:ea typeface="Calibri" charset="0"/>
                <a:cs typeface="Calibri" charset="0"/>
                <a:sym typeface="Gill Sans" charset="0"/>
              </a:rPr>
              <a:t> </a:t>
            </a:r>
            <a:r>
              <a:rPr kumimoji="0" lang="fr-FR" sz="4400" b="1" i="0" u="none" strike="noStrike" kern="1200" cap="none" spc="0" normalizeH="0" baseline="0" noProof="0" dirty="0" err="1" smtClean="0">
                <a:ln>
                  <a:noFill/>
                </a:ln>
                <a:solidFill>
                  <a:srgbClr val="FFFFFF"/>
                </a:solidFill>
                <a:effectLst/>
                <a:uLnTx/>
                <a:uFillTx/>
                <a:latin typeface="Calibri" charset="0"/>
                <a:ea typeface="Calibri" charset="0"/>
                <a:cs typeface="Calibri" charset="0"/>
                <a:sym typeface="Gill Sans" charset="0"/>
              </a:rPr>
              <a:t>regions</a:t>
            </a:r>
            <a:r>
              <a:rPr kumimoji="0" lang="fr-FR" sz="4400" b="1" i="0" u="none" strike="noStrike" kern="1200" cap="none" spc="0" normalizeH="0" baseline="0" noProof="0" dirty="0" smtClean="0">
                <a:ln>
                  <a:noFill/>
                </a:ln>
                <a:solidFill>
                  <a:srgbClr val="FFFFFF"/>
                </a:solidFill>
                <a:effectLst/>
                <a:uLnTx/>
                <a:uFillTx/>
                <a:latin typeface="Calibri" charset="0"/>
                <a:ea typeface="Calibri" charset="0"/>
                <a:cs typeface="Calibri" charset="0"/>
                <a:sym typeface="Gill Sans" charset="0"/>
              </a:rPr>
              <a:t>/</a:t>
            </a:r>
            <a:r>
              <a:rPr kumimoji="0" lang="fr-FR" sz="4400" b="1" i="0" u="none" strike="noStrike" kern="1200" cap="none" spc="0" normalizeH="0" baseline="0" noProof="0" dirty="0" err="1" smtClean="0">
                <a:ln>
                  <a:noFill/>
                </a:ln>
                <a:solidFill>
                  <a:srgbClr val="FFFFFF"/>
                </a:solidFill>
                <a:effectLst/>
                <a:uLnTx/>
                <a:uFillTx/>
                <a:latin typeface="Calibri" charset="0"/>
                <a:ea typeface="Calibri" charset="0"/>
                <a:cs typeface="Calibri" charset="0"/>
                <a:sym typeface="Gill Sans" charset="0"/>
              </a:rPr>
              <a:t>cities</a:t>
            </a:r>
            <a:r>
              <a:rPr kumimoji="0" lang="fr-FR" sz="4400" b="1" i="0" u="none" strike="noStrike" kern="1200" cap="none" spc="0" normalizeH="0" baseline="0" noProof="0" dirty="0" smtClean="0">
                <a:ln>
                  <a:noFill/>
                </a:ln>
                <a:solidFill>
                  <a:srgbClr val="FFFFFF"/>
                </a:solidFill>
                <a:effectLst/>
                <a:uLnTx/>
                <a:uFillTx/>
                <a:latin typeface="Calibri" charset="0"/>
                <a:ea typeface="Calibri" charset="0"/>
                <a:cs typeface="Calibri" charset="0"/>
                <a:sym typeface="Gill Sans" charset="0"/>
              </a:rPr>
              <a:t> to engage </a:t>
            </a:r>
            <a:r>
              <a:rPr kumimoji="0" lang="fr-FR" sz="4400" b="1" i="0" u="none" strike="noStrike" kern="1200" cap="none" spc="0" normalizeH="0" baseline="0" noProof="0" dirty="0" err="1" smtClean="0">
                <a:ln>
                  <a:noFill/>
                </a:ln>
                <a:solidFill>
                  <a:srgbClr val="FFFFFF"/>
                </a:solidFill>
                <a:effectLst/>
                <a:uLnTx/>
                <a:uFillTx/>
                <a:latin typeface="Calibri" charset="0"/>
                <a:ea typeface="Calibri" charset="0"/>
                <a:cs typeface="Calibri" charset="0"/>
                <a:sym typeface="Gill Sans" charset="0"/>
              </a:rPr>
              <a:t>their</a:t>
            </a:r>
            <a:r>
              <a:rPr kumimoji="0" lang="fr-FR" sz="4400" b="1" i="0" u="none" strike="noStrike" kern="1200" cap="none" spc="0" normalizeH="0" baseline="0" noProof="0" dirty="0" smtClean="0">
                <a:ln>
                  <a:noFill/>
                </a:ln>
                <a:solidFill>
                  <a:srgbClr val="FFFFFF"/>
                </a:solidFill>
                <a:effectLst/>
                <a:uLnTx/>
                <a:uFillTx/>
                <a:latin typeface="Calibri" charset="0"/>
                <a:ea typeface="Calibri" charset="0"/>
                <a:cs typeface="Calibri" charset="0"/>
                <a:sym typeface="Gill Sans" charset="0"/>
              </a:rPr>
              <a:t> </a:t>
            </a:r>
            <a:r>
              <a:rPr kumimoji="0" lang="fr-FR" sz="4400" b="1" i="0" u="none" strike="noStrike" kern="1200" cap="none" spc="0" normalizeH="0" baseline="0" noProof="0" dirty="0" err="1" smtClean="0">
                <a:ln>
                  <a:noFill/>
                </a:ln>
                <a:solidFill>
                  <a:srgbClr val="FFFFFF"/>
                </a:solidFill>
                <a:effectLst/>
                <a:uLnTx/>
                <a:uFillTx/>
                <a:latin typeface="Calibri" charset="0"/>
                <a:ea typeface="Calibri" charset="0"/>
                <a:cs typeface="Calibri" charset="0"/>
                <a:sym typeface="Gill Sans" charset="0"/>
              </a:rPr>
              <a:t>stakeholders</a:t>
            </a:r>
            <a:endParaRPr kumimoji="0" lang="fr-FR" sz="3200" b="0" i="0" u="none" strike="noStrike" kern="1200" cap="none" spc="0" normalizeH="0" baseline="0" noProof="0" dirty="0">
              <a:ln>
                <a:noFill/>
              </a:ln>
              <a:solidFill>
                <a:srgbClr val="FFFFFF"/>
              </a:solidFill>
              <a:effectLst/>
              <a:uLnTx/>
              <a:uFillTx/>
              <a:latin typeface="Calibri" charset="0"/>
              <a:ea typeface="Calibri" charset="0"/>
              <a:cs typeface="Calibri" charset="0"/>
              <a:sym typeface="Gill Sans" charset="0"/>
            </a:endParaRPr>
          </a:p>
        </p:txBody>
      </p:sp>
      <p:sp>
        <p:nvSpPr>
          <p:cNvPr id="9" name="Ellipse 25"/>
          <p:cNvSpPr/>
          <p:nvPr/>
        </p:nvSpPr>
        <p:spPr bwMode="auto">
          <a:xfrm>
            <a:off x="2926793" y="4022685"/>
            <a:ext cx="1397973" cy="1397973"/>
          </a:xfrm>
          <a:prstGeom prst="ellipse">
            <a:avLst/>
          </a:prstGeom>
          <a:solidFill>
            <a:schemeClr val="bg1"/>
          </a:solidFill>
          <a:ln w="25400" cap="flat" cmpd="sng" algn="ctr">
            <a:solidFill>
              <a:srgbClr val="0081C7"/>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5400" b="0" i="0" u="none" strike="noStrike" kern="1200" cap="none" spc="0" normalizeH="0" baseline="0" noProof="0">
              <a:ln>
                <a:noFill/>
              </a:ln>
              <a:solidFill>
                <a:srgbClr val="000000"/>
              </a:solidFill>
              <a:effectLst/>
              <a:uLnTx/>
              <a:uFillTx/>
              <a:latin typeface="Gill Sans" charset="0"/>
              <a:ea typeface="Heiti SC Light" charset="0"/>
              <a:cs typeface="Heiti SC Light" charset="0"/>
              <a:sym typeface="Gill Sans" charset="0"/>
            </a:endParaRPr>
          </a:p>
        </p:txBody>
      </p:sp>
      <p:sp>
        <p:nvSpPr>
          <p:cNvPr id="10" name="Ellipse 25"/>
          <p:cNvSpPr/>
          <p:nvPr/>
        </p:nvSpPr>
        <p:spPr bwMode="auto">
          <a:xfrm>
            <a:off x="5035803" y="6275223"/>
            <a:ext cx="1397973" cy="1397973"/>
          </a:xfrm>
          <a:prstGeom prst="ellipse">
            <a:avLst/>
          </a:prstGeom>
          <a:solidFill>
            <a:schemeClr val="bg1"/>
          </a:solidFill>
          <a:ln w="25400" cap="flat" cmpd="sng" algn="ctr">
            <a:solidFill>
              <a:srgbClr val="0081C7"/>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5400" b="0" i="0" u="none" strike="noStrike" kern="1200" cap="none" spc="0" normalizeH="0" baseline="0" noProof="0">
              <a:ln>
                <a:noFill/>
              </a:ln>
              <a:solidFill>
                <a:srgbClr val="000000"/>
              </a:solidFill>
              <a:effectLst/>
              <a:uLnTx/>
              <a:uFillTx/>
              <a:latin typeface="Gill Sans" charset="0"/>
              <a:ea typeface="Heiti SC Light" charset="0"/>
              <a:cs typeface="Heiti SC Light" charset="0"/>
              <a:sym typeface="Gill Sans" charset="0"/>
            </a:endParaRPr>
          </a:p>
        </p:txBody>
      </p:sp>
      <p:sp>
        <p:nvSpPr>
          <p:cNvPr id="11" name="Ellipse 25"/>
          <p:cNvSpPr/>
          <p:nvPr/>
        </p:nvSpPr>
        <p:spPr bwMode="auto">
          <a:xfrm>
            <a:off x="5035803" y="8597832"/>
            <a:ext cx="1397973" cy="1397973"/>
          </a:xfrm>
          <a:prstGeom prst="ellipse">
            <a:avLst/>
          </a:prstGeom>
          <a:solidFill>
            <a:schemeClr val="bg1"/>
          </a:solidFill>
          <a:ln w="25400" cap="flat" cmpd="sng" algn="ctr">
            <a:solidFill>
              <a:srgbClr val="0081C7"/>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5400" b="0" i="0" u="none" strike="noStrike" kern="1200" cap="none" spc="0" normalizeH="0" baseline="0" noProof="0">
              <a:ln>
                <a:noFill/>
              </a:ln>
              <a:solidFill>
                <a:srgbClr val="000000"/>
              </a:solidFill>
              <a:effectLst/>
              <a:uLnTx/>
              <a:uFillTx/>
              <a:latin typeface="Gill Sans" charset="0"/>
              <a:ea typeface="Heiti SC Light" charset="0"/>
              <a:cs typeface="Heiti SC Light" charset="0"/>
              <a:sym typeface="Gill Sans" charset="0"/>
            </a:endParaRPr>
          </a:p>
        </p:txBody>
      </p:sp>
      <p:sp>
        <p:nvSpPr>
          <p:cNvPr id="12" name="Ellipse 25"/>
          <p:cNvSpPr/>
          <p:nvPr/>
        </p:nvSpPr>
        <p:spPr bwMode="auto">
          <a:xfrm>
            <a:off x="2926793" y="10758072"/>
            <a:ext cx="1397973" cy="1397973"/>
          </a:xfrm>
          <a:prstGeom prst="ellipse">
            <a:avLst/>
          </a:prstGeom>
          <a:solidFill>
            <a:schemeClr val="bg1"/>
          </a:solidFill>
          <a:ln w="25400" cap="flat" cmpd="sng" algn="ctr">
            <a:solidFill>
              <a:srgbClr val="0081C7"/>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fr-FR" sz="5400" b="0" i="0" u="none" strike="noStrike" kern="1200" cap="none" spc="0" normalizeH="0" baseline="0" noProof="0">
              <a:ln>
                <a:noFill/>
              </a:ln>
              <a:solidFill>
                <a:srgbClr val="000000"/>
              </a:solidFill>
              <a:effectLst/>
              <a:uLnTx/>
              <a:uFillTx/>
              <a:latin typeface="Gill Sans" charset="0"/>
              <a:ea typeface="Heiti SC Light" charset="0"/>
              <a:cs typeface="Heiti SC Light" charset="0"/>
              <a:sym typeface="Gill Sans" charset="0"/>
            </a:endParaRPr>
          </a:p>
        </p:txBody>
      </p:sp>
      <p:pic>
        <p:nvPicPr>
          <p:cNvPr id="14" name="Content Placeholder 2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304610" y="6569968"/>
            <a:ext cx="883322" cy="870073"/>
          </a:xfrm>
          <a:prstGeom prst="rect">
            <a:avLst/>
          </a:prstGeom>
        </p:spPr>
      </p:pic>
      <p:pic>
        <p:nvPicPr>
          <p:cNvPr id="15" name="Picture 1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221089" y="11049518"/>
            <a:ext cx="809380" cy="815080"/>
          </a:xfrm>
          <a:prstGeom prst="rect">
            <a:avLst/>
          </a:prstGeom>
        </p:spPr>
      </p:pic>
      <p:pic>
        <p:nvPicPr>
          <p:cNvPr id="16" name="Picture 1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141936" y="4175186"/>
            <a:ext cx="967685" cy="1061103"/>
          </a:xfrm>
          <a:prstGeom prst="rect">
            <a:avLst/>
          </a:prstGeom>
        </p:spPr>
      </p:pic>
      <p:pic>
        <p:nvPicPr>
          <p:cNvPr id="17" name="Image 16"/>
          <p:cNvPicPr>
            <a:picLocks noChangeAspect="1"/>
          </p:cNvPicPr>
          <p:nvPr/>
        </p:nvPicPr>
        <p:blipFill>
          <a:blip r:embed="rId6"/>
          <a:stretch>
            <a:fillRect/>
          </a:stretch>
        </p:blipFill>
        <p:spPr>
          <a:xfrm>
            <a:off x="5297828" y="8927951"/>
            <a:ext cx="890104" cy="890104"/>
          </a:xfrm>
          <a:prstGeom prst="rect">
            <a:avLst/>
          </a:prstGeom>
        </p:spPr>
      </p:pic>
      <p:pic>
        <p:nvPicPr>
          <p:cNvPr id="11266" name="Picture 2" descr="Financial, Analytics, Blur, Business, Close-Up"/>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auto">
          <a:xfrm>
            <a:off x="445453" y="6037130"/>
            <a:ext cx="4371869" cy="4166083"/>
          </a:xfrm>
          <a:prstGeom prst="flowChartConnector">
            <a:avLst/>
          </a:prstGeom>
          <a:noFill/>
          <a:ln>
            <a:solidFill>
              <a:schemeClr val="accent2"/>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1649689"/>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0" name="RBContent533"/>
          <p:cNvSpPr txBox="1">
            <a:spLocks/>
          </p:cNvSpPr>
          <p:nvPr/>
        </p:nvSpPr>
        <p:spPr>
          <a:xfrm>
            <a:off x="19569905" y="7804044"/>
            <a:ext cx="3282528" cy="830997"/>
          </a:xfrm>
          <a:prstGeom prst="rect">
            <a:avLst/>
          </a:prstGeom>
          <a:noFill/>
          <a:ln w="9525">
            <a:noFill/>
          </a:ln>
        </p:spPr>
        <p:txBody>
          <a:bodyPr vert="horz" wrap="square" lIns="0" tIns="0" rIns="0" bIns="0" rtlCol="0">
            <a:spAutoFit/>
          </a:bodyPr>
          <a:lstStyle/>
          <a:p>
            <a:pPr algn="l" fontAlgn="base">
              <a:lnSpc>
                <a:spcPct val="90000"/>
              </a:lnSpc>
              <a:spcAft>
                <a:spcPct val="0"/>
              </a:spcAft>
              <a:buSzPct val="100000"/>
            </a:pPr>
            <a:r>
              <a:rPr lang="en-GB" sz="2000" b="1" dirty="0">
                <a:solidFill>
                  <a:schemeClr val="bg1">
                    <a:lumMod val="50000"/>
                  </a:schemeClr>
                </a:solidFill>
                <a:latin typeface="Calibri" charset="0"/>
                <a:ea typeface="Calibri" charset="0"/>
                <a:cs typeface="Calibri" charset="0"/>
                <a:sym typeface="+mn-lt"/>
              </a:rPr>
              <a:t>Croatia</a:t>
            </a:r>
          </a:p>
          <a:p>
            <a:pPr marL="98743" lvl="1" indent="-98743" algn="l" fontAlgn="base">
              <a:lnSpc>
                <a:spcPct val="90000"/>
              </a:lnSpc>
              <a:spcAft>
                <a:spcPct val="0"/>
              </a:spcAft>
              <a:buSzPct val="100000"/>
              <a:buFont typeface="Arial Narrow"/>
              <a:buChar char="&gt;"/>
            </a:pPr>
            <a:r>
              <a:rPr lang="en-GB" sz="2000" dirty="0">
                <a:solidFill>
                  <a:schemeClr val="bg1">
                    <a:lumMod val="50000"/>
                  </a:schemeClr>
                </a:solidFill>
                <a:latin typeface="Calibri" charset="0"/>
                <a:ea typeface="Calibri" charset="0"/>
                <a:cs typeface="Calibri" charset="0"/>
              </a:rPr>
              <a:t>Split</a:t>
            </a:r>
          </a:p>
          <a:p>
            <a:pPr marL="98743" lvl="1" indent="-98743" algn="l" fontAlgn="base">
              <a:lnSpc>
                <a:spcPct val="90000"/>
              </a:lnSpc>
              <a:spcAft>
                <a:spcPct val="0"/>
              </a:spcAft>
              <a:buSzPct val="100000"/>
              <a:buFont typeface="Arial Narrow"/>
              <a:buChar char="&gt;"/>
            </a:pPr>
            <a:r>
              <a:rPr lang="en-GB" sz="2000" dirty="0">
                <a:solidFill>
                  <a:schemeClr val="bg1">
                    <a:lumMod val="50000"/>
                  </a:schemeClr>
                </a:solidFill>
                <a:latin typeface="Calibri" charset="0"/>
                <a:ea typeface="Calibri" charset="0"/>
                <a:cs typeface="Calibri" charset="0"/>
              </a:rPr>
              <a:t>Split-Dalmatia County</a:t>
            </a:r>
          </a:p>
        </p:txBody>
      </p:sp>
      <p:sp>
        <p:nvSpPr>
          <p:cNvPr id="746" name="RBContent533"/>
          <p:cNvSpPr txBox="1">
            <a:spLocks/>
          </p:cNvSpPr>
          <p:nvPr/>
        </p:nvSpPr>
        <p:spPr>
          <a:xfrm>
            <a:off x="19569905" y="6816404"/>
            <a:ext cx="3282528" cy="553998"/>
          </a:xfrm>
          <a:prstGeom prst="rect">
            <a:avLst/>
          </a:prstGeom>
          <a:noFill/>
          <a:ln w="9525">
            <a:noFill/>
          </a:ln>
        </p:spPr>
        <p:txBody>
          <a:bodyPr vert="horz" wrap="square" lIns="0" tIns="0" rIns="0" bIns="0" rtlCol="0">
            <a:spAutoFit/>
          </a:bodyPr>
          <a:lstStyle/>
          <a:p>
            <a:pPr algn="l" fontAlgn="base">
              <a:lnSpc>
                <a:spcPct val="90000"/>
              </a:lnSpc>
              <a:spcAft>
                <a:spcPct val="0"/>
              </a:spcAft>
              <a:buSzPct val="100000"/>
            </a:pPr>
            <a:r>
              <a:rPr lang="en-GB" sz="2000" b="1" dirty="0">
                <a:solidFill>
                  <a:schemeClr val="bg1">
                    <a:lumMod val="50000"/>
                  </a:schemeClr>
                </a:solidFill>
                <a:latin typeface="Calibri" charset="0"/>
                <a:ea typeface="Calibri" charset="0"/>
                <a:cs typeface="Calibri" charset="0"/>
                <a:sym typeface="+mn-lt"/>
              </a:rPr>
              <a:t>Slovenia</a:t>
            </a:r>
          </a:p>
          <a:p>
            <a:pPr marL="98743" lvl="1" indent="-98743" algn="l" fontAlgn="base">
              <a:lnSpc>
                <a:spcPct val="90000"/>
              </a:lnSpc>
              <a:spcAft>
                <a:spcPct val="0"/>
              </a:spcAft>
              <a:buSzPct val="100000"/>
              <a:buFont typeface="Arial Narrow" panose="020B0606020202030204" pitchFamily="34" charset="0"/>
              <a:buChar char="&gt;"/>
            </a:pPr>
            <a:r>
              <a:rPr lang="en-GB" sz="2000" dirty="0">
                <a:solidFill>
                  <a:schemeClr val="bg1">
                    <a:lumMod val="50000"/>
                  </a:schemeClr>
                </a:solidFill>
                <a:latin typeface="Calibri" charset="0"/>
                <a:ea typeface="Calibri" charset="0"/>
                <a:cs typeface="Calibri" charset="0"/>
                <a:sym typeface="+mn-lt"/>
              </a:rPr>
              <a:t>Velenje</a:t>
            </a:r>
          </a:p>
        </p:txBody>
      </p:sp>
      <p:sp>
        <p:nvSpPr>
          <p:cNvPr id="2" name="Slide Number Placeholder 1"/>
          <p:cNvSpPr>
            <a:spLocks noGrp="1"/>
          </p:cNvSpPr>
          <p:nvPr>
            <p:ph type="sldNum" sz="quarter" idx="10"/>
          </p:nvPr>
        </p:nvSpPr>
        <p:spPr/>
        <p:txBody>
          <a:bodyPr/>
          <a:lstStyle/>
          <a:p>
            <a:pPr algn="l"/>
            <a:fld id="{CD1E7C23-2AAD-0D45-B01B-5A673730BB06}" type="slidenum">
              <a:rPr lang="en-US" smtClean="0"/>
              <a:pPr algn="l"/>
              <a:t>4</a:t>
            </a:fld>
            <a:endParaRPr lang="en-US" dirty="0"/>
          </a:p>
        </p:txBody>
      </p:sp>
      <p:sp>
        <p:nvSpPr>
          <p:cNvPr id="3" name="Content Placeholder 2"/>
          <p:cNvSpPr>
            <a:spLocks noGrp="1"/>
          </p:cNvSpPr>
          <p:nvPr>
            <p:ph sz="quarter" idx="20"/>
          </p:nvPr>
        </p:nvSpPr>
        <p:spPr/>
        <p:txBody>
          <a:bodyPr/>
          <a:lstStyle/>
          <a:p>
            <a:r>
              <a:rPr lang="en-GB" dirty="0" smtClean="0"/>
              <a:t>88 Regions/Cities </a:t>
            </a:r>
            <a:r>
              <a:rPr lang="en-GB" dirty="0"/>
              <a:t>from </a:t>
            </a:r>
            <a:r>
              <a:rPr lang="en-GB" dirty="0" smtClean="0"/>
              <a:t>22 countries representing ca. one quarter of  Europe participate </a:t>
            </a:r>
            <a:r>
              <a:rPr lang="en-GB" dirty="0"/>
              <a:t>in </a:t>
            </a:r>
            <a:r>
              <a:rPr lang="en-GB" dirty="0" smtClean="0"/>
              <a:t>the study</a:t>
            </a:r>
            <a:endParaRPr lang="en-US" dirty="0"/>
          </a:p>
        </p:txBody>
      </p:sp>
      <p:sp>
        <p:nvSpPr>
          <p:cNvPr id="1083" name="RBContent533"/>
          <p:cNvSpPr txBox="1">
            <a:spLocks/>
          </p:cNvSpPr>
          <p:nvPr/>
        </p:nvSpPr>
        <p:spPr>
          <a:xfrm>
            <a:off x="8331216" y="6116293"/>
            <a:ext cx="1468443" cy="830997"/>
          </a:xfrm>
          <a:prstGeom prst="rect">
            <a:avLst/>
          </a:prstGeom>
          <a:noFill/>
          <a:ln w="9525">
            <a:noFill/>
          </a:ln>
        </p:spPr>
        <p:txBody>
          <a:bodyPr vert="horz" wrap="square" lIns="0" tIns="0" rIns="0" bIns="0" rtlCol="0">
            <a:spAutoFit/>
          </a:bodyPr>
          <a:lstStyle/>
          <a:p>
            <a:pPr marL="0" lvl="1" algn="l" fontAlgn="base">
              <a:lnSpc>
                <a:spcPct val="90000"/>
              </a:lnSpc>
              <a:spcAft>
                <a:spcPct val="0"/>
              </a:spcAft>
              <a:buSzPct val="100000"/>
            </a:pPr>
            <a:r>
              <a:rPr lang="en-GB" sz="2000" b="1" dirty="0">
                <a:solidFill>
                  <a:schemeClr val="bg1">
                    <a:lumMod val="50000"/>
                  </a:schemeClr>
                </a:solidFill>
                <a:latin typeface="Calibri" charset="0"/>
                <a:ea typeface="Calibri" charset="0"/>
                <a:cs typeface="Calibri" charset="0"/>
                <a:sym typeface="+mn-lt"/>
              </a:rPr>
              <a:t>Iceland</a:t>
            </a:r>
            <a:endParaRPr lang="en-GB" sz="2000" dirty="0">
              <a:solidFill>
                <a:schemeClr val="bg1">
                  <a:lumMod val="50000"/>
                </a:schemeClr>
              </a:solidFill>
              <a:latin typeface="Calibri" charset="0"/>
              <a:ea typeface="Calibri" charset="0"/>
              <a:cs typeface="Calibri" charset="0"/>
              <a:sym typeface="+mn-lt"/>
            </a:endParaRPr>
          </a:p>
          <a:p>
            <a:pPr marL="120685" lvl="1" indent="-120685" algn="l" fontAlgn="base">
              <a:lnSpc>
                <a:spcPct val="90000"/>
              </a:lnSpc>
              <a:spcAft>
                <a:spcPct val="0"/>
              </a:spcAft>
              <a:buSzPct val="100000"/>
              <a:buFont typeface="Arial Narrow"/>
              <a:buChar char="&gt;"/>
            </a:pPr>
            <a:r>
              <a:rPr lang="en-GB" sz="2000" dirty="0">
                <a:solidFill>
                  <a:schemeClr val="bg1">
                    <a:lumMod val="50000"/>
                  </a:schemeClr>
                </a:solidFill>
                <a:latin typeface="Calibri" charset="0"/>
                <a:ea typeface="Calibri" charset="0"/>
                <a:cs typeface="Calibri" charset="0"/>
                <a:sym typeface="+mn-lt"/>
              </a:rPr>
              <a:t>Reykjavik</a:t>
            </a:r>
          </a:p>
        </p:txBody>
      </p:sp>
      <p:sp>
        <p:nvSpPr>
          <p:cNvPr id="1090" name="RBContent533"/>
          <p:cNvSpPr txBox="1">
            <a:spLocks/>
          </p:cNvSpPr>
          <p:nvPr/>
        </p:nvSpPr>
        <p:spPr>
          <a:xfrm>
            <a:off x="1181665" y="3715595"/>
            <a:ext cx="2007786" cy="1661993"/>
          </a:xfrm>
          <a:prstGeom prst="rect">
            <a:avLst/>
          </a:prstGeom>
          <a:noFill/>
          <a:ln w="9525">
            <a:noFill/>
          </a:ln>
        </p:spPr>
        <p:txBody>
          <a:bodyPr vert="horz" wrap="square" lIns="0" tIns="0" rIns="0" bIns="0" rtlCol="0">
            <a:spAutoFit/>
          </a:bodyPr>
          <a:lstStyle/>
          <a:p>
            <a:pPr algn="l" fontAlgn="base">
              <a:lnSpc>
                <a:spcPct val="90000"/>
              </a:lnSpc>
              <a:spcAft>
                <a:spcPct val="0"/>
              </a:spcAft>
              <a:buSzPct val="100000"/>
            </a:pPr>
            <a:r>
              <a:rPr lang="en-GB" sz="2000" b="1" dirty="0">
                <a:solidFill>
                  <a:schemeClr val="bg1">
                    <a:lumMod val="50000"/>
                  </a:schemeClr>
                </a:solidFill>
                <a:latin typeface="Calibri" charset="0"/>
                <a:ea typeface="Calibri" charset="0"/>
                <a:cs typeface="Calibri" charset="0"/>
                <a:sym typeface="+mn-lt"/>
              </a:rPr>
              <a:t>Belgium</a:t>
            </a:r>
          </a:p>
          <a:p>
            <a:pPr marL="98743" lvl="1" indent="-98743" algn="l" fontAlgn="base">
              <a:lnSpc>
                <a:spcPct val="90000"/>
              </a:lnSpc>
              <a:spcAft>
                <a:spcPct val="0"/>
              </a:spcAft>
              <a:buSzPct val="100000"/>
              <a:buFont typeface="Arial Narrow" panose="020B0606020202030204" pitchFamily="34" charset="0"/>
              <a:buChar char="&gt;"/>
            </a:pPr>
            <a:r>
              <a:rPr lang="en-GB" sz="2000" dirty="0">
                <a:solidFill>
                  <a:schemeClr val="bg1">
                    <a:lumMod val="50000"/>
                  </a:schemeClr>
                </a:solidFill>
                <a:latin typeface="Calibri" charset="0"/>
                <a:ea typeface="Calibri" charset="0"/>
                <a:cs typeface="Calibri" charset="0"/>
                <a:sym typeface="+mn-lt"/>
              </a:rPr>
              <a:t>Flanders</a:t>
            </a:r>
          </a:p>
          <a:p>
            <a:pPr marL="98743" lvl="1" indent="-98743" algn="l" fontAlgn="base">
              <a:lnSpc>
                <a:spcPct val="90000"/>
              </a:lnSpc>
              <a:spcAft>
                <a:spcPct val="0"/>
              </a:spcAft>
              <a:buSzPct val="100000"/>
              <a:buFont typeface="Arial Narrow" panose="020B0606020202030204" pitchFamily="34" charset="0"/>
              <a:buChar char="&gt;"/>
            </a:pPr>
            <a:r>
              <a:rPr lang="en-GB" sz="2000" dirty="0">
                <a:solidFill>
                  <a:schemeClr val="bg1">
                    <a:lumMod val="50000"/>
                  </a:schemeClr>
                </a:solidFill>
                <a:latin typeface="Calibri" charset="0"/>
                <a:ea typeface="Calibri" charset="0"/>
                <a:cs typeface="Calibri" charset="0"/>
                <a:sym typeface="+mn-lt"/>
              </a:rPr>
              <a:t>Pom West-Vlaanderen</a:t>
            </a:r>
          </a:p>
        </p:txBody>
      </p:sp>
      <p:grpSp>
        <p:nvGrpSpPr>
          <p:cNvPr id="1094" name="Group 1093"/>
          <p:cNvGrpSpPr/>
          <p:nvPr/>
        </p:nvGrpSpPr>
        <p:grpSpPr>
          <a:xfrm>
            <a:off x="744600" y="10966302"/>
            <a:ext cx="2717034" cy="830997"/>
            <a:chOff x="738000" y="6286151"/>
            <a:chExt cx="2717034" cy="830997"/>
          </a:xfrm>
        </p:grpSpPr>
        <p:sp>
          <p:nvSpPr>
            <p:cNvPr id="1095" name="RBContent533"/>
            <p:cNvSpPr txBox="1">
              <a:spLocks/>
            </p:cNvSpPr>
            <p:nvPr/>
          </p:nvSpPr>
          <p:spPr>
            <a:xfrm>
              <a:off x="1123515" y="6286151"/>
              <a:ext cx="2331519" cy="830997"/>
            </a:xfrm>
            <a:prstGeom prst="rect">
              <a:avLst/>
            </a:prstGeom>
            <a:noFill/>
            <a:ln w="9525">
              <a:noFill/>
            </a:ln>
          </p:spPr>
          <p:txBody>
            <a:bodyPr vert="horz" wrap="square" lIns="0" tIns="0" rIns="0" bIns="0" rtlCol="0">
              <a:spAutoFit/>
            </a:bodyPr>
            <a:lstStyle/>
            <a:p>
              <a:pPr marL="0" lvl="1" algn="l" fontAlgn="base">
                <a:lnSpc>
                  <a:spcPct val="90000"/>
                </a:lnSpc>
                <a:spcAft>
                  <a:spcPct val="0"/>
                </a:spcAft>
                <a:buSzPct val="100000"/>
              </a:pPr>
              <a:r>
                <a:rPr lang="en-GB" sz="2000" b="1" dirty="0">
                  <a:solidFill>
                    <a:schemeClr val="bg1">
                      <a:lumMod val="50000"/>
                    </a:schemeClr>
                  </a:solidFill>
                  <a:latin typeface="Calibri" charset="0"/>
                  <a:ea typeface="Calibri" charset="0"/>
                  <a:cs typeface="Calibri" charset="0"/>
                </a:rPr>
                <a:t>Portugal</a:t>
              </a:r>
            </a:p>
            <a:p>
              <a:pPr marL="98743" lvl="1" indent="-98743" algn="l" fontAlgn="base">
                <a:lnSpc>
                  <a:spcPct val="90000"/>
                </a:lnSpc>
                <a:spcAft>
                  <a:spcPct val="0"/>
                </a:spcAft>
                <a:buSzPct val="100000"/>
                <a:buFont typeface="Arial Narrow" panose="020B0606020202030204" pitchFamily="34" charset="0"/>
                <a:buChar char="&gt;"/>
              </a:pPr>
              <a:r>
                <a:rPr lang="en-GB" sz="2000" dirty="0">
                  <a:solidFill>
                    <a:schemeClr val="bg1">
                      <a:lumMod val="50000"/>
                    </a:schemeClr>
                  </a:solidFill>
                  <a:latin typeface="Calibri" charset="0"/>
                  <a:ea typeface="Calibri" charset="0"/>
                  <a:cs typeface="Calibri" charset="0"/>
                </a:rPr>
                <a:t>Torres Vedras</a:t>
              </a:r>
            </a:p>
            <a:p>
              <a:pPr marL="98743" lvl="1" indent="-98743" algn="l" fontAlgn="base">
                <a:lnSpc>
                  <a:spcPct val="90000"/>
                </a:lnSpc>
                <a:spcAft>
                  <a:spcPct val="0"/>
                </a:spcAft>
                <a:buSzPct val="100000"/>
                <a:buFont typeface="Arial Narrow" panose="020B0606020202030204" pitchFamily="34" charset="0"/>
                <a:buChar char="&gt;"/>
              </a:pPr>
              <a:r>
                <a:rPr lang="en-GB" sz="2000" dirty="0">
                  <a:solidFill>
                    <a:schemeClr val="bg1">
                      <a:lumMod val="50000"/>
                    </a:schemeClr>
                  </a:solidFill>
                  <a:latin typeface="Calibri" charset="0"/>
                  <a:ea typeface="Calibri" charset="0"/>
                  <a:cs typeface="Calibri" charset="0"/>
                </a:rPr>
                <a:t>Médio Tejo</a:t>
              </a:r>
            </a:p>
          </p:txBody>
        </p:sp>
        <p:sp>
          <p:nvSpPr>
            <p:cNvPr id="1098" name="Rectangle 1097"/>
            <p:cNvSpPr/>
            <p:nvPr/>
          </p:nvSpPr>
          <p:spPr>
            <a:xfrm>
              <a:off x="738000" y="6286151"/>
              <a:ext cx="304698" cy="152349"/>
            </a:xfrm>
            <a:prstGeom prst="rect">
              <a:avLst/>
            </a:prstGeom>
            <a:noFill/>
            <a:ln w="317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l" fontAlgn="base">
                <a:spcBef>
                  <a:spcPct val="0"/>
                </a:spcBef>
                <a:spcAft>
                  <a:spcPct val="0"/>
                </a:spcAft>
              </a:pPr>
              <a:endParaRPr lang="en-GB" sz="2000" dirty="0">
                <a:solidFill>
                  <a:schemeClr val="bg1">
                    <a:lumMod val="50000"/>
                  </a:schemeClr>
                </a:solidFill>
                <a:latin typeface="Calibri" charset="0"/>
                <a:ea typeface="Calibri" charset="0"/>
                <a:cs typeface="Calibri" charset="0"/>
              </a:endParaRPr>
            </a:p>
          </p:txBody>
        </p:sp>
      </p:grpSp>
      <p:sp>
        <p:nvSpPr>
          <p:cNvPr id="1100" name="RBContent533"/>
          <p:cNvSpPr txBox="1">
            <a:spLocks/>
          </p:cNvSpPr>
          <p:nvPr/>
        </p:nvSpPr>
        <p:spPr>
          <a:xfrm>
            <a:off x="1139898" y="6129796"/>
            <a:ext cx="3630504" cy="3323987"/>
          </a:xfrm>
          <a:prstGeom prst="rect">
            <a:avLst/>
          </a:prstGeom>
          <a:noFill/>
          <a:ln w="9525">
            <a:noFill/>
          </a:ln>
        </p:spPr>
        <p:txBody>
          <a:bodyPr vert="horz" wrap="square" lIns="0" tIns="0" rIns="0" bIns="0" rtlCol="0">
            <a:spAutoFit/>
          </a:bodyPr>
          <a:lstStyle/>
          <a:p>
            <a:pPr algn="l" fontAlgn="base">
              <a:lnSpc>
                <a:spcPct val="90000"/>
              </a:lnSpc>
              <a:spcAft>
                <a:spcPct val="0"/>
              </a:spcAft>
              <a:buSzPct val="100000"/>
            </a:pPr>
            <a:r>
              <a:rPr lang="en-GB" sz="2000" b="1" dirty="0">
                <a:solidFill>
                  <a:schemeClr val="bg1">
                    <a:lumMod val="50000"/>
                  </a:schemeClr>
                </a:solidFill>
                <a:latin typeface="Calibri" charset="0"/>
                <a:ea typeface="Calibri" charset="0"/>
                <a:cs typeface="Calibri" charset="0"/>
                <a:sym typeface="+mn-lt"/>
              </a:rPr>
              <a:t>France</a:t>
            </a:r>
          </a:p>
          <a:p>
            <a:pPr marL="98743" lvl="1" indent="-98743" algn="l" fontAlgn="base">
              <a:lnSpc>
                <a:spcPct val="90000"/>
              </a:lnSpc>
              <a:spcAft>
                <a:spcPct val="0"/>
              </a:spcAft>
              <a:buSzPct val="100000"/>
              <a:buFont typeface="Arial Narrow" panose="020B0606020202030204" pitchFamily="34" charset="0"/>
              <a:buChar char="&gt;"/>
            </a:pPr>
            <a:r>
              <a:rPr lang="en-GB" sz="2000" dirty="0">
                <a:solidFill>
                  <a:schemeClr val="bg1">
                    <a:lumMod val="50000"/>
                  </a:schemeClr>
                </a:solidFill>
                <a:latin typeface="Calibri" charset="0"/>
                <a:ea typeface="Calibri" charset="0"/>
                <a:cs typeface="Calibri" charset="0"/>
              </a:rPr>
              <a:t>Auvergne Rhone-Alpes</a:t>
            </a:r>
          </a:p>
          <a:p>
            <a:pPr marL="98743" lvl="1" indent="-98743" algn="l" fontAlgn="base">
              <a:lnSpc>
                <a:spcPct val="90000"/>
              </a:lnSpc>
              <a:spcAft>
                <a:spcPct val="0"/>
              </a:spcAft>
              <a:buSzPct val="100000"/>
              <a:buFont typeface="Arial Narrow" panose="020B0606020202030204" pitchFamily="34" charset="0"/>
              <a:buChar char="&gt;"/>
            </a:pPr>
            <a:r>
              <a:rPr lang="en-GB" sz="2000" dirty="0" smtClean="0">
                <a:solidFill>
                  <a:schemeClr val="bg1">
                    <a:lumMod val="50000"/>
                  </a:schemeClr>
                </a:solidFill>
                <a:latin typeface="Calibri" charset="0"/>
                <a:ea typeface="Calibri" charset="0"/>
                <a:cs typeface="Calibri" charset="0"/>
              </a:rPr>
              <a:t>Bourgogne-Franche-Comté</a:t>
            </a:r>
            <a:endParaRPr lang="en-GB" sz="2000" dirty="0">
              <a:solidFill>
                <a:schemeClr val="bg1">
                  <a:lumMod val="50000"/>
                </a:schemeClr>
              </a:solidFill>
              <a:latin typeface="Calibri" charset="0"/>
              <a:ea typeface="Calibri" charset="0"/>
              <a:cs typeface="Calibri" charset="0"/>
            </a:endParaRPr>
          </a:p>
          <a:p>
            <a:pPr marL="98743" lvl="1" indent="-98743" algn="l" fontAlgn="base">
              <a:lnSpc>
                <a:spcPct val="90000"/>
              </a:lnSpc>
              <a:spcAft>
                <a:spcPct val="0"/>
              </a:spcAft>
              <a:buSzPct val="100000"/>
              <a:buFont typeface="Arial Narrow" panose="020B0606020202030204" pitchFamily="34" charset="0"/>
              <a:buChar char="&gt;"/>
            </a:pPr>
            <a:r>
              <a:rPr lang="en-GB" sz="2000" dirty="0">
                <a:solidFill>
                  <a:schemeClr val="bg1">
                    <a:lumMod val="50000"/>
                  </a:schemeClr>
                </a:solidFill>
                <a:latin typeface="Calibri" charset="0"/>
                <a:ea typeface="Calibri" charset="0"/>
                <a:cs typeface="Calibri" charset="0"/>
              </a:rPr>
              <a:t>Centre-Val de Loire</a:t>
            </a:r>
          </a:p>
          <a:p>
            <a:pPr marL="98743" lvl="1" indent="-98743" algn="l" fontAlgn="base">
              <a:lnSpc>
                <a:spcPct val="90000"/>
              </a:lnSpc>
              <a:spcAft>
                <a:spcPct val="0"/>
              </a:spcAft>
              <a:buSzPct val="100000"/>
              <a:buFont typeface="Arial Narrow" panose="020B0606020202030204" pitchFamily="34" charset="0"/>
              <a:buChar char="&gt;"/>
            </a:pPr>
            <a:r>
              <a:rPr lang="en-GB" sz="2000" dirty="0">
                <a:solidFill>
                  <a:schemeClr val="bg1">
                    <a:lumMod val="50000"/>
                  </a:schemeClr>
                </a:solidFill>
                <a:latin typeface="Calibri" charset="0"/>
                <a:ea typeface="Calibri" charset="0"/>
                <a:cs typeface="Calibri" charset="0"/>
              </a:rPr>
              <a:t>Grenoble</a:t>
            </a:r>
          </a:p>
          <a:p>
            <a:pPr marL="98743" lvl="1" indent="-98743" algn="l" fontAlgn="base">
              <a:lnSpc>
                <a:spcPct val="90000"/>
              </a:lnSpc>
              <a:spcAft>
                <a:spcPct val="0"/>
              </a:spcAft>
              <a:buSzPct val="100000"/>
              <a:buFont typeface="Arial Narrow" panose="020B0606020202030204" pitchFamily="34" charset="0"/>
              <a:buChar char="&gt;"/>
            </a:pPr>
            <a:r>
              <a:rPr lang="en-GB" sz="2000" dirty="0">
                <a:solidFill>
                  <a:schemeClr val="bg1">
                    <a:lumMod val="50000"/>
                  </a:schemeClr>
                </a:solidFill>
                <a:latin typeface="Calibri" charset="0"/>
                <a:ea typeface="Calibri" charset="0"/>
                <a:cs typeface="Calibri" charset="0"/>
              </a:rPr>
              <a:t>Grand Dole</a:t>
            </a:r>
          </a:p>
          <a:p>
            <a:pPr marL="98743" lvl="1" indent="-98743" algn="l" fontAlgn="base">
              <a:lnSpc>
                <a:spcPct val="90000"/>
              </a:lnSpc>
              <a:spcAft>
                <a:spcPct val="0"/>
              </a:spcAft>
              <a:buSzPct val="100000"/>
              <a:buFont typeface="Arial Narrow" panose="020B0606020202030204" pitchFamily="34" charset="0"/>
              <a:buChar char="&gt;"/>
            </a:pPr>
            <a:r>
              <a:rPr lang="en-GB" sz="2000" dirty="0">
                <a:solidFill>
                  <a:schemeClr val="bg1">
                    <a:lumMod val="50000"/>
                  </a:schemeClr>
                </a:solidFill>
                <a:latin typeface="Calibri" charset="0"/>
                <a:ea typeface="Calibri" charset="0"/>
                <a:cs typeface="Calibri" charset="0"/>
              </a:rPr>
              <a:t>La Roche sur Yon </a:t>
            </a:r>
          </a:p>
          <a:p>
            <a:pPr marL="98743" lvl="1" indent="-98743" algn="l" fontAlgn="base">
              <a:lnSpc>
                <a:spcPct val="90000"/>
              </a:lnSpc>
              <a:spcAft>
                <a:spcPct val="0"/>
              </a:spcAft>
              <a:buSzPct val="100000"/>
              <a:buFont typeface="Arial Narrow" panose="020B0606020202030204" pitchFamily="34" charset="0"/>
              <a:buChar char="&gt;"/>
            </a:pPr>
            <a:r>
              <a:rPr lang="en-GB" sz="2000" dirty="0">
                <a:solidFill>
                  <a:schemeClr val="bg1">
                    <a:lumMod val="50000"/>
                  </a:schemeClr>
                </a:solidFill>
                <a:latin typeface="Calibri" charset="0"/>
                <a:ea typeface="Calibri" charset="0"/>
                <a:cs typeface="Calibri" charset="0"/>
              </a:rPr>
              <a:t>Normandie </a:t>
            </a:r>
          </a:p>
          <a:p>
            <a:pPr marL="98743" lvl="1" indent="-98743" algn="l" fontAlgn="base">
              <a:lnSpc>
                <a:spcPct val="90000"/>
              </a:lnSpc>
              <a:spcAft>
                <a:spcPct val="0"/>
              </a:spcAft>
              <a:buSzPct val="100000"/>
              <a:buFont typeface="Arial Narrow" panose="020B0606020202030204" pitchFamily="34" charset="0"/>
              <a:buChar char="&gt;"/>
            </a:pPr>
            <a:r>
              <a:rPr lang="en-GB" sz="2000" dirty="0" err="1" smtClean="0">
                <a:solidFill>
                  <a:schemeClr val="bg1">
                    <a:lumMod val="50000"/>
                  </a:schemeClr>
                </a:solidFill>
                <a:latin typeface="Calibri" charset="0"/>
                <a:ea typeface="Calibri" charset="0"/>
                <a:cs typeface="Calibri" charset="0"/>
              </a:rPr>
              <a:t>Occitanie-Phyrenees</a:t>
            </a:r>
            <a:endParaRPr lang="en-GB" sz="2000" dirty="0">
              <a:solidFill>
                <a:schemeClr val="bg1">
                  <a:lumMod val="50000"/>
                </a:schemeClr>
              </a:solidFill>
              <a:latin typeface="Calibri" charset="0"/>
              <a:ea typeface="Calibri" charset="0"/>
              <a:cs typeface="Calibri" charset="0"/>
            </a:endParaRPr>
          </a:p>
          <a:p>
            <a:pPr marL="98743" lvl="1" indent="-98743" algn="l" fontAlgn="base">
              <a:lnSpc>
                <a:spcPct val="90000"/>
              </a:lnSpc>
              <a:spcAft>
                <a:spcPct val="0"/>
              </a:spcAft>
              <a:buSzPct val="100000"/>
              <a:buFont typeface="Arial Narrow" panose="020B0606020202030204" pitchFamily="34" charset="0"/>
              <a:buChar char="&gt;"/>
            </a:pPr>
            <a:r>
              <a:rPr lang="en-GB" sz="2000" dirty="0">
                <a:solidFill>
                  <a:schemeClr val="bg1">
                    <a:lumMod val="50000"/>
                  </a:schemeClr>
                </a:solidFill>
                <a:latin typeface="Calibri" charset="0"/>
                <a:ea typeface="Calibri" charset="0"/>
                <a:cs typeface="Calibri" charset="0"/>
              </a:rPr>
              <a:t>Orléans</a:t>
            </a:r>
          </a:p>
          <a:p>
            <a:pPr marL="98743" lvl="1" indent="-98743" algn="l" fontAlgn="base">
              <a:lnSpc>
                <a:spcPct val="90000"/>
              </a:lnSpc>
              <a:spcAft>
                <a:spcPct val="0"/>
              </a:spcAft>
              <a:buSzPct val="100000"/>
              <a:buFont typeface="Arial Narrow" panose="020B0606020202030204" pitchFamily="34" charset="0"/>
              <a:buChar char="&gt;"/>
            </a:pPr>
            <a:r>
              <a:rPr lang="en-GB" sz="2000" dirty="0">
                <a:solidFill>
                  <a:schemeClr val="bg1">
                    <a:lumMod val="50000"/>
                  </a:schemeClr>
                </a:solidFill>
                <a:latin typeface="Calibri" charset="0"/>
                <a:ea typeface="Calibri" charset="0"/>
                <a:cs typeface="Calibri" charset="0"/>
              </a:rPr>
              <a:t>Pays de la </a:t>
            </a:r>
            <a:r>
              <a:rPr lang="en-GB" sz="2000" dirty="0" smtClean="0">
                <a:solidFill>
                  <a:schemeClr val="bg1">
                    <a:lumMod val="50000"/>
                  </a:schemeClr>
                </a:solidFill>
                <a:latin typeface="Calibri" charset="0"/>
                <a:ea typeface="Calibri" charset="0"/>
                <a:cs typeface="Calibri" charset="0"/>
              </a:rPr>
              <a:t>Loire</a:t>
            </a:r>
          </a:p>
          <a:p>
            <a:pPr marL="98743" lvl="1" indent="-98743" algn="l" fontAlgn="base">
              <a:lnSpc>
                <a:spcPct val="90000"/>
              </a:lnSpc>
              <a:spcAft>
                <a:spcPct val="0"/>
              </a:spcAft>
              <a:buSzPct val="100000"/>
              <a:buFont typeface="Arial Narrow" panose="020B0606020202030204" pitchFamily="34" charset="0"/>
              <a:buChar char="&gt;"/>
            </a:pPr>
            <a:r>
              <a:rPr lang="en-GB" sz="2000" dirty="0" smtClean="0">
                <a:solidFill>
                  <a:schemeClr val="bg1">
                    <a:lumMod val="50000"/>
                  </a:schemeClr>
                </a:solidFill>
                <a:latin typeface="Calibri" charset="0"/>
                <a:ea typeface="Calibri" charset="0"/>
                <a:cs typeface="Calibri" charset="0"/>
              </a:rPr>
              <a:t>Pays de St Gilles</a:t>
            </a:r>
            <a:endParaRPr lang="en-GB" sz="2000" dirty="0">
              <a:solidFill>
                <a:schemeClr val="bg1">
                  <a:lumMod val="50000"/>
                </a:schemeClr>
              </a:solidFill>
              <a:latin typeface="Calibri" charset="0"/>
              <a:ea typeface="Calibri" charset="0"/>
              <a:cs typeface="Calibri" charset="0"/>
            </a:endParaRPr>
          </a:p>
        </p:txBody>
      </p:sp>
      <p:grpSp>
        <p:nvGrpSpPr>
          <p:cNvPr id="1104" name="Group 1103"/>
          <p:cNvGrpSpPr/>
          <p:nvPr/>
        </p:nvGrpSpPr>
        <p:grpSpPr>
          <a:xfrm>
            <a:off x="3049073" y="3678043"/>
            <a:ext cx="5047948" cy="2873653"/>
            <a:chOff x="1142285" y="2890704"/>
            <a:chExt cx="2052707" cy="5138329"/>
          </a:xfrm>
        </p:grpSpPr>
        <p:sp>
          <p:nvSpPr>
            <p:cNvPr id="1106" name="RBContent533"/>
            <p:cNvSpPr txBox="1">
              <a:spLocks/>
            </p:cNvSpPr>
            <p:nvPr/>
          </p:nvSpPr>
          <p:spPr>
            <a:xfrm>
              <a:off x="2217223" y="3043052"/>
              <a:ext cx="977769" cy="4985981"/>
            </a:xfrm>
            <a:prstGeom prst="rect">
              <a:avLst/>
            </a:prstGeom>
            <a:noFill/>
            <a:ln w="9525">
              <a:noFill/>
            </a:ln>
          </p:spPr>
          <p:txBody>
            <a:bodyPr vert="horz" wrap="square" lIns="0" tIns="0" rIns="0" bIns="0" rtlCol="0">
              <a:spAutoFit/>
            </a:bodyPr>
            <a:lstStyle/>
            <a:p>
              <a:pPr marL="98743" lvl="1" indent="-98743" algn="l" fontAlgn="base">
                <a:lnSpc>
                  <a:spcPct val="90000"/>
                </a:lnSpc>
                <a:spcAft>
                  <a:spcPct val="0"/>
                </a:spcAft>
                <a:buSzPct val="100000"/>
                <a:buFont typeface="Arial Narrow"/>
                <a:buChar char="&gt;"/>
              </a:pPr>
              <a:r>
                <a:rPr lang="en-GB" sz="2000" dirty="0">
                  <a:solidFill>
                    <a:schemeClr val="bg1">
                      <a:lumMod val="50000"/>
                    </a:schemeClr>
                  </a:solidFill>
                  <a:latin typeface="Calibri" charset="0"/>
                  <a:ea typeface="Calibri" charset="0"/>
                  <a:cs typeface="Calibri" charset="0"/>
                </a:rPr>
                <a:t>London (Greater London Authority)</a:t>
              </a:r>
            </a:p>
            <a:p>
              <a:pPr marL="98743" lvl="1" indent="-98743" algn="l" fontAlgn="base">
                <a:lnSpc>
                  <a:spcPct val="90000"/>
                </a:lnSpc>
                <a:spcAft>
                  <a:spcPct val="0"/>
                </a:spcAft>
                <a:buSzPct val="100000"/>
                <a:buFont typeface="Arial Narrow"/>
                <a:buChar char="&gt;"/>
              </a:pPr>
              <a:r>
                <a:rPr lang="en-GB" sz="2000" dirty="0">
                  <a:solidFill>
                    <a:schemeClr val="bg1">
                      <a:lumMod val="50000"/>
                    </a:schemeClr>
                  </a:solidFill>
                  <a:latin typeface="Calibri" charset="0"/>
                  <a:ea typeface="Calibri" charset="0"/>
                  <a:cs typeface="Calibri" charset="0"/>
                </a:rPr>
                <a:t>Newcastle</a:t>
              </a:r>
            </a:p>
            <a:p>
              <a:pPr marL="98743" lvl="1" indent="-98743" algn="l" fontAlgn="base">
                <a:lnSpc>
                  <a:spcPct val="90000"/>
                </a:lnSpc>
                <a:spcAft>
                  <a:spcPct val="0"/>
                </a:spcAft>
                <a:buSzPct val="100000"/>
                <a:buFont typeface="Arial Narrow"/>
                <a:buChar char="&gt;"/>
              </a:pPr>
              <a:r>
                <a:rPr lang="en-GB" sz="2000" dirty="0">
                  <a:solidFill>
                    <a:schemeClr val="bg1">
                      <a:lumMod val="50000"/>
                    </a:schemeClr>
                  </a:solidFill>
                  <a:latin typeface="Calibri" charset="0"/>
                  <a:ea typeface="Calibri" charset="0"/>
                  <a:cs typeface="Calibri" charset="0"/>
                </a:rPr>
                <a:t>Orkney Islands</a:t>
              </a:r>
            </a:p>
            <a:p>
              <a:pPr marL="98743" lvl="1" indent="-98743" algn="l" fontAlgn="base">
                <a:lnSpc>
                  <a:spcPct val="90000"/>
                </a:lnSpc>
                <a:spcAft>
                  <a:spcPct val="0"/>
                </a:spcAft>
                <a:buSzPct val="100000"/>
                <a:buFont typeface="Arial Narrow"/>
                <a:buChar char="&gt;"/>
              </a:pPr>
              <a:r>
                <a:rPr lang="en-GB" sz="2000" dirty="0">
                  <a:solidFill>
                    <a:schemeClr val="bg1">
                      <a:lumMod val="50000"/>
                    </a:schemeClr>
                  </a:solidFill>
                  <a:latin typeface="Calibri" charset="0"/>
                  <a:ea typeface="Calibri" charset="0"/>
                  <a:cs typeface="Calibri" charset="0"/>
                </a:rPr>
                <a:t>Oxfordshire</a:t>
              </a:r>
            </a:p>
            <a:p>
              <a:pPr marL="98743" lvl="1" indent="-98743" algn="l" fontAlgn="base">
                <a:lnSpc>
                  <a:spcPct val="90000"/>
                </a:lnSpc>
                <a:spcAft>
                  <a:spcPct val="0"/>
                </a:spcAft>
                <a:buSzPct val="100000"/>
                <a:buFont typeface="Arial Narrow"/>
                <a:buChar char="&gt;"/>
              </a:pPr>
              <a:r>
                <a:rPr lang="en-GB" sz="2000" dirty="0">
                  <a:solidFill>
                    <a:schemeClr val="bg1">
                      <a:lumMod val="50000"/>
                    </a:schemeClr>
                  </a:solidFill>
                  <a:latin typeface="Calibri" charset="0"/>
                  <a:ea typeface="Calibri" charset="0"/>
                  <a:cs typeface="Calibri" charset="0"/>
                </a:rPr>
                <a:t>Perth and Kinross</a:t>
              </a:r>
            </a:p>
            <a:p>
              <a:pPr marL="98743" lvl="1" indent="-98743" algn="l" fontAlgn="base">
                <a:lnSpc>
                  <a:spcPct val="90000"/>
                </a:lnSpc>
                <a:spcAft>
                  <a:spcPct val="0"/>
                </a:spcAft>
                <a:buSzPct val="100000"/>
                <a:buFont typeface="Arial Narrow"/>
                <a:buChar char="&gt;"/>
              </a:pPr>
              <a:r>
                <a:rPr lang="en-GB" sz="2000" dirty="0">
                  <a:solidFill>
                    <a:schemeClr val="bg1">
                      <a:lumMod val="50000"/>
                    </a:schemeClr>
                  </a:solidFill>
                  <a:latin typeface="Calibri" charset="0"/>
                  <a:ea typeface="Calibri" charset="0"/>
                  <a:cs typeface="Calibri" charset="0"/>
                </a:rPr>
                <a:t>Manchester </a:t>
              </a:r>
            </a:p>
            <a:p>
              <a:pPr marL="98743" lvl="1" indent="-98743" algn="l" fontAlgn="base">
                <a:lnSpc>
                  <a:spcPct val="90000"/>
                </a:lnSpc>
                <a:spcAft>
                  <a:spcPct val="0"/>
                </a:spcAft>
                <a:buSzPct val="100000"/>
                <a:buFont typeface="Arial Narrow"/>
                <a:buChar char="&gt;"/>
              </a:pPr>
              <a:r>
                <a:rPr lang="en-GB" sz="2000" dirty="0">
                  <a:solidFill>
                    <a:schemeClr val="bg1">
                      <a:lumMod val="50000"/>
                    </a:schemeClr>
                  </a:solidFill>
                  <a:latin typeface="Calibri" charset="0"/>
                  <a:ea typeface="Calibri" charset="0"/>
                  <a:cs typeface="Calibri" charset="0"/>
                </a:rPr>
                <a:t>Tees Valley</a:t>
              </a:r>
            </a:p>
          </p:txBody>
        </p:sp>
        <p:sp>
          <p:nvSpPr>
            <p:cNvPr id="1107" name="JoinText356"/>
            <p:cNvSpPr txBox="1">
              <a:spLocks/>
            </p:cNvSpPr>
            <p:nvPr/>
          </p:nvSpPr>
          <p:spPr>
            <a:xfrm>
              <a:off x="1142285" y="2890704"/>
              <a:ext cx="1004862" cy="4154984"/>
            </a:xfrm>
            <a:prstGeom prst="rect">
              <a:avLst/>
            </a:prstGeom>
            <a:noFill/>
            <a:ln w="9525">
              <a:noFill/>
            </a:ln>
          </p:spPr>
          <p:txBody>
            <a:bodyPr vert="horz" wrap="square" lIns="0" tIns="0" rIns="0" bIns="0" rtlCol="0">
              <a:spAutoFit/>
            </a:bodyPr>
            <a:lstStyle/>
            <a:p>
              <a:pPr algn="l" fontAlgn="base">
                <a:lnSpc>
                  <a:spcPct val="90000"/>
                </a:lnSpc>
                <a:spcAft>
                  <a:spcPct val="0"/>
                </a:spcAft>
                <a:buSzPct val="100000"/>
              </a:pPr>
              <a:r>
                <a:rPr lang="en-GB" sz="2000" b="1" dirty="0">
                  <a:solidFill>
                    <a:schemeClr val="bg1">
                      <a:lumMod val="50000"/>
                    </a:schemeClr>
                  </a:solidFill>
                  <a:latin typeface="Calibri" charset="0"/>
                  <a:ea typeface="Calibri" charset="0"/>
                  <a:cs typeface="Calibri" charset="0"/>
                  <a:sym typeface="+mn-lt"/>
                </a:rPr>
                <a:t>United Kingdom</a:t>
              </a:r>
            </a:p>
            <a:p>
              <a:pPr marL="98743" lvl="1" indent="-98743" algn="l" fontAlgn="base">
                <a:lnSpc>
                  <a:spcPct val="90000"/>
                </a:lnSpc>
                <a:spcAft>
                  <a:spcPct val="0"/>
                </a:spcAft>
                <a:buSzPct val="100000"/>
                <a:buFont typeface="Arial Narrow"/>
                <a:buChar char="&gt;"/>
              </a:pPr>
              <a:r>
                <a:rPr lang="en-GB" sz="2000" dirty="0">
                  <a:solidFill>
                    <a:schemeClr val="bg1">
                      <a:lumMod val="50000"/>
                    </a:schemeClr>
                  </a:solidFill>
                  <a:latin typeface="Calibri" charset="0"/>
                  <a:ea typeface="Calibri" charset="0"/>
                  <a:cs typeface="Calibri" charset="0"/>
                  <a:sym typeface="+mn-lt"/>
                </a:rPr>
                <a:t>Swindon and Wiltshire </a:t>
              </a:r>
            </a:p>
            <a:p>
              <a:pPr marL="98743" lvl="1" indent="-98743" algn="l" fontAlgn="base">
                <a:lnSpc>
                  <a:spcPct val="90000"/>
                </a:lnSpc>
                <a:spcAft>
                  <a:spcPct val="0"/>
                </a:spcAft>
                <a:buSzPct val="100000"/>
                <a:buFont typeface="Arial Narrow"/>
                <a:buChar char="&gt;"/>
              </a:pPr>
              <a:r>
                <a:rPr lang="en-GB" sz="2000" dirty="0">
                  <a:solidFill>
                    <a:schemeClr val="bg1">
                      <a:lumMod val="50000"/>
                    </a:schemeClr>
                  </a:solidFill>
                  <a:latin typeface="Calibri" charset="0"/>
                  <a:ea typeface="Calibri" charset="0"/>
                  <a:cs typeface="Calibri" charset="0"/>
                  <a:sym typeface="+mn-lt"/>
                </a:rPr>
                <a:t>Aberdeen</a:t>
              </a:r>
            </a:p>
            <a:p>
              <a:pPr marL="98743" lvl="1" indent="-98743" algn="l" fontAlgn="base">
                <a:lnSpc>
                  <a:spcPct val="90000"/>
                </a:lnSpc>
                <a:spcAft>
                  <a:spcPct val="0"/>
                </a:spcAft>
                <a:buSzPct val="100000"/>
                <a:buFont typeface="Arial Narrow"/>
                <a:buChar char="&gt;"/>
              </a:pPr>
              <a:r>
                <a:rPr lang="en-GB" sz="2000" dirty="0">
                  <a:solidFill>
                    <a:schemeClr val="bg1">
                      <a:lumMod val="50000"/>
                    </a:schemeClr>
                  </a:solidFill>
                  <a:latin typeface="Calibri" charset="0"/>
                  <a:ea typeface="Calibri" charset="0"/>
                  <a:cs typeface="Calibri" charset="0"/>
                  <a:sym typeface="+mn-lt"/>
                </a:rPr>
                <a:t>Birmingham</a:t>
              </a:r>
            </a:p>
            <a:p>
              <a:pPr marL="98743" lvl="1" indent="-98743" algn="l" fontAlgn="base">
                <a:lnSpc>
                  <a:spcPct val="90000"/>
                </a:lnSpc>
                <a:spcAft>
                  <a:spcPct val="0"/>
                </a:spcAft>
                <a:buSzPct val="100000"/>
                <a:buFont typeface="Arial Narrow"/>
                <a:buChar char="&gt;"/>
              </a:pPr>
              <a:r>
                <a:rPr lang="en-GB" sz="2000" dirty="0">
                  <a:solidFill>
                    <a:schemeClr val="bg1">
                      <a:lumMod val="50000"/>
                    </a:schemeClr>
                  </a:solidFill>
                  <a:latin typeface="Calibri" charset="0"/>
                  <a:ea typeface="Calibri" charset="0"/>
                  <a:cs typeface="Calibri" charset="0"/>
                  <a:sym typeface="+mn-lt"/>
                </a:rPr>
                <a:t>Cornwall</a:t>
              </a:r>
            </a:p>
            <a:p>
              <a:pPr marL="98743" lvl="1" indent="-98743" algn="l" fontAlgn="base">
                <a:lnSpc>
                  <a:spcPct val="90000"/>
                </a:lnSpc>
                <a:spcAft>
                  <a:spcPct val="0"/>
                </a:spcAft>
                <a:buSzPct val="100000"/>
                <a:buFont typeface="Arial Narrow"/>
                <a:buChar char="&gt;"/>
              </a:pPr>
              <a:r>
                <a:rPr lang="en-GB" sz="2000" dirty="0">
                  <a:solidFill>
                    <a:schemeClr val="bg1">
                      <a:lumMod val="50000"/>
                    </a:schemeClr>
                  </a:solidFill>
                  <a:latin typeface="Calibri" charset="0"/>
                  <a:ea typeface="Calibri" charset="0"/>
                  <a:cs typeface="Calibri" charset="0"/>
                  <a:sym typeface="+mn-lt"/>
                </a:rPr>
                <a:t>Dundee</a:t>
              </a:r>
            </a:p>
            <a:p>
              <a:pPr marL="98743" lvl="1" indent="-98743" algn="l" fontAlgn="base">
                <a:lnSpc>
                  <a:spcPct val="90000"/>
                </a:lnSpc>
                <a:spcAft>
                  <a:spcPct val="0"/>
                </a:spcAft>
                <a:buSzPct val="100000"/>
                <a:buFont typeface="Arial Narrow"/>
                <a:buChar char="&gt;"/>
              </a:pPr>
              <a:r>
                <a:rPr lang="en-GB" sz="2000" dirty="0">
                  <a:solidFill>
                    <a:schemeClr val="bg1">
                      <a:lumMod val="50000"/>
                    </a:schemeClr>
                  </a:solidFill>
                  <a:latin typeface="Calibri" charset="0"/>
                  <a:ea typeface="Calibri" charset="0"/>
                  <a:cs typeface="Calibri" charset="0"/>
                  <a:sym typeface="+mn-lt"/>
                </a:rPr>
                <a:t>Fife </a:t>
              </a:r>
            </a:p>
            <a:p>
              <a:pPr marL="98743" lvl="1" indent="-98743" algn="l" fontAlgn="base">
                <a:lnSpc>
                  <a:spcPct val="90000"/>
                </a:lnSpc>
                <a:spcAft>
                  <a:spcPct val="0"/>
                </a:spcAft>
                <a:buSzPct val="100000"/>
                <a:buFont typeface="Arial Narrow"/>
                <a:buChar char="&gt;"/>
              </a:pPr>
              <a:r>
                <a:rPr lang="en-GB" sz="2000" dirty="0">
                  <a:solidFill>
                    <a:schemeClr val="bg1">
                      <a:lumMod val="50000"/>
                    </a:schemeClr>
                  </a:solidFill>
                  <a:latin typeface="Calibri" charset="0"/>
                  <a:ea typeface="Calibri" charset="0"/>
                  <a:cs typeface="Calibri" charset="0"/>
                  <a:sym typeface="+mn-lt"/>
                </a:rPr>
                <a:t>Leeds</a:t>
              </a:r>
            </a:p>
          </p:txBody>
        </p:sp>
      </p:grpSp>
      <p:grpSp>
        <p:nvGrpSpPr>
          <p:cNvPr id="1110" name="Group 1109"/>
          <p:cNvGrpSpPr/>
          <p:nvPr/>
        </p:nvGrpSpPr>
        <p:grpSpPr>
          <a:xfrm>
            <a:off x="4429443" y="6260463"/>
            <a:ext cx="3101214" cy="1938992"/>
            <a:chOff x="1142388" y="5314807"/>
            <a:chExt cx="1509410" cy="1938992"/>
          </a:xfrm>
        </p:grpSpPr>
        <p:sp>
          <p:nvSpPr>
            <p:cNvPr id="1112" name="RBContent533"/>
            <p:cNvSpPr txBox="1">
              <a:spLocks/>
            </p:cNvSpPr>
            <p:nvPr/>
          </p:nvSpPr>
          <p:spPr>
            <a:xfrm>
              <a:off x="1923476" y="5544435"/>
              <a:ext cx="728322" cy="1384995"/>
            </a:xfrm>
            <a:prstGeom prst="rect">
              <a:avLst/>
            </a:prstGeom>
            <a:noFill/>
            <a:ln w="9525">
              <a:noFill/>
            </a:ln>
          </p:spPr>
          <p:txBody>
            <a:bodyPr vert="horz" wrap="square" lIns="0" tIns="0" rIns="0" bIns="0" rtlCol="0">
              <a:spAutoFit/>
            </a:bodyPr>
            <a:lstStyle/>
            <a:p>
              <a:pPr marL="98743" lvl="1" indent="-98743" algn="l" fontAlgn="base">
                <a:lnSpc>
                  <a:spcPct val="90000"/>
                </a:lnSpc>
                <a:spcAft>
                  <a:spcPct val="0"/>
                </a:spcAft>
                <a:buSzPct val="100000"/>
                <a:buFont typeface="Arial Narrow"/>
                <a:buChar char="&gt;"/>
              </a:pPr>
              <a:r>
                <a:rPr lang="en-GB" sz="2000" dirty="0">
                  <a:solidFill>
                    <a:schemeClr val="bg1">
                      <a:lumMod val="50000"/>
                    </a:schemeClr>
                  </a:solidFill>
                  <a:latin typeface="Calibri" charset="0"/>
                  <a:ea typeface="Calibri" charset="0"/>
                  <a:cs typeface="Calibri" charset="0"/>
                  <a:sym typeface="+mn-lt"/>
                </a:rPr>
                <a:t>Murcia</a:t>
              </a:r>
            </a:p>
            <a:p>
              <a:pPr marL="98743" lvl="1" indent="-98743" algn="l" fontAlgn="base">
                <a:lnSpc>
                  <a:spcPct val="90000"/>
                </a:lnSpc>
                <a:spcAft>
                  <a:spcPct val="0"/>
                </a:spcAft>
                <a:buSzPct val="100000"/>
                <a:buFont typeface="Arial Narrow" panose="020B0606020202030204" pitchFamily="34" charset="0"/>
                <a:buChar char="&gt;"/>
              </a:pPr>
              <a:r>
                <a:rPr lang="en-GB" sz="2000" dirty="0">
                  <a:solidFill>
                    <a:schemeClr val="bg1">
                      <a:lumMod val="50000"/>
                    </a:schemeClr>
                  </a:solidFill>
                  <a:latin typeface="Calibri" charset="0"/>
                  <a:ea typeface="Calibri" charset="0"/>
                  <a:cs typeface="Calibri" charset="0"/>
                </a:rPr>
                <a:t>Port of Valencia</a:t>
              </a:r>
            </a:p>
            <a:p>
              <a:pPr marL="98743" lvl="1" indent="-98743" algn="l" fontAlgn="base">
                <a:lnSpc>
                  <a:spcPct val="90000"/>
                </a:lnSpc>
                <a:spcAft>
                  <a:spcPct val="0"/>
                </a:spcAft>
                <a:buSzPct val="100000"/>
                <a:buFont typeface="Arial Narrow" panose="020B0606020202030204" pitchFamily="34" charset="0"/>
                <a:buChar char="&gt;"/>
              </a:pPr>
              <a:r>
                <a:rPr lang="en-GB" sz="2000" dirty="0">
                  <a:solidFill>
                    <a:schemeClr val="bg1">
                      <a:lumMod val="50000"/>
                    </a:schemeClr>
                  </a:solidFill>
                  <a:latin typeface="Calibri" charset="0"/>
                  <a:ea typeface="Calibri" charset="0"/>
                  <a:cs typeface="Calibri" charset="0"/>
                </a:rPr>
                <a:t>Puertollano</a:t>
              </a:r>
            </a:p>
            <a:p>
              <a:pPr marL="98743" lvl="1" indent="-98743" algn="l" fontAlgn="base">
                <a:lnSpc>
                  <a:spcPct val="90000"/>
                </a:lnSpc>
                <a:spcAft>
                  <a:spcPct val="0"/>
                </a:spcAft>
                <a:buSzPct val="100000"/>
                <a:buFont typeface="Arial Narrow" panose="020B0606020202030204" pitchFamily="34" charset="0"/>
                <a:buChar char="&gt;"/>
              </a:pPr>
              <a:r>
                <a:rPr lang="en-GB" sz="2000" dirty="0" smtClean="0">
                  <a:solidFill>
                    <a:schemeClr val="bg1">
                      <a:lumMod val="50000"/>
                    </a:schemeClr>
                  </a:solidFill>
                  <a:latin typeface="Calibri" charset="0"/>
                  <a:ea typeface="Calibri" charset="0"/>
                  <a:cs typeface="Calibri" charset="0"/>
                </a:rPr>
                <a:t>Valladolid</a:t>
              </a:r>
              <a:endParaRPr lang="en-GB" sz="2000" dirty="0">
                <a:solidFill>
                  <a:schemeClr val="bg1">
                    <a:lumMod val="50000"/>
                  </a:schemeClr>
                </a:solidFill>
                <a:latin typeface="Calibri" charset="0"/>
                <a:ea typeface="Calibri" charset="0"/>
                <a:cs typeface="Calibri" charset="0"/>
              </a:endParaRPr>
            </a:p>
          </p:txBody>
        </p:sp>
        <p:sp>
          <p:nvSpPr>
            <p:cNvPr id="1113" name="JoinText358"/>
            <p:cNvSpPr txBox="1">
              <a:spLocks/>
            </p:cNvSpPr>
            <p:nvPr/>
          </p:nvSpPr>
          <p:spPr>
            <a:xfrm>
              <a:off x="1142388" y="5314807"/>
              <a:ext cx="728322" cy="1938992"/>
            </a:xfrm>
            <a:prstGeom prst="rect">
              <a:avLst/>
            </a:prstGeom>
            <a:noFill/>
            <a:ln w="9525">
              <a:noFill/>
            </a:ln>
          </p:spPr>
          <p:txBody>
            <a:bodyPr vert="horz" wrap="square" lIns="0" tIns="0" rIns="0" bIns="0" rtlCol="0">
              <a:spAutoFit/>
            </a:bodyPr>
            <a:lstStyle/>
            <a:p>
              <a:pPr algn="l" fontAlgn="base">
                <a:lnSpc>
                  <a:spcPct val="90000"/>
                </a:lnSpc>
                <a:spcAft>
                  <a:spcPct val="0"/>
                </a:spcAft>
                <a:buSzPct val="100000"/>
              </a:pPr>
              <a:r>
                <a:rPr lang="en-GB" sz="2000" b="1" dirty="0">
                  <a:solidFill>
                    <a:schemeClr val="bg1">
                      <a:lumMod val="50000"/>
                    </a:schemeClr>
                  </a:solidFill>
                  <a:latin typeface="Calibri" charset="0"/>
                  <a:ea typeface="Calibri" charset="0"/>
                  <a:cs typeface="Calibri" charset="0"/>
                  <a:sym typeface="+mn-lt"/>
                </a:rPr>
                <a:t>Spain</a:t>
              </a:r>
            </a:p>
            <a:p>
              <a:pPr marL="98743" lvl="1" indent="-98743" algn="l" fontAlgn="base">
                <a:lnSpc>
                  <a:spcPct val="90000"/>
                </a:lnSpc>
                <a:spcAft>
                  <a:spcPct val="0"/>
                </a:spcAft>
                <a:buSzPct val="100000"/>
                <a:buFont typeface="Arial Narrow"/>
                <a:buChar char="&gt;"/>
              </a:pPr>
              <a:r>
                <a:rPr lang="en-GB" sz="2000" dirty="0">
                  <a:solidFill>
                    <a:schemeClr val="bg1">
                      <a:lumMod val="50000"/>
                    </a:schemeClr>
                  </a:solidFill>
                  <a:latin typeface="Calibri" charset="0"/>
                  <a:ea typeface="Calibri" charset="0"/>
                  <a:cs typeface="Calibri" charset="0"/>
                  <a:sym typeface="+mn-lt"/>
                </a:rPr>
                <a:t>Aragon</a:t>
              </a:r>
            </a:p>
            <a:p>
              <a:pPr marL="98743" lvl="1" indent="-98743" algn="l" fontAlgn="base">
                <a:lnSpc>
                  <a:spcPct val="90000"/>
                </a:lnSpc>
                <a:spcAft>
                  <a:spcPct val="0"/>
                </a:spcAft>
                <a:buSzPct val="100000"/>
                <a:buFont typeface="Arial Narrow"/>
                <a:buChar char="&gt;"/>
              </a:pPr>
              <a:r>
                <a:rPr lang="en-GB" sz="2000" dirty="0">
                  <a:solidFill>
                    <a:schemeClr val="bg1">
                      <a:lumMod val="50000"/>
                    </a:schemeClr>
                  </a:solidFill>
                  <a:latin typeface="Calibri" charset="0"/>
                  <a:ea typeface="Calibri" charset="0"/>
                  <a:cs typeface="Calibri" charset="0"/>
                  <a:sym typeface="+mn-lt"/>
                </a:rPr>
                <a:t>Barcelona </a:t>
              </a:r>
            </a:p>
            <a:p>
              <a:pPr marL="98743" lvl="1" indent="-98743" algn="l" fontAlgn="base">
                <a:lnSpc>
                  <a:spcPct val="90000"/>
                </a:lnSpc>
                <a:spcAft>
                  <a:spcPct val="0"/>
                </a:spcAft>
                <a:buSzPct val="100000"/>
                <a:buFont typeface="Arial Narrow"/>
                <a:buChar char="&gt;"/>
              </a:pPr>
              <a:r>
                <a:rPr lang="en-GB" sz="2000" dirty="0">
                  <a:solidFill>
                    <a:schemeClr val="bg1">
                      <a:lumMod val="50000"/>
                    </a:schemeClr>
                  </a:solidFill>
                  <a:latin typeface="Calibri" charset="0"/>
                  <a:ea typeface="Calibri" charset="0"/>
                  <a:cs typeface="Calibri" charset="0"/>
                  <a:sym typeface="+mn-lt"/>
                </a:rPr>
                <a:t>Cantabria</a:t>
              </a:r>
            </a:p>
            <a:p>
              <a:pPr marL="98743" lvl="1" indent="-98743" algn="l" fontAlgn="base">
                <a:lnSpc>
                  <a:spcPct val="90000"/>
                </a:lnSpc>
                <a:spcAft>
                  <a:spcPct val="0"/>
                </a:spcAft>
                <a:buSzPct val="100000"/>
                <a:buFont typeface="Arial Narrow"/>
                <a:buChar char="&gt;"/>
              </a:pPr>
              <a:r>
                <a:rPr lang="en-GB" sz="2000" dirty="0" err="1" smtClean="0">
                  <a:solidFill>
                    <a:schemeClr val="bg1">
                      <a:lumMod val="50000"/>
                    </a:schemeClr>
                  </a:solidFill>
                  <a:latin typeface="Calibri" charset="0"/>
                  <a:ea typeface="Calibri" charset="0"/>
                  <a:cs typeface="Calibri" charset="0"/>
                  <a:sym typeface="+mn-lt"/>
                </a:rPr>
                <a:t>Castilla</a:t>
              </a:r>
              <a:r>
                <a:rPr lang="en-GB" sz="2000" dirty="0" smtClean="0">
                  <a:solidFill>
                    <a:schemeClr val="bg1">
                      <a:lumMod val="50000"/>
                    </a:schemeClr>
                  </a:solidFill>
                  <a:latin typeface="Calibri" charset="0"/>
                  <a:ea typeface="Calibri" charset="0"/>
                  <a:cs typeface="Calibri" charset="0"/>
                  <a:sym typeface="+mn-lt"/>
                </a:rPr>
                <a:t> </a:t>
              </a:r>
              <a:r>
                <a:rPr lang="en-GB" sz="2000" dirty="0">
                  <a:solidFill>
                    <a:schemeClr val="bg1">
                      <a:lumMod val="50000"/>
                    </a:schemeClr>
                  </a:solidFill>
                  <a:latin typeface="Calibri" charset="0"/>
                  <a:ea typeface="Calibri" charset="0"/>
                  <a:cs typeface="Calibri" charset="0"/>
                  <a:sym typeface="+mn-lt"/>
                </a:rPr>
                <a:t>– La Mancha</a:t>
              </a:r>
            </a:p>
            <a:p>
              <a:pPr marL="98743" lvl="1" indent="-98743" algn="l" fontAlgn="base">
                <a:lnSpc>
                  <a:spcPct val="90000"/>
                </a:lnSpc>
                <a:spcAft>
                  <a:spcPct val="0"/>
                </a:spcAft>
                <a:buSzPct val="100000"/>
                <a:buFont typeface="Arial Narrow"/>
                <a:buChar char="&gt;"/>
              </a:pPr>
              <a:endParaRPr lang="en-GB" sz="2000" dirty="0">
                <a:solidFill>
                  <a:schemeClr val="bg1">
                    <a:lumMod val="50000"/>
                  </a:schemeClr>
                </a:solidFill>
                <a:latin typeface="Calibri" charset="0"/>
                <a:ea typeface="Calibri" charset="0"/>
                <a:cs typeface="Calibri" charset="0"/>
                <a:sym typeface="+mn-lt"/>
              </a:endParaRPr>
            </a:p>
          </p:txBody>
        </p:sp>
      </p:grpSp>
      <p:sp>
        <p:nvSpPr>
          <p:cNvPr id="572" name="RBContent533"/>
          <p:cNvSpPr txBox="1">
            <a:spLocks/>
          </p:cNvSpPr>
          <p:nvPr/>
        </p:nvSpPr>
        <p:spPr>
          <a:xfrm>
            <a:off x="9358819" y="3639545"/>
            <a:ext cx="3071452" cy="1384995"/>
          </a:xfrm>
          <a:prstGeom prst="rect">
            <a:avLst/>
          </a:prstGeom>
          <a:noFill/>
          <a:ln w="9525">
            <a:noFill/>
          </a:ln>
        </p:spPr>
        <p:txBody>
          <a:bodyPr vert="horz" wrap="square" lIns="0" tIns="0" rIns="0" bIns="0" rtlCol="0">
            <a:spAutoFit/>
          </a:bodyPr>
          <a:lstStyle/>
          <a:p>
            <a:pPr algn="l" fontAlgn="base">
              <a:lnSpc>
                <a:spcPct val="90000"/>
              </a:lnSpc>
              <a:spcAft>
                <a:spcPct val="0"/>
              </a:spcAft>
              <a:buSzPct val="100000"/>
            </a:pPr>
            <a:r>
              <a:rPr lang="en-GB" sz="2000" b="1" dirty="0">
                <a:solidFill>
                  <a:schemeClr val="bg1">
                    <a:lumMod val="50000"/>
                  </a:schemeClr>
                </a:solidFill>
                <a:latin typeface="Calibri" charset="0"/>
                <a:ea typeface="Calibri" charset="0"/>
                <a:cs typeface="Calibri" charset="0"/>
                <a:sym typeface="+mn-lt"/>
              </a:rPr>
              <a:t>Norway</a:t>
            </a:r>
          </a:p>
          <a:p>
            <a:pPr marL="98743" lvl="1" indent="-98743" algn="l" fontAlgn="base">
              <a:lnSpc>
                <a:spcPct val="90000"/>
              </a:lnSpc>
              <a:spcAft>
                <a:spcPct val="0"/>
              </a:spcAft>
              <a:buSzPct val="100000"/>
              <a:buFont typeface="Arial Narrow" panose="020B0606020202030204" pitchFamily="34" charset="0"/>
              <a:buChar char="&gt;"/>
            </a:pPr>
            <a:r>
              <a:rPr lang="en-GB" sz="2000" dirty="0">
                <a:solidFill>
                  <a:schemeClr val="bg1">
                    <a:lumMod val="50000"/>
                  </a:schemeClr>
                </a:solidFill>
                <a:latin typeface="Calibri" charset="0"/>
                <a:ea typeface="Calibri" charset="0"/>
                <a:cs typeface="Calibri" charset="0"/>
              </a:rPr>
              <a:t>Akershus</a:t>
            </a:r>
          </a:p>
          <a:p>
            <a:pPr marL="98743" lvl="1" indent="-98743" algn="l" fontAlgn="base">
              <a:lnSpc>
                <a:spcPct val="90000"/>
              </a:lnSpc>
              <a:spcAft>
                <a:spcPct val="0"/>
              </a:spcAft>
              <a:buSzPct val="100000"/>
              <a:buFont typeface="Arial Narrow" panose="020B0606020202030204" pitchFamily="34" charset="0"/>
              <a:buChar char="&gt;"/>
            </a:pPr>
            <a:r>
              <a:rPr lang="en-GB" sz="2000" dirty="0">
                <a:solidFill>
                  <a:schemeClr val="bg1">
                    <a:lumMod val="50000"/>
                  </a:schemeClr>
                </a:solidFill>
                <a:latin typeface="Calibri" charset="0"/>
                <a:ea typeface="Calibri" charset="0"/>
                <a:cs typeface="Calibri" charset="0"/>
              </a:rPr>
              <a:t>Møre og Romsdal</a:t>
            </a:r>
          </a:p>
          <a:p>
            <a:pPr marL="98743" lvl="1" indent="-98743" algn="l" fontAlgn="base">
              <a:lnSpc>
                <a:spcPct val="90000"/>
              </a:lnSpc>
              <a:spcAft>
                <a:spcPct val="0"/>
              </a:spcAft>
              <a:buSzPct val="100000"/>
              <a:buFont typeface="Arial Narrow" panose="020B0606020202030204" pitchFamily="34" charset="0"/>
              <a:buChar char="&gt;"/>
            </a:pPr>
            <a:r>
              <a:rPr lang="en-GB" sz="2000" dirty="0">
                <a:solidFill>
                  <a:schemeClr val="bg1">
                    <a:lumMod val="50000"/>
                  </a:schemeClr>
                </a:solidFill>
                <a:latin typeface="Calibri" charset="0"/>
                <a:ea typeface="Calibri" charset="0"/>
                <a:cs typeface="Calibri" charset="0"/>
              </a:rPr>
              <a:t>Oppland County Municipal</a:t>
            </a:r>
          </a:p>
          <a:p>
            <a:pPr marL="98743" lvl="1" indent="-98743" algn="l" fontAlgn="base">
              <a:lnSpc>
                <a:spcPct val="90000"/>
              </a:lnSpc>
              <a:spcAft>
                <a:spcPct val="0"/>
              </a:spcAft>
              <a:buSzPct val="100000"/>
              <a:buFont typeface="Arial Narrow" panose="020B0606020202030204" pitchFamily="34" charset="0"/>
              <a:buChar char="&gt;"/>
            </a:pPr>
            <a:r>
              <a:rPr lang="en-GB" sz="2000" dirty="0">
                <a:solidFill>
                  <a:schemeClr val="bg1">
                    <a:lumMod val="50000"/>
                  </a:schemeClr>
                </a:solidFill>
                <a:latin typeface="Calibri" charset="0"/>
                <a:ea typeface="Calibri" charset="0"/>
                <a:cs typeface="Calibri" charset="0"/>
              </a:rPr>
              <a:t>Sogn og Fjordane</a:t>
            </a:r>
          </a:p>
        </p:txBody>
      </p:sp>
      <p:sp>
        <p:nvSpPr>
          <p:cNvPr id="580" name="RBContent533"/>
          <p:cNvSpPr txBox="1">
            <a:spLocks/>
          </p:cNvSpPr>
          <p:nvPr/>
        </p:nvSpPr>
        <p:spPr>
          <a:xfrm>
            <a:off x="3060558" y="10934580"/>
            <a:ext cx="3261422" cy="1384995"/>
          </a:xfrm>
          <a:prstGeom prst="rect">
            <a:avLst/>
          </a:prstGeom>
          <a:noFill/>
          <a:ln w="9525">
            <a:noFill/>
          </a:ln>
        </p:spPr>
        <p:txBody>
          <a:bodyPr vert="horz" wrap="square" lIns="0" tIns="0" rIns="0" bIns="0" rtlCol="0">
            <a:spAutoFit/>
          </a:bodyPr>
          <a:lstStyle/>
          <a:p>
            <a:pPr algn="l" fontAlgn="base">
              <a:lnSpc>
                <a:spcPct val="90000"/>
              </a:lnSpc>
              <a:spcAft>
                <a:spcPct val="0"/>
              </a:spcAft>
              <a:buSzPct val="100000"/>
            </a:pPr>
            <a:r>
              <a:rPr lang="en-GB" sz="2000" b="1" dirty="0" smtClean="0">
                <a:solidFill>
                  <a:schemeClr val="bg1">
                    <a:lumMod val="50000"/>
                  </a:schemeClr>
                </a:solidFill>
                <a:latin typeface="Calibri" charset="0"/>
                <a:ea typeface="Calibri" charset="0"/>
                <a:cs typeface="Calibri" charset="0"/>
                <a:sym typeface="+mn-lt"/>
              </a:rPr>
              <a:t>Netherlands</a:t>
            </a:r>
            <a:endParaRPr lang="en-GB" sz="2000" b="1" dirty="0">
              <a:solidFill>
                <a:schemeClr val="bg1">
                  <a:lumMod val="50000"/>
                </a:schemeClr>
              </a:solidFill>
              <a:latin typeface="Calibri" charset="0"/>
              <a:ea typeface="Calibri" charset="0"/>
              <a:cs typeface="Calibri" charset="0"/>
              <a:sym typeface="+mn-lt"/>
            </a:endParaRPr>
          </a:p>
          <a:p>
            <a:pPr marL="98743" lvl="1" indent="-98743" algn="l" fontAlgn="base">
              <a:lnSpc>
                <a:spcPct val="90000"/>
              </a:lnSpc>
              <a:spcAft>
                <a:spcPct val="0"/>
              </a:spcAft>
              <a:buSzPct val="100000"/>
              <a:buFont typeface="Arial Narrow" panose="020B0606020202030204" pitchFamily="34" charset="0"/>
              <a:buChar char="&gt;"/>
            </a:pPr>
            <a:r>
              <a:rPr lang="en-GB" sz="2000" dirty="0" err="1" smtClean="0">
                <a:solidFill>
                  <a:schemeClr val="bg1">
                    <a:lumMod val="50000"/>
                  </a:schemeClr>
                </a:solidFill>
                <a:latin typeface="Calibri" charset="0"/>
                <a:ea typeface="Calibri" charset="0"/>
                <a:cs typeface="Calibri" charset="0"/>
              </a:rPr>
              <a:t>Assen</a:t>
            </a:r>
            <a:endParaRPr lang="en-GB" sz="2000" dirty="0" smtClean="0">
              <a:solidFill>
                <a:schemeClr val="bg1">
                  <a:lumMod val="50000"/>
                </a:schemeClr>
              </a:solidFill>
              <a:latin typeface="Calibri" charset="0"/>
              <a:ea typeface="Calibri" charset="0"/>
              <a:cs typeface="Calibri" charset="0"/>
            </a:endParaRPr>
          </a:p>
          <a:p>
            <a:pPr marL="98743" lvl="1" indent="-98743" algn="l" fontAlgn="base">
              <a:lnSpc>
                <a:spcPct val="90000"/>
              </a:lnSpc>
              <a:spcAft>
                <a:spcPct val="0"/>
              </a:spcAft>
              <a:buSzPct val="100000"/>
              <a:buFont typeface="Arial Narrow" panose="020B0606020202030204" pitchFamily="34" charset="0"/>
              <a:buChar char="&gt;"/>
            </a:pPr>
            <a:r>
              <a:rPr lang="en-GB" sz="2000" dirty="0" smtClean="0">
                <a:solidFill>
                  <a:schemeClr val="bg1">
                    <a:lumMod val="50000"/>
                  </a:schemeClr>
                </a:solidFill>
                <a:latin typeface="Calibri" charset="0"/>
                <a:ea typeface="Calibri" charset="0"/>
                <a:cs typeface="Calibri" charset="0"/>
              </a:rPr>
              <a:t>Drenthe</a:t>
            </a:r>
            <a:endParaRPr lang="en-GB" sz="2000" dirty="0">
              <a:solidFill>
                <a:schemeClr val="bg1">
                  <a:lumMod val="50000"/>
                </a:schemeClr>
              </a:solidFill>
              <a:latin typeface="Calibri" charset="0"/>
              <a:ea typeface="Calibri" charset="0"/>
              <a:cs typeface="Calibri" charset="0"/>
            </a:endParaRPr>
          </a:p>
          <a:p>
            <a:pPr marL="98743" lvl="1" indent="-98743" algn="l" fontAlgn="base">
              <a:lnSpc>
                <a:spcPct val="90000"/>
              </a:lnSpc>
              <a:spcAft>
                <a:spcPct val="0"/>
              </a:spcAft>
              <a:buSzPct val="100000"/>
              <a:buFont typeface="Arial Narrow" panose="020B0606020202030204" pitchFamily="34" charset="0"/>
              <a:buChar char="&gt;"/>
            </a:pPr>
            <a:r>
              <a:rPr lang="en-GB" sz="2000" dirty="0">
                <a:solidFill>
                  <a:schemeClr val="bg1">
                    <a:lumMod val="50000"/>
                  </a:schemeClr>
                </a:solidFill>
                <a:latin typeface="Calibri" charset="0"/>
                <a:ea typeface="Calibri" charset="0"/>
                <a:cs typeface="Calibri" charset="0"/>
              </a:rPr>
              <a:t>Emmen</a:t>
            </a:r>
          </a:p>
          <a:p>
            <a:pPr marL="98743" lvl="1" indent="-98743" algn="l" fontAlgn="base">
              <a:lnSpc>
                <a:spcPct val="90000"/>
              </a:lnSpc>
              <a:spcAft>
                <a:spcPct val="0"/>
              </a:spcAft>
              <a:buSzPct val="100000"/>
              <a:buFont typeface="Arial Narrow" panose="020B0606020202030204" pitchFamily="34" charset="0"/>
              <a:buChar char="&gt;"/>
            </a:pPr>
            <a:r>
              <a:rPr lang="en-GB" sz="2000" dirty="0">
                <a:solidFill>
                  <a:schemeClr val="bg1">
                    <a:lumMod val="50000"/>
                  </a:schemeClr>
                </a:solidFill>
                <a:latin typeface="Calibri" charset="0"/>
                <a:ea typeface="Calibri" charset="0"/>
                <a:cs typeface="Calibri" charset="0"/>
              </a:rPr>
              <a:t>Groningen</a:t>
            </a:r>
          </a:p>
        </p:txBody>
      </p:sp>
      <p:grpSp>
        <p:nvGrpSpPr>
          <p:cNvPr id="584" name="Group 583"/>
          <p:cNvGrpSpPr/>
          <p:nvPr/>
        </p:nvGrpSpPr>
        <p:grpSpPr>
          <a:xfrm>
            <a:off x="4983536" y="8523726"/>
            <a:ext cx="3576816" cy="1107996"/>
            <a:chOff x="11826395" y="-3243988"/>
            <a:chExt cx="3576816" cy="1107996"/>
          </a:xfrm>
        </p:grpSpPr>
        <p:sp>
          <p:nvSpPr>
            <p:cNvPr id="585" name="RBContent533"/>
            <p:cNvSpPr txBox="1">
              <a:spLocks/>
            </p:cNvSpPr>
            <p:nvPr/>
          </p:nvSpPr>
          <p:spPr>
            <a:xfrm>
              <a:off x="11826395" y="-3243988"/>
              <a:ext cx="1295604" cy="1107996"/>
            </a:xfrm>
            <a:prstGeom prst="rect">
              <a:avLst/>
            </a:prstGeom>
            <a:noFill/>
            <a:ln w="9525">
              <a:noFill/>
            </a:ln>
          </p:spPr>
          <p:txBody>
            <a:bodyPr vert="horz" wrap="square" lIns="0" tIns="0" rIns="0" bIns="0" rtlCol="0">
              <a:spAutoFit/>
            </a:bodyPr>
            <a:lstStyle/>
            <a:p>
              <a:pPr algn="l" fontAlgn="base">
                <a:lnSpc>
                  <a:spcPct val="90000"/>
                </a:lnSpc>
                <a:spcAft>
                  <a:spcPct val="0"/>
                </a:spcAft>
                <a:buSzPct val="100000"/>
              </a:pPr>
              <a:r>
                <a:rPr lang="en-GB" sz="2000" b="1" dirty="0">
                  <a:solidFill>
                    <a:schemeClr val="bg1">
                      <a:lumMod val="50000"/>
                    </a:schemeClr>
                  </a:solidFill>
                  <a:latin typeface="Calibri" charset="0"/>
                  <a:ea typeface="Calibri" charset="0"/>
                  <a:cs typeface="Calibri" charset="0"/>
                  <a:sym typeface="+mn-lt"/>
                </a:rPr>
                <a:t>Italy</a:t>
              </a:r>
            </a:p>
            <a:p>
              <a:pPr marL="98743" lvl="1" indent="-98743" algn="l" fontAlgn="base">
                <a:lnSpc>
                  <a:spcPct val="90000"/>
                </a:lnSpc>
                <a:spcAft>
                  <a:spcPct val="0"/>
                </a:spcAft>
                <a:buSzPct val="100000"/>
                <a:buFont typeface="Arial Narrow" panose="020B0606020202030204" pitchFamily="34" charset="0"/>
                <a:buChar char="&gt;"/>
              </a:pPr>
              <a:r>
                <a:rPr lang="en-GB" sz="2000" dirty="0">
                  <a:solidFill>
                    <a:schemeClr val="bg1">
                      <a:lumMod val="50000"/>
                    </a:schemeClr>
                  </a:solidFill>
                  <a:latin typeface="Calibri" charset="0"/>
                  <a:ea typeface="Calibri" charset="0"/>
                  <a:cs typeface="Calibri" charset="0"/>
                </a:rPr>
                <a:t>Lazio</a:t>
              </a:r>
            </a:p>
            <a:p>
              <a:pPr marL="98743" lvl="1" indent="-98743" algn="l" fontAlgn="base">
                <a:lnSpc>
                  <a:spcPct val="90000"/>
                </a:lnSpc>
                <a:spcAft>
                  <a:spcPct val="0"/>
                </a:spcAft>
                <a:buSzPct val="100000"/>
                <a:buFont typeface="Arial Narrow" panose="020B0606020202030204" pitchFamily="34" charset="0"/>
                <a:buChar char="&gt;"/>
              </a:pPr>
              <a:r>
                <a:rPr lang="en-GB" sz="2000" dirty="0">
                  <a:solidFill>
                    <a:schemeClr val="bg1">
                      <a:lumMod val="50000"/>
                    </a:schemeClr>
                  </a:solidFill>
                  <a:latin typeface="Calibri" charset="0"/>
                  <a:ea typeface="Calibri" charset="0"/>
                  <a:cs typeface="Calibri" charset="0"/>
                </a:rPr>
                <a:t>South Tyrol</a:t>
              </a:r>
            </a:p>
            <a:p>
              <a:pPr marL="98743" lvl="1" indent="-98743" algn="l" fontAlgn="base">
                <a:lnSpc>
                  <a:spcPct val="90000"/>
                </a:lnSpc>
                <a:spcAft>
                  <a:spcPct val="0"/>
                </a:spcAft>
                <a:buSzPct val="100000"/>
                <a:buFont typeface="Arial Narrow" panose="020B0606020202030204" pitchFamily="34" charset="0"/>
                <a:buChar char="&gt;"/>
              </a:pPr>
              <a:r>
                <a:rPr lang="en-GB" sz="2000" dirty="0">
                  <a:solidFill>
                    <a:schemeClr val="bg1">
                      <a:lumMod val="50000"/>
                    </a:schemeClr>
                  </a:solidFill>
                  <a:latin typeface="Calibri" charset="0"/>
                  <a:ea typeface="Calibri" charset="0"/>
                  <a:cs typeface="Calibri" charset="0"/>
                </a:rPr>
                <a:t>Favignana</a:t>
              </a:r>
            </a:p>
          </p:txBody>
        </p:sp>
        <p:sp>
          <p:nvSpPr>
            <p:cNvPr id="587" name="RBContent533"/>
            <p:cNvSpPr txBox="1">
              <a:spLocks/>
            </p:cNvSpPr>
            <p:nvPr/>
          </p:nvSpPr>
          <p:spPr>
            <a:xfrm>
              <a:off x="13346251" y="-2992270"/>
              <a:ext cx="2056960" cy="830997"/>
            </a:xfrm>
            <a:prstGeom prst="rect">
              <a:avLst/>
            </a:prstGeom>
            <a:noFill/>
            <a:ln w="9525">
              <a:noFill/>
            </a:ln>
          </p:spPr>
          <p:txBody>
            <a:bodyPr vert="horz" wrap="square" lIns="0" tIns="0" rIns="0" bIns="0" rtlCol="0">
              <a:spAutoFit/>
            </a:bodyPr>
            <a:lstStyle/>
            <a:p>
              <a:pPr marL="98743" lvl="1" indent="-98743" algn="l" fontAlgn="base">
                <a:lnSpc>
                  <a:spcPct val="90000"/>
                </a:lnSpc>
                <a:spcAft>
                  <a:spcPct val="0"/>
                </a:spcAft>
                <a:buSzPct val="100000"/>
                <a:buFont typeface="Arial Narrow" panose="020B0606020202030204" pitchFamily="34" charset="0"/>
                <a:buChar char="&gt;"/>
              </a:pPr>
              <a:r>
                <a:rPr lang="en-GB" sz="2000" dirty="0">
                  <a:solidFill>
                    <a:schemeClr val="bg1">
                      <a:lumMod val="50000"/>
                    </a:schemeClr>
                  </a:solidFill>
                  <a:latin typeface="Calibri" charset="0"/>
                  <a:ea typeface="Calibri" charset="0"/>
                  <a:cs typeface="Calibri" charset="0"/>
                </a:rPr>
                <a:t>Torino</a:t>
              </a:r>
            </a:p>
            <a:p>
              <a:pPr marL="98743" lvl="1" indent="-98743" algn="l" fontAlgn="base">
                <a:lnSpc>
                  <a:spcPct val="90000"/>
                </a:lnSpc>
                <a:spcAft>
                  <a:spcPct val="0"/>
                </a:spcAft>
                <a:buSzPct val="100000"/>
                <a:buFont typeface="Arial Narrow" panose="020B0606020202030204" pitchFamily="34" charset="0"/>
                <a:buChar char="&gt;"/>
              </a:pPr>
              <a:r>
                <a:rPr lang="en-GB" sz="2000" dirty="0">
                  <a:solidFill>
                    <a:schemeClr val="bg1">
                      <a:lumMod val="50000"/>
                    </a:schemeClr>
                  </a:solidFill>
                  <a:latin typeface="Calibri" charset="0"/>
                  <a:ea typeface="Calibri" charset="0"/>
                  <a:cs typeface="Calibri" charset="0"/>
                </a:rPr>
                <a:t>Venice</a:t>
              </a:r>
            </a:p>
            <a:p>
              <a:pPr marL="98743" lvl="1" indent="-98743" algn="l" fontAlgn="base">
                <a:lnSpc>
                  <a:spcPct val="90000"/>
                </a:lnSpc>
                <a:spcAft>
                  <a:spcPct val="0"/>
                </a:spcAft>
                <a:buSzPct val="100000"/>
                <a:buFont typeface="Arial Narrow" panose="020B0606020202030204" pitchFamily="34" charset="0"/>
                <a:buChar char="&gt;"/>
              </a:pPr>
              <a:r>
                <a:rPr lang="en-GB" sz="2000" dirty="0">
                  <a:solidFill>
                    <a:schemeClr val="bg1">
                      <a:lumMod val="50000"/>
                    </a:schemeClr>
                  </a:solidFill>
                  <a:latin typeface="Calibri" charset="0"/>
                  <a:ea typeface="Calibri" charset="0"/>
                  <a:cs typeface="Calibri" charset="0"/>
                </a:rPr>
                <a:t>Toscana</a:t>
              </a:r>
            </a:p>
          </p:txBody>
        </p:sp>
      </p:grpSp>
      <p:sp>
        <p:nvSpPr>
          <p:cNvPr id="591" name="RBContent533"/>
          <p:cNvSpPr txBox="1">
            <a:spLocks/>
          </p:cNvSpPr>
          <p:nvPr/>
        </p:nvSpPr>
        <p:spPr>
          <a:xfrm>
            <a:off x="5077467" y="10946547"/>
            <a:ext cx="1444031" cy="777895"/>
          </a:xfrm>
          <a:prstGeom prst="rect">
            <a:avLst/>
          </a:prstGeom>
          <a:noFill/>
          <a:ln w="9525">
            <a:noFill/>
          </a:ln>
        </p:spPr>
        <p:txBody>
          <a:bodyPr vert="horz" wrap="square" lIns="0" tIns="0" rIns="0" bIns="0" rtlCol="0">
            <a:spAutoFit/>
          </a:bodyPr>
          <a:lstStyle/>
          <a:p>
            <a:pPr algn="l" fontAlgn="base">
              <a:lnSpc>
                <a:spcPct val="90000"/>
              </a:lnSpc>
              <a:spcAft>
                <a:spcPct val="0"/>
              </a:spcAft>
              <a:buSzPct val="100000"/>
            </a:pPr>
            <a:r>
              <a:rPr lang="en-GB" sz="2000" b="1" dirty="0">
                <a:solidFill>
                  <a:schemeClr val="bg1">
                    <a:lumMod val="50000"/>
                  </a:schemeClr>
                </a:solidFill>
                <a:latin typeface="Calibri" charset="0"/>
                <a:ea typeface="Calibri" charset="0"/>
                <a:cs typeface="Calibri" charset="0"/>
                <a:sym typeface="+mn-lt"/>
              </a:rPr>
              <a:t>Austria</a:t>
            </a:r>
          </a:p>
          <a:p>
            <a:pPr marL="98743" lvl="1" indent="-98743" algn="l" fontAlgn="base">
              <a:lnSpc>
                <a:spcPct val="90000"/>
              </a:lnSpc>
              <a:spcAft>
                <a:spcPct val="0"/>
              </a:spcAft>
              <a:buSzPct val="100000"/>
              <a:buFont typeface="Arial Narrow" panose="020B0606020202030204" pitchFamily="34" charset="0"/>
              <a:buChar char="&gt;"/>
            </a:pPr>
            <a:r>
              <a:rPr lang="en-GB" sz="2000" dirty="0">
                <a:solidFill>
                  <a:schemeClr val="bg1">
                    <a:lumMod val="50000"/>
                  </a:schemeClr>
                </a:solidFill>
                <a:latin typeface="Calibri" charset="0"/>
                <a:ea typeface="Calibri" charset="0"/>
                <a:cs typeface="Calibri" charset="0"/>
                <a:sym typeface="+mn-lt"/>
              </a:rPr>
              <a:t>Tirol</a:t>
            </a:r>
          </a:p>
        </p:txBody>
      </p:sp>
      <p:sp>
        <p:nvSpPr>
          <p:cNvPr id="596" name="RBContent533"/>
          <p:cNvSpPr txBox="1">
            <a:spLocks/>
          </p:cNvSpPr>
          <p:nvPr/>
        </p:nvSpPr>
        <p:spPr>
          <a:xfrm>
            <a:off x="15721937" y="7342247"/>
            <a:ext cx="2292009" cy="553998"/>
          </a:xfrm>
          <a:prstGeom prst="rect">
            <a:avLst/>
          </a:prstGeom>
          <a:noFill/>
          <a:ln w="9525">
            <a:noFill/>
          </a:ln>
        </p:spPr>
        <p:txBody>
          <a:bodyPr vert="horz" wrap="square" lIns="0" tIns="0" rIns="0" bIns="0" rtlCol="0">
            <a:spAutoFit/>
          </a:bodyPr>
          <a:lstStyle/>
          <a:p>
            <a:pPr algn="l" fontAlgn="base">
              <a:lnSpc>
                <a:spcPct val="90000"/>
              </a:lnSpc>
              <a:spcAft>
                <a:spcPct val="0"/>
              </a:spcAft>
              <a:buSzPct val="100000"/>
            </a:pPr>
            <a:r>
              <a:rPr lang="en-GB" sz="2000" b="1" dirty="0">
                <a:solidFill>
                  <a:schemeClr val="bg1">
                    <a:lumMod val="50000"/>
                  </a:schemeClr>
                </a:solidFill>
                <a:latin typeface="Calibri" charset="0"/>
                <a:ea typeface="Calibri" charset="0"/>
                <a:cs typeface="Calibri" charset="0"/>
                <a:sym typeface="+mn-lt"/>
              </a:rPr>
              <a:t>Latvia</a:t>
            </a:r>
          </a:p>
          <a:p>
            <a:pPr marL="98743" lvl="1" indent="-98743" algn="l" fontAlgn="base">
              <a:lnSpc>
                <a:spcPct val="90000"/>
              </a:lnSpc>
              <a:spcAft>
                <a:spcPct val="0"/>
              </a:spcAft>
              <a:buSzPct val="100000"/>
              <a:buFont typeface="Arial Narrow" panose="020B0606020202030204" pitchFamily="34" charset="0"/>
              <a:buChar char="&gt;"/>
            </a:pPr>
            <a:r>
              <a:rPr lang="en-GB" sz="2000" dirty="0">
                <a:solidFill>
                  <a:schemeClr val="bg1">
                    <a:lumMod val="50000"/>
                  </a:schemeClr>
                </a:solidFill>
                <a:latin typeface="Calibri" charset="0"/>
                <a:ea typeface="Calibri" charset="0"/>
                <a:cs typeface="Calibri" charset="0"/>
                <a:sym typeface="+mn-lt"/>
              </a:rPr>
              <a:t>Riga</a:t>
            </a:r>
          </a:p>
        </p:txBody>
      </p:sp>
      <p:sp>
        <p:nvSpPr>
          <p:cNvPr id="597" name="RBContent533"/>
          <p:cNvSpPr txBox="1">
            <a:spLocks/>
          </p:cNvSpPr>
          <p:nvPr/>
        </p:nvSpPr>
        <p:spPr>
          <a:xfrm>
            <a:off x="16940347" y="5330300"/>
            <a:ext cx="2292009" cy="830997"/>
          </a:xfrm>
          <a:prstGeom prst="rect">
            <a:avLst/>
          </a:prstGeom>
          <a:noFill/>
          <a:ln w="9525">
            <a:noFill/>
          </a:ln>
        </p:spPr>
        <p:txBody>
          <a:bodyPr vert="horz" wrap="square" lIns="0" tIns="0" rIns="0" bIns="0" rtlCol="0">
            <a:spAutoFit/>
          </a:bodyPr>
          <a:lstStyle/>
          <a:p>
            <a:pPr algn="l" fontAlgn="base">
              <a:lnSpc>
                <a:spcPct val="90000"/>
              </a:lnSpc>
              <a:spcAft>
                <a:spcPct val="0"/>
              </a:spcAft>
              <a:buSzPct val="100000"/>
            </a:pPr>
            <a:r>
              <a:rPr lang="en-GB" sz="2000" b="1" dirty="0">
                <a:solidFill>
                  <a:schemeClr val="bg1">
                    <a:lumMod val="50000"/>
                  </a:schemeClr>
                </a:solidFill>
                <a:latin typeface="Calibri" charset="0"/>
                <a:ea typeface="Calibri" charset="0"/>
                <a:cs typeface="Calibri" charset="0"/>
                <a:sym typeface="+mn-lt"/>
              </a:rPr>
              <a:t>Denmark</a:t>
            </a:r>
          </a:p>
          <a:p>
            <a:pPr marL="98743" lvl="1" indent="-98743" algn="l" fontAlgn="base">
              <a:lnSpc>
                <a:spcPct val="90000"/>
              </a:lnSpc>
              <a:spcAft>
                <a:spcPct val="0"/>
              </a:spcAft>
              <a:buSzPct val="100000"/>
              <a:buFont typeface="Arial Narrow" panose="020B0606020202030204" pitchFamily="34" charset="0"/>
              <a:buChar char="&gt;"/>
            </a:pPr>
            <a:r>
              <a:rPr lang="en-GB" sz="2000" dirty="0">
                <a:solidFill>
                  <a:schemeClr val="bg1">
                    <a:lumMod val="50000"/>
                  </a:schemeClr>
                </a:solidFill>
                <a:latin typeface="Calibri" charset="0"/>
                <a:ea typeface="Calibri" charset="0"/>
                <a:cs typeface="Calibri" charset="0"/>
              </a:rPr>
              <a:t>Guldborgsund</a:t>
            </a:r>
          </a:p>
          <a:p>
            <a:pPr marL="98743" lvl="1" indent="-98743" algn="l" fontAlgn="base">
              <a:lnSpc>
                <a:spcPct val="90000"/>
              </a:lnSpc>
              <a:spcAft>
                <a:spcPct val="0"/>
              </a:spcAft>
              <a:buSzPct val="100000"/>
              <a:buFont typeface="Arial Narrow" panose="020B0606020202030204" pitchFamily="34" charset="0"/>
              <a:buChar char="&gt;"/>
            </a:pPr>
            <a:r>
              <a:rPr lang="en-GB" sz="2000" dirty="0" smtClean="0">
                <a:solidFill>
                  <a:schemeClr val="bg1">
                    <a:lumMod val="50000"/>
                  </a:schemeClr>
                </a:solidFill>
                <a:latin typeface="Calibri" charset="0"/>
                <a:ea typeface="Calibri" charset="0"/>
                <a:cs typeface="Calibri" charset="0"/>
              </a:rPr>
              <a:t>Lolland</a:t>
            </a:r>
            <a:endParaRPr lang="en-GB" sz="2000" dirty="0">
              <a:solidFill>
                <a:schemeClr val="bg1">
                  <a:lumMod val="50000"/>
                </a:schemeClr>
              </a:solidFill>
              <a:latin typeface="Calibri" charset="0"/>
              <a:ea typeface="Calibri" charset="0"/>
              <a:cs typeface="Calibri" charset="0"/>
            </a:endParaRPr>
          </a:p>
        </p:txBody>
      </p:sp>
      <p:sp>
        <p:nvSpPr>
          <p:cNvPr id="599" name="RBContent533"/>
          <p:cNvSpPr txBox="1">
            <a:spLocks/>
          </p:cNvSpPr>
          <p:nvPr/>
        </p:nvSpPr>
        <p:spPr>
          <a:xfrm>
            <a:off x="19574144" y="9794319"/>
            <a:ext cx="3282528" cy="830997"/>
          </a:xfrm>
          <a:prstGeom prst="rect">
            <a:avLst/>
          </a:prstGeom>
          <a:noFill/>
          <a:ln w="9525">
            <a:noFill/>
          </a:ln>
        </p:spPr>
        <p:txBody>
          <a:bodyPr vert="horz" wrap="square" lIns="0" tIns="0" rIns="0" bIns="0" rtlCol="0">
            <a:spAutoFit/>
          </a:bodyPr>
          <a:lstStyle/>
          <a:p>
            <a:pPr algn="l" fontAlgn="base">
              <a:lnSpc>
                <a:spcPct val="90000"/>
              </a:lnSpc>
              <a:spcAft>
                <a:spcPct val="0"/>
              </a:spcAft>
              <a:buSzPct val="100000"/>
            </a:pPr>
            <a:r>
              <a:rPr lang="en-GB" sz="2000" b="1" dirty="0">
                <a:solidFill>
                  <a:schemeClr val="bg1">
                    <a:lumMod val="50000"/>
                  </a:schemeClr>
                </a:solidFill>
                <a:latin typeface="Calibri" charset="0"/>
                <a:ea typeface="Calibri" charset="0"/>
                <a:cs typeface="Calibri" charset="0"/>
                <a:sym typeface="+mn-lt"/>
              </a:rPr>
              <a:t>Bulgaria</a:t>
            </a:r>
          </a:p>
          <a:p>
            <a:pPr marL="98743" lvl="1" indent="-98743" algn="l" fontAlgn="base">
              <a:lnSpc>
                <a:spcPct val="90000"/>
              </a:lnSpc>
              <a:spcAft>
                <a:spcPct val="0"/>
              </a:spcAft>
              <a:buSzPct val="100000"/>
              <a:buFont typeface="Arial Narrow" panose="020B0606020202030204" pitchFamily="34" charset="0"/>
              <a:buChar char="&gt;"/>
            </a:pPr>
            <a:r>
              <a:rPr lang="en-GB" sz="2000" dirty="0">
                <a:solidFill>
                  <a:schemeClr val="bg1">
                    <a:lumMod val="50000"/>
                  </a:schemeClr>
                </a:solidFill>
                <a:latin typeface="Calibri" charset="0"/>
                <a:ea typeface="Calibri" charset="0"/>
                <a:cs typeface="Calibri" charset="0"/>
              </a:rPr>
              <a:t>Bulgarian Ports</a:t>
            </a:r>
          </a:p>
          <a:p>
            <a:pPr marL="98743" lvl="1" indent="-98743" algn="l" fontAlgn="base">
              <a:lnSpc>
                <a:spcPct val="90000"/>
              </a:lnSpc>
              <a:spcAft>
                <a:spcPct val="0"/>
              </a:spcAft>
              <a:buSzPct val="100000"/>
              <a:buFont typeface="Arial Narrow" panose="020B0606020202030204" pitchFamily="34" charset="0"/>
              <a:buChar char="&gt;"/>
            </a:pPr>
            <a:r>
              <a:rPr lang="en-GB" sz="2000" dirty="0">
                <a:solidFill>
                  <a:schemeClr val="bg1">
                    <a:lumMod val="50000"/>
                  </a:schemeClr>
                </a:solidFill>
                <a:latin typeface="Calibri" charset="0"/>
                <a:ea typeface="Calibri" charset="0"/>
                <a:cs typeface="Calibri" charset="0"/>
              </a:rPr>
              <a:t>Sofia</a:t>
            </a:r>
          </a:p>
        </p:txBody>
      </p:sp>
      <p:sp>
        <p:nvSpPr>
          <p:cNvPr id="744" name="RBContent533"/>
          <p:cNvSpPr txBox="1">
            <a:spLocks/>
          </p:cNvSpPr>
          <p:nvPr/>
        </p:nvSpPr>
        <p:spPr>
          <a:xfrm>
            <a:off x="15184469" y="4785603"/>
            <a:ext cx="2292009" cy="553998"/>
          </a:xfrm>
          <a:prstGeom prst="rect">
            <a:avLst/>
          </a:prstGeom>
          <a:noFill/>
          <a:ln w="9525">
            <a:noFill/>
          </a:ln>
        </p:spPr>
        <p:txBody>
          <a:bodyPr vert="horz" wrap="square" lIns="0" tIns="0" rIns="0" bIns="0" rtlCol="0">
            <a:spAutoFit/>
          </a:bodyPr>
          <a:lstStyle/>
          <a:p>
            <a:pPr algn="l" fontAlgn="base">
              <a:lnSpc>
                <a:spcPct val="90000"/>
              </a:lnSpc>
              <a:spcAft>
                <a:spcPct val="0"/>
              </a:spcAft>
              <a:buSzPct val="100000"/>
            </a:pPr>
            <a:r>
              <a:rPr lang="en-GB" sz="2000" b="1" dirty="0">
                <a:solidFill>
                  <a:schemeClr val="bg1">
                    <a:lumMod val="50000"/>
                  </a:schemeClr>
                </a:solidFill>
                <a:latin typeface="Calibri" charset="0"/>
                <a:ea typeface="Calibri" charset="0"/>
                <a:cs typeface="Calibri" charset="0"/>
                <a:sym typeface="+mn-lt"/>
              </a:rPr>
              <a:t>Finland</a:t>
            </a:r>
          </a:p>
          <a:p>
            <a:pPr marL="98743" lvl="1" indent="-98743" algn="l" fontAlgn="base">
              <a:lnSpc>
                <a:spcPct val="90000"/>
              </a:lnSpc>
              <a:spcAft>
                <a:spcPct val="0"/>
              </a:spcAft>
              <a:buSzPct val="100000"/>
              <a:buFont typeface="Arial Narrow" panose="020B0606020202030204" pitchFamily="34" charset="0"/>
              <a:buChar char="&gt;"/>
            </a:pPr>
            <a:r>
              <a:rPr lang="en-GB" sz="2000" dirty="0">
                <a:solidFill>
                  <a:schemeClr val="bg1">
                    <a:lumMod val="50000"/>
                  </a:schemeClr>
                </a:solidFill>
                <a:latin typeface="Calibri" charset="0"/>
                <a:ea typeface="Calibri" charset="0"/>
                <a:cs typeface="Calibri" charset="0"/>
              </a:rPr>
              <a:t>Kokkola</a:t>
            </a:r>
          </a:p>
        </p:txBody>
      </p:sp>
      <p:sp>
        <p:nvSpPr>
          <p:cNvPr id="750" name="RBContent533"/>
          <p:cNvSpPr txBox="1">
            <a:spLocks/>
          </p:cNvSpPr>
          <p:nvPr/>
        </p:nvSpPr>
        <p:spPr>
          <a:xfrm>
            <a:off x="19569904" y="8997889"/>
            <a:ext cx="3282528" cy="553998"/>
          </a:xfrm>
          <a:prstGeom prst="rect">
            <a:avLst/>
          </a:prstGeom>
          <a:noFill/>
          <a:ln w="9525">
            <a:noFill/>
          </a:ln>
        </p:spPr>
        <p:txBody>
          <a:bodyPr vert="horz" wrap="square" lIns="0" tIns="0" rIns="0" bIns="0" rtlCol="0">
            <a:spAutoFit/>
          </a:bodyPr>
          <a:lstStyle/>
          <a:p>
            <a:pPr algn="l" fontAlgn="base">
              <a:lnSpc>
                <a:spcPct val="90000"/>
              </a:lnSpc>
              <a:spcAft>
                <a:spcPct val="0"/>
              </a:spcAft>
              <a:buSzPct val="100000"/>
            </a:pPr>
            <a:r>
              <a:rPr lang="en-GB" sz="2000" b="1" dirty="0">
                <a:solidFill>
                  <a:schemeClr val="bg1">
                    <a:lumMod val="50000"/>
                  </a:schemeClr>
                </a:solidFill>
                <a:latin typeface="Calibri" charset="0"/>
                <a:ea typeface="Calibri" charset="0"/>
                <a:cs typeface="Calibri" charset="0"/>
                <a:sym typeface="+mn-lt"/>
              </a:rPr>
              <a:t>Romania</a:t>
            </a:r>
          </a:p>
          <a:p>
            <a:pPr marL="98743" lvl="1" indent="-98743" algn="l" fontAlgn="base">
              <a:lnSpc>
                <a:spcPct val="90000"/>
              </a:lnSpc>
              <a:spcAft>
                <a:spcPct val="0"/>
              </a:spcAft>
              <a:buSzPct val="100000"/>
              <a:buFont typeface="Arial Narrow" panose="020B0606020202030204" pitchFamily="34" charset="0"/>
              <a:buChar char="&gt;"/>
            </a:pPr>
            <a:r>
              <a:rPr lang="en-GB" sz="2000" dirty="0">
                <a:solidFill>
                  <a:schemeClr val="bg1">
                    <a:lumMod val="50000"/>
                  </a:schemeClr>
                </a:solidFill>
                <a:latin typeface="Calibri" charset="0"/>
                <a:ea typeface="Calibri" charset="0"/>
                <a:cs typeface="Calibri" charset="0"/>
                <a:sym typeface="+mn-lt"/>
              </a:rPr>
              <a:t>Constanta</a:t>
            </a:r>
          </a:p>
        </p:txBody>
      </p:sp>
      <p:sp>
        <p:nvSpPr>
          <p:cNvPr id="751" name="RBContent533"/>
          <p:cNvSpPr txBox="1">
            <a:spLocks/>
          </p:cNvSpPr>
          <p:nvPr/>
        </p:nvSpPr>
        <p:spPr>
          <a:xfrm>
            <a:off x="15141225" y="3771856"/>
            <a:ext cx="2292009" cy="830997"/>
          </a:xfrm>
          <a:prstGeom prst="rect">
            <a:avLst/>
          </a:prstGeom>
          <a:noFill/>
          <a:ln w="9525">
            <a:noFill/>
          </a:ln>
        </p:spPr>
        <p:txBody>
          <a:bodyPr vert="horz" wrap="square" lIns="0" tIns="0" rIns="0" bIns="0" rtlCol="0">
            <a:spAutoFit/>
          </a:bodyPr>
          <a:lstStyle/>
          <a:p>
            <a:pPr algn="l" fontAlgn="base">
              <a:lnSpc>
                <a:spcPct val="90000"/>
              </a:lnSpc>
              <a:spcAft>
                <a:spcPct val="0"/>
              </a:spcAft>
              <a:buSzPct val="100000"/>
            </a:pPr>
            <a:r>
              <a:rPr lang="en-GB" sz="2000" b="1" dirty="0">
                <a:solidFill>
                  <a:schemeClr val="bg1">
                    <a:lumMod val="50000"/>
                  </a:schemeClr>
                </a:solidFill>
                <a:latin typeface="Calibri" charset="0"/>
                <a:ea typeface="Calibri" charset="0"/>
                <a:cs typeface="Calibri" charset="0"/>
                <a:sym typeface="+mn-lt"/>
              </a:rPr>
              <a:t>Sweden</a:t>
            </a:r>
          </a:p>
          <a:p>
            <a:pPr marL="98743" lvl="1" indent="-98743" algn="l" fontAlgn="base">
              <a:lnSpc>
                <a:spcPct val="90000"/>
              </a:lnSpc>
              <a:spcAft>
                <a:spcPct val="0"/>
              </a:spcAft>
              <a:buSzPct val="100000"/>
              <a:buFont typeface="Arial Narrow" panose="020B0606020202030204" pitchFamily="34" charset="0"/>
              <a:buChar char="&gt;"/>
            </a:pPr>
            <a:r>
              <a:rPr lang="en-GB" sz="2000" dirty="0">
                <a:solidFill>
                  <a:schemeClr val="bg1">
                    <a:lumMod val="50000"/>
                  </a:schemeClr>
                </a:solidFill>
                <a:latin typeface="Calibri" charset="0"/>
                <a:ea typeface="Calibri" charset="0"/>
                <a:cs typeface="Calibri" charset="0"/>
              </a:rPr>
              <a:t>Gavleborg</a:t>
            </a:r>
          </a:p>
          <a:p>
            <a:pPr marL="98743" lvl="1" indent="-98743" algn="l" fontAlgn="base">
              <a:lnSpc>
                <a:spcPct val="90000"/>
              </a:lnSpc>
              <a:spcAft>
                <a:spcPct val="0"/>
              </a:spcAft>
              <a:buSzPct val="100000"/>
              <a:buFont typeface="Arial Narrow" panose="020B0606020202030204" pitchFamily="34" charset="0"/>
              <a:buChar char="&gt;"/>
            </a:pPr>
            <a:r>
              <a:rPr lang="en-GB" sz="2000" dirty="0">
                <a:solidFill>
                  <a:schemeClr val="bg1">
                    <a:lumMod val="50000"/>
                  </a:schemeClr>
                </a:solidFill>
                <a:latin typeface="Calibri" charset="0"/>
                <a:ea typeface="Calibri" charset="0"/>
                <a:cs typeface="Calibri" charset="0"/>
              </a:rPr>
              <a:t>Mariestad</a:t>
            </a:r>
          </a:p>
        </p:txBody>
      </p:sp>
      <p:sp>
        <p:nvSpPr>
          <p:cNvPr id="753" name="RBContent533"/>
          <p:cNvSpPr txBox="1">
            <a:spLocks/>
          </p:cNvSpPr>
          <p:nvPr/>
        </p:nvSpPr>
        <p:spPr>
          <a:xfrm>
            <a:off x="16974190" y="7534988"/>
            <a:ext cx="3282528" cy="553998"/>
          </a:xfrm>
          <a:prstGeom prst="rect">
            <a:avLst/>
          </a:prstGeom>
          <a:noFill/>
          <a:ln w="9525">
            <a:noFill/>
          </a:ln>
        </p:spPr>
        <p:txBody>
          <a:bodyPr vert="horz" wrap="square" lIns="0" tIns="0" rIns="0" bIns="0" rtlCol="0">
            <a:spAutoFit/>
          </a:bodyPr>
          <a:lstStyle/>
          <a:p>
            <a:pPr algn="l" fontAlgn="base">
              <a:lnSpc>
                <a:spcPct val="90000"/>
              </a:lnSpc>
              <a:spcAft>
                <a:spcPct val="0"/>
              </a:spcAft>
              <a:buSzPct val="100000"/>
            </a:pPr>
            <a:r>
              <a:rPr lang="en-GB" sz="2000" b="1" dirty="0">
                <a:solidFill>
                  <a:schemeClr val="bg1">
                    <a:lumMod val="50000"/>
                  </a:schemeClr>
                </a:solidFill>
                <a:latin typeface="Calibri" charset="0"/>
                <a:ea typeface="Calibri" charset="0"/>
                <a:cs typeface="Calibri" charset="0"/>
                <a:sym typeface="+mn-lt"/>
              </a:rPr>
              <a:t>Czech Republic</a:t>
            </a:r>
          </a:p>
          <a:p>
            <a:pPr marL="98743" lvl="1" indent="-98743" algn="l" fontAlgn="base">
              <a:lnSpc>
                <a:spcPct val="90000"/>
              </a:lnSpc>
              <a:spcAft>
                <a:spcPct val="0"/>
              </a:spcAft>
              <a:buSzPct val="100000"/>
              <a:buFont typeface="Arial Narrow" panose="020B0606020202030204" pitchFamily="34" charset="0"/>
              <a:buChar char="&gt;"/>
            </a:pPr>
            <a:r>
              <a:rPr lang="en-GB" sz="2000" dirty="0">
                <a:solidFill>
                  <a:schemeClr val="bg1">
                    <a:lumMod val="50000"/>
                  </a:schemeClr>
                </a:solidFill>
                <a:latin typeface="Calibri" charset="0"/>
                <a:ea typeface="Calibri" charset="0"/>
                <a:cs typeface="Calibri" charset="0"/>
                <a:sym typeface="+mn-lt"/>
              </a:rPr>
              <a:t>Trutnov</a:t>
            </a:r>
          </a:p>
        </p:txBody>
      </p:sp>
      <p:sp>
        <p:nvSpPr>
          <p:cNvPr id="765" name="RBContent533"/>
          <p:cNvSpPr txBox="1">
            <a:spLocks/>
          </p:cNvSpPr>
          <p:nvPr/>
        </p:nvSpPr>
        <p:spPr>
          <a:xfrm>
            <a:off x="19554476" y="10890448"/>
            <a:ext cx="3282528" cy="276999"/>
          </a:xfrm>
          <a:prstGeom prst="rect">
            <a:avLst/>
          </a:prstGeom>
          <a:noFill/>
          <a:ln w="9525">
            <a:noFill/>
          </a:ln>
        </p:spPr>
        <p:txBody>
          <a:bodyPr vert="horz" wrap="square" lIns="0" tIns="0" rIns="0" bIns="0" rtlCol="0">
            <a:spAutoFit/>
          </a:bodyPr>
          <a:lstStyle/>
          <a:p>
            <a:pPr algn="l" fontAlgn="base">
              <a:lnSpc>
                <a:spcPct val="90000"/>
              </a:lnSpc>
              <a:spcAft>
                <a:spcPct val="0"/>
              </a:spcAft>
              <a:buSzPct val="100000"/>
            </a:pPr>
            <a:r>
              <a:rPr lang="en-GB" sz="2000" b="1" dirty="0">
                <a:solidFill>
                  <a:schemeClr val="bg1">
                    <a:lumMod val="50000"/>
                  </a:schemeClr>
                </a:solidFill>
                <a:latin typeface="Calibri" charset="0"/>
                <a:ea typeface="Calibri" charset="0"/>
                <a:cs typeface="Calibri" charset="0"/>
                <a:sym typeface="+mn-lt"/>
              </a:rPr>
              <a:t>Greece</a:t>
            </a:r>
            <a:endParaRPr lang="en-GB" sz="2000" dirty="0">
              <a:solidFill>
                <a:schemeClr val="bg1">
                  <a:lumMod val="50000"/>
                </a:schemeClr>
              </a:solidFill>
              <a:latin typeface="Calibri" charset="0"/>
              <a:ea typeface="Calibri" charset="0"/>
              <a:cs typeface="Calibri" charset="0"/>
            </a:endParaRPr>
          </a:p>
        </p:txBody>
      </p:sp>
      <p:sp>
        <p:nvSpPr>
          <p:cNvPr id="767" name="RBContent533"/>
          <p:cNvSpPr txBox="1">
            <a:spLocks/>
          </p:cNvSpPr>
          <p:nvPr/>
        </p:nvSpPr>
        <p:spPr>
          <a:xfrm>
            <a:off x="21336784" y="11135825"/>
            <a:ext cx="2290109" cy="1384995"/>
          </a:xfrm>
          <a:prstGeom prst="rect">
            <a:avLst/>
          </a:prstGeom>
          <a:noFill/>
          <a:ln w="9525">
            <a:noFill/>
          </a:ln>
        </p:spPr>
        <p:txBody>
          <a:bodyPr vert="horz" wrap="square" lIns="0" tIns="0" rIns="0" bIns="0" rtlCol="0">
            <a:spAutoFit/>
          </a:bodyPr>
          <a:lstStyle/>
          <a:p>
            <a:pPr marL="98743" lvl="1" indent="-98743" algn="l" fontAlgn="base">
              <a:lnSpc>
                <a:spcPct val="90000"/>
              </a:lnSpc>
              <a:spcAft>
                <a:spcPct val="0"/>
              </a:spcAft>
              <a:buSzPct val="100000"/>
              <a:buFont typeface="Arial Narrow" panose="020B0606020202030204" pitchFamily="34" charset="0"/>
              <a:buChar char="&gt;"/>
            </a:pPr>
            <a:r>
              <a:rPr lang="en-GB" sz="2000" dirty="0" smtClean="0">
                <a:solidFill>
                  <a:schemeClr val="bg1">
                    <a:lumMod val="50000"/>
                  </a:schemeClr>
                </a:solidFill>
                <a:latin typeface="Calibri" charset="0"/>
                <a:ea typeface="Calibri" charset="0"/>
                <a:cs typeface="Calibri" charset="0"/>
              </a:rPr>
              <a:t>Kalymnos</a:t>
            </a:r>
          </a:p>
          <a:p>
            <a:pPr marL="98743" lvl="1" indent="-98743" algn="l" fontAlgn="base">
              <a:lnSpc>
                <a:spcPct val="90000"/>
              </a:lnSpc>
              <a:spcAft>
                <a:spcPct val="0"/>
              </a:spcAft>
              <a:buSzPct val="100000"/>
              <a:buFont typeface="Arial Narrow" panose="020B0606020202030204" pitchFamily="34" charset="0"/>
              <a:buChar char="&gt;"/>
            </a:pPr>
            <a:r>
              <a:rPr lang="en-GB" sz="2000" dirty="0" smtClean="0">
                <a:solidFill>
                  <a:schemeClr val="bg1">
                    <a:lumMod val="50000"/>
                  </a:schemeClr>
                </a:solidFill>
                <a:latin typeface="Calibri" charset="0"/>
                <a:ea typeface="Calibri" charset="0"/>
                <a:cs typeface="Calibri" charset="0"/>
              </a:rPr>
              <a:t>Heraklion</a:t>
            </a:r>
            <a:endParaRPr lang="en-GB" sz="2000" dirty="0">
              <a:solidFill>
                <a:schemeClr val="bg1">
                  <a:lumMod val="50000"/>
                </a:schemeClr>
              </a:solidFill>
              <a:latin typeface="Calibri" charset="0"/>
              <a:ea typeface="Calibri" charset="0"/>
              <a:cs typeface="Calibri" charset="0"/>
            </a:endParaRPr>
          </a:p>
          <a:p>
            <a:pPr marL="98743" lvl="1" indent="-98743" algn="l" fontAlgn="base">
              <a:lnSpc>
                <a:spcPct val="90000"/>
              </a:lnSpc>
              <a:spcAft>
                <a:spcPct val="0"/>
              </a:spcAft>
              <a:buSzPct val="100000"/>
              <a:buFont typeface="Arial Narrow" panose="020B0606020202030204" pitchFamily="34" charset="0"/>
              <a:buChar char="&gt;"/>
            </a:pPr>
            <a:r>
              <a:rPr lang="en-GB" sz="2000" dirty="0">
                <a:solidFill>
                  <a:schemeClr val="bg1">
                    <a:lumMod val="50000"/>
                  </a:schemeClr>
                </a:solidFill>
                <a:latin typeface="Calibri" charset="0"/>
                <a:ea typeface="Calibri" charset="0"/>
                <a:cs typeface="Calibri" charset="0"/>
              </a:rPr>
              <a:t>Western Macedonia</a:t>
            </a:r>
          </a:p>
          <a:p>
            <a:pPr marL="98743" lvl="1" indent="-98743" algn="l" fontAlgn="base">
              <a:lnSpc>
                <a:spcPct val="90000"/>
              </a:lnSpc>
              <a:spcAft>
                <a:spcPct val="0"/>
              </a:spcAft>
              <a:buSzPct val="100000"/>
              <a:buFont typeface="Arial Narrow" panose="020B0606020202030204" pitchFamily="34" charset="0"/>
              <a:buChar char="&gt;"/>
            </a:pPr>
            <a:r>
              <a:rPr lang="en-GB" sz="2000" dirty="0">
                <a:solidFill>
                  <a:schemeClr val="bg1">
                    <a:lumMod val="50000"/>
                  </a:schemeClr>
                </a:solidFill>
                <a:latin typeface="Calibri" charset="0"/>
                <a:ea typeface="Calibri" charset="0"/>
                <a:cs typeface="Calibri" charset="0"/>
              </a:rPr>
              <a:t>Papagoou-Halargos</a:t>
            </a:r>
          </a:p>
          <a:p>
            <a:pPr marL="98743" lvl="1" indent="-98743" algn="l" fontAlgn="base">
              <a:lnSpc>
                <a:spcPct val="90000"/>
              </a:lnSpc>
              <a:spcAft>
                <a:spcPct val="0"/>
              </a:spcAft>
              <a:buSzPct val="100000"/>
              <a:buFont typeface="Arial Narrow" panose="020B0606020202030204" pitchFamily="34" charset="0"/>
              <a:buChar char="&gt;"/>
            </a:pPr>
            <a:r>
              <a:rPr lang="en-GB" sz="2000" dirty="0">
                <a:solidFill>
                  <a:schemeClr val="bg1">
                    <a:lumMod val="50000"/>
                  </a:schemeClr>
                </a:solidFill>
                <a:latin typeface="Calibri" charset="0"/>
                <a:ea typeface="Calibri" charset="0"/>
                <a:cs typeface="Calibri" charset="0"/>
              </a:rPr>
              <a:t>Region of Crete</a:t>
            </a:r>
          </a:p>
        </p:txBody>
      </p:sp>
      <p:sp>
        <p:nvSpPr>
          <p:cNvPr id="768" name="RBContent533"/>
          <p:cNvSpPr txBox="1">
            <a:spLocks/>
          </p:cNvSpPr>
          <p:nvPr/>
        </p:nvSpPr>
        <p:spPr>
          <a:xfrm>
            <a:off x="19554474" y="11135825"/>
            <a:ext cx="2866914" cy="1661993"/>
          </a:xfrm>
          <a:prstGeom prst="rect">
            <a:avLst/>
          </a:prstGeom>
          <a:noFill/>
          <a:ln w="9525">
            <a:noFill/>
          </a:ln>
        </p:spPr>
        <p:txBody>
          <a:bodyPr vert="horz" wrap="square" lIns="0" tIns="0" rIns="0" bIns="0" rtlCol="0">
            <a:spAutoFit/>
          </a:bodyPr>
          <a:lstStyle/>
          <a:p>
            <a:pPr marL="98743" lvl="1" indent="-98743" algn="l" fontAlgn="base">
              <a:lnSpc>
                <a:spcPct val="90000"/>
              </a:lnSpc>
              <a:spcAft>
                <a:spcPct val="0"/>
              </a:spcAft>
              <a:buSzPct val="100000"/>
              <a:buFont typeface="Arial Narrow" panose="020B0606020202030204" pitchFamily="34" charset="0"/>
              <a:buChar char="&gt;"/>
            </a:pPr>
            <a:r>
              <a:rPr lang="en-GB" sz="2000" dirty="0">
                <a:solidFill>
                  <a:schemeClr val="bg1">
                    <a:lumMod val="50000"/>
                  </a:schemeClr>
                </a:solidFill>
                <a:latin typeface="Calibri" charset="0"/>
                <a:ea typeface="Calibri" charset="0"/>
                <a:cs typeface="Calibri" charset="0"/>
              </a:rPr>
              <a:t>Alimos</a:t>
            </a:r>
          </a:p>
          <a:p>
            <a:pPr marL="98743" lvl="1" indent="-98743" algn="l" fontAlgn="base">
              <a:lnSpc>
                <a:spcPct val="90000"/>
              </a:lnSpc>
              <a:spcAft>
                <a:spcPct val="0"/>
              </a:spcAft>
              <a:buSzPct val="100000"/>
              <a:buFont typeface="Arial Narrow" panose="020B0606020202030204" pitchFamily="34" charset="0"/>
              <a:buChar char="&gt;"/>
            </a:pPr>
            <a:r>
              <a:rPr lang="en-GB" sz="2000" dirty="0">
                <a:solidFill>
                  <a:schemeClr val="bg1">
                    <a:lumMod val="50000"/>
                  </a:schemeClr>
                </a:solidFill>
                <a:latin typeface="Calibri" charset="0"/>
                <a:ea typeface="Calibri" charset="0"/>
                <a:cs typeface="Calibri" charset="0"/>
              </a:rPr>
              <a:t>Agia Paraskevi</a:t>
            </a:r>
          </a:p>
          <a:p>
            <a:pPr marL="98743" lvl="1" indent="-98743" algn="l" fontAlgn="base">
              <a:lnSpc>
                <a:spcPct val="90000"/>
              </a:lnSpc>
              <a:spcAft>
                <a:spcPct val="0"/>
              </a:spcAft>
              <a:buSzPct val="100000"/>
              <a:buFont typeface="Arial Narrow" panose="020B0606020202030204" pitchFamily="34" charset="0"/>
              <a:buChar char="&gt;"/>
            </a:pPr>
            <a:r>
              <a:rPr lang="en-GB" sz="2000" dirty="0" err="1" smtClean="0">
                <a:solidFill>
                  <a:schemeClr val="bg1">
                    <a:lumMod val="50000"/>
                  </a:schemeClr>
                </a:solidFill>
                <a:latin typeface="Calibri" charset="0"/>
                <a:ea typeface="Calibri" charset="0"/>
                <a:cs typeface="Calibri" charset="0"/>
              </a:rPr>
              <a:t>Ierapetra</a:t>
            </a:r>
            <a:endParaRPr lang="en-GB" sz="2000" dirty="0" smtClean="0">
              <a:solidFill>
                <a:schemeClr val="bg1">
                  <a:lumMod val="50000"/>
                </a:schemeClr>
              </a:solidFill>
              <a:latin typeface="Calibri" charset="0"/>
              <a:ea typeface="Calibri" charset="0"/>
              <a:cs typeface="Calibri" charset="0"/>
            </a:endParaRPr>
          </a:p>
          <a:p>
            <a:pPr marL="98743" lvl="1" indent="-98743" algn="l" fontAlgn="base">
              <a:lnSpc>
                <a:spcPct val="90000"/>
              </a:lnSpc>
              <a:spcAft>
                <a:spcPct val="0"/>
              </a:spcAft>
              <a:buSzPct val="100000"/>
              <a:buFont typeface="Arial Narrow" panose="020B0606020202030204" pitchFamily="34" charset="0"/>
              <a:buChar char="&gt;"/>
            </a:pPr>
            <a:r>
              <a:rPr lang="en-GB" sz="2000" dirty="0" err="1" smtClean="0">
                <a:solidFill>
                  <a:schemeClr val="bg1">
                    <a:lumMod val="50000"/>
                  </a:schemeClr>
                </a:solidFill>
                <a:latin typeface="Calibri" charset="0"/>
                <a:ea typeface="Calibri" charset="0"/>
                <a:cs typeface="Calibri" charset="0"/>
              </a:rPr>
              <a:t>Kozani</a:t>
            </a:r>
            <a:endParaRPr lang="en-GB" sz="2000" dirty="0">
              <a:solidFill>
                <a:schemeClr val="bg1">
                  <a:lumMod val="50000"/>
                </a:schemeClr>
              </a:solidFill>
              <a:latin typeface="Calibri" charset="0"/>
              <a:ea typeface="Calibri" charset="0"/>
              <a:cs typeface="Calibri" charset="0"/>
            </a:endParaRPr>
          </a:p>
          <a:p>
            <a:pPr marL="98743" lvl="1" indent="-98743" algn="l" fontAlgn="base">
              <a:lnSpc>
                <a:spcPct val="90000"/>
              </a:lnSpc>
              <a:spcAft>
                <a:spcPct val="0"/>
              </a:spcAft>
              <a:buSzPct val="100000"/>
              <a:buFont typeface="Arial Narrow" panose="020B0606020202030204" pitchFamily="34" charset="0"/>
              <a:buChar char="&gt;"/>
            </a:pPr>
            <a:r>
              <a:rPr lang="en-GB" sz="2000" dirty="0">
                <a:solidFill>
                  <a:schemeClr val="bg1">
                    <a:lumMod val="50000"/>
                  </a:schemeClr>
                </a:solidFill>
                <a:latin typeface="Calibri" charset="0"/>
                <a:ea typeface="Calibri" charset="0"/>
                <a:cs typeface="Calibri" charset="0"/>
              </a:rPr>
              <a:t>Milos</a:t>
            </a:r>
          </a:p>
          <a:p>
            <a:pPr marL="98743" lvl="1" indent="-98743" algn="l" fontAlgn="base">
              <a:lnSpc>
                <a:spcPct val="90000"/>
              </a:lnSpc>
              <a:spcAft>
                <a:spcPct val="0"/>
              </a:spcAft>
              <a:buSzPct val="100000"/>
              <a:buFont typeface="Arial Narrow" panose="020B0606020202030204" pitchFamily="34" charset="0"/>
              <a:buChar char="&gt;"/>
            </a:pPr>
            <a:r>
              <a:rPr lang="en-GB" sz="2000" dirty="0">
                <a:solidFill>
                  <a:schemeClr val="bg1">
                    <a:lumMod val="50000"/>
                  </a:schemeClr>
                </a:solidFill>
                <a:latin typeface="Calibri" charset="0"/>
                <a:ea typeface="Calibri" charset="0"/>
                <a:cs typeface="Calibri" charset="0"/>
              </a:rPr>
              <a:t>Vrilissia</a:t>
            </a:r>
          </a:p>
        </p:txBody>
      </p:sp>
      <p:sp>
        <p:nvSpPr>
          <p:cNvPr id="773" name="RBContent533"/>
          <p:cNvSpPr txBox="1">
            <a:spLocks/>
          </p:cNvSpPr>
          <p:nvPr/>
        </p:nvSpPr>
        <p:spPr>
          <a:xfrm>
            <a:off x="14825301" y="6265474"/>
            <a:ext cx="2292009" cy="553998"/>
          </a:xfrm>
          <a:prstGeom prst="rect">
            <a:avLst/>
          </a:prstGeom>
          <a:noFill/>
          <a:ln w="9525">
            <a:noFill/>
          </a:ln>
        </p:spPr>
        <p:txBody>
          <a:bodyPr vert="horz" wrap="square" lIns="0" tIns="0" rIns="0" bIns="0" rtlCol="0">
            <a:spAutoFit/>
          </a:bodyPr>
          <a:lstStyle/>
          <a:p>
            <a:pPr algn="l" fontAlgn="base">
              <a:lnSpc>
                <a:spcPct val="90000"/>
              </a:lnSpc>
              <a:spcAft>
                <a:spcPct val="0"/>
              </a:spcAft>
              <a:buSzPct val="100000"/>
            </a:pPr>
            <a:r>
              <a:rPr lang="en-GB" sz="2000" b="1" dirty="0">
                <a:solidFill>
                  <a:schemeClr val="bg1">
                    <a:lumMod val="50000"/>
                  </a:schemeClr>
                </a:solidFill>
                <a:latin typeface="Calibri" charset="0"/>
                <a:ea typeface="Calibri" charset="0"/>
                <a:cs typeface="Calibri" charset="0"/>
                <a:sym typeface="+mn-lt"/>
              </a:rPr>
              <a:t>Estonia</a:t>
            </a:r>
          </a:p>
          <a:p>
            <a:pPr marL="98743" lvl="1" indent="-98743" algn="l" fontAlgn="base">
              <a:lnSpc>
                <a:spcPct val="90000"/>
              </a:lnSpc>
              <a:spcAft>
                <a:spcPct val="0"/>
              </a:spcAft>
              <a:buSzPct val="100000"/>
              <a:buFont typeface="Arial Narrow" panose="020B0606020202030204" pitchFamily="34" charset="0"/>
              <a:buChar char="&gt;"/>
            </a:pPr>
            <a:r>
              <a:rPr lang="en-GB" sz="2000" dirty="0">
                <a:solidFill>
                  <a:schemeClr val="bg1">
                    <a:lumMod val="50000"/>
                  </a:schemeClr>
                </a:solidFill>
                <a:latin typeface="Calibri" charset="0"/>
                <a:ea typeface="Calibri" charset="0"/>
                <a:cs typeface="Calibri" charset="0"/>
                <a:sym typeface="+mn-lt"/>
              </a:rPr>
              <a:t>Tallinn</a:t>
            </a:r>
          </a:p>
        </p:txBody>
      </p:sp>
      <p:grpSp>
        <p:nvGrpSpPr>
          <p:cNvPr id="774" name="Group 773"/>
          <p:cNvGrpSpPr/>
          <p:nvPr/>
        </p:nvGrpSpPr>
        <p:grpSpPr>
          <a:xfrm>
            <a:off x="19555523" y="3695316"/>
            <a:ext cx="4071368" cy="2492990"/>
            <a:chOff x="7363154" y="1718267"/>
            <a:chExt cx="1980870" cy="4683120"/>
          </a:xfrm>
        </p:grpSpPr>
        <p:sp>
          <p:nvSpPr>
            <p:cNvPr id="776" name="RBContent533"/>
            <p:cNvSpPr txBox="1">
              <a:spLocks/>
            </p:cNvSpPr>
            <p:nvPr/>
          </p:nvSpPr>
          <p:spPr>
            <a:xfrm>
              <a:off x="8355189" y="1869576"/>
              <a:ext cx="988835" cy="3642426"/>
            </a:xfrm>
            <a:prstGeom prst="rect">
              <a:avLst/>
            </a:prstGeom>
            <a:noFill/>
            <a:ln w="9525">
              <a:noFill/>
            </a:ln>
          </p:spPr>
          <p:txBody>
            <a:bodyPr vert="horz" wrap="square" lIns="0" tIns="0" rIns="0" bIns="0" rtlCol="0">
              <a:spAutoFit/>
            </a:bodyPr>
            <a:lstStyle/>
            <a:p>
              <a:pPr marL="98743" lvl="1" indent="-98743" algn="l" fontAlgn="base">
                <a:lnSpc>
                  <a:spcPct val="90000"/>
                </a:lnSpc>
                <a:spcAft>
                  <a:spcPct val="0"/>
                </a:spcAft>
                <a:buSzPct val="100000"/>
                <a:buFont typeface="Arial Narrow" panose="020B0606020202030204" pitchFamily="34" charset="0"/>
                <a:buChar char="&gt;"/>
              </a:pPr>
              <a:r>
                <a:rPr lang="en-GB" sz="2000" dirty="0">
                  <a:solidFill>
                    <a:schemeClr val="bg1">
                      <a:lumMod val="50000"/>
                    </a:schemeClr>
                  </a:solidFill>
                  <a:latin typeface="Calibri" charset="0"/>
                  <a:ea typeface="Calibri" charset="0"/>
                  <a:cs typeface="Calibri" charset="0"/>
                </a:rPr>
                <a:t>North Rhine- Westphalia</a:t>
              </a:r>
            </a:p>
            <a:p>
              <a:pPr marL="98743" lvl="1" indent="-98743" algn="l" fontAlgn="base">
                <a:lnSpc>
                  <a:spcPct val="90000"/>
                </a:lnSpc>
                <a:spcAft>
                  <a:spcPct val="0"/>
                </a:spcAft>
                <a:buSzPct val="100000"/>
                <a:buFont typeface="Arial Narrow" panose="020B0606020202030204" pitchFamily="34" charset="0"/>
                <a:buChar char="&gt;"/>
              </a:pPr>
              <a:r>
                <a:rPr lang="en-GB" sz="2000" dirty="0" err="1" smtClean="0">
                  <a:solidFill>
                    <a:schemeClr val="bg1">
                      <a:lumMod val="50000"/>
                    </a:schemeClr>
                  </a:solidFill>
                  <a:latin typeface="Calibri" charset="0"/>
                  <a:ea typeface="Calibri" charset="0"/>
                  <a:cs typeface="Calibri" charset="0"/>
                </a:rPr>
                <a:t>Heide</a:t>
              </a:r>
              <a:r>
                <a:rPr lang="en-GB" sz="2000" dirty="0" smtClean="0">
                  <a:solidFill>
                    <a:schemeClr val="bg1">
                      <a:lumMod val="50000"/>
                    </a:schemeClr>
                  </a:solidFill>
                  <a:latin typeface="Calibri" charset="0"/>
                  <a:ea typeface="Calibri" charset="0"/>
                  <a:cs typeface="Calibri" charset="0"/>
                </a:rPr>
                <a:t> </a:t>
              </a:r>
              <a:r>
                <a:rPr lang="en-GB" sz="2000" dirty="0">
                  <a:solidFill>
                    <a:schemeClr val="bg1">
                      <a:lumMod val="50000"/>
                    </a:schemeClr>
                  </a:solidFill>
                  <a:latin typeface="Calibri" charset="0"/>
                  <a:ea typeface="Calibri" charset="0"/>
                  <a:cs typeface="Calibri" charset="0"/>
                </a:rPr>
                <a:t>region</a:t>
              </a:r>
            </a:p>
            <a:p>
              <a:pPr marL="98743" lvl="1" indent="-98743" algn="l" fontAlgn="base">
                <a:lnSpc>
                  <a:spcPct val="90000"/>
                </a:lnSpc>
                <a:spcAft>
                  <a:spcPct val="0"/>
                </a:spcAft>
                <a:buSzPct val="100000"/>
                <a:buFont typeface="Arial Narrow" panose="020B0606020202030204" pitchFamily="34" charset="0"/>
                <a:buChar char="&gt;"/>
              </a:pPr>
              <a:r>
                <a:rPr lang="en-GB" sz="2000" dirty="0">
                  <a:solidFill>
                    <a:schemeClr val="bg1">
                      <a:lumMod val="50000"/>
                    </a:schemeClr>
                  </a:solidFill>
                  <a:latin typeface="Calibri" charset="0"/>
                  <a:ea typeface="Calibri" charset="0"/>
                  <a:cs typeface="Calibri" charset="0"/>
                </a:rPr>
                <a:t>HYPOS (East Germany</a:t>
              </a:r>
              <a:r>
                <a:rPr lang="en-GB" sz="2000" dirty="0" smtClean="0">
                  <a:solidFill>
                    <a:schemeClr val="bg1">
                      <a:lumMod val="50000"/>
                    </a:schemeClr>
                  </a:solidFill>
                  <a:latin typeface="Calibri" charset="0"/>
                  <a:ea typeface="Calibri" charset="0"/>
                  <a:cs typeface="Calibri" charset="0"/>
                </a:rPr>
                <a:t>)</a:t>
              </a:r>
            </a:p>
            <a:p>
              <a:pPr marL="98743" lvl="1" indent="-98743" algn="l" fontAlgn="base">
                <a:lnSpc>
                  <a:spcPct val="90000"/>
                </a:lnSpc>
                <a:spcAft>
                  <a:spcPct val="0"/>
                </a:spcAft>
                <a:buSzPct val="100000"/>
                <a:buFont typeface="Arial Narrow" panose="020B0606020202030204" pitchFamily="34" charset="0"/>
                <a:buChar char="&gt;"/>
              </a:pPr>
              <a:r>
                <a:rPr lang="en-GB" sz="2000" dirty="0" smtClean="0">
                  <a:solidFill>
                    <a:schemeClr val="bg1">
                      <a:lumMod val="50000"/>
                    </a:schemeClr>
                  </a:solidFill>
                  <a:latin typeface="Calibri" charset="0"/>
                  <a:ea typeface="Calibri" charset="0"/>
                  <a:cs typeface="Calibri" charset="0"/>
                </a:rPr>
                <a:t>Recklinghausen</a:t>
              </a:r>
              <a:endParaRPr lang="en-GB" sz="2000" dirty="0">
                <a:solidFill>
                  <a:schemeClr val="bg1">
                    <a:lumMod val="50000"/>
                  </a:schemeClr>
                </a:solidFill>
                <a:latin typeface="Calibri" charset="0"/>
                <a:ea typeface="Calibri" charset="0"/>
                <a:cs typeface="Calibri" charset="0"/>
              </a:endParaRPr>
            </a:p>
            <a:p>
              <a:pPr marL="98743" lvl="1" indent="-98743" algn="l" fontAlgn="base">
                <a:lnSpc>
                  <a:spcPct val="90000"/>
                </a:lnSpc>
                <a:spcAft>
                  <a:spcPct val="0"/>
                </a:spcAft>
                <a:buSzPct val="100000"/>
                <a:buFont typeface="Arial Narrow" panose="020B0606020202030204" pitchFamily="34" charset="0"/>
                <a:buChar char="&gt;"/>
              </a:pPr>
              <a:r>
                <a:rPr lang="en-GB" sz="2000" dirty="0">
                  <a:solidFill>
                    <a:schemeClr val="bg1">
                      <a:lumMod val="50000"/>
                    </a:schemeClr>
                  </a:solidFill>
                  <a:latin typeface="Calibri" charset="0"/>
                  <a:ea typeface="Calibri" charset="0"/>
                  <a:cs typeface="Calibri" charset="0"/>
                </a:rPr>
                <a:t>Saxony-Anhalt</a:t>
              </a:r>
            </a:p>
          </p:txBody>
        </p:sp>
        <p:sp>
          <p:nvSpPr>
            <p:cNvPr id="777" name="JoinText478"/>
            <p:cNvSpPr txBox="1">
              <a:spLocks/>
            </p:cNvSpPr>
            <p:nvPr/>
          </p:nvSpPr>
          <p:spPr>
            <a:xfrm>
              <a:off x="7363154" y="1718267"/>
              <a:ext cx="952500" cy="4683120"/>
            </a:xfrm>
            <a:prstGeom prst="rect">
              <a:avLst/>
            </a:prstGeom>
            <a:noFill/>
            <a:ln w="9525">
              <a:noFill/>
            </a:ln>
          </p:spPr>
          <p:txBody>
            <a:bodyPr vert="horz" wrap="square" lIns="0" tIns="0" rIns="0" bIns="0" rtlCol="0">
              <a:spAutoFit/>
            </a:bodyPr>
            <a:lstStyle/>
            <a:p>
              <a:pPr algn="l" fontAlgn="base">
                <a:lnSpc>
                  <a:spcPct val="90000"/>
                </a:lnSpc>
                <a:spcAft>
                  <a:spcPct val="0"/>
                </a:spcAft>
                <a:buSzPct val="100000"/>
              </a:pPr>
              <a:r>
                <a:rPr lang="en-GB" sz="2000" b="1" dirty="0">
                  <a:solidFill>
                    <a:schemeClr val="bg1">
                      <a:lumMod val="50000"/>
                    </a:schemeClr>
                  </a:solidFill>
                  <a:latin typeface="Calibri" charset="0"/>
                  <a:ea typeface="Calibri" charset="0"/>
                  <a:cs typeface="Calibri" charset="0"/>
                  <a:sym typeface="+mn-lt"/>
                </a:rPr>
                <a:t>Germany</a:t>
              </a:r>
            </a:p>
            <a:p>
              <a:pPr marL="98743" lvl="1" indent="-98743" algn="l" fontAlgn="base">
                <a:lnSpc>
                  <a:spcPct val="90000"/>
                </a:lnSpc>
                <a:spcAft>
                  <a:spcPct val="0"/>
                </a:spcAft>
                <a:buSzPct val="100000"/>
                <a:buFont typeface="Arial Narrow"/>
                <a:buChar char="&gt;"/>
              </a:pPr>
              <a:r>
                <a:rPr lang="en-GB" sz="2000" dirty="0">
                  <a:solidFill>
                    <a:schemeClr val="bg1">
                      <a:lumMod val="50000"/>
                    </a:schemeClr>
                  </a:solidFill>
                  <a:latin typeface="Calibri" charset="0"/>
                  <a:ea typeface="Calibri" charset="0"/>
                  <a:cs typeface="Calibri" charset="0"/>
                  <a:sym typeface="+mn-lt"/>
                </a:rPr>
                <a:t>Baden-Württemberg</a:t>
              </a:r>
            </a:p>
            <a:p>
              <a:pPr marL="98743" lvl="1" indent="-98743" algn="l" fontAlgn="base">
                <a:lnSpc>
                  <a:spcPct val="90000"/>
                </a:lnSpc>
                <a:spcAft>
                  <a:spcPct val="0"/>
                </a:spcAft>
                <a:buSzPct val="100000"/>
                <a:buFont typeface="Arial Narrow"/>
                <a:buChar char="&gt;"/>
              </a:pPr>
              <a:r>
                <a:rPr lang="en-GB" sz="2000" dirty="0">
                  <a:solidFill>
                    <a:schemeClr val="bg1">
                      <a:lumMod val="50000"/>
                    </a:schemeClr>
                  </a:solidFill>
                  <a:latin typeface="Calibri" charset="0"/>
                  <a:ea typeface="Calibri" charset="0"/>
                  <a:cs typeface="Calibri" charset="0"/>
                  <a:sym typeface="+mn-lt"/>
                </a:rPr>
                <a:t>Bremerhaven</a:t>
              </a:r>
            </a:p>
            <a:p>
              <a:pPr marL="98743" lvl="1" indent="-98743" algn="l" fontAlgn="base">
                <a:lnSpc>
                  <a:spcPct val="90000"/>
                </a:lnSpc>
                <a:spcAft>
                  <a:spcPct val="0"/>
                </a:spcAft>
                <a:buSzPct val="100000"/>
                <a:buFont typeface="Arial Narrow"/>
                <a:buChar char="&gt;"/>
              </a:pPr>
              <a:r>
                <a:rPr lang="en-GB" sz="2000" dirty="0">
                  <a:solidFill>
                    <a:schemeClr val="bg1">
                      <a:lumMod val="50000"/>
                    </a:schemeClr>
                  </a:solidFill>
                  <a:latin typeface="Calibri" charset="0"/>
                  <a:ea typeface="Calibri" charset="0"/>
                  <a:cs typeface="Calibri" charset="0"/>
                  <a:sym typeface="+mn-lt"/>
                </a:rPr>
                <a:t>Hamburg</a:t>
              </a:r>
            </a:p>
            <a:p>
              <a:pPr marL="98743" lvl="1" indent="-98743" algn="l" fontAlgn="base">
                <a:lnSpc>
                  <a:spcPct val="90000"/>
                </a:lnSpc>
                <a:spcAft>
                  <a:spcPct val="0"/>
                </a:spcAft>
                <a:buSzPct val="100000"/>
                <a:buFont typeface="Arial Narrow"/>
                <a:buChar char="&gt;"/>
              </a:pPr>
              <a:r>
                <a:rPr lang="en-GB" sz="2000" dirty="0">
                  <a:solidFill>
                    <a:schemeClr val="bg1">
                      <a:lumMod val="50000"/>
                    </a:schemeClr>
                  </a:solidFill>
                  <a:latin typeface="Calibri" charset="0"/>
                  <a:ea typeface="Calibri" charset="0"/>
                  <a:cs typeface="Calibri" charset="0"/>
                  <a:sym typeface="+mn-lt"/>
                </a:rPr>
                <a:t>HyCologne- Hydrogen Region Rhineland</a:t>
              </a:r>
            </a:p>
            <a:p>
              <a:pPr marL="98743" lvl="1" indent="-98743" algn="l" fontAlgn="base">
                <a:lnSpc>
                  <a:spcPct val="90000"/>
                </a:lnSpc>
                <a:spcAft>
                  <a:spcPct val="0"/>
                </a:spcAft>
                <a:buSzPct val="100000"/>
                <a:buFont typeface="Arial Narrow"/>
                <a:buChar char="&gt;"/>
              </a:pPr>
              <a:r>
                <a:rPr lang="en-GB" sz="2000" dirty="0" err="1">
                  <a:solidFill>
                    <a:schemeClr val="bg1">
                      <a:lumMod val="50000"/>
                    </a:schemeClr>
                  </a:solidFill>
                  <a:latin typeface="Calibri" charset="0"/>
                  <a:ea typeface="Calibri" charset="0"/>
                  <a:cs typeface="Calibri" charset="0"/>
                  <a:sym typeface="+mn-lt"/>
                </a:rPr>
                <a:t>Kreis</a:t>
              </a:r>
              <a:r>
                <a:rPr lang="en-GB" sz="2000" dirty="0">
                  <a:solidFill>
                    <a:schemeClr val="bg1">
                      <a:lumMod val="50000"/>
                    </a:schemeClr>
                  </a:solidFill>
                  <a:latin typeface="Calibri" charset="0"/>
                  <a:ea typeface="Calibri" charset="0"/>
                  <a:cs typeface="Calibri" charset="0"/>
                  <a:sym typeface="+mn-lt"/>
                </a:rPr>
                <a:t> </a:t>
              </a:r>
              <a:r>
                <a:rPr lang="en-GB" sz="2000" dirty="0" err="1" smtClean="0">
                  <a:solidFill>
                    <a:schemeClr val="bg1">
                      <a:lumMod val="50000"/>
                    </a:schemeClr>
                  </a:solidFill>
                  <a:latin typeface="Calibri" charset="0"/>
                  <a:ea typeface="Calibri" charset="0"/>
                  <a:cs typeface="Calibri" charset="0"/>
                  <a:sym typeface="+mn-lt"/>
                </a:rPr>
                <a:t>Steinfurt</a:t>
              </a:r>
              <a:endParaRPr lang="en-GB" sz="2000" dirty="0">
                <a:solidFill>
                  <a:schemeClr val="bg1">
                    <a:lumMod val="50000"/>
                  </a:schemeClr>
                </a:solidFill>
                <a:latin typeface="Calibri" charset="0"/>
                <a:ea typeface="Calibri" charset="0"/>
                <a:cs typeface="Calibri" charset="0"/>
                <a:sym typeface="+mn-lt"/>
              </a:endParaRPr>
            </a:p>
          </p:txBody>
        </p:sp>
      </p:grpSp>
      <p:pic>
        <p:nvPicPr>
          <p:cNvPr id="799" name="Picture 798" descr="d:\Documents and settings\Marc_Robisch\Desktop\Flaggen_gross\be-lgflag.gif"/>
          <p:cNvPicPr>
            <a:picLocks noChangeAspect="1" noChangeArrowheads="1"/>
          </p:cNvPicPr>
          <p:nvPr>
            <p:custDataLst>
              <p:tags r:id="rId1"/>
            </p:custDataLst>
          </p:nvPr>
        </p:nvPicPr>
        <p:blipFill>
          <a:blip r:embed="rId17" cstate="email">
            <a:extLst>
              <a:ext uri="{28A0092B-C50C-407E-A947-70E740481C1C}">
                <a14:useLocalDpi xmlns:a14="http://schemas.microsoft.com/office/drawing/2010/main"/>
              </a:ext>
            </a:extLst>
          </a:blip>
          <a:srcRect l="1006" t="1104" r="1102" b="1104"/>
          <a:stretch>
            <a:fillRect/>
          </a:stretch>
        </p:blipFill>
        <p:spPr bwMode="auto">
          <a:xfrm>
            <a:off x="790803" y="3758710"/>
            <a:ext cx="304698" cy="152349"/>
          </a:xfrm>
          <a:prstGeom prst="rect">
            <a:avLst/>
          </a:prstGeom>
          <a:noFill/>
        </p:spPr>
      </p:pic>
      <p:pic>
        <p:nvPicPr>
          <p:cNvPr id="800" name="Picture 799" descr="d:\Documents and settings\Marc_Robisch\Desktop\Flaggen_gross\ic-lgflag.gif"/>
          <p:cNvPicPr>
            <a:picLocks noChangeAspect="1" noChangeArrowheads="1"/>
          </p:cNvPicPr>
          <p:nvPr>
            <p:custDataLst>
              <p:tags r:id="rId2"/>
            </p:custDataLst>
          </p:nvPr>
        </p:nvPicPr>
        <p:blipFill>
          <a:blip r:embed="rId18" cstate="email">
            <a:extLst>
              <a:ext uri="{28A0092B-C50C-407E-A947-70E740481C1C}">
                <a14:useLocalDpi xmlns:a14="http://schemas.microsoft.com/office/drawing/2010/main"/>
              </a:ext>
            </a:extLst>
          </a:blip>
          <a:srcRect/>
          <a:stretch>
            <a:fillRect/>
          </a:stretch>
        </p:blipFill>
        <p:spPr bwMode="auto">
          <a:xfrm>
            <a:off x="8026529" y="6188306"/>
            <a:ext cx="231163" cy="152349"/>
          </a:xfrm>
          <a:prstGeom prst="rect">
            <a:avLst/>
          </a:prstGeom>
          <a:noFill/>
        </p:spPr>
      </p:pic>
      <p:pic>
        <p:nvPicPr>
          <p:cNvPr id="801" name="Picture 800" descr="d:\Documents and settings\Marc_Robisch\Desktop\Flaggen_gross\uk-lgflag.gif"/>
          <p:cNvPicPr>
            <a:picLocks noChangeAspect="1" noChangeArrowheads="1"/>
          </p:cNvPicPr>
          <p:nvPr/>
        </p:nvPicPr>
        <p:blipFill>
          <a:blip r:embed="rId19" cstate="email">
            <a:extLst>
              <a:ext uri="{28A0092B-C50C-407E-A947-70E740481C1C}">
                <a14:useLocalDpi xmlns:a14="http://schemas.microsoft.com/office/drawing/2010/main"/>
              </a:ext>
            </a:extLst>
          </a:blip>
          <a:srcRect l="514" t="787" r="470" b="852"/>
          <a:stretch>
            <a:fillRect/>
          </a:stretch>
        </p:blipFill>
        <p:spPr bwMode="auto">
          <a:xfrm>
            <a:off x="2598055" y="3734004"/>
            <a:ext cx="304698" cy="152349"/>
          </a:xfrm>
          <a:prstGeom prst="rect">
            <a:avLst/>
          </a:prstGeom>
          <a:noFill/>
        </p:spPr>
      </p:pic>
      <p:pic>
        <p:nvPicPr>
          <p:cNvPr id="802" name="Picture 801" descr="d:\Documents and settings\Marc_Robisch\Desktop\Flaggen_gross\fr-lgflag.gif"/>
          <p:cNvPicPr>
            <a:picLocks noChangeAspect="1" noChangeArrowheads="1"/>
          </p:cNvPicPr>
          <p:nvPr>
            <p:custDataLst>
              <p:tags r:id="rId3"/>
            </p:custDataLst>
          </p:nvPr>
        </p:nvPicPr>
        <p:blipFill>
          <a:blip r:embed="rId20" cstate="email">
            <a:extLst>
              <a:ext uri="{28A0092B-C50C-407E-A947-70E740481C1C}">
                <a14:useLocalDpi xmlns:a14="http://schemas.microsoft.com/office/drawing/2010/main"/>
              </a:ext>
            </a:extLst>
          </a:blip>
          <a:srcRect l="813" t="993" r="591" b="1214"/>
          <a:stretch>
            <a:fillRect/>
          </a:stretch>
        </p:blipFill>
        <p:spPr bwMode="auto">
          <a:xfrm>
            <a:off x="753250" y="6211812"/>
            <a:ext cx="304698" cy="152349"/>
          </a:xfrm>
          <a:prstGeom prst="rect">
            <a:avLst/>
          </a:prstGeom>
          <a:noFill/>
        </p:spPr>
      </p:pic>
      <p:pic>
        <p:nvPicPr>
          <p:cNvPr id="803" name="Picture 802" descr="d:\Documents and settings\Marc_Robisch\Desktop\Flaggen_gross\sp-lgflag.gif"/>
          <p:cNvPicPr>
            <a:picLocks noChangeAspect="1" noChangeArrowheads="1"/>
          </p:cNvPicPr>
          <p:nvPr>
            <p:custDataLst>
              <p:tags r:id="rId4"/>
            </p:custDataLst>
          </p:nvPr>
        </p:nvPicPr>
        <p:blipFill>
          <a:blip r:embed="rId21" cstate="email">
            <a:extLst>
              <a:ext uri="{28A0092B-C50C-407E-A947-70E740481C1C}">
                <a14:useLocalDpi xmlns:a14="http://schemas.microsoft.com/office/drawing/2010/main"/>
              </a:ext>
            </a:extLst>
          </a:blip>
          <a:srcRect/>
          <a:stretch>
            <a:fillRect/>
          </a:stretch>
        </p:blipFill>
        <p:spPr bwMode="auto">
          <a:xfrm>
            <a:off x="4079467" y="6309311"/>
            <a:ext cx="246741" cy="152349"/>
          </a:xfrm>
          <a:prstGeom prst="rect">
            <a:avLst/>
          </a:prstGeom>
          <a:noFill/>
        </p:spPr>
      </p:pic>
      <p:pic>
        <p:nvPicPr>
          <p:cNvPr id="804" name="Picture 803" descr="d:\Documents and settings\Marc_Robisch\Desktop\Flaggen_gross\po-lgflag.gif"/>
          <p:cNvPicPr>
            <a:picLocks noChangeAspect="1" noChangeArrowheads="1"/>
          </p:cNvPicPr>
          <p:nvPr/>
        </p:nvPicPr>
        <p:blipFill>
          <a:blip r:embed="rId22" cstate="email">
            <a:extLst>
              <a:ext uri="{28A0092B-C50C-407E-A947-70E740481C1C}">
                <a14:useLocalDpi xmlns:a14="http://schemas.microsoft.com/office/drawing/2010/main"/>
              </a:ext>
            </a:extLst>
          </a:blip>
          <a:srcRect l="442" t="9677" r="368" b="9733"/>
          <a:stretch>
            <a:fillRect/>
          </a:stretch>
        </p:blipFill>
        <p:spPr bwMode="auto">
          <a:xfrm>
            <a:off x="732245" y="11042358"/>
            <a:ext cx="304698" cy="152349"/>
          </a:xfrm>
          <a:prstGeom prst="rect">
            <a:avLst/>
          </a:prstGeom>
          <a:noFill/>
        </p:spPr>
      </p:pic>
      <p:pic>
        <p:nvPicPr>
          <p:cNvPr id="805" name="Picture 804" descr="d:\Documents and settings\Marc_Robisch\Desktop\Flaggen_gross\it-lgflag.gif"/>
          <p:cNvPicPr>
            <a:picLocks noChangeAspect="1" noChangeArrowheads="1"/>
          </p:cNvPicPr>
          <p:nvPr/>
        </p:nvPicPr>
        <p:blipFill>
          <a:blip r:embed="rId23" cstate="email">
            <a:extLst>
              <a:ext uri="{28A0092B-C50C-407E-A947-70E740481C1C}">
                <a14:useLocalDpi xmlns:a14="http://schemas.microsoft.com/office/drawing/2010/main"/>
              </a:ext>
            </a:extLst>
          </a:blip>
          <a:srcRect t="1214"/>
          <a:stretch>
            <a:fillRect/>
          </a:stretch>
        </p:blipFill>
        <p:spPr bwMode="auto">
          <a:xfrm>
            <a:off x="4596537" y="8571717"/>
            <a:ext cx="304698" cy="152349"/>
          </a:xfrm>
          <a:prstGeom prst="rect">
            <a:avLst/>
          </a:prstGeom>
          <a:noFill/>
        </p:spPr>
      </p:pic>
      <p:pic>
        <p:nvPicPr>
          <p:cNvPr id="806" name="Picture 805" descr="d:\Documents and settings\Marc_Robisch\Desktop\Flaggen_gross\au-lgflag.gif"/>
          <p:cNvPicPr>
            <a:picLocks noChangeAspect="1" noChangeArrowheads="1"/>
          </p:cNvPicPr>
          <p:nvPr>
            <p:custDataLst>
              <p:tags r:id="rId5"/>
            </p:custDataLst>
          </p:nvPr>
        </p:nvPicPr>
        <p:blipFill>
          <a:blip r:embed="rId24" cstate="email">
            <a:extLst>
              <a:ext uri="{28A0092B-C50C-407E-A947-70E740481C1C}">
                <a14:useLocalDpi xmlns:a14="http://schemas.microsoft.com/office/drawing/2010/main"/>
              </a:ext>
            </a:extLst>
          </a:blip>
          <a:srcRect l="367" t="770" r="220" b="660"/>
          <a:stretch>
            <a:fillRect/>
          </a:stretch>
        </p:blipFill>
        <p:spPr bwMode="auto">
          <a:xfrm>
            <a:off x="4686502" y="10993402"/>
            <a:ext cx="304698" cy="152349"/>
          </a:xfrm>
          <a:prstGeom prst="rect">
            <a:avLst/>
          </a:prstGeom>
          <a:noFill/>
        </p:spPr>
      </p:pic>
      <p:pic>
        <p:nvPicPr>
          <p:cNvPr id="807" name="Picture 3" descr="d:\Documents and settings\Marc_Robisch\Desktop\Flaggen_gross\nl-lgflag.gif"/>
          <p:cNvPicPr>
            <a:picLocks noChangeAspect="1" noChangeArrowheads="1"/>
          </p:cNvPicPr>
          <p:nvPr/>
        </p:nvPicPr>
        <p:blipFill>
          <a:blip r:embed="rId25" cstate="email">
            <a:extLst>
              <a:ext uri="{28A0092B-C50C-407E-A947-70E740481C1C}">
                <a14:useLocalDpi xmlns:a14="http://schemas.microsoft.com/office/drawing/2010/main"/>
              </a:ext>
            </a:extLst>
          </a:blip>
          <a:srcRect l="625" t="717" r="331" b="386"/>
          <a:stretch>
            <a:fillRect/>
          </a:stretch>
        </p:blipFill>
        <p:spPr bwMode="auto">
          <a:xfrm>
            <a:off x="2644662" y="10993402"/>
            <a:ext cx="304698" cy="152349"/>
          </a:xfrm>
          <a:prstGeom prst="rect">
            <a:avLst/>
          </a:prstGeom>
          <a:noFill/>
        </p:spPr>
      </p:pic>
      <p:pic>
        <p:nvPicPr>
          <p:cNvPr id="808" name="Picture 807" descr="d:\Documents and settings\Marc_Robisch\Desktop\Flaggen_gross\sw-lgflag.gif"/>
          <p:cNvPicPr>
            <a:picLocks noChangeAspect="1" noChangeArrowheads="1"/>
          </p:cNvPicPr>
          <p:nvPr/>
        </p:nvPicPr>
        <p:blipFill>
          <a:blip r:embed="rId26" cstate="email">
            <a:extLst>
              <a:ext uri="{28A0092B-C50C-407E-A947-70E740481C1C}">
                <a14:useLocalDpi xmlns:a14="http://schemas.microsoft.com/office/drawing/2010/main"/>
              </a:ext>
            </a:extLst>
          </a:blip>
          <a:srcRect l="245" t="7006" r="245" b="7862"/>
          <a:stretch>
            <a:fillRect/>
          </a:stretch>
        </p:blipFill>
        <p:spPr bwMode="auto">
          <a:xfrm>
            <a:off x="14733292" y="3849809"/>
            <a:ext cx="304698" cy="152349"/>
          </a:xfrm>
          <a:prstGeom prst="rect">
            <a:avLst/>
          </a:prstGeom>
          <a:noFill/>
        </p:spPr>
      </p:pic>
      <p:pic>
        <p:nvPicPr>
          <p:cNvPr id="809" name="Picture 808" descr="d:\Documents and settings\Marc_Robisch\Desktop\Flaggen_gross\fi-lgflag.gif"/>
          <p:cNvPicPr>
            <a:picLocks noChangeAspect="1" noChangeArrowheads="1"/>
          </p:cNvPicPr>
          <p:nvPr>
            <p:custDataLst>
              <p:tags r:id="rId6"/>
            </p:custDataLst>
          </p:nvPr>
        </p:nvPicPr>
        <p:blipFill>
          <a:blip r:embed="rId27" cstate="email">
            <a:extLst>
              <a:ext uri="{28A0092B-C50C-407E-A947-70E740481C1C}">
                <a14:useLocalDpi xmlns:a14="http://schemas.microsoft.com/office/drawing/2010/main"/>
              </a:ext>
            </a:extLst>
          </a:blip>
          <a:srcRect l="575" t="770" r="304" b="440"/>
          <a:stretch>
            <a:fillRect/>
          </a:stretch>
        </p:blipFill>
        <p:spPr bwMode="auto">
          <a:xfrm>
            <a:off x="14761285" y="4848702"/>
            <a:ext cx="330518" cy="202459"/>
          </a:xfrm>
          <a:prstGeom prst="rect">
            <a:avLst/>
          </a:prstGeom>
          <a:noFill/>
        </p:spPr>
      </p:pic>
      <p:pic>
        <p:nvPicPr>
          <p:cNvPr id="810" name="Picture 809" descr="d:\Documents and settings\Marc_Robisch\Desktop\Flaggen_gross\da-lgflag.gif"/>
          <p:cNvPicPr>
            <a:picLocks noChangeAspect="1" noChangeArrowheads="1"/>
          </p:cNvPicPr>
          <p:nvPr>
            <p:custDataLst>
              <p:tags r:id="rId7"/>
            </p:custDataLst>
          </p:nvPr>
        </p:nvPicPr>
        <p:blipFill>
          <a:blip r:embed="rId28" cstate="email">
            <a:extLst>
              <a:ext uri="{28A0092B-C50C-407E-A947-70E740481C1C}">
                <a14:useLocalDpi xmlns:a14="http://schemas.microsoft.com/office/drawing/2010/main"/>
              </a:ext>
            </a:extLst>
          </a:blip>
          <a:srcRect l="293" t="11625" r="540" b="12901"/>
          <a:stretch>
            <a:fillRect/>
          </a:stretch>
        </p:blipFill>
        <p:spPr bwMode="auto">
          <a:xfrm>
            <a:off x="16561150" y="5369308"/>
            <a:ext cx="265131" cy="152349"/>
          </a:xfrm>
          <a:prstGeom prst="rect">
            <a:avLst/>
          </a:prstGeom>
          <a:noFill/>
        </p:spPr>
      </p:pic>
      <p:pic>
        <p:nvPicPr>
          <p:cNvPr id="811" name="Picture 810" descr="d:\Documents and settings\Marc_Robisch\Desktop\Flaggen_gross\jn-lgflag.gif"/>
          <p:cNvPicPr>
            <a:picLocks noChangeAspect="1" noChangeArrowheads="1"/>
          </p:cNvPicPr>
          <p:nvPr>
            <p:custDataLst>
              <p:tags r:id="rId8"/>
            </p:custDataLst>
          </p:nvPr>
        </p:nvPicPr>
        <p:blipFill>
          <a:blip r:embed="rId29" cstate="email">
            <a:extLst>
              <a:ext uri="{28A0092B-C50C-407E-A947-70E740481C1C}">
                <a14:useLocalDpi xmlns:a14="http://schemas.microsoft.com/office/drawing/2010/main"/>
              </a:ext>
            </a:extLst>
          </a:blip>
          <a:srcRect l="305" t="1049" r="3816" b="938"/>
          <a:stretch>
            <a:fillRect/>
          </a:stretch>
        </p:blipFill>
        <p:spPr bwMode="auto">
          <a:xfrm>
            <a:off x="8960353" y="3735657"/>
            <a:ext cx="263017" cy="152349"/>
          </a:xfrm>
          <a:prstGeom prst="rect">
            <a:avLst/>
          </a:prstGeom>
          <a:noFill/>
        </p:spPr>
      </p:pic>
      <p:pic>
        <p:nvPicPr>
          <p:cNvPr id="812" name="Picture 811" descr="d:\Documents and settings\Marc_Robisch\Desktop\Flaggen_gross\en-lgflag.gif"/>
          <p:cNvPicPr>
            <a:picLocks noChangeAspect="1" noChangeArrowheads="1"/>
          </p:cNvPicPr>
          <p:nvPr>
            <p:custDataLst>
              <p:tags r:id="rId9"/>
            </p:custDataLst>
          </p:nvPr>
        </p:nvPicPr>
        <p:blipFill>
          <a:blip r:embed="rId30" cstate="email">
            <a:extLst>
              <a:ext uri="{28A0092B-C50C-407E-A947-70E740481C1C}">
                <a14:useLocalDpi xmlns:a14="http://schemas.microsoft.com/office/drawing/2010/main"/>
              </a:ext>
            </a:extLst>
          </a:blip>
          <a:srcRect l="739" t="1049" r="517" b="718"/>
          <a:stretch>
            <a:fillRect/>
          </a:stretch>
        </p:blipFill>
        <p:spPr bwMode="auto">
          <a:xfrm>
            <a:off x="14440047" y="6331240"/>
            <a:ext cx="304698" cy="152349"/>
          </a:xfrm>
          <a:prstGeom prst="rect">
            <a:avLst/>
          </a:prstGeom>
          <a:noFill/>
        </p:spPr>
      </p:pic>
      <p:pic>
        <p:nvPicPr>
          <p:cNvPr id="813" name="Picture 3" descr="d:\Documents and settings\Marc_Robisch\Desktop\Flaggen_gross\lg-lgflag.gif"/>
          <p:cNvPicPr>
            <a:picLocks noChangeAspect="1" noChangeArrowheads="1"/>
          </p:cNvPicPr>
          <p:nvPr/>
        </p:nvPicPr>
        <p:blipFill>
          <a:blip r:embed="rId31" cstate="email">
            <a:extLst>
              <a:ext uri="{28A0092B-C50C-407E-A947-70E740481C1C}">
                <a14:useLocalDpi xmlns:a14="http://schemas.microsoft.com/office/drawing/2010/main"/>
              </a:ext>
            </a:extLst>
          </a:blip>
          <a:srcRect l="459" t="662" r="567" b="662"/>
          <a:stretch>
            <a:fillRect/>
          </a:stretch>
        </p:blipFill>
        <p:spPr bwMode="auto">
          <a:xfrm>
            <a:off x="15321978" y="7444472"/>
            <a:ext cx="304698" cy="152349"/>
          </a:xfrm>
          <a:prstGeom prst="rect">
            <a:avLst/>
          </a:prstGeom>
          <a:noFill/>
        </p:spPr>
      </p:pic>
      <p:pic>
        <p:nvPicPr>
          <p:cNvPr id="814" name="Picture 3" descr="d:\Documents and settings\Marc_Robisch\Desktop\Flaggen_gross\gm-lgflag.gif"/>
          <p:cNvPicPr>
            <a:picLocks noChangeAspect="1" noChangeArrowheads="1"/>
          </p:cNvPicPr>
          <p:nvPr>
            <p:custDataLst>
              <p:tags r:id="rId10"/>
            </p:custDataLst>
          </p:nvPr>
        </p:nvPicPr>
        <p:blipFill>
          <a:blip r:embed="rId32" cstate="email">
            <a:extLst>
              <a:ext uri="{28A0092B-C50C-407E-A947-70E740481C1C}">
                <a14:useLocalDpi xmlns:a14="http://schemas.microsoft.com/office/drawing/2010/main"/>
              </a:ext>
            </a:extLst>
          </a:blip>
          <a:srcRect l="606" t="662" r="673" b="442"/>
          <a:stretch>
            <a:fillRect/>
          </a:stretch>
        </p:blipFill>
        <p:spPr bwMode="auto">
          <a:xfrm>
            <a:off x="19144252" y="3834884"/>
            <a:ext cx="304698" cy="152349"/>
          </a:xfrm>
          <a:prstGeom prst="rect">
            <a:avLst/>
          </a:prstGeom>
          <a:noFill/>
        </p:spPr>
      </p:pic>
      <p:pic>
        <p:nvPicPr>
          <p:cNvPr id="815" name="Picture 3" descr="d:\Documents and settings\Marc_Robisch\Desktop\Flaggen_gross\ez-lgflag.gif"/>
          <p:cNvPicPr>
            <a:picLocks noChangeAspect="1" noChangeArrowheads="1"/>
          </p:cNvPicPr>
          <p:nvPr>
            <p:custDataLst>
              <p:tags r:id="rId11"/>
            </p:custDataLst>
          </p:nvPr>
        </p:nvPicPr>
        <p:blipFill>
          <a:blip r:embed="rId33" cstate="email">
            <a:extLst>
              <a:ext uri="{28A0092B-C50C-407E-A947-70E740481C1C}">
                <a14:useLocalDpi xmlns:a14="http://schemas.microsoft.com/office/drawing/2010/main"/>
              </a:ext>
            </a:extLst>
          </a:blip>
          <a:srcRect l="518" t="1260" r="451" b="506"/>
          <a:stretch>
            <a:fillRect/>
          </a:stretch>
        </p:blipFill>
        <p:spPr bwMode="auto">
          <a:xfrm>
            <a:off x="16651604" y="7578080"/>
            <a:ext cx="227325" cy="152349"/>
          </a:xfrm>
          <a:prstGeom prst="rect">
            <a:avLst/>
          </a:prstGeom>
          <a:noFill/>
        </p:spPr>
      </p:pic>
      <p:pic>
        <p:nvPicPr>
          <p:cNvPr id="816" name="Picture 3" descr="d:\Documents and settings\Marc_Robisch\Desktop\Flaggen_gross\si-lgflag.gif"/>
          <p:cNvPicPr>
            <a:picLocks noChangeAspect="1" noChangeArrowheads="1"/>
          </p:cNvPicPr>
          <p:nvPr/>
        </p:nvPicPr>
        <p:blipFill>
          <a:blip r:embed="rId34" cstate="email">
            <a:extLst>
              <a:ext uri="{28A0092B-C50C-407E-A947-70E740481C1C}">
                <a14:useLocalDpi xmlns:a14="http://schemas.microsoft.com/office/drawing/2010/main"/>
              </a:ext>
            </a:extLst>
          </a:blip>
          <a:srcRect l="386" r="276" b="497"/>
          <a:stretch>
            <a:fillRect/>
          </a:stretch>
        </p:blipFill>
        <p:spPr bwMode="auto">
          <a:xfrm>
            <a:off x="19192497" y="6877965"/>
            <a:ext cx="304698" cy="152349"/>
          </a:xfrm>
          <a:prstGeom prst="rect">
            <a:avLst/>
          </a:prstGeom>
          <a:noFill/>
        </p:spPr>
      </p:pic>
      <p:pic>
        <p:nvPicPr>
          <p:cNvPr id="817" name="Picture 816" descr="d:\Documents and settings\Marc_Robisch\Desktop\Flaggen_gross\hr-lgflag.gif"/>
          <p:cNvPicPr>
            <a:picLocks noChangeAspect="1" noChangeArrowheads="1"/>
          </p:cNvPicPr>
          <p:nvPr>
            <p:custDataLst>
              <p:tags r:id="rId12"/>
            </p:custDataLst>
          </p:nvPr>
        </p:nvPicPr>
        <p:blipFill>
          <a:blip r:embed="rId35" cstate="email">
            <a:extLst>
              <a:ext uri="{28A0092B-C50C-407E-A947-70E740481C1C}">
                <a14:useLocalDpi xmlns:a14="http://schemas.microsoft.com/office/drawing/2010/main"/>
              </a:ext>
            </a:extLst>
          </a:blip>
          <a:srcRect r="616" b="1163"/>
          <a:stretch>
            <a:fillRect/>
          </a:stretch>
        </p:blipFill>
        <p:spPr bwMode="auto">
          <a:xfrm>
            <a:off x="19144342" y="7843657"/>
            <a:ext cx="304698" cy="152349"/>
          </a:xfrm>
          <a:prstGeom prst="rect">
            <a:avLst/>
          </a:prstGeom>
          <a:noFill/>
        </p:spPr>
      </p:pic>
      <p:pic>
        <p:nvPicPr>
          <p:cNvPr id="818" name="Picture 3" descr="d:\Documents and settings\Marc_Robisch\Desktop\Flaggen_gross\ro-lgflag.gif"/>
          <p:cNvPicPr>
            <a:picLocks noChangeAspect="1" noChangeArrowheads="1"/>
          </p:cNvPicPr>
          <p:nvPr/>
        </p:nvPicPr>
        <p:blipFill>
          <a:blip r:embed="rId36" cstate="email">
            <a:extLst>
              <a:ext uri="{28A0092B-C50C-407E-A947-70E740481C1C}">
                <a14:useLocalDpi xmlns:a14="http://schemas.microsoft.com/office/drawing/2010/main"/>
              </a:ext>
            </a:extLst>
          </a:blip>
          <a:srcRect l="522" t="1104" r="298" b="883"/>
          <a:stretch>
            <a:fillRect/>
          </a:stretch>
        </p:blipFill>
        <p:spPr bwMode="auto">
          <a:xfrm>
            <a:off x="19117944" y="9051607"/>
            <a:ext cx="304698" cy="152349"/>
          </a:xfrm>
          <a:prstGeom prst="rect">
            <a:avLst/>
          </a:prstGeom>
          <a:noFill/>
        </p:spPr>
      </p:pic>
      <p:pic>
        <p:nvPicPr>
          <p:cNvPr id="819" name="Picture 818" descr="d:\Documents and settings\Marc_Robisch\Desktop\Flaggen_gross\bu-lgflag.gif"/>
          <p:cNvPicPr>
            <a:picLocks noChangeAspect="1" noChangeArrowheads="1"/>
          </p:cNvPicPr>
          <p:nvPr>
            <p:custDataLst>
              <p:tags r:id="rId13"/>
            </p:custDataLst>
          </p:nvPr>
        </p:nvPicPr>
        <p:blipFill>
          <a:blip r:embed="rId37" cstate="email">
            <a:extLst>
              <a:ext uri="{28A0092B-C50C-407E-A947-70E740481C1C}">
                <a14:useLocalDpi xmlns:a14="http://schemas.microsoft.com/office/drawing/2010/main"/>
              </a:ext>
            </a:extLst>
          </a:blip>
          <a:srcRect l="476" t="384" r="476" b="932"/>
          <a:stretch>
            <a:fillRect/>
          </a:stretch>
        </p:blipFill>
        <p:spPr bwMode="auto">
          <a:xfrm>
            <a:off x="19117944" y="9878448"/>
            <a:ext cx="304698" cy="152349"/>
          </a:xfrm>
          <a:prstGeom prst="rect">
            <a:avLst/>
          </a:prstGeom>
          <a:noFill/>
        </p:spPr>
      </p:pic>
      <p:pic>
        <p:nvPicPr>
          <p:cNvPr id="820" name="Picture 819" descr="d:\Documents and settings\Marc_Robisch\Desktop\Flaggen_gross\gr-lgflag.gif"/>
          <p:cNvPicPr>
            <a:picLocks noChangeAspect="1" noChangeArrowheads="1"/>
          </p:cNvPicPr>
          <p:nvPr>
            <p:custDataLst>
              <p:tags r:id="rId14"/>
            </p:custDataLst>
          </p:nvPr>
        </p:nvPicPr>
        <p:blipFill>
          <a:blip r:embed="rId38" cstate="email">
            <a:extLst>
              <a:ext uri="{28A0092B-C50C-407E-A947-70E740481C1C}">
                <a14:useLocalDpi xmlns:a14="http://schemas.microsoft.com/office/drawing/2010/main"/>
              </a:ext>
            </a:extLst>
          </a:blip>
          <a:srcRect l="504" t="1545" r="288" b="662"/>
          <a:stretch>
            <a:fillRect/>
          </a:stretch>
        </p:blipFill>
        <p:spPr bwMode="auto">
          <a:xfrm>
            <a:off x="19126768" y="11011935"/>
            <a:ext cx="256686" cy="152349"/>
          </a:xfrm>
          <a:prstGeom prst="rect">
            <a:avLst/>
          </a:prstGeom>
          <a:noFill/>
        </p:spPr>
      </p:pic>
      <p:grpSp>
        <p:nvGrpSpPr>
          <p:cNvPr id="294" name="Group 113"/>
          <p:cNvGrpSpPr/>
          <p:nvPr/>
        </p:nvGrpSpPr>
        <p:grpSpPr>
          <a:xfrm>
            <a:off x="7734063" y="3395744"/>
            <a:ext cx="11459788" cy="9646582"/>
            <a:chOff x="2205861" y="489636"/>
            <a:chExt cx="5889640" cy="4957751"/>
          </a:xfrm>
          <a:solidFill>
            <a:schemeClr val="bg1">
              <a:lumMod val="65000"/>
            </a:schemeClr>
          </a:solidFill>
          <a:effectLst/>
        </p:grpSpPr>
        <p:grpSp>
          <p:nvGrpSpPr>
            <p:cNvPr id="295" name="Group 205"/>
            <p:cNvGrpSpPr>
              <a:grpSpLocks/>
            </p:cNvGrpSpPr>
            <p:nvPr/>
          </p:nvGrpSpPr>
          <p:grpSpPr bwMode="auto">
            <a:xfrm>
              <a:off x="2205861" y="843646"/>
              <a:ext cx="5889640" cy="4603741"/>
              <a:chOff x="1348" y="547"/>
              <a:chExt cx="3710" cy="2900"/>
            </a:xfrm>
            <a:grpFill/>
          </p:grpSpPr>
          <p:sp>
            <p:nvSpPr>
              <p:cNvPr id="323" name="Freeform 5"/>
              <p:cNvSpPr>
                <a:spLocks/>
              </p:cNvSpPr>
              <p:nvPr/>
            </p:nvSpPr>
            <p:spPr bwMode="auto">
              <a:xfrm>
                <a:off x="2997" y="1588"/>
                <a:ext cx="30" cy="105"/>
              </a:xfrm>
              <a:custGeom>
                <a:avLst/>
                <a:gdLst>
                  <a:gd name="T0" fmla="*/ 10 w 15"/>
                  <a:gd name="T1" fmla="*/ 3 h 52"/>
                  <a:gd name="T2" fmla="*/ 10 w 15"/>
                  <a:gd name="T3" fmla="*/ 8 h 52"/>
                  <a:gd name="T4" fmla="*/ 9 w 15"/>
                  <a:gd name="T5" fmla="*/ 12 h 52"/>
                  <a:gd name="T6" fmla="*/ 8 w 15"/>
                  <a:gd name="T7" fmla="*/ 17 h 52"/>
                  <a:gd name="T8" fmla="*/ 6 w 15"/>
                  <a:gd name="T9" fmla="*/ 21 h 52"/>
                  <a:gd name="T10" fmla="*/ 4 w 15"/>
                  <a:gd name="T11" fmla="*/ 24 h 52"/>
                  <a:gd name="T12" fmla="*/ 4 w 15"/>
                  <a:gd name="T13" fmla="*/ 28 h 52"/>
                  <a:gd name="T14" fmla="*/ 2 w 15"/>
                  <a:gd name="T15" fmla="*/ 33 h 52"/>
                  <a:gd name="T16" fmla="*/ 1 w 15"/>
                  <a:gd name="T17" fmla="*/ 38 h 52"/>
                  <a:gd name="T18" fmla="*/ 2 w 15"/>
                  <a:gd name="T19" fmla="*/ 42 h 52"/>
                  <a:gd name="T20" fmla="*/ 3 w 15"/>
                  <a:gd name="T21" fmla="*/ 45 h 52"/>
                  <a:gd name="T22" fmla="*/ 3 w 15"/>
                  <a:gd name="T23" fmla="*/ 51 h 52"/>
                  <a:gd name="T24" fmla="*/ 5 w 15"/>
                  <a:gd name="T25" fmla="*/ 52 h 52"/>
                  <a:gd name="T26" fmla="*/ 5 w 15"/>
                  <a:gd name="T27" fmla="*/ 49 h 52"/>
                  <a:gd name="T28" fmla="*/ 6 w 15"/>
                  <a:gd name="T29" fmla="*/ 43 h 52"/>
                  <a:gd name="T30" fmla="*/ 5 w 15"/>
                  <a:gd name="T31" fmla="*/ 40 h 52"/>
                  <a:gd name="T32" fmla="*/ 8 w 15"/>
                  <a:gd name="T33" fmla="*/ 35 h 52"/>
                  <a:gd name="T34" fmla="*/ 7 w 15"/>
                  <a:gd name="T35" fmla="*/ 31 h 52"/>
                  <a:gd name="T36" fmla="*/ 9 w 15"/>
                  <a:gd name="T37" fmla="*/ 26 h 52"/>
                  <a:gd name="T38" fmla="*/ 10 w 15"/>
                  <a:gd name="T39" fmla="*/ 24 h 52"/>
                  <a:gd name="T40" fmla="*/ 10 w 15"/>
                  <a:gd name="T41" fmla="*/ 21 h 52"/>
                  <a:gd name="T42" fmla="*/ 10 w 15"/>
                  <a:gd name="T43" fmla="*/ 17 h 52"/>
                  <a:gd name="T44" fmla="*/ 12 w 15"/>
                  <a:gd name="T45" fmla="*/ 14 h 52"/>
                  <a:gd name="T46" fmla="*/ 13 w 15"/>
                  <a:gd name="T47" fmla="*/ 11 h 52"/>
                  <a:gd name="T48" fmla="*/ 13 w 15"/>
                  <a:gd name="T49" fmla="*/ 7 h 52"/>
                  <a:gd name="T50" fmla="*/ 12 w 15"/>
                  <a:gd name="T51" fmla="*/ 5 h 52"/>
                  <a:gd name="T52" fmla="*/ 14 w 15"/>
                  <a:gd name="T53" fmla="*/ 4 h 52"/>
                  <a:gd name="T54" fmla="*/ 15 w 15"/>
                  <a:gd name="T55" fmla="*/ 1 h 52"/>
                  <a:gd name="T56" fmla="*/ 12 w 15"/>
                  <a:gd name="T57" fmla="*/ 0 h 52"/>
                  <a:gd name="T58" fmla="*/ 10 w 15"/>
                  <a:gd name="T59"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 h="52">
                    <a:moveTo>
                      <a:pt x="10" y="3"/>
                    </a:moveTo>
                    <a:cubicBezTo>
                      <a:pt x="10" y="4"/>
                      <a:pt x="10" y="7"/>
                      <a:pt x="10" y="8"/>
                    </a:cubicBezTo>
                    <a:cubicBezTo>
                      <a:pt x="11" y="8"/>
                      <a:pt x="9" y="12"/>
                      <a:pt x="9" y="12"/>
                    </a:cubicBezTo>
                    <a:cubicBezTo>
                      <a:pt x="8" y="17"/>
                      <a:pt x="8" y="17"/>
                      <a:pt x="8" y="17"/>
                    </a:cubicBezTo>
                    <a:cubicBezTo>
                      <a:pt x="8" y="17"/>
                      <a:pt x="7" y="20"/>
                      <a:pt x="6" y="21"/>
                    </a:cubicBezTo>
                    <a:cubicBezTo>
                      <a:pt x="6" y="21"/>
                      <a:pt x="5" y="23"/>
                      <a:pt x="4" y="24"/>
                    </a:cubicBezTo>
                    <a:cubicBezTo>
                      <a:pt x="4" y="26"/>
                      <a:pt x="4" y="27"/>
                      <a:pt x="4" y="28"/>
                    </a:cubicBezTo>
                    <a:cubicBezTo>
                      <a:pt x="4" y="30"/>
                      <a:pt x="2" y="31"/>
                      <a:pt x="2" y="33"/>
                    </a:cubicBezTo>
                    <a:cubicBezTo>
                      <a:pt x="2" y="34"/>
                      <a:pt x="1" y="35"/>
                      <a:pt x="1" y="38"/>
                    </a:cubicBezTo>
                    <a:cubicBezTo>
                      <a:pt x="0" y="40"/>
                      <a:pt x="2" y="42"/>
                      <a:pt x="2" y="42"/>
                    </a:cubicBezTo>
                    <a:cubicBezTo>
                      <a:pt x="2" y="43"/>
                      <a:pt x="3" y="45"/>
                      <a:pt x="3" y="45"/>
                    </a:cubicBezTo>
                    <a:cubicBezTo>
                      <a:pt x="3" y="51"/>
                      <a:pt x="3" y="51"/>
                      <a:pt x="3" y="51"/>
                    </a:cubicBezTo>
                    <a:cubicBezTo>
                      <a:pt x="3" y="51"/>
                      <a:pt x="4" y="52"/>
                      <a:pt x="5" y="52"/>
                    </a:cubicBezTo>
                    <a:cubicBezTo>
                      <a:pt x="6" y="52"/>
                      <a:pt x="5" y="49"/>
                      <a:pt x="5" y="49"/>
                    </a:cubicBezTo>
                    <a:cubicBezTo>
                      <a:pt x="5" y="49"/>
                      <a:pt x="6" y="44"/>
                      <a:pt x="6" y="43"/>
                    </a:cubicBezTo>
                    <a:cubicBezTo>
                      <a:pt x="5" y="42"/>
                      <a:pt x="5" y="40"/>
                      <a:pt x="5" y="40"/>
                    </a:cubicBezTo>
                    <a:cubicBezTo>
                      <a:pt x="8" y="35"/>
                      <a:pt x="8" y="35"/>
                      <a:pt x="8" y="35"/>
                    </a:cubicBezTo>
                    <a:cubicBezTo>
                      <a:pt x="7" y="31"/>
                      <a:pt x="7" y="31"/>
                      <a:pt x="7" y="31"/>
                    </a:cubicBezTo>
                    <a:cubicBezTo>
                      <a:pt x="9" y="26"/>
                      <a:pt x="9" y="26"/>
                      <a:pt x="9" y="26"/>
                    </a:cubicBezTo>
                    <a:cubicBezTo>
                      <a:pt x="10" y="24"/>
                      <a:pt x="10" y="24"/>
                      <a:pt x="10" y="24"/>
                    </a:cubicBezTo>
                    <a:cubicBezTo>
                      <a:pt x="10" y="21"/>
                      <a:pt x="10" y="21"/>
                      <a:pt x="10" y="21"/>
                    </a:cubicBezTo>
                    <a:cubicBezTo>
                      <a:pt x="10" y="17"/>
                      <a:pt x="10" y="17"/>
                      <a:pt x="10" y="17"/>
                    </a:cubicBezTo>
                    <a:cubicBezTo>
                      <a:pt x="12" y="14"/>
                      <a:pt x="12" y="14"/>
                      <a:pt x="12" y="14"/>
                    </a:cubicBezTo>
                    <a:cubicBezTo>
                      <a:pt x="13" y="11"/>
                      <a:pt x="13" y="11"/>
                      <a:pt x="13" y="11"/>
                    </a:cubicBezTo>
                    <a:cubicBezTo>
                      <a:pt x="13" y="7"/>
                      <a:pt x="13" y="7"/>
                      <a:pt x="13" y="7"/>
                    </a:cubicBezTo>
                    <a:cubicBezTo>
                      <a:pt x="13" y="7"/>
                      <a:pt x="12" y="6"/>
                      <a:pt x="12" y="5"/>
                    </a:cubicBezTo>
                    <a:cubicBezTo>
                      <a:pt x="12" y="5"/>
                      <a:pt x="13" y="4"/>
                      <a:pt x="14" y="4"/>
                    </a:cubicBezTo>
                    <a:cubicBezTo>
                      <a:pt x="14" y="3"/>
                      <a:pt x="15" y="1"/>
                      <a:pt x="15" y="1"/>
                    </a:cubicBezTo>
                    <a:cubicBezTo>
                      <a:pt x="12" y="0"/>
                      <a:pt x="12" y="0"/>
                      <a:pt x="12" y="0"/>
                    </a:cubicBezTo>
                    <a:cubicBezTo>
                      <a:pt x="12" y="0"/>
                      <a:pt x="10" y="2"/>
                      <a:pt x="10" y="3"/>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324" name="Freeform 6"/>
              <p:cNvSpPr>
                <a:spLocks/>
              </p:cNvSpPr>
              <p:nvPr/>
            </p:nvSpPr>
            <p:spPr bwMode="auto">
              <a:xfrm>
                <a:off x="3064" y="1524"/>
                <a:ext cx="52" cy="104"/>
              </a:xfrm>
              <a:custGeom>
                <a:avLst/>
                <a:gdLst>
                  <a:gd name="T0" fmla="*/ 21 w 26"/>
                  <a:gd name="T1" fmla="*/ 1 h 52"/>
                  <a:gd name="T2" fmla="*/ 20 w 26"/>
                  <a:gd name="T3" fmla="*/ 3 h 52"/>
                  <a:gd name="T4" fmla="*/ 17 w 26"/>
                  <a:gd name="T5" fmla="*/ 3 h 52"/>
                  <a:gd name="T6" fmla="*/ 15 w 26"/>
                  <a:gd name="T7" fmla="*/ 4 h 52"/>
                  <a:gd name="T8" fmla="*/ 15 w 26"/>
                  <a:gd name="T9" fmla="*/ 5 h 52"/>
                  <a:gd name="T10" fmla="*/ 12 w 26"/>
                  <a:gd name="T11" fmla="*/ 3 h 52"/>
                  <a:gd name="T12" fmla="*/ 10 w 26"/>
                  <a:gd name="T13" fmla="*/ 7 h 52"/>
                  <a:gd name="T14" fmla="*/ 8 w 26"/>
                  <a:gd name="T15" fmla="*/ 9 h 52"/>
                  <a:gd name="T16" fmla="*/ 7 w 26"/>
                  <a:gd name="T17" fmla="*/ 11 h 52"/>
                  <a:gd name="T18" fmla="*/ 6 w 26"/>
                  <a:gd name="T19" fmla="*/ 15 h 52"/>
                  <a:gd name="T20" fmla="*/ 1 w 26"/>
                  <a:gd name="T21" fmla="*/ 20 h 52"/>
                  <a:gd name="T22" fmla="*/ 1 w 26"/>
                  <a:gd name="T23" fmla="*/ 23 h 52"/>
                  <a:gd name="T24" fmla="*/ 1 w 26"/>
                  <a:gd name="T25" fmla="*/ 27 h 52"/>
                  <a:gd name="T26" fmla="*/ 3 w 26"/>
                  <a:gd name="T27" fmla="*/ 28 h 52"/>
                  <a:gd name="T28" fmla="*/ 4 w 26"/>
                  <a:gd name="T29" fmla="*/ 32 h 52"/>
                  <a:gd name="T30" fmla="*/ 1 w 26"/>
                  <a:gd name="T31" fmla="*/ 33 h 52"/>
                  <a:gd name="T32" fmla="*/ 2 w 26"/>
                  <a:gd name="T33" fmla="*/ 34 h 52"/>
                  <a:gd name="T34" fmla="*/ 4 w 26"/>
                  <a:gd name="T35" fmla="*/ 37 h 52"/>
                  <a:gd name="T36" fmla="*/ 6 w 26"/>
                  <a:gd name="T37" fmla="*/ 40 h 52"/>
                  <a:gd name="T38" fmla="*/ 7 w 26"/>
                  <a:gd name="T39" fmla="*/ 43 h 52"/>
                  <a:gd name="T40" fmla="*/ 5 w 26"/>
                  <a:gd name="T41" fmla="*/ 46 h 52"/>
                  <a:gd name="T42" fmla="*/ 4 w 26"/>
                  <a:gd name="T43" fmla="*/ 49 h 52"/>
                  <a:gd name="T44" fmla="*/ 8 w 26"/>
                  <a:gd name="T45" fmla="*/ 49 h 52"/>
                  <a:gd name="T46" fmla="*/ 10 w 26"/>
                  <a:gd name="T47" fmla="*/ 46 h 52"/>
                  <a:gd name="T48" fmla="*/ 10 w 26"/>
                  <a:gd name="T49" fmla="*/ 43 h 52"/>
                  <a:gd name="T50" fmla="*/ 12 w 26"/>
                  <a:gd name="T51" fmla="*/ 38 h 52"/>
                  <a:gd name="T52" fmla="*/ 15 w 26"/>
                  <a:gd name="T53" fmla="*/ 36 h 52"/>
                  <a:gd name="T54" fmla="*/ 17 w 26"/>
                  <a:gd name="T55" fmla="*/ 34 h 52"/>
                  <a:gd name="T56" fmla="*/ 17 w 26"/>
                  <a:gd name="T57" fmla="*/ 31 h 52"/>
                  <a:gd name="T58" fmla="*/ 18 w 26"/>
                  <a:gd name="T59" fmla="*/ 28 h 52"/>
                  <a:gd name="T60" fmla="*/ 20 w 26"/>
                  <a:gd name="T61" fmla="*/ 26 h 52"/>
                  <a:gd name="T62" fmla="*/ 19 w 26"/>
                  <a:gd name="T63" fmla="*/ 23 h 52"/>
                  <a:gd name="T64" fmla="*/ 17 w 26"/>
                  <a:gd name="T65" fmla="*/ 22 h 52"/>
                  <a:gd name="T66" fmla="*/ 17 w 26"/>
                  <a:gd name="T67" fmla="*/ 20 h 52"/>
                  <a:gd name="T68" fmla="*/ 16 w 26"/>
                  <a:gd name="T69" fmla="*/ 16 h 52"/>
                  <a:gd name="T70" fmla="*/ 17 w 26"/>
                  <a:gd name="T71" fmla="*/ 14 h 52"/>
                  <a:gd name="T72" fmla="*/ 20 w 26"/>
                  <a:gd name="T73" fmla="*/ 11 h 52"/>
                  <a:gd name="T74" fmla="*/ 21 w 26"/>
                  <a:gd name="T75" fmla="*/ 8 h 52"/>
                  <a:gd name="T76" fmla="*/ 22 w 26"/>
                  <a:gd name="T77" fmla="*/ 6 h 52"/>
                  <a:gd name="T78" fmla="*/ 25 w 26"/>
                  <a:gd name="T79" fmla="*/ 4 h 52"/>
                  <a:gd name="T80" fmla="*/ 25 w 26"/>
                  <a:gd name="T81" fmla="*/ 2 h 52"/>
                  <a:gd name="T82" fmla="*/ 25 w 26"/>
                  <a:gd name="T83" fmla="*/ 1 h 52"/>
                  <a:gd name="T84" fmla="*/ 21 w 26"/>
                  <a:gd name="T85" fmla="*/ 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 h="52">
                    <a:moveTo>
                      <a:pt x="21" y="1"/>
                    </a:moveTo>
                    <a:cubicBezTo>
                      <a:pt x="20" y="3"/>
                      <a:pt x="20" y="3"/>
                      <a:pt x="20" y="3"/>
                    </a:cubicBezTo>
                    <a:cubicBezTo>
                      <a:pt x="20" y="3"/>
                      <a:pt x="17" y="3"/>
                      <a:pt x="17" y="3"/>
                    </a:cubicBezTo>
                    <a:cubicBezTo>
                      <a:pt x="16" y="3"/>
                      <a:pt x="15" y="3"/>
                      <a:pt x="15" y="4"/>
                    </a:cubicBezTo>
                    <a:cubicBezTo>
                      <a:pt x="15" y="5"/>
                      <a:pt x="15" y="5"/>
                      <a:pt x="15" y="5"/>
                    </a:cubicBezTo>
                    <a:cubicBezTo>
                      <a:pt x="14" y="5"/>
                      <a:pt x="12" y="3"/>
                      <a:pt x="12" y="3"/>
                    </a:cubicBezTo>
                    <a:cubicBezTo>
                      <a:pt x="10" y="7"/>
                      <a:pt x="10" y="7"/>
                      <a:pt x="10" y="7"/>
                    </a:cubicBezTo>
                    <a:cubicBezTo>
                      <a:pt x="8" y="9"/>
                      <a:pt x="8" y="9"/>
                      <a:pt x="8" y="9"/>
                    </a:cubicBezTo>
                    <a:cubicBezTo>
                      <a:pt x="8" y="9"/>
                      <a:pt x="6" y="10"/>
                      <a:pt x="7" y="11"/>
                    </a:cubicBezTo>
                    <a:cubicBezTo>
                      <a:pt x="7" y="13"/>
                      <a:pt x="7" y="13"/>
                      <a:pt x="6" y="15"/>
                    </a:cubicBezTo>
                    <a:cubicBezTo>
                      <a:pt x="4" y="17"/>
                      <a:pt x="1" y="20"/>
                      <a:pt x="1" y="20"/>
                    </a:cubicBezTo>
                    <a:cubicBezTo>
                      <a:pt x="1" y="20"/>
                      <a:pt x="0" y="22"/>
                      <a:pt x="1" y="23"/>
                    </a:cubicBezTo>
                    <a:cubicBezTo>
                      <a:pt x="1" y="23"/>
                      <a:pt x="1" y="25"/>
                      <a:pt x="1" y="27"/>
                    </a:cubicBezTo>
                    <a:cubicBezTo>
                      <a:pt x="2" y="28"/>
                      <a:pt x="3" y="27"/>
                      <a:pt x="3" y="28"/>
                    </a:cubicBezTo>
                    <a:cubicBezTo>
                      <a:pt x="3" y="29"/>
                      <a:pt x="4" y="32"/>
                      <a:pt x="4" y="32"/>
                    </a:cubicBezTo>
                    <a:cubicBezTo>
                      <a:pt x="1" y="33"/>
                      <a:pt x="1" y="33"/>
                      <a:pt x="1" y="33"/>
                    </a:cubicBezTo>
                    <a:cubicBezTo>
                      <a:pt x="2" y="34"/>
                      <a:pt x="2" y="34"/>
                      <a:pt x="2" y="34"/>
                    </a:cubicBezTo>
                    <a:cubicBezTo>
                      <a:pt x="4" y="37"/>
                      <a:pt x="4" y="37"/>
                      <a:pt x="4" y="37"/>
                    </a:cubicBezTo>
                    <a:cubicBezTo>
                      <a:pt x="6" y="40"/>
                      <a:pt x="6" y="40"/>
                      <a:pt x="6" y="40"/>
                    </a:cubicBezTo>
                    <a:cubicBezTo>
                      <a:pt x="7" y="43"/>
                      <a:pt x="7" y="43"/>
                      <a:pt x="7" y="43"/>
                    </a:cubicBezTo>
                    <a:cubicBezTo>
                      <a:pt x="7" y="43"/>
                      <a:pt x="6" y="45"/>
                      <a:pt x="5" y="46"/>
                    </a:cubicBezTo>
                    <a:cubicBezTo>
                      <a:pt x="5" y="48"/>
                      <a:pt x="2" y="49"/>
                      <a:pt x="4" y="49"/>
                    </a:cubicBezTo>
                    <a:cubicBezTo>
                      <a:pt x="7" y="49"/>
                      <a:pt x="7" y="52"/>
                      <a:pt x="8" y="49"/>
                    </a:cubicBezTo>
                    <a:cubicBezTo>
                      <a:pt x="10" y="47"/>
                      <a:pt x="10" y="47"/>
                      <a:pt x="10" y="46"/>
                    </a:cubicBezTo>
                    <a:cubicBezTo>
                      <a:pt x="11" y="46"/>
                      <a:pt x="10" y="44"/>
                      <a:pt x="10" y="43"/>
                    </a:cubicBezTo>
                    <a:cubicBezTo>
                      <a:pt x="10" y="42"/>
                      <a:pt x="11" y="39"/>
                      <a:pt x="12" y="38"/>
                    </a:cubicBezTo>
                    <a:cubicBezTo>
                      <a:pt x="12" y="38"/>
                      <a:pt x="14" y="36"/>
                      <a:pt x="15" y="36"/>
                    </a:cubicBezTo>
                    <a:cubicBezTo>
                      <a:pt x="15" y="35"/>
                      <a:pt x="17" y="36"/>
                      <a:pt x="17" y="34"/>
                    </a:cubicBezTo>
                    <a:cubicBezTo>
                      <a:pt x="17" y="33"/>
                      <a:pt x="17" y="31"/>
                      <a:pt x="17" y="31"/>
                    </a:cubicBezTo>
                    <a:cubicBezTo>
                      <a:pt x="17" y="31"/>
                      <a:pt x="18" y="29"/>
                      <a:pt x="18" y="28"/>
                    </a:cubicBezTo>
                    <a:cubicBezTo>
                      <a:pt x="19" y="28"/>
                      <a:pt x="20" y="27"/>
                      <a:pt x="20" y="26"/>
                    </a:cubicBezTo>
                    <a:cubicBezTo>
                      <a:pt x="21" y="25"/>
                      <a:pt x="20" y="23"/>
                      <a:pt x="19" y="23"/>
                    </a:cubicBezTo>
                    <a:cubicBezTo>
                      <a:pt x="19" y="23"/>
                      <a:pt x="18" y="23"/>
                      <a:pt x="17" y="22"/>
                    </a:cubicBezTo>
                    <a:cubicBezTo>
                      <a:pt x="17" y="21"/>
                      <a:pt x="17" y="21"/>
                      <a:pt x="17" y="20"/>
                    </a:cubicBezTo>
                    <a:cubicBezTo>
                      <a:pt x="17" y="19"/>
                      <a:pt x="16" y="17"/>
                      <a:pt x="16" y="16"/>
                    </a:cubicBezTo>
                    <a:cubicBezTo>
                      <a:pt x="16" y="16"/>
                      <a:pt x="16" y="14"/>
                      <a:pt x="17" y="14"/>
                    </a:cubicBezTo>
                    <a:cubicBezTo>
                      <a:pt x="18" y="13"/>
                      <a:pt x="20" y="12"/>
                      <a:pt x="20" y="11"/>
                    </a:cubicBezTo>
                    <a:cubicBezTo>
                      <a:pt x="21" y="11"/>
                      <a:pt x="21" y="8"/>
                      <a:pt x="21" y="8"/>
                    </a:cubicBezTo>
                    <a:cubicBezTo>
                      <a:pt x="21" y="8"/>
                      <a:pt x="19" y="6"/>
                      <a:pt x="22" y="6"/>
                    </a:cubicBezTo>
                    <a:cubicBezTo>
                      <a:pt x="24" y="5"/>
                      <a:pt x="25" y="4"/>
                      <a:pt x="25" y="4"/>
                    </a:cubicBezTo>
                    <a:cubicBezTo>
                      <a:pt x="25" y="3"/>
                      <a:pt x="25" y="3"/>
                      <a:pt x="25" y="2"/>
                    </a:cubicBezTo>
                    <a:cubicBezTo>
                      <a:pt x="25" y="1"/>
                      <a:pt x="26" y="1"/>
                      <a:pt x="25" y="1"/>
                    </a:cubicBezTo>
                    <a:cubicBezTo>
                      <a:pt x="24" y="0"/>
                      <a:pt x="21" y="1"/>
                      <a:pt x="21" y="1"/>
                    </a:cubicBezTo>
                    <a:close/>
                  </a:path>
                </a:pathLst>
              </a:custGeom>
              <a:solidFill>
                <a:srgbClr val="0181C7"/>
              </a:solid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325" name="Freeform 7"/>
              <p:cNvSpPr>
                <a:spLocks/>
              </p:cNvSpPr>
              <p:nvPr/>
            </p:nvSpPr>
            <p:spPr bwMode="auto">
              <a:xfrm>
                <a:off x="2736" y="553"/>
                <a:ext cx="452" cy="1228"/>
              </a:xfrm>
              <a:custGeom>
                <a:avLst/>
                <a:gdLst>
                  <a:gd name="T0" fmla="*/ 169 w 225"/>
                  <a:gd name="T1" fmla="*/ 413 h 612"/>
                  <a:gd name="T2" fmla="*/ 175 w 225"/>
                  <a:gd name="T3" fmla="*/ 405 h 612"/>
                  <a:gd name="T4" fmla="*/ 160 w 225"/>
                  <a:gd name="T5" fmla="*/ 389 h 612"/>
                  <a:gd name="T6" fmla="*/ 140 w 225"/>
                  <a:gd name="T7" fmla="*/ 374 h 612"/>
                  <a:gd name="T8" fmla="*/ 129 w 225"/>
                  <a:gd name="T9" fmla="*/ 366 h 612"/>
                  <a:gd name="T10" fmla="*/ 121 w 225"/>
                  <a:gd name="T11" fmla="*/ 341 h 612"/>
                  <a:gd name="T12" fmla="*/ 128 w 225"/>
                  <a:gd name="T13" fmla="*/ 329 h 612"/>
                  <a:gd name="T14" fmla="*/ 125 w 225"/>
                  <a:gd name="T15" fmla="*/ 302 h 612"/>
                  <a:gd name="T16" fmla="*/ 131 w 225"/>
                  <a:gd name="T17" fmla="*/ 283 h 612"/>
                  <a:gd name="T18" fmla="*/ 141 w 225"/>
                  <a:gd name="T19" fmla="*/ 268 h 612"/>
                  <a:gd name="T20" fmla="*/ 150 w 225"/>
                  <a:gd name="T21" fmla="*/ 255 h 612"/>
                  <a:gd name="T22" fmla="*/ 159 w 225"/>
                  <a:gd name="T23" fmla="*/ 245 h 612"/>
                  <a:gd name="T24" fmla="*/ 170 w 225"/>
                  <a:gd name="T25" fmla="*/ 233 h 612"/>
                  <a:gd name="T26" fmla="*/ 180 w 225"/>
                  <a:gd name="T27" fmla="*/ 211 h 612"/>
                  <a:gd name="T28" fmla="*/ 187 w 225"/>
                  <a:gd name="T29" fmla="*/ 191 h 612"/>
                  <a:gd name="T30" fmla="*/ 178 w 225"/>
                  <a:gd name="T31" fmla="*/ 177 h 612"/>
                  <a:gd name="T32" fmla="*/ 185 w 225"/>
                  <a:gd name="T33" fmla="*/ 161 h 612"/>
                  <a:gd name="T34" fmla="*/ 188 w 225"/>
                  <a:gd name="T35" fmla="*/ 148 h 612"/>
                  <a:gd name="T36" fmla="*/ 196 w 225"/>
                  <a:gd name="T37" fmla="*/ 140 h 612"/>
                  <a:gd name="T38" fmla="*/ 210 w 225"/>
                  <a:gd name="T39" fmla="*/ 133 h 612"/>
                  <a:gd name="T40" fmla="*/ 216 w 225"/>
                  <a:gd name="T41" fmla="*/ 138 h 612"/>
                  <a:gd name="T42" fmla="*/ 221 w 225"/>
                  <a:gd name="T43" fmla="*/ 133 h 612"/>
                  <a:gd name="T44" fmla="*/ 224 w 225"/>
                  <a:gd name="T45" fmla="*/ 130 h 612"/>
                  <a:gd name="T46" fmla="*/ 212 w 225"/>
                  <a:gd name="T47" fmla="*/ 97 h 612"/>
                  <a:gd name="T48" fmla="*/ 199 w 225"/>
                  <a:gd name="T49" fmla="*/ 63 h 612"/>
                  <a:gd name="T50" fmla="*/ 188 w 225"/>
                  <a:gd name="T51" fmla="*/ 34 h 612"/>
                  <a:gd name="T52" fmla="*/ 162 w 225"/>
                  <a:gd name="T53" fmla="*/ 21 h 612"/>
                  <a:gd name="T54" fmla="*/ 145 w 225"/>
                  <a:gd name="T55" fmla="*/ 4 h 612"/>
                  <a:gd name="T56" fmla="*/ 134 w 225"/>
                  <a:gd name="T57" fmla="*/ 23 h 612"/>
                  <a:gd name="T58" fmla="*/ 103 w 225"/>
                  <a:gd name="T59" fmla="*/ 52 h 612"/>
                  <a:gd name="T60" fmla="*/ 76 w 225"/>
                  <a:gd name="T61" fmla="*/ 76 h 612"/>
                  <a:gd name="T62" fmla="*/ 67 w 225"/>
                  <a:gd name="T63" fmla="*/ 133 h 612"/>
                  <a:gd name="T64" fmla="*/ 54 w 225"/>
                  <a:gd name="T65" fmla="*/ 178 h 612"/>
                  <a:gd name="T66" fmla="*/ 46 w 225"/>
                  <a:gd name="T67" fmla="*/ 231 h 612"/>
                  <a:gd name="T68" fmla="*/ 15 w 225"/>
                  <a:gd name="T69" fmla="*/ 281 h 612"/>
                  <a:gd name="T70" fmla="*/ 28 w 225"/>
                  <a:gd name="T71" fmla="*/ 343 h 612"/>
                  <a:gd name="T72" fmla="*/ 24 w 225"/>
                  <a:gd name="T73" fmla="*/ 378 h 612"/>
                  <a:gd name="T74" fmla="*/ 23 w 225"/>
                  <a:gd name="T75" fmla="*/ 410 h 612"/>
                  <a:gd name="T76" fmla="*/ 13 w 225"/>
                  <a:gd name="T77" fmla="*/ 426 h 612"/>
                  <a:gd name="T78" fmla="*/ 10 w 225"/>
                  <a:gd name="T79" fmla="*/ 458 h 612"/>
                  <a:gd name="T80" fmla="*/ 2 w 225"/>
                  <a:gd name="T81" fmla="*/ 474 h 612"/>
                  <a:gd name="T82" fmla="*/ 11 w 225"/>
                  <a:gd name="T83" fmla="*/ 483 h 612"/>
                  <a:gd name="T84" fmla="*/ 13 w 225"/>
                  <a:gd name="T85" fmla="*/ 498 h 612"/>
                  <a:gd name="T86" fmla="*/ 18 w 225"/>
                  <a:gd name="T87" fmla="*/ 510 h 612"/>
                  <a:gd name="T88" fmla="*/ 24 w 225"/>
                  <a:gd name="T89" fmla="*/ 523 h 612"/>
                  <a:gd name="T90" fmla="*/ 40 w 225"/>
                  <a:gd name="T91" fmla="*/ 553 h 612"/>
                  <a:gd name="T92" fmla="*/ 40 w 225"/>
                  <a:gd name="T93" fmla="*/ 563 h 612"/>
                  <a:gd name="T94" fmla="*/ 45 w 225"/>
                  <a:gd name="T95" fmla="*/ 586 h 612"/>
                  <a:gd name="T96" fmla="*/ 49 w 225"/>
                  <a:gd name="T97" fmla="*/ 608 h 612"/>
                  <a:gd name="T98" fmla="*/ 67 w 225"/>
                  <a:gd name="T99" fmla="*/ 606 h 612"/>
                  <a:gd name="T100" fmla="*/ 84 w 225"/>
                  <a:gd name="T101" fmla="*/ 604 h 612"/>
                  <a:gd name="T102" fmla="*/ 82 w 225"/>
                  <a:gd name="T103" fmla="*/ 588 h 612"/>
                  <a:gd name="T104" fmla="*/ 96 w 225"/>
                  <a:gd name="T105" fmla="*/ 583 h 612"/>
                  <a:gd name="T106" fmla="*/ 105 w 225"/>
                  <a:gd name="T107" fmla="*/ 573 h 612"/>
                  <a:gd name="T108" fmla="*/ 129 w 225"/>
                  <a:gd name="T109" fmla="*/ 547 h 612"/>
                  <a:gd name="T110" fmla="*/ 132 w 225"/>
                  <a:gd name="T111" fmla="*/ 502 h 612"/>
                  <a:gd name="T112" fmla="*/ 129 w 225"/>
                  <a:gd name="T113" fmla="*/ 472 h 612"/>
                  <a:gd name="T114" fmla="*/ 145 w 225"/>
                  <a:gd name="T115" fmla="*/ 452 h 612"/>
                  <a:gd name="T116" fmla="*/ 151 w 225"/>
                  <a:gd name="T117" fmla="*/ 449 h 612"/>
                  <a:gd name="T118" fmla="*/ 164 w 225"/>
                  <a:gd name="T119" fmla="*/ 433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5" h="612">
                    <a:moveTo>
                      <a:pt x="162" y="432"/>
                    </a:moveTo>
                    <a:cubicBezTo>
                      <a:pt x="161" y="430"/>
                      <a:pt x="161" y="430"/>
                      <a:pt x="161" y="430"/>
                    </a:cubicBezTo>
                    <a:cubicBezTo>
                      <a:pt x="161" y="430"/>
                      <a:pt x="162" y="428"/>
                      <a:pt x="162" y="429"/>
                    </a:cubicBezTo>
                    <a:cubicBezTo>
                      <a:pt x="163" y="430"/>
                      <a:pt x="164" y="432"/>
                      <a:pt x="164" y="432"/>
                    </a:cubicBezTo>
                    <a:cubicBezTo>
                      <a:pt x="165" y="431"/>
                      <a:pt x="167" y="429"/>
                      <a:pt x="167" y="429"/>
                    </a:cubicBezTo>
                    <a:cubicBezTo>
                      <a:pt x="168" y="427"/>
                      <a:pt x="162" y="424"/>
                      <a:pt x="160" y="423"/>
                    </a:cubicBezTo>
                    <a:cubicBezTo>
                      <a:pt x="160" y="420"/>
                      <a:pt x="168" y="416"/>
                      <a:pt x="169" y="415"/>
                    </a:cubicBezTo>
                    <a:cubicBezTo>
                      <a:pt x="169" y="414"/>
                      <a:pt x="169" y="413"/>
                      <a:pt x="169" y="413"/>
                    </a:cubicBezTo>
                    <a:cubicBezTo>
                      <a:pt x="169" y="412"/>
                      <a:pt x="168" y="412"/>
                      <a:pt x="168" y="412"/>
                    </a:cubicBezTo>
                    <a:cubicBezTo>
                      <a:pt x="167" y="413"/>
                      <a:pt x="167" y="414"/>
                      <a:pt x="166" y="414"/>
                    </a:cubicBezTo>
                    <a:cubicBezTo>
                      <a:pt x="166" y="414"/>
                      <a:pt x="165" y="414"/>
                      <a:pt x="165" y="414"/>
                    </a:cubicBezTo>
                    <a:cubicBezTo>
                      <a:pt x="165" y="414"/>
                      <a:pt x="164" y="412"/>
                      <a:pt x="165" y="412"/>
                    </a:cubicBezTo>
                    <a:cubicBezTo>
                      <a:pt x="165" y="411"/>
                      <a:pt x="164" y="411"/>
                      <a:pt x="166" y="410"/>
                    </a:cubicBezTo>
                    <a:cubicBezTo>
                      <a:pt x="167" y="409"/>
                      <a:pt x="167" y="409"/>
                      <a:pt x="168" y="409"/>
                    </a:cubicBezTo>
                    <a:cubicBezTo>
                      <a:pt x="169" y="408"/>
                      <a:pt x="169" y="408"/>
                      <a:pt x="170" y="408"/>
                    </a:cubicBezTo>
                    <a:cubicBezTo>
                      <a:pt x="171" y="408"/>
                      <a:pt x="175" y="405"/>
                      <a:pt x="175" y="405"/>
                    </a:cubicBezTo>
                    <a:cubicBezTo>
                      <a:pt x="175" y="403"/>
                      <a:pt x="175" y="403"/>
                      <a:pt x="175" y="403"/>
                    </a:cubicBezTo>
                    <a:cubicBezTo>
                      <a:pt x="175" y="403"/>
                      <a:pt x="174" y="401"/>
                      <a:pt x="173" y="401"/>
                    </a:cubicBezTo>
                    <a:cubicBezTo>
                      <a:pt x="173" y="401"/>
                      <a:pt x="169" y="398"/>
                      <a:pt x="169" y="398"/>
                    </a:cubicBezTo>
                    <a:cubicBezTo>
                      <a:pt x="169" y="398"/>
                      <a:pt x="168" y="398"/>
                      <a:pt x="168" y="397"/>
                    </a:cubicBezTo>
                    <a:cubicBezTo>
                      <a:pt x="167" y="397"/>
                      <a:pt x="166" y="395"/>
                      <a:pt x="166" y="395"/>
                    </a:cubicBezTo>
                    <a:cubicBezTo>
                      <a:pt x="164" y="392"/>
                      <a:pt x="163" y="394"/>
                      <a:pt x="160" y="393"/>
                    </a:cubicBezTo>
                    <a:cubicBezTo>
                      <a:pt x="159" y="393"/>
                      <a:pt x="158" y="390"/>
                      <a:pt x="158" y="390"/>
                    </a:cubicBezTo>
                    <a:cubicBezTo>
                      <a:pt x="158" y="390"/>
                      <a:pt x="160" y="390"/>
                      <a:pt x="160" y="389"/>
                    </a:cubicBezTo>
                    <a:cubicBezTo>
                      <a:pt x="160" y="388"/>
                      <a:pt x="158" y="386"/>
                      <a:pt x="158" y="386"/>
                    </a:cubicBezTo>
                    <a:cubicBezTo>
                      <a:pt x="156" y="384"/>
                      <a:pt x="156" y="384"/>
                      <a:pt x="156" y="384"/>
                    </a:cubicBezTo>
                    <a:cubicBezTo>
                      <a:pt x="154" y="381"/>
                      <a:pt x="154" y="388"/>
                      <a:pt x="151" y="382"/>
                    </a:cubicBezTo>
                    <a:cubicBezTo>
                      <a:pt x="151" y="382"/>
                      <a:pt x="151" y="382"/>
                      <a:pt x="150" y="380"/>
                    </a:cubicBezTo>
                    <a:cubicBezTo>
                      <a:pt x="149" y="379"/>
                      <a:pt x="146" y="377"/>
                      <a:pt x="146" y="377"/>
                    </a:cubicBezTo>
                    <a:cubicBezTo>
                      <a:pt x="146" y="377"/>
                      <a:pt x="146" y="375"/>
                      <a:pt x="145" y="374"/>
                    </a:cubicBezTo>
                    <a:cubicBezTo>
                      <a:pt x="145" y="374"/>
                      <a:pt x="144" y="372"/>
                      <a:pt x="144" y="372"/>
                    </a:cubicBezTo>
                    <a:cubicBezTo>
                      <a:pt x="140" y="374"/>
                      <a:pt x="140" y="374"/>
                      <a:pt x="140" y="374"/>
                    </a:cubicBezTo>
                    <a:cubicBezTo>
                      <a:pt x="138" y="377"/>
                      <a:pt x="138" y="377"/>
                      <a:pt x="138" y="377"/>
                    </a:cubicBezTo>
                    <a:cubicBezTo>
                      <a:pt x="138" y="377"/>
                      <a:pt x="137" y="376"/>
                      <a:pt x="137" y="375"/>
                    </a:cubicBezTo>
                    <a:cubicBezTo>
                      <a:pt x="137" y="375"/>
                      <a:pt x="137" y="372"/>
                      <a:pt x="137" y="372"/>
                    </a:cubicBezTo>
                    <a:cubicBezTo>
                      <a:pt x="137" y="372"/>
                      <a:pt x="135" y="371"/>
                      <a:pt x="134" y="371"/>
                    </a:cubicBezTo>
                    <a:cubicBezTo>
                      <a:pt x="134" y="371"/>
                      <a:pt x="131" y="371"/>
                      <a:pt x="131" y="371"/>
                    </a:cubicBezTo>
                    <a:cubicBezTo>
                      <a:pt x="128" y="370"/>
                      <a:pt x="128" y="370"/>
                      <a:pt x="128" y="370"/>
                    </a:cubicBezTo>
                    <a:cubicBezTo>
                      <a:pt x="128" y="368"/>
                      <a:pt x="128" y="368"/>
                      <a:pt x="128" y="368"/>
                    </a:cubicBezTo>
                    <a:cubicBezTo>
                      <a:pt x="128" y="368"/>
                      <a:pt x="129" y="367"/>
                      <a:pt x="129" y="366"/>
                    </a:cubicBezTo>
                    <a:cubicBezTo>
                      <a:pt x="129" y="365"/>
                      <a:pt x="127" y="363"/>
                      <a:pt x="127" y="363"/>
                    </a:cubicBezTo>
                    <a:cubicBezTo>
                      <a:pt x="127" y="361"/>
                      <a:pt x="127" y="361"/>
                      <a:pt x="127" y="361"/>
                    </a:cubicBezTo>
                    <a:cubicBezTo>
                      <a:pt x="124" y="359"/>
                      <a:pt x="124" y="359"/>
                      <a:pt x="124" y="359"/>
                    </a:cubicBezTo>
                    <a:cubicBezTo>
                      <a:pt x="124" y="359"/>
                      <a:pt x="125" y="356"/>
                      <a:pt x="125" y="356"/>
                    </a:cubicBezTo>
                    <a:cubicBezTo>
                      <a:pt x="125" y="355"/>
                      <a:pt x="123" y="348"/>
                      <a:pt x="123" y="348"/>
                    </a:cubicBezTo>
                    <a:cubicBezTo>
                      <a:pt x="123" y="348"/>
                      <a:pt x="124" y="344"/>
                      <a:pt x="124" y="344"/>
                    </a:cubicBezTo>
                    <a:cubicBezTo>
                      <a:pt x="124" y="344"/>
                      <a:pt x="123" y="341"/>
                      <a:pt x="123" y="341"/>
                    </a:cubicBezTo>
                    <a:cubicBezTo>
                      <a:pt x="121" y="341"/>
                      <a:pt x="121" y="341"/>
                      <a:pt x="121" y="341"/>
                    </a:cubicBezTo>
                    <a:cubicBezTo>
                      <a:pt x="121" y="337"/>
                      <a:pt x="121" y="337"/>
                      <a:pt x="121" y="337"/>
                    </a:cubicBezTo>
                    <a:cubicBezTo>
                      <a:pt x="121" y="335"/>
                      <a:pt x="121" y="335"/>
                      <a:pt x="121" y="335"/>
                    </a:cubicBezTo>
                    <a:cubicBezTo>
                      <a:pt x="120" y="333"/>
                      <a:pt x="120" y="333"/>
                      <a:pt x="120" y="333"/>
                    </a:cubicBezTo>
                    <a:cubicBezTo>
                      <a:pt x="120" y="333"/>
                      <a:pt x="121" y="332"/>
                      <a:pt x="122" y="332"/>
                    </a:cubicBezTo>
                    <a:cubicBezTo>
                      <a:pt x="122" y="332"/>
                      <a:pt x="122" y="329"/>
                      <a:pt x="122" y="329"/>
                    </a:cubicBezTo>
                    <a:cubicBezTo>
                      <a:pt x="122" y="329"/>
                      <a:pt x="123" y="327"/>
                      <a:pt x="123" y="327"/>
                    </a:cubicBezTo>
                    <a:cubicBezTo>
                      <a:pt x="123" y="327"/>
                      <a:pt x="126" y="329"/>
                      <a:pt x="126" y="329"/>
                    </a:cubicBezTo>
                    <a:cubicBezTo>
                      <a:pt x="126" y="329"/>
                      <a:pt x="128" y="330"/>
                      <a:pt x="128" y="329"/>
                    </a:cubicBezTo>
                    <a:cubicBezTo>
                      <a:pt x="128" y="328"/>
                      <a:pt x="128" y="326"/>
                      <a:pt x="128" y="326"/>
                    </a:cubicBezTo>
                    <a:cubicBezTo>
                      <a:pt x="128" y="326"/>
                      <a:pt x="126" y="324"/>
                      <a:pt x="125" y="324"/>
                    </a:cubicBezTo>
                    <a:cubicBezTo>
                      <a:pt x="125" y="323"/>
                      <a:pt x="125" y="319"/>
                      <a:pt x="125" y="319"/>
                    </a:cubicBezTo>
                    <a:cubicBezTo>
                      <a:pt x="125" y="319"/>
                      <a:pt x="124" y="316"/>
                      <a:pt x="124" y="316"/>
                    </a:cubicBezTo>
                    <a:cubicBezTo>
                      <a:pt x="124" y="316"/>
                      <a:pt x="125" y="314"/>
                      <a:pt x="125" y="314"/>
                    </a:cubicBezTo>
                    <a:cubicBezTo>
                      <a:pt x="126" y="308"/>
                      <a:pt x="126" y="308"/>
                      <a:pt x="126" y="308"/>
                    </a:cubicBezTo>
                    <a:cubicBezTo>
                      <a:pt x="126" y="304"/>
                      <a:pt x="126" y="304"/>
                      <a:pt x="126" y="304"/>
                    </a:cubicBezTo>
                    <a:cubicBezTo>
                      <a:pt x="125" y="302"/>
                      <a:pt x="125" y="302"/>
                      <a:pt x="125" y="302"/>
                    </a:cubicBezTo>
                    <a:cubicBezTo>
                      <a:pt x="124" y="300"/>
                      <a:pt x="124" y="300"/>
                      <a:pt x="124" y="300"/>
                    </a:cubicBezTo>
                    <a:cubicBezTo>
                      <a:pt x="122" y="298"/>
                      <a:pt x="122" y="298"/>
                      <a:pt x="122" y="298"/>
                    </a:cubicBezTo>
                    <a:cubicBezTo>
                      <a:pt x="124" y="294"/>
                      <a:pt x="124" y="294"/>
                      <a:pt x="124" y="294"/>
                    </a:cubicBezTo>
                    <a:cubicBezTo>
                      <a:pt x="126" y="293"/>
                      <a:pt x="126" y="293"/>
                      <a:pt x="126" y="293"/>
                    </a:cubicBezTo>
                    <a:cubicBezTo>
                      <a:pt x="128" y="291"/>
                      <a:pt x="128" y="291"/>
                      <a:pt x="128" y="291"/>
                    </a:cubicBezTo>
                    <a:cubicBezTo>
                      <a:pt x="128" y="291"/>
                      <a:pt x="131" y="289"/>
                      <a:pt x="131" y="289"/>
                    </a:cubicBezTo>
                    <a:cubicBezTo>
                      <a:pt x="131" y="288"/>
                      <a:pt x="131" y="285"/>
                      <a:pt x="131" y="285"/>
                    </a:cubicBezTo>
                    <a:cubicBezTo>
                      <a:pt x="131" y="283"/>
                      <a:pt x="131" y="283"/>
                      <a:pt x="131" y="283"/>
                    </a:cubicBezTo>
                    <a:cubicBezTo>
                      <a:pt x="133" y="284"/>
                      <a:pt x="133" y="284"/>
                      <a:pt x="133" y="284"/>
                    </a:cubicBezTo>
                    <a:cubicBezTo>
                      <a:pt x="132" y="281"/>
                      <a:pt x="132" y="281"/>
                      <a:pt x="132" y="281"/>
                    </a:cubicBezTo>
                    <a:cubicBezTo>
                      <a:pt x="132" y="281"/>
                      <a:pt x="133" y="279"/>
                      <a:pt x="133" y="279"/>
                    </a:cubicBezTo>
                    <a:cubicBezTo>
                      <a:pt x="134" y="279"/>
                      <a:pt x="135" y="278"/>
                      <a:pt x="135" y="278"/>
                    </a:cubicBezTo>
                    <a:cubicBezTo>
                      <a:pt x="135" y="278"/>
                      <a:pt x="136" y="275"/>
                      <a:pt x="136" y="275"/>
                    </a:cubicBezTo>
                    <a:cubicBezTo>
                      <a:pt x="136" y="275"/>
                      <a:pt x="137" y="276"/>
                      <a:pt x="138" y="275"/>
                    </a:cubicBezTo>
                    <a:cubicBezTo>
                      <a:pt x="139" y="274"/>
                      <a:pt x="139" y="274"/>
                      <a:pt x="139" y="273"/>
                    </a:cubicBezTo>
                    <a:cubicBezTo>
                      <a:pt x="139" y="272"/>
                      <a:pt x="141" y="268"/>
                      <a:pt x="141" y="268"/>
                    </a:cubicBezTo>
                    <a:cubicBezTo>
                      <a:pt x="141" y="268"/>
                      <a:pt x="141" y="267"/>
                      <a:pt x="141" y="267"/>
                    </a:cubicBezTo>
                    <a:cubicBezTo>
                      <a:pt x="142" y="267"/>
                      <a:pt x="144" y="267"/>
                      <a:pt x="143" y="266"/>
                    </a:cubicBezTo>
                    <a:cubicBezTo>
                      <a:pt x="143" y="265"/>
                      <a:pt x="141" y="263"/>
                      <a:pt x="141" y="263"/>
                    </a:cubicBezTo>
                    <a:cubicBezTo>
                      <a:pt x="143" y="260"/>
                      <a:pt x="143" y="260"/>
                      <a:pt x="143" y="260"/>
                    </a:cubicBezTo>
                    <a:cubicBezTo>
                      <a:pt x="143" y="260"/>
                      <a:pt x="146" y="258"/>
                      <a:pt x="146" y="258"/>
                    </a:cubicBezTo>
                    <a:cubicBezTo>
                      <a:pt x="146" y="258"/>
                      <a:pt x="147" y="259"/>
                      <a:pt x="147" y="258"/>
                    </a:cubicBezTo>
                    <a:cubicBezTo>
                      <a:pt x="148" y="258"/>
                      <a:pt x="148" y="257"/>
                      <a:pt x="149" y="257"/>
                    </a:cubicBezTo>
                    <a:cubicBezTo>
                      <a:pt x="149" y="257"/>
                      <a:pt x="150" y="256"/>
                      <a:pt x="150" y="255"/>
                    </a:cubicBezTo>
                    <a:cubicBezTo>
                      <a:pt x="151" y="255"/>
                      <a:pt x="152" y="253"/>
                      <a:pt x="152" y="253"/>
                    </a:cubicBezTo>
                    <a:cubicBezTo>
                      <a:pt x="152" y="252"/>
                      <a:pt x="153" y="248"/>
                      <a:pt x="153" y="248"/>
                    </a:cubicBezTo>
                    <a:cubicBezTo>
                      <a:pt x="153" y="246"/>
                      <a:pt x="153" y="246"/>
                      <a:pt x="153" y="246"/>
                    </a:cubicBezTo>
                    <a:cubicBezTo>
                      <a:pt x="154" y="245"/>
                      <a:pt x="154" y="245"/>
                      <a:pt x="154" y="245"/>
                    </a:cubicBezTo>
                    <a:cubicBezTo>
                      <a:pt x="156" y="243"/>
                      <a:pt x="156" y="243"/>
                      <a:pt x="156" y="243"/>
                    </a:cubicBezTo>
                    <a:cubicBezTo>
                      <a:pt x="156" y="243"/>
                      <a:pt x="157" y="243"/>
                      <a:pt x="157" y="243"/>
                    </a:cubicBezTo>
                    <a:cubicBezTo>
                      <a:pt x="157" y="244"/>
                      <a:pt x="157" y="245"/>
                      <a:pt x="157" y="245"/>
                    </a:cubicBezTo>
                    <a:cubicBezTo>
                      <a:pt x="159" y="245"/>
                      <a:pt x="159" y="245"/>
                      <a:pt x="159" y="245"/>
                    </a:cubicBezTo>
                    <a:cubicBezTo>
                      <a:pt x="159" y="245"/>
                      <a:pt x="159" y="244"/>
                      <a:pt x="159" y="244"/>
                    </a:cubicBezTo>
                    <a:cubicBezTo>
                      <a:pt x="159" y="245"/>
                      <a:pt x="160" y="245"/>
                      <a:pt x="160" y="245"/>
                    </a:cubicBezTo>
                    <a:cubicBezTo>
                      <a:pt x="160" y="245"/>
                      <a:pt x="161" y="243"/>
                      <a:pt x="161" y="243"/>
                    </a:cubicBezTo>
                    <a:cubicBezTo>
                      <a:pt x="161" y="240"/>
                      <a:pt x="161" y="240"/>
                      <a:pt x="161" y="240"/>
                    </a:cubicBezTo>
                    <a:cubicBezTo>
                      <a:pt x="161" y="240"/>
                      <a:pt x="163" y="239"/>
                      <a:pt x="163" y="238"/>
                    </a:cubicBezTo>
                    <a:cubicBezTo>
                      <a:pt x="164" y="237"/>
                      <a:pt x="166" y="234"/>
                      <a:pt x="166" y="234"/>
                    </a:cubicBezTo>
                    <a:cubicBezTo>
                      <a:pt x="168" y="234"/>
                      <a:pt x="168" y="234"/>
                      <a:pt x="168" y="234"/>
                    </a:cubicBezTo>
                    <a:cubicBezTo>
                      <a:pt x="168" y="234"/>
                      <a:pt x="169" y="233"/>
                      <a:pt x="170" y="233"/>
                    </a:cubicBezTo>
                    <a:cubicBezTo>
                      <a:pt x="170" y="233"/>
                      <a:pt x="173" y="230"/>
                      <a:pt x="173" y="230"/>
                    </a:cubicBezTo>
                    <a:cubicBezTo>
                      <a:pt x="173" y="230"/>
                      <a:pt x="173" y="229"/>
                      <a:pt x="173" y="228"/>
                    </a:cubicBezTo>
                    <a:cubicBezTo>
                      <a:pt x="174" y="228"/>
                      <a:pt x="175" y="227"/>
                      <a:pt x="175" y="227"/>
                    </a:cubicBezTo>
                    <a:cubicBezTo>
                      <a:pt x="175" y="227"/>
                      <a:pt x="177" y="223"/>
                      <a:pt x="177" y="223"/>
                    </a:cubicBezTo>
                    <a:cubicBezTo>
                      <a:pt x="178" y="223"/>
                      <a:pt x="178" y="223"/>
                      <a:pt x="178" y="222"/>
                    </a:cubicBezTo>
                    <a:cubicBezTo>
                      <a:pt x="178" y="221"/>
                      <a:pt x="179" y="218"/>
                      <a:pt x="179" y="218"/>
                    </a:cubicBezTo>
                    <a:cubicBezTo>
                      <a:pt x="180" y="216"/>
                      <a:pt x="180" y="216"/>
                      <a:pt x="180" y="216"/>
                    </a:cubicBezTo>
                    <a:cubicBezTo>
                      <a:pt x="180" y="211"/>
                      <a:pt x="180" y="211"/>
                      <a:pt x="180" y="211"/>
                    </a:cubicBezTo>
                    <a:cubicBezTo>
                      <a:pt x="182" y="207"/>
                      <a:pt x="182" y="207"/>
                      <a:pt x="182" y="207"/>
                    </a:cubicBezTo>
                    <a:cubicBezTo>
                      <a:pt x="182" y="207"/>
                      <a:pt x="183" y="205"/>
                      <a:pt x="183" y="205"/>
                    </a:cubicBezTo>
                    <a:cubicBezTo>
                      <a:pt x="183" y="205"/>
                      <a:pt x="184" y="203"/>
                      <a:pt x="185" y="203"/>
                    </a:cubicBezTo>
                    <a:cubicBezTo>
                      <a:pt x="185" y="202"/>
                      <a:pt x="187" y="199"/>
                      <a:pt x="187" y="199"/>
                    </a:cubicBezTo>
                    <a:cubicBezTo>
                      <a:pt x="187" y="199"/>
                      <a:pt x="188" y="197"/>
                      <a:pt x="188" y="196"/>
                    </a:cubicBezTo>
                    <a:cubicBezTo>
                      <a:pt x="188" y="196"/>
                      <a:pt x="188" y="196"/>
                      <a:pt x="188" y="196"/>
                    </a:cubicBezTo>
                    <a:cubicBezTo>
                      <a:pt x="188" y="194"/>
                      <a:pt x="188" y="194"/>
                      <a:pt x="188" y="194"/>
                    </a:cubicBezTo>
                    <a:cubicBezTo>
                      <a:pt x="187" y="191"/>
                      <a:pt x="187" y="191"/>
                      <a:pt x="187" y="191"/>
                    </a:cubicBezTo>
                    <a:cubicBezTo>
                      <a:pt x="183" y="188"/>
                      <a:pt x="183" y="188"/>
                      <a:pt x="183" y="188"/>
                    </a:cubicBezTo>
                    <a:cubicBezTo>
                      <a:pt x="181" y="188"/>
                      <a:pt x="181" y="188"/>
                      <a:pt x="181" y="188"/>
                    </a:cubicBezTo>
                    <a:cubicBezTo>
                      <a:pt x="180" y="186"/>
                      <a:pt x="180" y="186"/>
                      <a:pt x="180" y="186"/>
                    </a:cubicBezTo>
                    <a:cubicBezTo>
                      <a:pt x="181" y="185"/>
                      <a:pt x="181" y="185"/>
                      <a:pt x="181" y="185"/>
                    </a:cubicBezTo>
                    <a:cubicBezTo>
                      <a:pt x="179" y="182"/>
                      <a:pt x="179" y="182"/>
                      <a:pt x="179" y="182"/>
                    </a:cubicBezTo>
                    <a:cubicBezTo>
                      <a:pt x="178" y="181"/>
                      <a:pt x="178" y="181"/>
                      <a:pt x="178" y="181"/>
                    </a:cubicBezTo>
                    <a:cubicBezTo>
                      <a:pt x="177" y="179"/>
                      <a:pt x="177" y="179"/>
                      <a:pt x="177" y="179"/>
                    </a:cubicBezTo>
                    <a:cubicBezTo>
                      <a:pt x="177" y="179"/>
                      <a:pt x="178" y="177"/>
                      <a:pt x="178" y="177"/>
                    </a:cubicBezTo>
                    <a:cubicBezTo>
                      <a:pt x="178" y="177"/>
                      <a:pt x="179" y="176"/>
                      <a:pt x="179" y="175"/>
                    </a:cubicBezTo>
                    <a:cubicBezTo>
                      <a:pt x="179" y="175"/>
                      <a:pt x="181" y="173"/>
                      <a:pt x="181" y="173"/>
                    </a:cubicBezTo>
                    <a:cubicBezTo>
                      <a:pt x="181" y="173"/>
                      <a:pt x="182" y="171"/>
                      <a:pt x="182" y="170"/>
                    </a:cubicBezTo>
                    <a:cubicBezTo>
                      <a:pt x="182" y="170"/>
                      <a:pt x="183" y="170"/>
                      <a:pt x="183" y="169"/>
                    </a:cubicBezTo>
                    <a:cubicBezTo>
                      <a:pt x="183" y="168"/>
                      <a:pt x="182" y="165"/>
                      <a:pt x="182" y="165"/>
                    </a:cubicBezTo>
                    <a:cubicBezTo>
                      <a:pt x="182" y="165"/>
                      <a:pt x="182" y="163"/>
                      <a:pt x="183" y="162"/>
                    </a:cubicBezTo>
                    <a:cubicBezTo>
                      <a:pt x="183" y="162"/>
                      <a:pt x="183" y="161"/>
                      <a:pt x="183" y="161"/>
                    </a:cubicBezTo>
                    <a:cubicBezTo>
                      <a:pt x="183" y="161"/>
                      <a:pt x="185" y="161"/>
                      <a:pt x="185" y="161"/>
                    </a:cubicBezTo>
                    <a:cubicBezTo>
                      <a:pt x="186" y="162"/>
                      <a:pt x="186" y="160"/>
                      <a:pt x="186" y="160"/>
                    </a:cubicBezTo>
                    <a:cubicBezTo>
                      <a:pt x="186" y="160"/>
                      <a:pt x="186" y="157"/>
                      <a:pt x="185" y="157"/>
                    </a:cubicBezTo>
                    <a:cubicBezTo>
                      <a:pt x="185" y="157"/>
                      <a:pt x="184" y="156"/>
                      <a:pt x="184" y="156"/>
                    </a:cubicBezTo>
                    <a:cubicBezTo>
                      <a:pt x="184" y="156"/>
                      <a:pt x="184" y="155"/>
                      <a:pt x="184" y="155"/>
                    </a:cubicBezTo>
                    <a:cubicBezTo>
                      <a:pt x="185" y="155"/>
                      <a:pt x="186" y="154"/>
                      <a:pt x="186" y="154"/>
                    </a:cubicBezTo>
                    <a:cubicBezTo>
                      <a:pt x="189" y="153"/>
                      <a:pt x="189" y="153"/>
                      <a:pt x="189" y="153"/>
                    </a:cubicBezTo>
                    <a:cubicBezTo>
                      <a:pt x="188" y="150"/>
                      <a:pt x="188" y="150"/>
                      <a:pt x="188" y="150"/>
                    </a:cubicBezTo>
                    <a:cubicBezTo>
                      <a:pt x="188" y="148"/>
                      <a:pt x="188" y="148"/>
                      <a:pt x="188" y="148"/>
                    </a:cubicBezTo>
                    <a:cubicBezTo>
                      <a:pt x="188" y="148"/>
                      <a:pt x="191" y="149"/>
                      <a:pt x="191" y="149"/>
                    </a:cubicBezTo>
                    <a:cubicBezTo>
                      <a:pt x="191" y="149"/>
                      <a:pt x="191" y="151"/>
                      <a:pt x="192" y="151"/>
                    </a:cubicBezTo>
                    <a:cubicBezTo>
                      <a:pt x="193" y="150"/>
                      <a:pt x="193" y="149"/>
                      <a:pt x="193" y="149"/>
                    </a:cubicBezTo>
                    <a:cubicBezTo>
                      <a:pt x="193" y="149"/>
                      <a:pt x="193" y="147"/>
                      <a:pt x="194" y="147"/>
                    </a:cubicBezTo>
                    <a:cubicBezTo>
                      <a:pt x="196" y="148"/>
                      <a:pt x="197" y="146"/>
                      <a:pt x="197" y="146"/>
                    </a:cubicBezTo>
                    <a:cubicBezTo>
                      <a:pt x="197" y="146"/>
                      <a:pt x="199" y="144"/>
                      <a:pt x="199" y="144"/>
                    </a:cubicBezTo>
                    <a:cubicBezTo>
                      <a:pt x="199" y="144"/>
                      <a:pt x="199" y="141"/>
                      <a:pt x="198" y="141"/>
                    </a:cubicBezTo>
                    <a:cubicBezTo>
                      <a:pt x="197" y="141"/>
                      <a:pt x="197" y="141"/>
                      <a:pt x="196" y="140"/>
                    </a:cubicBezTo>
                    <a:cubicBezTo>
                      <a:pt x="196" y="139"/>
                      <a:pt x="197" y="139"/>
                      <a:pt x="198" y="138"/>
                    </a:cubicBezTo>
                    <a:cubicBezTo>
                      <a:pt x="199" y="138"/>
                      <a:pt x="199" y="139"/>
                      <a:pt x="200" y="138"/>
                    </a:cubicBezTo>
                    <a:cubicBezTo>
                      <a:pt x="201" y="137"/>
                      <a:pt x="202" y="136"/>
                      <a:pt x="202" y="136"/>
                    </a:cubicBezTo>
                    <a:cubicBezTo>
                      <a:pt x="202" y="135"/>
                      <a:pt x="204" y="135"/>
                      <a:pt x="204" y="135"/>
                    </a:cubicBezTo>
                    <a:cubicBezTo>
                      <a:pt x="207" y="134"/>
                      <a:pt x="207" y="134"/>
                      <a:pt x="207" y="134"/>
                    </a:cubicBezTo>
                    <a:cubicBezTo>
                      <a:pt x="207" y="132"/>
                      <a:pt x="207" y="132"/>
                      <a:pt x="207" y="132"/>
                    </a:cubicBezTo>
                    <a:cubicBezTo>
                      <a:pt x="207" y="132"/>
                      <a:pt x="209" y="132"/>
                      <a:pt x="209" y="132"/>
                    </a:cubicBezTo>
                    <a:cubicBezTo>
                      <a:pt x="209" y="132"/>
                      <a:pt x="210" y="133"/>
                      <a:pt x="210" y="133"/>
                    </a:cubicBezTo>
                    <a:cubicBezTo>
                      <a:pt x="210" y="133"/>
                      <a:pt x="211" y="133"/>
                      <a:pt x="212" y="132"/>
                    </a:cubicBezTo>
                    <a:cubicBezTo>
                      <a:pt x="212" y="132"/>
                      <a:pt x="211" y="131"/>
                      <a:pt x="212" y="131"/>
                    </a:cubicBezTo>
                    <a:cubicBezTo>
                      <a:pt x="213" y="132"/>
                      <a:pt x="213" y="132"/>
                      <a:pt x="213" y="132"/>
                    </a:cubicBezTo>
                    <a:cubicBezTo>
                      <a:pt x="213" y="133"/>
                      <a:pt x="214" y="133"/>
                      <a:pt x="214" y="133"/>
                    </a:cubicBezTo>
                    <a:cubicBezTo>
                      <a:pt x="214" y="133"/>
                      <a:pt x="215" y="134"/>
                      <a:pt x="215" y="134"/>
                    </a:cubicBezTo>
                    <a:cubicBezTo>
                      <a:pt x="216" y="134"/>
                      <a:pt x="216" y="135"/>
                      <a:pt x="216" y="136"/>
                    </a:cubicBezTo>
                    <a:cubicBezTo>
                      <a:pt x="216" y="136"/>
                      <a:pt x="216" y="136"/>
                      <a:pt x="216" y="137"/>
                    </a:cubicBezTo>
                    <a:cubicBezTo>
                      <a:pt x="216" y="138"/>
                      <a:pt x="216" y="138"/>
                      <a:pt x="216" y="138"/>
                    </a:cubicBezTo>
                    <a:cubicBezTo>
                      <a:pt x="216" y="138"/>
                      <a:pt x="218" y="140"/>
                      <a:pt x="218" y="139"/>
                    </a:cubicBezTo>
                    <a:cubicBezTo>
                      <a:pt x="218" y="139"/>
                      <a:pt x="218" y="139"/>
                      <a:pt x="218" y="138"/>
                    </a:cubicBezTo>
                    <a:cubicBezTo>
                      <a:pt x="218" y="136"/>
                      <a:pt x="218" y="136"/>
                      <a:pt x="218" y="135"/>
                    </a:cubicBezTo>
                    <a:cubicBezTo>
                      <a:pt x="218" y="134"/>
                      <a:pt x="216" y="132"/>
                      <a:pt x="217" y="132"/>
                    </a:cubicBezTo>
                    <a:cubicBezTo>
                      <a:pt x="217" y="132"/>
                      <a:pt x="217" y="131"/>
                      <a:pt x="218" y="131"/>
                    </a:cubicBezTo>
                    <a:cubicBezTo>
                      <a:pt x="219" y="131"/>
                      <a:pt x="218" y="130"/>
                      <a:pt x="219" y="131"/>
                    </a:cubicBezTo>
                    <a:cubicBezTo>
                      <a:pt x="220" y="132"/>
                      <a:pt x="220" y="132"/>
                      <a:pt x="221" y="133"/>
                    </a:cubicBezTo>
                    <a:cubicBezTo>
                      <a:pt x="221" y="133"/>
                      <a:pt x="221" y="132"/>
                      <a:pt x="221" y="133"/>
                    </a:cubicBezTo>
                    <a:cubicBezTo>
                      <a:pt x="222" y="133"/>
                      <a:pt x="222" y="134"/>
                      <a:pt x="222" y="135"/>
                    </a:cubicBezTo>
                    <a:cubicBezTo>
                      <a:pt x="222" y="135"/>
                      <a:pt x="222" y="136"/>
                      <a:pt x="222" y="136"/>
                    </a:cubicBezTo>
                    <a:cubicBezTo>
                      <a:pt x="222" y="137"/>
                      <a:pt x="224" y="139"/>
                      <a:pt x="224" y="139"/>
                    </a:cubicBezTo>
                    <a:cubicBezTo>
                      <a:pt x="224" y="139"/>
                      <a:pt x="225" y="137"/>
                      <a:pt x="225" y="137"/>
                    </a:cubicBezTo>
                    <a:cubicBezTo>
                      <a:pt x="225" y="137"/>
                      <a:pt x="225" y="136"/>
                      <a:pt x="225" y="135"/>
                    </a:cubicBezTo>
                    <a:cubicBezTo>
                      <a:pt x="225" y="135"/>
                      <a:pt x="225" y="134"/>
                      <a:pt x="225" y="134"/>
                    </a:cubicBezTo>
                    <a:cubicBezTo>
                      <a:pt x="225" y="134"/>
                      <a:pt x="223" y="131"/>
                      <a:pt x="223" y="131"/>
                    </a:cubicBezTo>
                    <a:cubicBezTo>
                      <a:pt x="223" y="131"/>
                      <a:pt x="223" y="131"/>
                      <a:pt x="224" y="130"/>
                    </a:cubicBezTo>
                    <a:cubicBezTo>
                      <a:pt x="224" y="130"/>
                      <a:pt x="224" y="129"/>
                      <a:pt x="225" y="129"/>
                    </a:cubicBezTo>
                    <a:cubicBezTo>
                      <a:pt x="219" y="119"/>
                      <a:pt x="219" y="119"/>
                      <a:pt x="219" y="119"/>
                    </a:cubicBezTo>
                    <a:cubicBezTo>
                      <a:pt x="211" y="113"/>
                      <a:pt x="211" y="113"/>
                      <a:pt x="211" y="113"/>
                    </a:cubicBezTo>
                    <a:cubicBezTo>
                      <a:pt x="211" y="108"/>
                      <a:pt x="211" y="108"/>
                      <a:pt x="211" y="108"/>
                    </a:cubicBezTo>
                    <a:cubicBezTo>
                      <a:pt x="209" y="105"/>
                      <a:pt x="209" y="105"/>
                      <a:pt x="209" y="105"/>
                    </a:cubicBezTo>
                    <a:cubicBezTo>
                      <a:pt x="209" y="105"/>
                      <a:pt x="209" y="105"/>
                      <a:pt x="209" y="105"/>
                    </a:cubicBezTo>
                    <a:cubicBezTo>
                      <a:pt x="209" y="105"/>
                      <a:pt x="209" y="101"/>
                      <a:pt x="210" y="100"/>
                    </a:cubicBezTo>
                    <a:cubicBezTo>
                      <a:pt x="211" y="100"/>
                      <a:pt x="211" y="98"/>
                      <a:pt x="212" y="97"/>
                    </a:cubicBezTo>
                    <a:cubicBezTo>
                      <a:pt x="211" y="96"/>
                      <a:pt x="211" y="94"/>
                      <a:pt x="211" y="92"/>
                    </a:cubicBezTo>
                    <a:cubicBezTo>
                      <a:pt x="211" y="92"/>
                      <a:pt x="212" y="88"/>
                      <a:pt x="212" y="88"/>
                    </a:cubicBezTo>
                    <a:cubicBezTo>
                      <a:pt x="211" y="85"/>
                      <a:pt x="211" y="85"/>
                      <a:pt x="211" y="85"/>
                    </a:cubicBezTo>
                    <a:cubicBezTo>
                      <a:pt x="202" y="73"/>
                      <a:pt x="202" y="73"/>
                      <a:pt x="202" y="73"/>
                    </a:cubicBezTo>
                    <a:cubicBezTo>
                      <a:pt x="202" y="67"/>
                      <a:pt x="202" y="67"/>
                      <a:pt x="202" y="67"/>
                    </a:cubicBezTo>
                    <a:cubicBezTo>
                      <a:pt x="201" y="66"/>
                      <a:pt x="201" y="66"/>
                      <a:pt x="201" y="66"/>
                    </a:cubicBezTo>
                    <a:cubicBezTo>
                      <a:pt x="201" y="65"/>
                      <a:pt x="201" y="64"/>
                      <a:pt x="201" y="63"/>
                    </a:cubicBezTo>
                    <a:cubicBezTo>
                      <a:pt x="199" y="63"/>
                      <a:pt x="199" y="63"/>
                      <a:pt x="199" y="63"/>
                    </a:cubicBezTo>
                    <a:cubicBezTo>
                      <a:pt x="196" y="59"/>
                      <a:pt x="196" y="59"/>
                      <a:pt x="196" y="59"/>
                    </a:cubicBezTo>
                    <a:cubicBezTo>
                      <a:pt x="197" y="54"/>
                      <a:pt x="197" y="54"/>
                      <a:pt x="197" y="54"/>
                    </a:cubicBezTo>
                    <a:cubicBezTo>
                      <a:pt x="195" y="44"/>
                      <a:pt x="195" y="44"/>
                      <a:pt x="195" y="44"/>
                    </a:cubicBezTo>
                    <a:cubicBezTo>
                      <a:pt x="196" y="40"/>
                      <a:pt x="196" y="40"/>
                      <a:pt x="196" y="40"/>
                    </a:cubicBezTo>
                    <a:cubicBezTo>
                      <a:pt x="193" y="39"/>
                      <a:pt x="193" y="39"/>
                      <a:pt x="193" y="39"/>
                    </a:cubicBezTo>
                    <a:cubicBezTo>
                      <a:pt x="190" y="35"/>
                      <a:pt x="190" y="35"/>
                      <a:pt x="190" y="35"/>
                    </a:cubicBezTo>
                    <a:cubicBezTo>
                      <a:pt x="190" y="35"/>
                      <a:pt x="190" y="35"/>
                      <a:pt x="190" y="35"/>
                    </a:cubicBezTo>
                    <a:cubicBezTo>
                      <a:pt x="189" y="35"/>
                      <a:pt x="188" y="35"/>
                      <a:pt x="188" y="34"/>
                    </a:cubicBezTo>
                    <a:cubicBezTo>
                      <a:pt x="188" y="34"/>
                      <a:pt x="187" y="33"/>
                      <a:pt x="183" y="27"/>
                    </a:cubicBezTo>
                    <a:cubicBezTo>
                      <a:pt x="177" y="25"/>
                      <a:pt x="177" y="25"/>
                      <a:pt x="177" y="25"/>
                    </a:cubicBezTo>
                    <a:cubicBezTo>
                      <a:pt x="173" y="24"/>
                      <a:pt x="173" y="24"/>
                      <a:pt x="173" y="24"/>
                    </a:cubicBezTo>
                    <a:cubicBezTo>
                      <a:pt x="171" y="23"/>
                      <a:pt x="171" y="23"/>
                      <a:pt x="171" y="23"/>
                    </a:cubicBezTo>
                    <a:cubicBezTo>
                      <a:pt x="170" y="24"/>
                      <a:pt x="170" y="24"/>
                      <a:pt x="169" y="24"/>
                    </a:cubicBezTo>
                    <a:cubicBezTo>
                      <a:pt x="168" y="24"/>
                      <a:pt x="167" y="24"/>
                      <a:pt x="166" y="22"/>
                    </a:cubicBezTo>
                    <a:cubicBezTo>
                      <a:pt x="166" y="21"/>
                      <a:pt x="165" y="21"/>
                      <a:pt x="165" y="20"/>
                    </a:cubicBezTo>
                    <a:cubicBezTo>
                      <a:pt x="162" y="21"/>
                      <a:pt x="162" y="21"/>
                      <a:pt x="162" y="21"/>
                    </a:cubicBezTo>
                    <a:cubicBezTo>
                      <a:pt x="159" y="18"/>
                      <a:pt x="159" y="18"/>
                      <a:pt x="159" y="18"/>
                    </a:cubicBezTo>
                    <a:cubicBezTo>
                      <a:pt x="159" y="17"/>
                      <a:pt x="159" y="17"/>
                      <a:pt x="158" y="17"/>
                    </a:cubicBezTo>
                    <a:cubicBezTo>
                      <a:pt x="157" y="17"/>
                      <a:pt x="155" y="16"/>
                      <a:pt x="155" y="15"/>
                    </a:cubicBezTo>
                    <a:cubicBezTo>
                      <a:pt x="155" y="15"/>
                      <a:pt x="155" y="15"/>
                      <a:pt x="155" y="15"/>
                    </a:cubicBezTo>
                    <a:cubicBezTo>
                      <a:pt x="153" y="11"/>
                      <a:pt x="153" y="11"/>
                      <a:pt x="153" y="11"/>
                    </a:cubicBezTo>
                    <a:cubicBezTo>
                      <a:pt x="150" y="11"/>
                      <a:pt x="150" y="11"/>
                      <a:pt x="150" y="11"/>
                    </a:cubicBezTo>
                    <a:cubicBezTo>
                      <a:pt x="145" y="8"/>
                      <a:pt x="145" y="8"/>
                      <a:pt x="145" y="8"/>
                    </a:cubicBezTo>
                    <a:cubicBezTo>
                      <a:pt x="145" y="4"/>
                      <a:pt x="145" y="4"/>
                      <a:pt x="145" y="4"/>
                    </a:cubicBezTo>
                    <a:cubicBezTo>
                      <a:pt x="140" y="2"/>
                      <a:pt x="140" y="2"/>
                      <a:pt x="140" y="2"/>
                    </a:cubicBezTo>
                    <a:cubicBezTo>
                      <a:pt x="140" y="2"/>
                      <a:pt x="140" y="2"/>
                      <a:pt x="140" y="2"/>
                    </a:cubicBezTo>
                    <a:cubicBezTo>
                      <a:pt x="140" y="2"/>
                      <a:pt x="139" y="1"/>
                      <a:pt x="139" y="0"/>
                    </a:cubicBezTo>
                    <a:cubicBezTo>
                      <a:pt x="137" y="1"/>
                      <a:pt x="137" y="1"/>
                      <a:pt x="137" y="1"/>
                    </a:cubicBezTo>
                    <a:cubicBezTo>
                      <a:pt x="134" y="1"/>
                      <a:pt x="134" y="1"/>
                      <a:pt x="134" y="1"/>
                    </a:cubicBezTo>
                    <a:cubicBezTo>
                      <a:pt x="134" y="1"/>
                      <a:pt x="133" y="2"/>
                      <a:pt x="133" y="2"/>
                    </a:cubicBezTo>
                    <a:cubicBezTo>
                      <a:pt x="133" y="3"/>
                      <a:pt x="136" y="10"/>
                      <a:pt x="136" y="12"/>
                    </a:cubicBezTo>
                    <a:cubicBezTo>
                      <a:pt x="137" y="13"/>
                      <a:pt x="137" y="18"/>
                      <a:pt x="134" y="23"/>
                    </a:cubicBezTo>
                    <a:cubicBezTo>
                      <a:pt x="137" y="25"/>
                      <a:pt x="137" y="25"/>
                      <a:pt x="137" y="25"/>
                    </a:cubicBezTo>
                    <a:cubicBezTo>
                      <a:pt x="134" y="30"/>
                      <a:pt x="134" y="30"/>
                      <a:pt x="134" y="30"/>
                    </a:cubicBezTo>
                    <a:cubicBezTo>
                      <a:pt x="129" y="31"/>
                      <a:pt x="129" y="31"/>
                      <a:pt x="129" y="31"/>
                    </a:cubicBezTo>
                    <a:cubicBezTo>
                      <a:pt x="129" y="31"/>
                      <a:pt x="124" y="30"/>
                      <a:pt x="123" y="29"/>
                    </a:cubicBezTo>
                    <a:cubicBezTo>
                      <a:pt x="122" y="28"/>
                      <a:pt x="119" y="26"/>
                      <a:pt x="117" y="27"/>
                    </a:cubicBezTo>
                    <a:cubicBezTo>
                      <a:pt x="116" y="27"/>
                      <a:pt x="105" y="27"/>
                      <a:pt x="105" y="27"/>
                    </a:cubicBezTo>
                    <a:cubicBezTo>
                      <a:pt x="102" y="30"/>
                      <a:pt x="104" y="47"/>
                      <a:pt x="104" y="49"/>
                    </a:cubicBezTo>
                    <a:cubicBezTo>
                      <a:pt x="103" y="52"/>
                      <a:pt x="103" y="52"/>
                      <a:pt x="103" y="52"/>
                    </a:cubicBezTo>
                    <a:cubicBezTo>
                      <a:pt x="98" y="52"/>
                      <a:pt x="98" y="52"/>
                      <a:pt x="98" y="52"/>
                    </a:cubicBezTo>
                    <a:cubicBezTo>
                      <a:pt x="91" y="48"/>
                      <a:pt x="91" y="48"/>
                      <a:pt x="91" y="48"/>
                    </a:cubicBezTo>
                    <a:cubicBezTo>
                      <a:pt x="87" y="55"/>
                      <a:pt x="87" y="55"/>
                      <a:pt x="87" y="55"/>
                    </a:cubicBezTo>
                    <a:cubicBezTo>
                      <a:pt x="87" y="55"/>
                      <a:pt x="84" y="58"/>
                      <a:pt x="84" y="59"/>
                    </a:cubicBezTo>
                    <a:cubicBezTo>
                      <a:pt x="84" y="60"/>
                      <a:pt x="82" y="63"/>
                      <a:pt x="82" y="64"/>
                    </a:cubicBezTo>
                    <a:cubicBezTo>
                      <a:pt x="82" y="64"/>
                      <a:pt x="83" y="70"/>
                      <a:pt x="83" y="70"/>
                    </a:cubicBezTo>
                    <a:cubicBezTo>
                      <a:pt x="81" y="73"/>
                      <a:pt x="81" y="73"/>
                      <a:pt x="81" y="73"/>
                    </a:cubicBezTo>
                    <a:cubicBezTo>
                      <a:pt x="76" y="76"/>
                      <a:pt x="76" y="76"/>
                      <a:pt x="76" y="76"/>
                    </a:cubicBezTo>
                    <a:cubicBezTo>
                      <a:pt x="76" y="80"/>
                      <a:pt x="76" y="80"/>
                      <a:pt x="76" y="80"/>
                    </a:cubicBezTo>
                    <a:cubicBezTo>
                      <a:pt x="76" y="80"/>
                      <a:pt x="79" y="85"/>
                      <a:pt x="80" y="86"/>
                    </a:cubicBezTo>
                    <a:cubicBezTo>
                      <a:pt x="81" y="87"/>
                      <a:pt x="82" y="94"/>
                      <a:pt x="82" y="94"/>
                    </a:cubicBezTo>
                    <a:cubicBezTo>
                      <a:pt x="82" y="94"/>
                      <a:pt x="80" y="99"/>
                      <a:pt x="79" y="101"/>
                    </a:cubicBezTo>
                    <a:cubicBezTo>
                      <a:pt x="78" y="103"/>
                      <a:pt x="72" y="111"/>
                      <a:pt x="72" y="111"/>
                    </a:cubicBezTo>
                    <a:cubicBezTo>
                      <a:pt x="68" y="121"/>
                      <a:pt x="68" y="121"/>
                      <a:pt x="68" y="121"/>
                    </a:cubicBezTo>
                    <a:cubicBezTo>
                      <a:pt x="68" y="129"/>
                      <a:pt x="68" y="129"/>
                      <a:pt x="68" y="129"/>
                    </a:cubicBezTo>
                    <a:cubicBezTo>
                      <a:pt x="67" y="133"/>
                      <a:pt x="67" y="133"/>
                      <a:pt x="67" y="133"/>
                    </a:cubicBezTo>
                    <a:cubicBezTo>
                      <a:pt x="62" y="138"/>
                      <a:pt x="62" y="138"/>
                      <a:pt x="62" y="138"/>
                    </a:cubicBezTo>
                    <a:cubicBezTo>
                      <a:pt x="54" y="139"/>
                      <a:pt x="54" y="139"/>
                      <a:pt x="54" y="139"/>
                    </a:cubicBezTo>
                    <a:cubicBezTo>
                      <a:pt x="52" y="142"/>
                      <a:pt x="52" y="142"/>
                      <a:pt x="52" y="142"/>
                    </a:cubicBezTo>
                    <a:cubicBezTo>
                      <a:pt x="56" y="155"/>
                      <a:pt x="56" y="155"/>
                      <a:pt x="56" y="155"/>
                    </a:cubicBezTo>
                    <a:cubicBezTo>
                      <a:pt x="54" y="161"/>
                      <a:pt x="54" y="161"/>
                      <a:pt x="54" y="161"/>
                    </a:cubicBezTo>
                    <a:cubicBezTo>
                      <a:pt x="53" y="167"/>
                      <a:pt x="53" y="167"/>
                      <a:pt x="53" y="167"/>
                    </a:cubicBezTo>
                    <a:cubicBezTo>
                      <a:pt x="53" y="167"/>
                      <a:pt x="52" y="172"/>
                      <a:pt x="53" y="173"/>
                    </a:cubicBezTo>
                    <a:cubicBezTo>
                      <a:pt x="54" y="174"/>
                      <a:pt x="54" y="178"/>
                      <a:pt x="54" y="178"/>
                    </a:cubicBezTo>
                    <a:cubicBezTo>
                      <a:pt x="51" y="180"/>
                      <a:pt x="51" y="180"/>
                      <a:pt x="51" y="180"/>
                    </a:cubicBezTo>
                    <a:cubicBezTo>
                      <a:pt x="52" y="185"/>
                      <a:pt x="52" y="185"/>
                      <a:pt x="52" y="185"/>
                    </a:cubicBezTo>
                    <a:cubicBezTo>
                      <a:pt x="39" y="205"/>
                      <a:pt x="39" y="205"/>
                      <a:pt x="39" y="205"/>
                    </a:cubicBezTo>
                    <a:cubicBezTo>
                      <a:pt x="42" y="210"/>
                      <a:pt x="42" y="210"/>
                      <a:pt x="42" y="210"/>
                    </a:cubicBezTo>
                    <a:cubicBezTo>
                      <a:pt x="49" y="211"/>
                      <a:pt x="49" y="211"/>
                      <a:pt x="49" y="211"/>
                    </a:cubicBezTo>
                    <a:cubicBezTo>
                      <a:pt x="50" y="224"/>
                      <a:pt x="50" y="224"/>
                      <a:pt x="50" y="224"/>
                    </a:cubicBezTo>
                    <a:cubicBezTo>
                      <a:pt x="47" y="230"/>
                      <a:pt x="47" y="230"/>
                      <a:pt x="47" y="230"/>
                    </a:cubicBezTo>
                    <a:cubicBezTo>
                      <a:pt x="46" y="231"/>
                      <a:pt x="46" y="231"/>
                      <a:pt x="46" y="231"/>
                    </a:cubicBezTo>
                    <a:cubicBezTo>
                      <a:pt x="27" y="233"/>
                      <a:pt x="27" y="233"/>
                      <a:pt x="27" y="233"/>
                    </a:cubicBezTo>
                    <a:cubicBezTo>
                      <a:pt x="16" y="246"/>
                      <a:pt x="16" y="246"/>
                      <a:pt x="16" y="246"/>
                    </a:cubicBezTo>
                    <a:cubicBezTo>
                      <a:pt x="15" y="254"/>
                      <a:pt x="15" y="254"/>
                      <a:pt x="15" y="254"/>
                    </a:cubicBezTo>
                    <a:cubicBezTo>
                      <a:pt x="15" y="259"/>
                      <a:pt x="15" y="259"/>
                      <a:pt x="15" y="259"/>
                    </a:cubicBezTo>
                    <a:cubicBezTo>
                      <a:pt x="15" y="259"/>
                      <a:pt x="12" y="263"/>
                      <a:pt x="11" y="264"/>
                    </a:cubicBezTo>
                    <a:cubicBezTo>
                      <a:pt x="11" y="265"/>
                      <a:pt x="11" y="270"/>
                      <a:pt x="11" y="270"/>
                    </a:cubicBezTo>
                    <a:cubicBezTo>
                      <a:pt x="15" y="276"/>
                      <a:pt x="15" y="276"/>
                      <a:pt x="15" y="276"/>
                    </a:cubicBezTo>
                    <a:cubicBezTo>
                      <a:pt x="15" y="281"/>
                      <a:pt x="15" y="281"/>
                      <a:pt x="15" y="281"/>
                    </a:cubicBezTo>
                    <a:cubicBezTo>
                      <a:pt x="13" y="284"/>
                      <a:pt x="13" y="284"/>
                      <a:pt x="13" y="284"/>
                    </a:cubicBezTo>
                    <a:cubicBezTo>
                      <a:pt x="14" y="289"/>
                      <a:pt x="14" y="289"/>
                      <a:pt x="14" y="289"/>
                    </a:cubicBezTo>
                    <a:cubicBezTo>
                      <a:pt x="14" y="289"/>
                      <a:pt x="15" y="291"/>
                      <a:pt x="14" y="292"/>
                    </a:cubicBezTo>
                    <a:cubicBezTo>
                      <a:pt x="13" y="293"/>
                      <a:pt x="13" y="295"/>
                      <a:pt x="13" y="296"/>
                    </a:cubicBezTo>
                    <a:cubicBezTo>
                      <a:pt x="13" y="297"/>
                      <a:pt x="19" y="308"/>
                      <a:pt x="19" y="308"/>
                    </a:cubicBezTo>
                    <a:cubicBezTo>
                      <a:pt x="20" y="333"/>
                      <a:pt x="20" y="333"/>
                      <a:pt x="20" y="333"/>
                    </a:cubicBezTo>
                    <a:cubicBezTo>
                      <a:pt x="22" y="339"/>
                      <a:pt x="22" y="339"/>
                      <a:pt x="22" y="339"/>
                    </a:cubicBezTo>
                    <a:cubicBezTo>
                      <a:pt x="28" y="343"/>
                      <a:pt x="28" y="343"/>
                      <a:pt x="28" y="343"/>
                    </a:cubicBezTo>
                    <a:cubicBezTo>
                      <a:pt x="32" y="348"/>
                      <a:pt x="32" y="348"/>
                      <a:pt x="32" y="348"/>
                    </a:cubicBezTo>
                    <a:cubicBezTo>
                      <a:pt x="33" y="354"/>
                      <a:pt x="33" y="354"/>
                      <a:pt x="33" y="354"/>
                    </a:cubicBezTo>
                    <a:cubicBezTo>
                      <a:pt x="33" y="354"/>
                      <a:pt x="32" y="360"/>
                      <a:pt x="32" y="361"/>
                    </a:cubicBezTo>
                    <a:cubicBezTo>
                      <a:pt x="32" y="362"/>
                      <a:pt x="28" y="361"/>
                      <a:pt x="28" y="361"/>
                    </a:cubicBezTo>
                    <a:cubicBezTo>
                      <a:pt x="24" y="362"/>
                      <a:pt x="24" y="362"/>
                      <a:pt x="24" y="362"/>
                    </a:cubicBezTo>
                    <a:cubicBezTo>
                      <a:pt x="20" y="366"/>
                      <a:pt x="20" y="366"/>
                      <a:pt x="20" y="366"/>
                    </a:cubicBezTo>
                    <a:cubicBezTo>
                      <a:pt x="21" y="371"/>
                      <a:pt x="21" y="371"/>
                      <a:pt x="21" y="371"/>
                    </a:cubicBezTo>
                    <a:cubicBezTo>
                      <a:pt x="24" y="378"/>
                      <a:pt x="24" y="378"/>
                      <a:pt x="24" y="378"/>
                    </a:cubicBezTo>
                    <a:cubicBezTo>
                      <a:pt x="29" y="384"/>
                      <a:pt x="29" y="384"/>
                      <a:pt x="29" y="384"/>
                    </a:cubicBezTo>
                    <a:cubicBezTo>
                      <a:pt x="30" y="389"/>
                      <a:pt x="30" y="389"/>
                      <a:pt x="30" y="389"/>
                    </a:cubicBezTo>
                    <a:cubicBezTo>
                      <a:pt x="28" y="394"/>
                      <a:pt x="28" y="394"/>
                      <a:pt x="28" y="394"/>
                    </a:cubicBezTo>
                    <a:cubicBezTo>
                      <a:pt x="26" y="396"/>
                      <a:pt x="26" y="396"/>
                      <a:pt x="26" y="396"/>
                    </a:cubicBezTo>
                    <a:cubicBezTo>
                      <a:pt x="28" y="400"/>
                      <a:pt x="28" y="400"/>
                      <a:pt x="28" y="400"/>
                    </a:cubicBezTo>
                    <a:cubicBezTo>
                      <a:pt x="28" y="404"/>
                      <a:pt x="28" y="404"/>
                      <a:pt x="28" y="404"/>
                    </a:cubicBezTo>
                    <a:cubicBezTo>
                      <a:pt x="28" y="404"/>
                      <a:pt x="26" y="407"/>
                      <a:pt x="26" y="407"/>
                    </a:cubicBezTo>
                    <a:cubicBezTo>
                      <a:pt x="26" y="408"/>
                      <a:pt x="23" y="410"/>
                      <a:pt x="23" y="410"/>
                    </a:cubicBezTo>
                    <a:cubicBezTo>
                      <a:pt x="21" y="413"/>
                      <a:pt x="21" y="413"/>
                      <a:pt x="21" y="413"/>
                    </a:cubicBezTo>
                    <a:cubicBezTo>
                      <a:pt x="18" y="414"/>
                      <a:pt x="18" y="414"/>
                      <a:pt x="18" y="414"/>
                    </a:cubicBezTo>
                    <a:cubicBezTo>
                      <a:pt x="18" y="414"/>
                      <a:pt x="17" y="413"/>
                      <a:pt x="16" y="413"/>
                    </a:cubicBezTo>
                    <a:cubicBezTo>
                      <a:pt x="15" y="414"/>
                      <a:pt x="14" y="415"/>
                      <a:pt x="14" y="415"/>
                    </a:cubicBezTo>
                    <a:cubicBezTo>
                      <a:pt x="14" y="418"/>
                      <a:pt x="14" y="418"/>
                      <a:pt x="14" y="418"/>
                    </a:cubicBezTo>
                    <a:cubicBezTo>
                      <a:pt x="16" y="420"/>
                      <a:pt x="16" y="420"/>
                      <a:pt x="16" y="420"/>
                    </a:cubicBezTo>
                    <a:cubicBezTo>
                      <a:pt x="15" y="424"/>
                      <a:pt x="15" y="424"/>
                      <a:pt x="15" y="424"/>
                    </a:cubicBezTo>
                    <a:cubicBezTo>
                      <a:pt x="13" y="426"/>
                      <a:pt x="13" y="426"/>
                      <a:pt x="13" y="426"/>
                    </a:cubicBezTo>
                    <a:cubicBezTo>
                      <a:pt x="10" y="427"/>
                      <a:pt x="10" y="427"/>
                      <a:pt x="10" y="427"/>
                    </a:cubicBezTo>
                    <a:cubicBezTo>
                      <a:pt x="11" y="432"/>
                      <a:pt x="11" y="432"/>
                      <a:pt x="11" y="432"/>
                    </a:cubicBezTo>
                    <a:cubicBezTo>
                      <a:pt x="15" y="437"/>
                      <a:pt x="15" y="437"/>
                      <a:pt x="15" y="437"/>
                    </a:cubicBezTo>
                    <a:cubicBezTo>
                      <a:pt x="15" y="442"/>
                      <a:pt x="15" y="442"/>
                      <a:pt x="15" y="442"/>
                    </a:cubicBezTo>
                    <a:cubicBezTo>
                      <a:pt x="12" y="447"/>
                      <a:pt x="12" y="447"/>
                      <a:pt x="12" y="447"/>
                    </a:cubicBezTo>
                    <a:cubicBezTo>
                      <a:pt x="12" y="453"/>
                      <a:pt x="12" y="453"/>
                      <a:pt x="12" y="453"/>
                    </a:cubicBezTo>
                    <a:cubicBezTo>
                      <a:pt x="11" y="457"/>
                      <a:pt x="11" y="457"/>
                      <a:pt x="11" y="457"/>
                    </a:cubicBezTo>
                    <a:cubicBezTo>
                      <a:pt x="10" y="458"/>
                      <a:pt x="10" y="458"/>
                      <a:pt x="10" y="458"/>
                    </a:cubicBezTo>
                    <a:cubicBezTo>
                      <a:pt x="7" y="458"/>
                      <a:pt x="7" y="458"/>
                      <a:pt x="7" y="458"/>
                    </a:cubicBezTo>
                    <a:cubicBezTo>
                      <a:pt x="7" y="458"/>
                      <a:pt x="7" y="453"/>
                      <a:pt x="6" y="453"/>
                    </a:cubicBezTo>
                    <a:cubicBezTo>
                      <a:pt x="6" y="452"/>
                      <a:pt x="1" y="448"/>
                      <a:pt x="1" y="448"/>
                    </a:cubicBezTo>
                    <a:cubicBezTo>
                      <a:pt x="0" y="452"/>
                      <a:pt x="0" y="452"/>
                      <a:pt x="0" y="452"/>
                    </a:cubicBezTo>
                    <a:cubicBezTo>
                      <a:pt x="0" y="458"/>
                      <a:pt x="0" y="458"/>
                      <a:pt x="0" y="458"/>
                    </a:cubicBezTo>
                    <a:cubicBezTo>
                      <a:pt x="0" y="458"/>
                      <a:pt x="1" y="461"/>
                      <a:pt x="1" y="462"/>
                    </a:cubicBezTo>
                    <a:cubicBezTo>
                      <a:pt x="2" y="463"/>
                      <a:pt x="3" y="468"/>
                      <a:pt x="3" y="468"/>
                    </a:cubicBezTo>
                    <a:cubicBezTo>
                      <a:pt x="2" y="474"/>
                      <a:pt x="2" y="474"/>
                      <a:pt x="2" y="474"/>
                    </a:cubicBezTo>
                    <a:cubicBezTo>
                      <a:pt x="2" y="474"/>
                      <a:pt x="3" y="478"/>
                      <a:pt x="4" y="478"/>
                    </a:cubicBezTo>
                    <a:cubicBezTo>
                      <a:pt x="4" y="479"/>
                      <a:pt x="4" y="482"/>
                      <a:pt x="4" y="482"/>
                    </a:cubicBezTo>
                    <a:cubicBezTo>
                      <a:pt x="7" y="481"/>
                      <a:pt x="7" y="481"/>
                      <a:pt x="7" y="481"/>
                    </a:cubicBezTo>
                    <a:cubicBezTo>
                      <a:pt x="7" y="479"/>
                      <a:pt x="7" y="479"/>
                      <a:pt x="7" y="479"/>
                    </a:cubicBezTo>
                    <a:cubicBezTo>
                      <a:pt x="9" y="482"/>
                      <a:pt x="9" y="482"/>
                      <a:pt x="9" y="482"/>
                    </a:cubicBezTo>
                    <a:cubicBezTo>
                      <a:pt x="9" y="482"/>
                      <a:pt x="8" y="483"/>
                      <a:pt x="9" y="483"/>
                    </a:cubicBezTo>
                    <a:cubicBezTo>
                      <a:pt x="10" y="482"/>
                      <a:pt x="12" y="481"/>
                      <a:pt x="12" y="481"/>
                    </a:cubicBezTo>
                    <a:cubicBezTo>
                      <a:pt x="11" y="483"/>
                      <a:pt x="11" y="483"/>
                      <a:pt x="11" y="483"/>
                    </a:cubicBezTo>
                    <a:cubicBezTo>
                      <a:pt x="9" y="486"/>
                      <a:pt x="9" y="486"/>
                      <a:pt x="9" y="486"/>
                    </a:cubicBezTo>
                    <a:cubicBezTo>
                      <a:pt x="10" y="487"/>
                      <a:pt x="10" y="487"/>
                      <a:pt x="10" y="487"/>
                    </a:cubicBezTo>
                    <a:cubicBezTo>
                      <a:pt x="12" y="488"/>
                      <a:pt x="12" y="488"/>
                      <a:pt x="12" y="488"/>
                    </a:cubicBezTo>
                    <a:cubicBezTo>
                      <a:pt x="9" y="492"/>
                      <a:pt x="9" y="492"/>
                      <a:pt x="9" y="492"/>
                    </a:cubicBezTo>
                    <a:cubicBezTo>
                      <a:pt x="9" y="492"/>
                      <a:pt x="11" y="494"/>
                      <a:pt x="11" y="495"/>
                    </a:cubicBezTo>
                    <a:cubicBezTo>
                      <a:pt x="11" y="495"/>
                      <a:pt x="15" y="492"/>
                      <a:pt x="15" y="492"/>
                    </a:cubicBezTo>
                    <a:cubicBezTo>
                      <a:pt x="15" y="492"/>
                      <a:pt x="15" y="493"/>
                      <a:pt x="15" y="494"/>
                    </a:cubicBezTo>
                    <a:cubicBezTo>
                      <a:pt x="15" y="495"/>
                      <a:pt x="12" y="497"/>
                      <a:pt x="13" y="498"/>
                    </a:cubicBezTo>
                    <a:cubicBezTo>
                      <a:pt x="13" y="499"/>
                      <a:pt x="18" y="498"/>
                      <a:pt x="17" y="498"/>
                    </a:cubicBezTo>
                    <a:cubicBezTo>
                      <a:pt x="16" y="499"/>
                      <a:pt x="16" y="501"/>
                      <a:pt x="16" y="501"/>
                    </a:cubicBezTo>
                    <a:cubicBezTo>
                      <a:pt x="16" y="501"/>
                      <a:pt x="14" y="503"/>
                      <a:pt x="15" y="504"/>
                    </a:cubicBezTo>
                    <a:cubicBezTo>
                      <a:pt x="16" y="504"/>
                      <a:pt x="18" y="505"/>
                      <a:pt x="18" y="506"/>
                    </a:cubicBezTo>
                    <a:cubicBezTo>
                      <a:pt x="17" y="506"/>
                      <a:pt x="15" y="508"/>
                      <a:pt x="15" y="508"/>
                    </a:cubicBezTo>
                    <a:cubicBezTo>
                      <a:pt x="15" y="508"/>
                      <a:pt x="14" y="510"/>
                      <a:pt x="15" y="510"/>
                    </a:cubicBezTo>
                    <a:cubicBezTo>
                      <a:pt x="16" y="511"/>
                      <a:pt x="18" y="511"/>
                      <a:pt x="18" y="511"/>
                    </a:cubicBezTo>
                    <a:cubicBezTo>
                      <a:pt x="18" y="511"/>
                      <a:pt x="18" y="510"/>
                      <a:pt x="18" y="510"/>
                    </a:cubicBezTo>
                    <a:cubicBezTo>
                      <a:pt x="18" y="511"/>
                      <a:pt x="17" y="513"/>
                      <a:pt x="17" y="513"/>
                    </a:cubicBezTo>
                    <a:cubicBezTo>
                      <a:pt x="17" y="513"/>
                      <a:pt x="17" y="514"/>
                      <a:pt x="17" y="515"/>
                    </a:cubicBezTo>
                    <a:cubicBezTo>
                      <a:pt x="18" y="515"/>
                      <a:pt x="20" y="515"/>
                      <a:pt x="20" y="515"/>
                    </a:cubicBezTo>
                    <a:cubicBezTo>
                      <a:pt x="20" y="515"/>
                      <a:pt x="20" y="516"/>
                      <a:pt x="20" y="517"/>
                    </a:cubicBezTo>
                    <a:cubicBezTo>
                      <a:pt x="20" y="518"/>
                      <a:pt x="20" y="520"/>
                      <a:pt x="19" y="521"/>
                    </a:cubicBezTo>
                    <a:cubicBezTo>
                      <a:pt x="19" y="521"/>
                      <a:pt x="20" y="523"/>
                      <a:pt x="20" y="523"/>
                    </a:cubicBezTo>
                    <a:cubicBezTo>
                      <a:pt x="20" y="523"/>
                      <a:pt x="19" y="524"/>
                      <a:pt x="21" y="524"/>
                    </a:cubicBezTo>
                    <a:cubicBezTo>
                      <a:pt x="23" y="524"/>
                      <a:pt x="23" y="523"/>
                      <a:pt x="24" y="523"/>
                    </a:cubicBezTo>
                    <a:cubicBezTo>
                      <a:pt x="24" y="523"/>
                      <a:pt x="25" y="524"/>
                      <a:pt x="25" y="525"/>
                    </a:cubicBezTo>
                    <a:cubicBezTo>
                      <a:pt x="25" y="526"/>
                      <a:pt x="26" y="527"/>
                      <a:pt x="26" y="528"/>
                    </a:cubicBezTo>
                    <a:cubicBezTo>
                      <a:pt x="26" y="529"/>
                      <a:pt x="29" y="537"/>
                      <a:pt x="29" y="537"/>
                    </a:cubicBezTo>
                    <a:cubicBezTo>
                      <a:pt x="29" y="537"/>
                      <a:pt x="30" y="540"/>
                      <a:pt x="31" y="541"/>
                    </a:cubicBezTo>
                    <a:cubicBezTo>
                      <a:pt x="31" y="542"/>
                      <a:pt x="32" y="543"/>
                      <a:pt x="32" y="543"/>
                    </a:cubicBezTo>
                    <a:cubicBezTo>
                      <a:pt x="33" y="544"/>
                      <a:pt x="35" y="546"/>
                      <a:pt x="35" y="546"/>
                    </a:cubicBezTo>
                    <a:cubicBezTo>
                      <a:pt x="37" y="547"/>
                      <a:pt x="37" y="547"/>
                      <a:pt x="37" y="547"/>
                    </a:cubicBezTo>
                    <a:cubicBezTo>
                      <a:pt x="40" y="553"/>
                      <a:pt x="40" y="553"/>
                      <a:pt x="40" y="553"/>
                    </a:cubicBezTo>
                    <a:cubicBezTo>
                      <a:pt x="40" y="553"/>
                      <a:pt x="42" y="555"/>
                      <a:pt x="43" y="555"/>
                    </a:cubicBezTo>
                    <a:cubicBezTo>
                      <a:pt x="43" y="555"/>
                      <a:pt x="45" y="553"/>
                      <a:pt x="45" y="553"/>
                    </a:cubicBezTo>
                    <a:cubicBezTo>
                      <a:pt x="45" y="553"/>
                      <a:pt x="47" y="554"/>
                      <a:pt x="47" y="555"/>
                    </a:cubicBezTo>
                    <a:cubicBezTo>
                      <a:pt x="47" y="555"/>
                      <a:pt x="45" y="559"/>
                      <a:pt x="46" y="560"/>
                    </a:cubicBezTo>
                    <a:cubicBezTo>
                      <a:pt x="46" y="560"/>
                      <a:pt x="46" y="562"/>
                      <a:pt x="46" y="562"/>
                    </a:cubicBezTo>
                    <a:cubicBezTo>
                      <a:pt x="45" y="563"/>
                      <a:pt x="45" y="563"/>
                      <a:pt x="45" y="563"/>
                    </a:cubicBezTo>
                    <a:cubicBezTo>
                      <a:pt x="43" y="564"/>
                      <a:pt x="43" y="564"/>
                      <a:pt x="43" y="564"/>
                    </a:cubicBezTo>
                    <a:cubicBezTo>
                      <a:pt x="40" y="563"/>
                      <a:pt x="40" y="563"/>
                      <a:pt x="40" y="563"/>
                    </a:cubicBezTo>
                    <a:cubicBezTo>
                      <a:pt x="39" y="566"/>
                      <a:pt x="39" y="566"/>
                      <a:pt x="39" y="566"/>
                    </a:cubicBezTo>
                    <a:cubicBezTo>
                      <a:pt x="42" y="568"/>
                      <a:pt x="42" y="568"/>
                      <a:pt x="42" y="568"/>
                    </a:cubicBezTo>
                    <a:cubicBezTo>
                      <a:pt x="42" y="568"/>
                      <a:pt x="44" y="570"/>
                      <a:pt x="44" y="570"/>
                    </a:cubicBezTo>
                    <a:cubicBezTo>
                      <a:pt x="44" y="571"/>
                      <a:pt x="45" y="574"/>
                      <a:pt x="44" y="574"/>
                    </a:cubicBezTo>
                    <a:cubicBezTo>
                      <a:pt x="44" y="574"/>
                      <a:pt x="40" y="573"/>
                      <a:pt x="40" y="573"/>
                    </a:cubicBezTo>
                    <a:cubicBezTo>
                      <a:pt x="40" y="573"/>
                      <a:pt x="39" y="576"/>
                      <a:pt x="39" y="576"/>
                    </a:cubicBezTo>
                    <a:cubicBezTo>
                      <a:pt x="39" y="577"/>
                      <a:pt x="38" y="577"/>
                      <a:pt x="39" y="579"/>
                    </a:cubicBezTo>
                    <a:cubicBezTo>
                      <a:pt x="41" y="581"/>
                      <a:pt x="45" y="586"/>
                      <a:pt x="45" y="586"/>
                    </a:cubicBezTo>
                    <a:cubicBezTo>
                      <a:pt x="45" y="586"/>
                      <a:pt x="48" y="591"/>
                      <a:pt x="48" y="591"/>
                    </a:cubicBezTo>
                    <a:cubicBezTo>
                      <a:pt x="48" y="591"/>
                      <a:pt x="50" y="594"/>
                      <a:pt x="50" y="595"/>
                    </a:cubicBezTo>
                    <a:cubicBezTo>
                      <a:pt x="51" y="595"/>
                      <a:pt x="51" y="598"/>
                      <a:pt x="51" y="598"/>
                    </a:cubicBezTo>
                    <a:cubicBezTo>
                      <a:pt x="50" y="599"/>
                      <a:pt x="50" y="599"/>
                      <a:pt x="50" y="599"/>
                    </a:cubicBezTo>
                    <a:cubicBezTo>
                      <a:pt x="49" y="602"/>
                      <a:pt x="49" y="602"/>
                      <a:pt x="49" y="602"/>
                    </a:cubicBezTo>
                    <a:cubicBezTo>
                      <a:pt x="49" y="604"/>
                      <a:pt x="49" y="604"/>
                      <a:pt x="49" y="604"/>
                    </a:cubicBezTo>
                    <a:cubicBezTo>
                      <a:pt x="49" y="606"/>
                      <a:pt x="49" y="606"/>
                      <a:pt x="49" y="606"/>
                    </a:cubicBezTo>
                    <a:cubicBezTo>
                      <a:pt x="49" y="608"/>
                      <a:pt x="49" y="608"/>
                      <a:pt x="49" y="608"/>
                    </a:cubicBezTo>
                    <a:cubicBezTo>
                      <a:pt x="47" y="610"/>
                      <a:pt x="47" y="610"/>
                      <a:pt x="47" y="610"/>
                    </a:cubicBezTo>
                    <a:cubicBezTo>
                      <a:pt x="51" y="611"/>
                      <a:pt x="51" y="611"/>
                      <a:pt x="51" y="611"/>
                    </a:cubicBezTo>
                    <a:cubicBezTo>
                      <a:pt x="56" y="610"/>
                      <a:pt x="56" y="610"/>
                      <a:pt x="56" y="610"/>
                    </a:cubicBezTo>
                    <a:cubicBezTo>
                      <a:pt x="56" y="610"/>
                      <a:pt x="56" y="611"/>
                      <a:pt x="57" y="612"/>
                    </a:cubicBezTo>
                    <a:cubicBezTo>
                      <a:pt x="58" y="612"/>
                      <a:pt x="61" y="612"/>
                      <a:pt x="61" y="612"/>
                    </a:cubicBezTo>
                    <a:cubicBezTo>
                      <a:pt x="65" y="610"/>
                      <a:pt x="65" y="610"/>
                      <a:pt x="65" y="610"/>
                    </a:cubicBezTo>
                    <a:cubicBezTo>
                      <a:pt x="67" y="609"/>
                      <a:pt x="67" y="609"/>
                      <a:pt x="67" y="609"/>
                    </a:cubicBezTo>
                    <a:cubicBezTo>
                      <a:pt x="67" y="606"/>
                      <a:pt x="67" y="606"/>
                      <a:pt x="67" y="606"/>
                    </a:cubicBezTo>
                    <a:cubicBezTo>
                      <a:pt x="67" y="606"/>
                      <a:pt x="68" y="604"/>
                      <a:pt x="69" y="604"/>
                    </a:cubicBezTo>
                    <a:cubicBezTo>
                      <a:pt x="69" y="604"/>
                      <a:pt x="72" y="605"/>
                      <a:pt x="72" y="605"/>
                    </a:cubicBezTo>
                    <a:cubicBezTo>
                      <a:pt x="72" y="605"/>
                      <a:pt x="74" y="605"/>
                      <a:pt x="74" y="606"/>
                    </a:cubicBezTo>
                    <a:cubicBezTo>
                      <a:pt x="74" y="606"/>
                      <a:pt x="76" y="607"/>
                      <a:pt x="76" y="607"/>
                    </a:cubicBezTo>
                    <a:cubicBezTo>
                      <a:pt x="79" y="607"/>
                      <a:pt x="79" y="607"/>
                      <a:pt x="79" y="607"/>
                    </a:cubicBezTo>
                    <a:cubicBezTo>
                      <a:pt x="81" y="607"/>
                      <a:pt x="81" y="607"/>
                      <a:pt x="81" y="607"/>
                    </a:cubicBezTo>
                    <a:cubicBezTo>
                      <a:pt x="84" y="606"/>
                      <a:pt x="84" y="606"/>
                      <a:pt x="84" y="606"/>
                    </a:cubicBezTo>
                    <a:cubicBezTo>
                      <a:pt x="84" y="606"/>
                      <a:pt x="83" y="604"/>
                      <a:pt x="84" y="604"/>
                    </a:cubicBezTo>
                    <a:cubicBezTo>
                      <a:pt x="85" y="604"/>
                      <a:pt x="87" y="605"/>
                      <a:pt x="87" y="605"/>
                    </a:cubicBezTo>
                    <a:cubicBezTo>
                      <a:pt x="87" y="605"/>
                      <a:pt x="88" y="606"/>
                      <a:pt x="88" y="606"/>
                    </a:cubicBezTo>
                    <a:cubicBezTo>
                      <a:pt x="89" y="606"/>
                      <a:pt x="91" y="604"/>
                      <a:pt x="90" y="603"/>
                    </a:cubicBezTo>
                    <a:cubicBezTo>
                      <a:pt x="89" y="602"/>
                      <a:pt x="86" y="601"/>
                      <a:pt x="86" y="601"/>
                    </a:cubicBezTo>
                    <a:cubicBezTo>
                      <a:pt x="86" y="601"/>
                      <a:pt x="84" y="599"/>
                      <a:pt x="84" y="598"/>
                    </a:cubicBezTo>
                    <a:cubicBezTo>
                      <a:pt x="84" y="597"/>
                      <a:pt x="83" y="595"/>
                      <a:pt x="82" y="594"/>
                    </a:cubicBezTo>
                    <a:cubicBezTo>
                      <a:pt x="81" y="594"/>
                      <a:pt x="81" y="593"/>
                      <a:pt x="81" y="591"/>
                    </a:cubicBezTo>
                    <a:cubicBezTo>
                      <a:pt x="81" y="589"/>
                      <a:pt x="82" y="588"/>
                      <a:pt x="82" y="588"/>
                    </a:cubicBezTo>
                    <a:cubicBezTo>
                      <a:pt x="82" y="587"/>
                      <a:pt x="81" y="584"/>
                      <a:pt x="81" y="584"/>
                    </a:cubicBezTo>
                    <a:cubicBezTo>
                      <a:pt x="81" y="584"/>
                      <a:pt x="81" y="583"/>
                      <a:pt x="83" y="581"/>
                    </a:cubicBezTo>
                    <a:cubicBezTo>
                      <a:pt x="85" y="579"/>
                      <a:pt x="86" y="578"/>
                      <a:pt x="86" y="579"/>
                    </a:cubicBezTo>
                    <a:cubicBezTo>
                      <a:pt x="87" y="579"/>
                      <a:pt x="89" y="581"/>
                      <a:pt x="89" y="581"/>
                    </a:cubicBezTo>
                    <a:cubicBezTo>
                      <a:pt x="90" y="582"/>
                      <a:pt x="91" y="582"/>
                      <a:pt x="91" y="583"/>
                    </a:cubicBezTo>
                    <a:cubicBezTo>
                      <a:pt x="91" y="583"/>
                      <a:pt x="91" y="584"/>
                      <a:pt x="92" y="584"/>
                    </a:cubicBezTo>
                    <a:cubicBezTo>
                      <a:pt x="93" y="584"/>
                      <a:pt x="94" y="584"/>
                      <a:pt x="94" y="584"/>
                    </a:cubicBezTo>
                    <a:cubicBezTo>
                      <a:pt x="94" y="584"/>
                      <a:pt x="96" y="584"/>
                      <a:pt x="96" y="583"/>
                    </a:cubicBezTo>
                    <a:cubicBezTo>
                      <a:pt x="95" y="583"/>
                      <a:pt x="95" y="580"/>
                      <a:pt x="94" y="580"/>
                    </a:cubicBezTo>
                    <a:cubicBezTo>
                      <a:pt x="94" y="580"/>
                      <a:pt x="93" y="578"/>
                      <a:pt x="93" y="578"/>
                    </a:cubicBezTo>
                    <a:cubicBezTo>
                      <a:pt x="93" y="578"/>
                      <a:pt x="94" y="578"/>
                      <a:pt x="92" y="577"/>
                    </a:cubicBezTo>
                    <a:cubicBezTo>
                      <a:pt x="90" y="575"/>
                      <a:pt x="89" y="575"/>
                      <a:pt x="91" y="574"/>
                    </a:cubicBezTo>
                    <a:cubicBezTo>
                      <a:pt x="92" y="573"/>
                      <a:pt x="95" y="573"/>
                      <a:pt x="95" y="573"/>
                    </a:cubicBezTo>
                    <a:cubicBezTo>
                      <a:pt x="98" y="573"/>
                      <a:pt x="98" y="573"/>
                      <a:pt x="98" y="573"/>
                    </a:cubicBezTo>
                    <a:cubicBezTo>
                      <a:pt x="98" y="573"/>
                      <a:pt x="99" y="572"/>
                      <a:pt x="101" y="572"/>
                    </a:cubicBezTo>
                    <a:cubicBezTo>
                      <a:pt x="102" y="573"/>
                      <a:pt x="105" y="573"/>
                      <a:pt x="105" y="573"/>
                    </a:cubicBezTo>
                    <a:cubicBezTo>
                      <a:pt x="109" y="573"/>
                      <a:pt x="109" y="573"/>
                      <a:pt x="109" y="573"/>
                    </a:cubicBezTo>
                    <a:cubicBezTo>
                      <a:pt x="111" y="571"/>
                      <a:pt x="111" y="571"/>
                      <a:pt x="111" y="571"/>
                    </a:cubicBezTo>
                    <a:cubicBezTo>
                      <a:pt x="114" y="573"/>
                      <a:pt x="114" y="573"/>
                      <a:pt x="114" y="573"/>
                    </a:cubicBezTo>
                    <a:cubicBezTo>
                      <a:pt x="114" y="573"/>
                      <a:pt x="114" y="573"/>
                      <a:pt x="116" y="573"/>
                    </a:cubicBezTo>
                    <a:cubicBezTo>
                      <a:pt x="118" y="574"/>
                      <a:pt x="120" y="572"/>
                      <a:pt x="121" y="572"/>
                    </a:cubicBezTo>
                    <a:cubicBezTo>
                      <a:pt x="121" y="571"/>
                      <a:pt x="124" y="566"/>
                      <a:pt x="124" y="566"/>
                    </a:cubicBezTo>
                    <a:cubicBezTo>
                      <a:pt x="127" y="549"/>
                      <a:pt x="127" y="549"/>
                      <a:pt x="127" y="549"/>
                    </a:cubicBezTo>
                    <a:cubicBezTo>
                      <a:pt x="127" y="549"/>
                      <a:pt x="129" y="547"/>
                      <a:pt x="129" y="547"/>
                    </a:cubicBezTo>
                    <a:cubicBezTo>
                      <a:pt x="129" y="546"/>
                      <a:pt x="129" y="540"/>
                      <a:pt x="129" y="540"/>
                    </a:cubicBezTo>
                    <a:cubicBezTo>
                      <a:pt x="129" y="539"/>
                      <a:pt x="131" y="533"/>
                      <a:pt x="131" y="533"/>
                    </a:cubicBezTo>
                    <a:cubicBezTo>
                      <a:pt x="131" y="533"/>
                      <a:pt x="134" y="531"/>
                      <a:pt x="133" y="528"/>
                    </a:cubicBezTo>
                    <a:cubicBezTo>
                      <a:pt x="131" y="526"/>
                      <a:pt x="130" y="523"/>
                      <a:pt x="130" y="523"/>
                    </a:cubicBezTo>
                    <a:cubicBezTo>
                      <a:pt x="130" y="523"/>
                      <a:pt x="129" y="518"/>
                      <a:pt x="130" y="518"/>
                    </a:cubicBezTo>
                    <a:cubicBezTo>
                      <a:pt x="130" y="517"/>
                      <a:pt x="133" y="513"/>
                      <a:pt x="133" y="513"/>
                    </a:cubicBezTo>
                    <a:cubicBezTo>
                      <a:pt x="130" y="505"/>
                      <a:pt x="130" y="505"/>
                      <a:pt x="130" y="505"/>
                    </a:cubicBezTo>
                    <a:cubicBezTo>
                      <a:pt x="130" y="505"/>
                      <a:pt x="132" y="503"/>
                      <a:pt x="132" y="502"/>
                    </a:cubicBezTo>
                    <a:cubicBezTo>
                      <a:pt x="132" y="502"/>
                      <a:pt x="131" y="495"/>
                      <a:pt x="131" y="495"/>
                    </a:cubicBezTo>
                    <a:cubicBezTo>
                      <a:pt x="130" y="492"/>
                      <a:pt x="130" y="492"/>
                      <a:pt x="130" y="492"/>
                    </a:cubicBezTo>
                    <a:cubicBezTo>
                      <a:pt x="130" y="492"/>
                      <a:pt x="133" y="489"/>
                      <a:pt x="133" y="488"/>
                    </a:cubicBezTo>
                    <a:cubicBezTo>
                      <a:pt x="133" y="487"/>
                      <a:pt x="132" y="483"/>
                      <a:pt x="132" y="483"/>
                    </a:cubicBezTo>
                    <a:cubicBezTo>
                      <a:pt x="131" y="478"/>
                      <a:pt x="131" y="478"/>
                      <a:pt x="131" y="478"/>
                    </a:cubicBezTo>
                    <a:cubicBezTo>
                      <a:pt x="131" y="478"/>
                      <a:pt x="132" y="477"/>
                      <a:pt x="132" y="476"/>
                    </a:cubicBezTo>
                    <a:cubicBezTo>
                      <a:pt x="131" y="475"/>
                      <a:pt x="130" y="474"/>
                      <a:pt x="130" y="474"/>
                    </a:cubicBezTo>
                    <a:cubicBezTo>
                      <a:pt x="129" y="472"/>
                      <a:pt x="129" y="472"/>
                      <a:pt x="129" y="472"/>
                    </a:cubicBezTo>
                    <a:cubicBezTo>
                      <a:pt x="130" y="471"/>
                      <a:pt x="130" y="471"/>
                      <a:pt x="130" y="471"/>
                    </a:cubicBezTo>
                    <a:cubicBezTo>
                      <a:pt x="133" y="469"/>
                      <a:pt x="133" y="469"/>
                      <a:pt x="133" y="469"/>
                    </a:cubicBezTo>
                    <a:cubicBezTo>
                      <a:pt x="131" y="465"/>
                      <a:pt x="131" y="465"/>
                      <a:pt x="131" y="465"/>
                    </a:cubicBezTo>
                    <a:cubicBezTo>
                      <a:pt x="128" y="464"/>
                      <a:pt x="128" y="464"/>
                      <a:pt x="128" y="464"/>
                    </a:cubicBezTo>
                    <a:cubicBezTo>
                      <a:pt x="128" y="464"/>
                      <a:pt x="128" y="462"/>
                      <a:pt x="129" y="462"/>
                    </a:cubicBezTo>
                    <a:cubicBezTo>
                      <a:pt x="130" y="462"/>
                      <a:pt x="136" y="459"/>
                      <a:pt x="136" y="459"/>
                    </a:cubicBezTo>
                    <a:cubicBezTo>
                      <a:pt x="136" y="459"/>
                      <a:pt x="138" y="456"/>
                      <a:pt x="138" y="456"/>
                    </a:cubicBezTo>
                    <a:cubicBezTo>
                      <a:pt x="139" y="456"/>
                      <a:pt x="145" y="452"/>
                      <a:pt x="145" y="452"/>
                    </a:cubicBezTo>
                    <a:cubicBezTo>
                      <a:pt x="145" y="452"/>
                      <a:pt x="145" y="449"/>
                      <a:pt x="145" y="449"/>
                    </a:cubicBezTo>
                    <a:cubicBezTo>
                      <a:pt x="146" y="448"/>
                      <a:pt x="146" y="447"/>
                      <a:pt x="146" y="446"/>
                    </a:cubicBezTo>
                    <a:cubicBezTo>
                      <a:pt x="146" y="446"/>
                      <a:pt x="145" y="439"/>
                      <a:pt x="145" y="436"/>
                    </a:cubicBezTo>
                    <a:cubicBezTo>
                      <a:pt x="146" y="434"/>
                      <a:pt x="147" y="438"/>
                      <a:pt x="147" y="438"/>
                    </a:cubicBezTo>
                    <a:cubicBezTo>
                      <a:pt x="149" y="440"/>
                      <a:pt x="149" y="440"/>
                      <a:pt x="149" y="440"/>
                    </a:cubicBezTo>
                    <a:cubicBezTo>
                      <a:pt x="148" y="446"/>
                      <a:pt x="148" y="446"/>
                      <a:pt x="148" y="446"/>
                    </a:cubicBezTo>
                    <a:cubicBezTo>
                      <a:pt x="151" y="446"/>
                      <a:pt x="151" y="446"/>
                      <a:pt x="151" y="446"/>
                    </a:cubicBezTo>
                    <a:cubicBezTo>
                      <a:pt x="151" y="449"/>
                      <a:pt x="151" y="449"/>
                      <a:pt x="151" y="449"/>
                    </a:cubicBezTo>
                    <a:cubicBezTo>
                      <a:pt x="151" y="449"/>
                      <a:pt x="150" y="451"/>
                      <a:pt x="151" y="451"/>
                    </a:cubicBezTo>
                    <a:cubicBezTo>
                      <a:pt x="152" y="450"/>
                      <a:pt x="153" y="450"/>
                      <a:pt x="153" y="450"/>
                    </a:cubicBezTo>
                    <a:cubicBezTo>
                      <a:pt x="153" y="445"/>
                      <a:pt x="153" y="445"/>
                      <a:pt x="153" y="445"/>
                    </a:cubicBezTo>
                    <a:cubicBezTo>
                      <a:pt x="153" y="445"/>
                      <a:pt x="156" y="445"/>
                      <a:pt x="156" y="444"/>
                    </a:cubicBezTo>
                    <a:cubicBezTo>
                      <a:pt x="156" y="443"/>
                      <a:pt x="155" y="441"/>
                      <a:pt x="156" y="441"/>
                    </a:cubicBezTo>
                    <a:cubicBezTo>
                      <a:pt x="161" y="441"/>
                      <a:pt x="158" y="441"/>
                      <a:pt x="161" y="439"/>
                    </a:cubicBezTo>
                    <a:cubicBezTo>
                      <a:pt x="161" y="439"/>
                      <a:pt x="163" y="436"/>
                      <a:pt x="163" y="435"/>
                    </a:cubicBezTo>
                    <a:cubicBezTo>
                      <a:pt x="163" y="435"/>
                      <a:pt x="164" y="433"/>
                      <a:pt x="164" y="433"/>
                    </a:cubicBezTo>
                    <a:lnTo>
                      <a:pt x="162" y="432"/>
                    </a:lnTo>
                    <a:close/>
                  </a:path>
                </a:pathLst>
              </a:custGeom>
              <a:solidFill>
                <a:srgbClr val="0181C7"/>
              </a:solid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326" name="Freeform 8"/>
              <p:cNvSpPr>
                <a:spLocks/>
              </p:cNvSpPr>
              <p:nvPr/>
            </p:nvSpPr>
            <p:spPr bwMode="auto">
              <a:xfrm>
                <a:off x="3224" y="1606"/>
                <a:ext cx="287" cy="219"/>
              </a:xfrm>
              <a:custGeom>
                <a:avLst/>
                <a:gdLst>
                  <a:gd name="T0" fmla="*/ 84 w 143"/>
                  <a:gd name="T1" fmla="*/ 108 h 109"/>
                  <a:gd name="T2" fmla="*/ 103 w 143"/>
                  <a:gd name="T3" fmla="*/ 104 h 109"/>
                  <a:gd name="T4" fmla="*/ 107 w 143"/>
                  <a:gd name="T5" fmla="*/ 97 h 109"/>
                  <a:gd name="T6" fmla="*/ 113 w 143"/>
                  <a:gd name="T7" fmla="*/ 93 h 109"/>
                  <a:gd name="T8" fmla="*/ 115 w 143"/>
                  <a:gd name="T9" fmla="*/ 90 h 109"/>
                  <a:gd name="T10" fmla="*/ 123 w 143"/>
                  <a:gd name="T11" fmla="*/ 85 h 109"/>
                  <a:gd name="T12" fmla="*/ 124 w 143"/>
                  <a:gd name="T13" fmla="*/ 72 h 109"/>
                  <a:gd name="T14" fmla="*/ 124 w 143"/>
                  <a:gd name="T15" fmla="*/ 59 h 109"/>
                  <a:gd name="T16" fmla="*/ 132 w 143"/>
                  <a:gd name="T17" fmla="*/ 47 h 109"/>
                  <a:gd name="T18" fmla="*/ 140 w 143"/>
                  <a:gd name="T19" fmla="*/ 41 h 109"/>
                  <a:gd name="T20" fmla="*/ 135 w 143"/>
                  <a:gd name="T21" fmla="*/ 39 h 109"/>
                  <a:gd name="T22" fmla="*/ 135 w 143"/>
                  <a:gd name="T23" fmla="*/ 23 h 109"/>
                  <a:gd name="T24" fmla="*/ 130 w 143"/>
                  <a:gd name="T25" fmla="*/ 22 h 109"/>
                  <a:gd name="T26" fmla="*/ 123 w 143"/>
                  <a:gd name="T27" fmla="*/ 17 h 109"/>
                  <a:gd name="T28" fmla="*/ 116 w 143"/>
                  <a:gd name="T29" fmla="*/ 11 h 109"/>
                  <a:gd name="T30" fmla="*/ 109 w 143"/>
                  <a:gd name="T31" fmla="*/ 8 h 109"/>
                  <a:gd name="T32" fmla="*/ 97 w 143"/>
                  <a:gd name="T33" fmla="*/ 10 h 109"/>
                  <a:gd name="T34" fmla="*/ 90 w 143"/>
                  <a:gd name="T35" fmla="*/ 4 h 109"/>
                  <a:gd name="T36" fmla="*/ 82 w 143"/>
                  <a:gd name="T37" fmla="*/ 7 h 109"/>
                  <a:gd name="T38" fmla="*/ 74 w 143"/>
                  <a:gd name="T39" fmla="*/ 11 h 109"/>
                  <a:gd name="T40" fmla="*/ 60 w 143"/>
                  <a:gd name="T41" fmla="*/ 10 h 109"/>
                  <a:gd name="T42" fmla="*/ 50 w 143"/>
                  <a:gd name="T43" fmla="*/ 11 h 109"/>
                  <a:gd name="T44" fmla="*/ 42 w 143"/>
                  <a:gd name="T45" fmla="*/ 11 h 109"/>
                  <a:gd name="T46" fmla="*/ 27 w 143"/>
                  <a:gd name="T47" fmla="*/ 15 h 109"/>
                  <a:gd name="T48" fmla="*/ 15 w 143"/>
                  <a:gd name="T49" fmla="*/ 21 h 109"/>
                  <a:gd name="T50" fmla="*/ 7 w 143"/>
                  <a:gd name="T51" fmla="*/ 26 h 109"/>
                  <a:gd name="T52" fmla="*/ 1 w 143"/>
                  <a:gd name="T53" fmla="*/ 34 h 109"/>
                  <a:gd name="T54" fmla="*/ 3 w 143"/>
                  <a:gd name="T55" fmla="*/ 43 h 109"/>
                  <a:gd name="T56" fmla="*/ 9 w 143"/>
                  <a:gd name="T57" fmla="*/ 55 h 109"/>
                  <a:gd name="T58" fmla="*/ 12 w 143"/>
                  <a:gd name="T59" fmla="*/ 64 h 109"/>
                  <a:gd name="T60" fmla="*/ 14 w 143"/>
                  <a:gd name="T61" fmla="*/ 64 h 109"/>
                  <a:gd name="T62" fmla="*/ 16 w 143"/>
                  <a:gd name="T63" fmla="*/ 65 h 109"/>
                  <a:gd name="T64" fmla="*/ 26 w 143"/>
                  <a:gd name="T65" fmla="*/ 70 h 109"/>
                  <a:gd name="T66" fmla="*/ 39 w 143"/>
                  <a:gd name="T67" fmla="*/ 68 h 109"/>
                  <a:gd name="T68" fmla="*/ 50 w 143"/>
                  <a:gd name="T69" fmla="*/ 70 h 109"/>
                  <a:gd name="T70" fmla="*/ 56 w 143"/>
                  <a:gd name="T71" fmla="*/ 76 h 109"/>
                  <a:gd name="T72" fmla="*/ 55 w 143"/>
                  <a:gd name="T73" fmla="*/ 83 h 109"/>
                  <a:gd name="T74" fmla="*/ 57 w 143"/>
                  <a:gd name="T75" fmla="*/ 95 h 109"/>
                  <a:gd name="T76" fmla="*/ 58 w 143"/>
                  <a:gd name="T77" fmla="*/ 95 h 109"/>
                  <a:gd name="T78" fmla="*/ 60 w 143"/>
                  <a:gd name="T79" fmla="*/ 93 h 109"/>
                  <a:gd name="T80" fmla="*/ 63 w 143"/>
                  <a:gd name="T81" fmla="*/ 94 h 109"/>
                  <a:gd name="T82" fmla="*/ 65 w 143"/>
                  <a:gd name="T83" fmla="*/ 97 h 109"/>
                  <a:gd name="T84" fmla="*/ 69 w 143"/>
                  <a:gd name="T85" fmla="*/ 97 h 109"/>
                  <a:gd name="T86" fmla="*/ 79 w 143"/>
                  <a:gd name="T87" fmla="*/ 10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3" h="109">
                    <a:moveTo>
                      <a:pt x="79" y="106"/>
                    </a:moveTo>
                    <a:cubicBezTo>
                      <a:pt x="80" y="109"/>
                      <a:pt x="80" y="109"/>
                      <a:pt x="80" y="109"/>
                    </a:cubicBezTo>
                    <a:cubicBezTo>
                      <a:pt x="84" y="108"/>
                      <a:pt x="84" y="108"/>
                      <a:pt x="84" y="108"/>
                    </a:cubicBezTo>
                    <a:cubicBezTo>
                      <a:pt x="93" y="104"/>
                      <a:pt x="93" y="104"/>
                      <a:pt x="93" y="104"/>
                    </a:cubicBezTo>
                    <a:cubicBezTo>
                      <a:pt x="98" y="105"/>
                      <a:pt x="98" y="105"/>
                      <a:pt x="98" y="105"/>
                    </a:cubicBezTo>
                    <a:cubicBezTo>
                      <a:pt x="103" y="104"/>
                      <a:pt x="103" y="104"/>
                      <a:pt x="103" y="104"/>
                    </a:cubicBezTo>
                    <a:cubicBezTo>
                      <a:pt x="106" y="101"/>
                      <a:pt x="106" y="101"/>
                      <a:pt x="106" y="101"/>
                    </a:cubicBezTo>
                    <a:cubicBezTo>
                      <a:pt x="108" y="101"/>
                      <a:pt x="108" y="101"/>
                      <a:pt x="108" y="101"/>
                    </a:cubicBezTo>
                    <a:cubicBezTo>
                      <a:pt x="107" y="97"/>
                      <a:pt x="107" y="97"/>
                      <a:pt x="107" y="97"/>
                    </a:cubicBezTo>
                    <a:cubicBezTo>
                      <a:pt x="107" y="97"/>
                      <a:pt x="107" y="97"/>
                      <a:pt x="107" y="97"/>
                    </a:cubicBezTo>
                    <a:cubicBezTo>
                      <a:pt x="107" y="96"/>
                      <a:pt x="108" y="93"/>
                      <a:pt x="111" y="93"/>
                    </a:cubicBezTo>
                    <a:cubicBezTo>
                      <a:pt x="112" y="93"/>
                      <a:pt x="112" y="93"/>
                      <a:pt x="113" y="93"/>
                    </a:cubicBezTo>
                    <a:cubicBezTo>
                      <a:pt x="114" y="93"/>
                      <a:pt x="114" y="93"/>
                      <a:pt x="114" y="93"/>
                    </a:cubicBezTo>
                    <a:cubicBezTo>
                      <a:pt x="115" y="92"/>
                      <a:pt x="115" y="92"/>
                      <a:pt x="115" y="92"/>
                    </a:cubicBezTo>
                    <a:cubicBezTo>
                      <a:pt x="115" y="90"/>
                      <a:pt x="115" y="90"/>
                      <a:pt x="115" y="90"/>
                    </a:cubicBezTo>
                    <a:cubicBezTo>
                      <a:pt x="122" y="87"/>
                      <a:pt x="122" y="87"/>
                      <a:pt x="122" y="87"/>
                    </a:cubicBezTo>
                    <a:cubicBezTo>
                      <a:pt x="123" y="85"/>
                      <a:pt x="123" y="85"/>
                      <a:pt x="123" y="85"/>
                    </a:cubicBezTo>
                    <a:cubicBezTo>
                      <a:pt x="123" y="85"/>
                      <a:pt x="123" y="85"/>
                      <a:pt x="123" y="85"/>
                    </a:cubicBezTo>
                    <a:cubicBezTo>
                      <a:pt x="123" y="84"/>
                      <a:pt x="122" y="83"/>
                      <a:pt x="123" y="82"/>
                    </a:cubicBezTo>
                    <a:cubicBezTo>
                      <a:pt x="124" y="76"/>
                      <a:pt x="124" y="76"/>
                      <a:pt x="124" y="76"/>
                    </a:cubicBezTo>
                    <a:cubicBezTo>
                      <a:pt x="124" y="72"/>
                      <a:pt x="124" y="72"/>
                      <a:pt x="124" y="72"/>
                    </a:cubicBezTo>
                    <a:cubicBezTo>
                      <a:pt x="123" y="65"/>
                      <a:pt x="123" y="65"/>
                      <a:pt x="123" y="65"/>
                    </a:cubicBezTo>
                    <a:cubicBezTo>
                      <a:pt x="124" y="62"/>
                      <a:pt x="124" y="62"/>
                      <a:pt x="124" y="62"/>
                    </a:cubicBezTo>
                    <a:cubicBezTo>
                      <a:pt x="124" y="59"/>
                      <a:pt x="124" y="59"/>
                      <a:pt x="124" y="59"/>
                    </a:cubicBezTo>
                    <a:cubicBezTo>
                      <a:pt x="126" y="55"/>
                      <a:pt x="126" y="55"/>
                      <a:pt x="126" y="55"/>
                    </a:cubicBezTo>
                    <a:cubicBezTo>
                      <a:pt x="132" y="52"/>
                      <a:pt x="132" y="52"/>
                      <a:pt x="132" y="52"/>
                    </a:cubicBezTo>
                    <a:cubicBezTo>
                      <a:pt x="132" y="47"/>
                      <a:pt x="132" y="47"/>
                      <a:pt x="132" y="47"/>
                    </a:cubicBezTo>
                    <a:cubicBezTo>
                      <a:pt x="136" y="43"/>
                      <a:pt x="136" y="43"/>
                      <a:pt x="136" y="43"/>
                    </a:cubicBezTo>
                    <a:cubicBezTo>
                      <a:pt x="141" y="43"/>
                      <a:pt x="141" y="43"/>
                      <a:pt x="141" y="43"/>
                    </a:cubicBezTo>
                    <a:cubicBezTo>
                      <a:pt x="140" y="41"/>
                      <a:pt x="140" y="41"/>
                      <a:pt x="140" y="41"/>
                    </a:cubicBezTo>
                    <a:cubicBezTo>
                      <a:pt x="143" y="40"/>
                      <a:pt x="143" y="40"/>
                      <a:pt x="143" y="40"/>
                    </a:cubicBezTo>
                    <a:cubicBezTo>
                      <a:pt x="139" y="41"/>
                      <a:pt x="139" y="41"/>
                      <a:pt x="139" y="41"/>
                    </a:cubicBezTo>
                    <a:cubicBezTo>
                      <a:pt x="135" y="39"/>
                      <a:pt x="135" y="39"/>
                      <a:pt x="135" y="39"/>
                    </a:cubicBezTo>
                    <a:cubicBezTo>
                      <a:pt x="135" y="33"/>
                      <a:pt x="135" y="33"/>
                      <a:pt x="135" y="33"/>
                    </a:cubicBezTo>
                    <a:cubicBezTo>
                      <a:pt x="136" y="29"/>
                      <a:pt x="136" y="29"/>
                      <a:pt x="136" y="29"/>
                    </a:cubicBezTo>
                    <a:cubicBezTo>
                      <a:pt x="135" y="23"/>
                      <a:pt x="135" y="23"/>
                      <a:pt x="135" y="23"/>
                    </a:cubicBezTo>
                    <a:cubicBezTo>
                      <a:pt x="135" y="23"/>
                      <a:pt x="135" y="22"/>
                      <a:pt x="135" y="22"/>
                    </a:cubicBezTo>
                    <a:cubicBezTo>
                      <a:pt x="135" y="22"/>
                      <a:pt x="135" y="22"/>
                      <a:pt x="135" y="22"/>
                    </a:cubicBezTo>
                    <a:cubicBezTo>
                      <a:pt x="130" y="22"/>
                      <a:pt x="130" y="22"/>
                      <a:pt x="130" y="22"/>
                    </a:cubicBezTo>
                    <a:cubicBezTo>
                      <a:pt x="127" y="21"/>
                      <a:pt x="127" y="21"/>
                      <a:pt x="127" y="21"/>
                    </a:cubicBezTo>
                    <a:cubicBezTo>
                      <a:pt x="125" y="18"/>
                      <a:pt x="125" y="18"/>
                      <a:pt x="125" y="18"/>
                    </a:cubicBezTo>
                    <a:cubicBezTo>
                      <a:pt x="123" y="17"/>
                      <a:pt x="123" y="17"/>
                      <a:pt x="123" y="17"/>
                    </a:cubicBezTo>
                    <a:cubicBezTo>
                      <a:pt x="121" y="15"/>
                      <a:pt x="121" y="15"/>
                      <a:pt x="121" y="15"/>
                    </a:cubicBezTo>
                    <a:cubicBezTo>
                      <a:pt x="118" y="14"/>
                      <a:pt x="118" y="14"/>
                      <a:pt x="118" y="14"/>
                    </a:cubicBezTo>
                    <a:cubicBezTo>
                      <a:pt x="116" y="11"/>
                      <a:pt x="116" y="11"/>
                      <a:pt x="116" y="11"/>
                    </a:cubicBezTo>
                    <a:cubicBezTo>
                      <a:pt x="112" y="11"/>
                      <a:pt x="112" y="11"/>
                      <a:pt x="112" y="11"/>
                    </a:cubicBezTo>
                    <a:cubicBezTo>
                      <a:pt x="109" y="9"/>
                      <a:pt x="109" y="9"/>
                      <a:pt x="109" y="9"/>
                    </a:cubicBezTo>
                    <a:cubicBezTo>
                      <a:pt x="109" y="8"/>
                      <a:pt x="109" y="8"/>
                      <a:pt x="109" y="8"/>
                    </a:cubicBezTo>
                    <a:cubicBezTo>
                      <a:pt x="106" y="8"/>
                      <a:pt x="106" y="8"/>
                      <a:pt x="106" y="8"/>
                    </a:cubicBezTo>
                    <a:cubicBezTo>
                      <a:pt x="103" y="8"/>
                      <a:pt x="103" y="8"/>
                      <a:pt x="103" y="8"/>
                    </a:cubicBezTo>
                    <a:cubicBezTo>
                      <a:pt x="97" y="10"/>
                      <a:pt x="97" y="10"/>
                      <a:pt x="97" y="10"/>
                    </a:cubicBezTo>
                    <a:cubicBezTo>
                      <a:pt x="94" y="8"/>
                      <a:pt x="94" y="8"/>
                      <a:pt x="94" y="8"/>
                    </a:cubicBezTo>
                    <a:cubicBezTo>
                      <a:pt x="94" y="7"/>
                      <a:pt x="94" y="7"/>
                      <a:pt x="94" y="7"/>
                    </a:cubicBezTo>
                    <a:cubicBezTo>
                      <a:pt x="90" y="4"/>
                      <a:pt x="90" y="4"/>
                      <a:pt x="90" y="4"/>
                    </a:cubicBezTo>
                    <a:cubicBezTo>
                      <a:pt x="88" y="0"/>
                      <a:pt x="88" y="0"/>
                      <a:pt x="88" y="0"/>
                    </a:cubicBezTo>
                    <a:cubicBezTo>
                      <a:pt x="88" y="0"/>
                      <a:pt x="85" y="2"/>
                      <a:pt x="85" y="2"/>
                    </a:cubicBezTo>
                    <a:cubicBezTo>
                      <a:pt x="84" y="2"/>
                      <a:pt x="82" y="7"/>
                      <a:pt x="82" y="7"/>
                    </a:cubicBezTo>
                    <a:cubicBezTo>
                      <a:pt x="81" y="9"/>
                      <a:pt x="81" y="9"/>
                      <a:pt x="81" y="9"/>
                    </a:cubicBezTo>
                    <a:cubicBezTo>
                      <a:pt x="77" y="8"/>
                      <a:pt x="77" y="8"/>
                      <a:pt x="77" y="8"/>
                    </a:cubicBezTo>
                    <a:cubicBezTo>
                      <a:pt x="77" y="8"/>
                      <a:pt x="74" y="11"/>
                      <a:pt x="74" y="11"/>
                    </a:cubicBezTo>
                    <a:cubicBezTo>
                      <a:pt x="73" y="12"/>
                      <a:pt x="70" y="10"/>
                      <a:pt x="70" y="10"/>
                    </a:cubicBezTo>
                    <a:cubicBezTo>
                      <a:pt x="65" y="10"/>
                      <a:pt x="65" y="10"/>
                      <a:pt x="65" y="10"/>
                    </a:cubicBezTo>
                    <a:cubicBezTo>
                      <a:pt x="65" y="10"/>
                      <a:pt x="60" y="10"/>
                      <a:pt x="60" y="10"/>
                    </a:cubicBezTo>
                    <a:cubicBezTo>
                      <a:pt x="59" y="9"/>
                      <a:pt x="59" y="11"/>
                      <a:pt x="59" y="11"/>
                    </a:cubicBezTo>
                    <a:cubicBezTo>
                      <a:pt x="55" y="11"/>
                      <a:pt x="55" y="11"/>
                      <a:pt x="55" y="11"/>
                    </a:cubicBezTo>
                    <a:cubicBezTo>
                      <a:pt x="50" y="11"/>
                      <a:pt x="50" y="11"/>
                      <a:pt x="50" y="11"/>
                    </a:cubicBezTo>
                    <a:cubicBezTo>
                      <a:pt x="50" y="11"/>
                      <a:pt x="49" y="15"/>
                      <a:pt x="48" y="16"/>
                    </a:cubicBezTo>
                    <a:cubicBezTo>
                      <a:pt x="47" y="16"/>
                      <a:pt x="45" y="13"/>
                      <a:pt x="44" y="12"/>
                    </a:cubicBezTo>
                    <a:cubicBezTo>
                      <a:pt x="44" y="12"/>
                      <a:pt x="42" y="11"/>
                      <a:pt x="42" y="11"/>
                    </a:cubicBezTo>
                    <a:cubicBezTo>
                      <a:pt x="39" y="13"/>
                      <a:pt x="39" y="13"/>
                      <a:pt x="39" y="13"/>
                    </a:cubicBezTo>
                    <a:cubicBezTo>
                      <a:pt x="39" y="13"/>
                      <a:pt x="33" y="14"/>
                      <a:pt x="32" y="14"/>
                    </a:cubicBezTo>
                    <a:cubicBezTo>
                      <a:pt x="32" y="14"/>
                      <a:pt x="27" y="15"/>
                      <a:pt x="27" y="15"/>
                    </a:cubicBezTo>
                    <a:cubicBezTo>
                      <a:pt x="22" y="15"/>
                      <a:pt x="22" y="15"/>
                      <a:pt x="22" y="15"/>
                    </a:cubicBezTo>
                    <a:cubicBezTo>
                      <a:pt x="20" y="18"/>
                      <a:pt x="20" y="18"/>
                      <a:pt x="20" y="18"/>
                    </a:cubicBezTo>
                    <a:cubicBezTo>
                      <a:pt x="15" y="21"/>
                      <a:pt x="15" y="21"/>
                      <a:pt x="15" y="21"/>
                    </a:cubicBezTo>
                    <a:cubicBezTo>
                      <a:pt x="12" y="21"/>
                      <a:pt x="12" y="21"/>
                      <a:pt x="12" y="21"/>
                    </a:cubicBezTo>
                    <a:cubicBezTo>
                      <a:pt x="10" y="24"/>
                      <a:pt x="10" y="24"/>
                      <a:pt x="10" y="24"/>
                    </a:cubicBezTo>
                    <a:cubicBezTo>
                      <a:pt x="7" y="26"/>
                      <a:pt x="7" y="26"/>
                      <a:pt x="7" y="26"/>
                    </a:cubicBezTo>
                    <a:cubicBezTo>
                      <a:pt x="5" y="28"/>
                      <a:pt x="5" y="28"/>
                      <a:pt x="5" y="28"/>
                    </a:cubicBezTo>
                    <a:cubicBezTo>
                      <a:pt x="5" y="32"/>
                      <a:pt x="5" y="32"/>
                      <a:pt x="5" y="32"/>
                    </a:cubicBezTo>
                    <a:cubicBezTo>
                      <a:pt x="5" y="32"/>
                      <a:pt x="3" y="33"/>
                      <a:pt x="1" y="34"/>
                    </a:cubicBezTo>
                    <a:cubicBezTo>
                      <a:pt x="0" y="34"/>
                      <a:pt x="2" y="35"/>
                      <a:pt x="2" y="35"/>
                    </a:cubicBezTo>
                    <a:cubicBezTo>
                      <a:pt x="1" y="39"/>
                      <a:pt x="1" y="39"/>
                      <a:pt x="1" y="39"/>
                    </a:cubicBezTo>
                    <a:cubicBezTo>
                      <a:pt x="3" y="43"/>
                      <a:pt x="3" y="43"/>
                      <a:pt x="3" y="43"/>
                    </a:cubicBezTo>
                    <a:cubicBezTo>
                      <a:pt x="4" y="48"/>
                      <a:pt x="4" y="48"/>
                      <a:pt x="4" y="48"/>
                    </a:cubicBezTo>
                    <a:cubicBezTo>
                      <a:pt x="5" y="51"/>
                      <a:pt x="5" y="51"/>
                      <a:pt x="5" y="51"/>
                    </a:cubicBezTo>
                    <a:cubicBezTo>
                      <a:pt x="9" y="55"/>
                      <a:pt x="9" y="55"/>
                      <a:pt x="9" y="55"/>
                    </a:cubicBezTo>
                    <a:cubicBezTo>
                      <a:pt x="10" y="59"/>
                      <a:pt x="10" y="59"/>
                      <a:pt x="10" y="59"/>
                    </a:cubicBezTo>
                    <a:cubicBezTo>
                      <a:pt x="11" y="63"/>
                      <a:pt x="11" y="63"/>
                      <a:pt x="11" y="63"/>
                    </a:cubicBezTo>
                    <a:cubicBezTo>
                      <a:pt x="12" y="64"/>
                      <a:pt x="12" y="64"/>
                      <a:pt x="12" y="64"/>
                    </a:cubicBezTo>
                    <a:cubicBezTo>
                      <a:pt x="13" y="64"/>
                      <a:pt x="13" y="64"/>
                      <a:pt x="13" y="64"/>
                    </a:cubicBezTo>
                    <a:cubicBezTo>
                      <a:pt x="13" y="64"/>
                      <a:pt x="13" y="64"/>
                      <a:pt x="13" y="64"/>
                    </a:cubicBezTo>
                    <a:cubicBezTo>
                      <a:pt x="14" y="64"/>
                      <a:pt x="14" y="64"/>
                      <a:pt x="14" y="64"/>
                    </a:cubicBezTo>
                    <a:cubicBezTo>
                      <a:pt x="14" y="64"/>
                      <a:pt x="14" y="64"/>
                      <a:pt x="15" y="64"/>
                    </a:cubicBezTo>
                    <a:cubicBezTo>
                      <a:pt x="16" y="64"/>
                      <a:pt x="16" y="64"/>
                      <a:pt x="16" y="64"/>
                    </a:cubicBezTo>
                    <a:cubicBezTo>
                      <a:pt x="16" y="65"/>
                      <a:pt x="16" y="65"/>
                      <a:pt x="16" y="65"/>
                    </a:cubicBezTo>
                    <a:cubicBezTo>
                      <a:pt x="19" y="67"/>
                      <a:pt x="19" y="67"/>
                      <a:pt x="19" y="67"/>
                    </a:cubicBezTo>
                    <a:cubicBezTo>
                      <a:pt x="21" y="67"/>
                      <a:pt x="21" y="67"/>
                      <a:pt x="21" y="67"/>
                    </a:cubicBezTo>
                    <a:cubicBezTo>
                      <a:pt x="26" y="70"/>
                      <a:pt x="26" y="70"/>
                      <a:pt x="26" y="70"/>
                    </a:cubicBezTo>
                    <a:cubicBezTo>
                      <a:pt x="34" y="71"/>
                      <a:pt x="34" y="71"/>
                      <a:pt x="34" y="71"/>
                    </a:cubicBezTo>
                    <a:cubicBezTo>
                      <a:pt x="35" y="69"/>
                      <a:pt x="35" y="69"/>
                      <a:pt x="35" y="69"/>
                    </a:cubicBezTo>
                    <a:cubicBezTo>
                      <a:pt x="39" y="68"/>
                      <a:pt x="39" y="68"/>
                      <a:pt x="39" y="68"/>
                    </a:cubicBezTo>
                    <a:cubicBezTo>
                      <a:pt x="46" y="66"/>
                      <a:pt x="46" y="66"/>
                      <a:pt x="46" y="66"/>
                    </a:cubicBezTo>
                    <a:cubicBezTo>
                      <a:pt x="49" y="70"/>
                      <a:pt x="49" y="70"/>
                      <a:pt x="49" y="70"/>
                    </a:cubicBezTo>
                    <a:cubicBezTo>
                      <a:pt x="50" y="70"/>
                      <a:pt x="50" y="70"/>
                      <a:pt x="50" y="70"/>
                    </a:cubicBezTo>
                    <a:cubicBezTo>
                      <a:pt x="50" y="70"/>
                      <a:pt x="50" y="70"/>
                      <a:pt x="50" y="70"/>
                    </a:cubicBezTo>
                    <a:cubicBezTo>
                      <a:pt x="51" y="71"/>
                      <a:pt x="53" y="73"/>
                      <a:pt x="54" y="74"/>
                    </a:cubicBezTo>
                    <a:cubicBezTo>
                      <a:pt x="55" y="75"/>
                      <a:pt x="56" y="76"/>
                      <a:pt x="56" y="76"/>
                    </a:cubicBezTo>
                    <a:cubicBezTo>
                      <a:pt x="56" y="76"/>
                      <a:pt x="56" y="76"/>
                      <a:pt x="56" y="76"/>
                    </a:cubicBezTo>
                    <a:cubicBezTo>
                      <a:pt x="57" y="77"/>
                      <a:pt x="57" y="77"/>
                      <a:pt x="57" y="77"/>
                    </a:cubicBezTo>
                    <a:cubicBezTo>
                      <a:pt x="55" y="83"/>
                      <a:pt x="55" y="83"/>
                      <a:pt x="55" y="83"/>
                    </a:cubicBezTo>
                    <a:cubicBezTo>
                      <a:pt x="56" y="86"/>
                      <a:pt x="56" y="86"/>
                      <a:pt x="56" y="86"/>
                    </a:cubicBezTo>
                    <a:cubicBezTo>
                      <a:pt x="55" y="93"/>
                      <a:pt x="55" y="93"/>
                      <a:pt x="55" y="93"/>
                    </a:cubicBezTo>
                    <a:cubicBezTo>
                      <a:pt x="57" y="95"/>
                      <a:pt x="57" y="95"/>
                      <a:pt x="57" y="95"/>
                    </a:cubicBezTo>
                    <a:cubicBezTo>
                      <a:pt x="57" y="95"/>
                      <a:pt x="57" y="95"/>
                      <a:pt x="57" y="95"/>
                    </a:cubicBezTo>
                    <a:cubicBezTo>
                      <a:pt x="57" y="95"/>
                      <a:pt x="57" y="95"/>
                      <a:pt x="57" y="95"/>
                    </a:cubicBezTo>
                    <a:cubicBezTo>
                      <a:pt x="58" y="95"/>
                      <a:pt x="58" y="95"/>
                      <a:pt x="58" y="95"/>
                    </a:cubicBezTo>
                    <a:cubicBezTo>
                      <a:pt x="59" y="94"/>
                      <a:pt x="59" y="94"/>
                      <a:pt x="60" y="93"/>
                    </a:cubicBezTo>
                    <a:cubicBezTo>
                      <a:pt x="60" y="93"/>
                      <a:pt x="60" y="93"/>
                      <a:pt x="60" y="93"/>
                    </a:cubicBezTo>
                    <a:cubicBezTo>
                      <a:pt x="60" y="93"/>
                      <a:pt x="60" y="93"/>
                      <a:pt x="60" y="93"/>
                    </a:cubicBezTo>
                    <a:cubicBezTo>
                      <a:pt x="61" y="93"/>
                      <a:pt x="61" y="93"/>
                      <a:pt x="61" y="93"/>
                    </a:cubicBezTo>
                    <a:cubicBezTo>
                      <a:pt x="61" y="93"/>
                      <a:pt x="61" y="93"/>
                      <a:pt x="61" y="93"/>
                    </a:cubicBezTo>
                    <a:cubicBezTo>
                      <a:pt x="62" y="93"/>
                      <a:pt x="63" y="94"/>
                      <a:pt x="63" y="94"/>
                    </a:cubicBezTo>
                    <a:cubicBezTo>
                      <a:pt x="64" y="95"/>
                      <a:pt x="64" y="95"/>
                      <a:pt x="64" y="95"/>
                    </a:cubicBezTo>
                    <a:cubicBezTo>
                      <a:pt x="64" y="95"/>
                      <a:pt x="64" y="95"/>
                      <a:pt x="64" y="95"/>
                    </a:cubicBezTo>
                    <a:cubicBezTo>
                      <a:pt x="64" y="96"/>
                      <a:pt x="64" y="96"/>
                      <a:pt x="65" y="97"/>
                    </a:cubicBezTo>
                    <a:cubicBezTo>
                      <a:pt x="65" y="97"/>
                      <a:pt x="65" y="97"/>
                      <a:pt x="65" y="97"/>
                    </a:cubicBezTo>
                    <a:cubicBezTo>
                      <a:pt x="65" y="97"/>
                      <a:pt x="65" y="97"/>
                      <a:pt x="65" y="97"/>
                    </a:cubicBezTo>
                    <a:cubicBezTo>
                      <a:pt x="66" y="97"/>
                      <a:pt x="67" y="97"/>
                      <a:pt x="69" y="97"/>
                    </a:cubicBezTo>
                    <a:cubicBezTo>
                      <a:pt x="72" y="97"/>
                      <a:pt x="74" y="97"/>
                      <a:pt x="75" y="99"/>
                    </a:cubicBezTo>
                    <a:cubicBezTo>
                      <a:pt x="75" y="100"/>
                      <a:pt x="75" y="101"/>
                      <a:pt x="76" y="103"/>
                    </a:cubicBezTo>
                    <a:lnTo>
                      <a:pt x="79" y="106"/>
                    </a:lnTo>
                    <a:close/>
                  </a:path>
                </a:pathLst>
              </a:custGeom>
              <a:solidFill>
                <a:schemeClr val="bg1">
                  <a:lumMod val="75000"/>
                </a:schemeClr>
              </a:solid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327" name="Freeform 9"/>
              <p:cNvSpPr>
                <a:spLocks/>
              </p:cNvSpPr>
              <p:nvPr/>
            </p:nvSpPr>
            <p:spPr bwMode="auto">
              <a:xfrm>
                <a:off x="4986" y="2544"/>
                <a:ext cx="28" cy="4"/>
              </a:xfrm>
              <a:custGeom>
                <a:avLst/>
                <a:gdLst>
                  <a:gd name="T0" fmla="*/ 12 w 14"/>
                  <a:gd name="T1" fmla="*/ 2 h 2"/>
                  <a:gd name="T2" fmla="*/ 12 w 14"/>
                  <a:gd name="T3" fmla="*/ 2 h 2"/>
                  <a:gd name="T4" fmla="*/ 12 w 14"/>
                  <a:gd name="T5" fmla="*/ 2 h 2"/>
                  <a:gd name="T6" fmla="*/ 12 w 14"/>
                  <a:gd name="T7" fmla="*/ 2 h 2"/>
                  <a:gd name="T8" fmla="*/ 13 w 14"/>
                  <a:gd name="T9" fmla="*/ 2 h 2"/>
                  <a:gd name="T10" fmla="*/ 13 w 14"/>
                  <a:gd name="T11" fmla="*/ 2 h 2"/>
                  <a:gd name="T12" fmla="*/ 13 w 14"/>
                  <a:gd name="T13" fmla="*/ 1 h 2"/>
                  <a:gd name="T14" fmla="*/ 13 w 14"/>
                  <a:gd name="T15" fmla="*/ 1 h 2"/>
                  <a:gd name="T16" fmla="*/ 13 w 14"/>
                  <a:gd name="T17" fmla="*/ 1 h 2"/>
                  <a:gd name="T18" fmla="*/ 13 w 14"/>
                  <a:gd name="T19" fmla="*/ 1 h 2"/>
                  <a:gd name="T20" fmla="*/ 13 w 14"/>
                  <a:gd name="T21" fmla="*/ 1 h 2"/>
                  <a:gd name="T22" fmla="*/ 13 w 14"/>
                  <a:gd name="T23" fmla="*/ 1 h 2"/>
                  <a:gd name="T24" fmla="*/ 13 w 14"/>
                  <a:gd name="T25" fmla="*/ 1 h 2"/>
                  <a:gd name="T26" fmla="*/ 13 w 14"/>
                  <a:gd name="T27" fmla="*/ 1 h 2"/>
                  <a:gd name="T28" fmla="*/ 13 w 14"/>
                  <a:gd name="T29" fmla="*/ 1 h 2"/>
                  <a:gd name="T30" fmla="*/ 13 w 14"/>
                  <a:gd name="T31" fmla="*/ 1 h 2"/>
                  <a:gd name="T32" fmla="*/ 13 w 14"/>
                  <a:gd name="T33" fmla="*/ 1 h 2"/>
                  <a:gd name="T34" fmla="*/ 13 w 14"/>
                  <a:gd name="T35" fmla="*/ 1 h 2"/>
                  <a:gd name="T36" fmla="*/ 13 w 14"/>
                  <a:gd name="T37" fmla="*/ 1 h 2"/>
                  <a:gd name="T38" fmla="*/ 13 w 14"/>
                  <a:gd name="T39" fmla="*/ 1 h 2"/>
                  <a:gd name="T40" fmla="*/ 13 w 14"/>
                  <a:gd name="T41" fmla="*/ 1 h 2"/>
                  <a:gd name="T42" fmla="*/ 13 w 14"/>
                  <a:gd name="T43" fmla="*/ 1 h 2"/>
                  <a:gd name="T44" fmla="*/ 13 w 14"/>
                  <a:gd name="T45" fmla="*/ 1 h 2"/>
                  <a:gd name="T46" fmla="*/ 14 w 14"/>
                  <a:gd name="T47" fmla="*/ 1 h 2"/>
                  <a:gd name="T48" fmla="*/ 14 w 14"/>
                  <a:gd name="T49" fmla="*/ 1 h 2"/>
                  <a:gd name="T50" fmla="*/ 14 w 14"/>
                  <a:gd name="T51" fmla="*/ 1 h 2"/>
                  <a:gd name="T52" fmla="*/ 14 w 14"/>
                  <a:gd name="T53" fmla="*/ 1 h 2"/>
                  <a:gd name="T54" fmla="*/ 0 w 14"/>
                  <a:gd name="T55" fmla="*/ 0 h 2"/>
                  <a:gd name="T56" fmla="*/ 0 w 14"/>
                  <a:gd name="T57" fmla="*/ 1 h 2"/>
                  <a:gd name="T58" fmla="*/ 12 w 14"/>
                  <a:gd name="T5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 h="2">
                    <a:moveTo>
                      <a:pt x="12" y="2"/>
                    </a:moveTo>
                    <a:cubicBezTo>
                      <a:pt x="12" y="2"/>
                      <a:pt x="12" y="2"/>
                      <a:pt x="12" y="2"/>
                    </a:cubicBezTo>
                    <a:cubicBezTo>
                      <a:pt x="12" y="2"/>
                      <a:pt x="12" y="2"/>
                      <a:pt x="12" y="2"/>
                    </a:cubicBezTo>
                    <a:cubicBezTo>
                      <a:pt x="12" y="2"/>
                      <a:pt x="12" y="2"/>
                      <a:pt x="12" y="2"/>
                    </a:cubicBezTo>
                    <a:cubicBezTo>
                      <a:pt x="13" y="2"/>
                      <a:pt x="13" y="2"/>
                      <a:pt x="13" y="2"/>
                    </a:cubicBezTo>
                    <a:cubicBezTo>
                      <a:pt x="13" y="2"/>
                      <a:pt x="13" y="2"/>
                      <a:pt x="13" y="2"/>
                    </a:cubicBezTo>
                    <a:cubicBezTo>
                      <a:pt x="13" y="1"/>
                      <a:pt x="13" y="1"/>
                      <a:pt x="13" y="1"/>
                    </a:cubicBezTo>
                    <a:cubicBezTo>
                      <a:pt x="13" y="1"/>
                      <a:pt x="13" y="1"/>
                      <a:pt x="13" y="1"/>
                    </a:cubicBezTo>
                    <a:cubicBezTo>
                      <a:pt x="13" y="1"/>
                      <a:pt x="13" y="1"/>
                      <a:pt x="13" y="1"/>
                    </a:cubicBezTo>
                    <a:cubicBezTo>
                      <a:pt x="13" y="1"/>
                      <a:pt x="13" y="1"/>
                      <a:pt x="13" y="1"/>
                    </a:cubicBezTo>
                    <a:cubicBezTo>
                      <a:pt x="13" y="1"/>
                      <a:pt x="13" y="1"/>
                      <a:pt x="13" y="1"/>
                    </a:cubicBezTo>
                    <a:cubicBezTo>
                      <a:pt x="13" y="1"/>
                      <a:pt x="13" y="1"/>
                      <a:pt x="13" y="1"/>
                    </a:cubicBezTo>
                    <a:cubicBezTo>
                      <a:pt x="13" y="1"/>
                      <a:pt x="13" y="1"/>
                      <a:pt x="13" y="1"/>
                    </a:cubicBezTo>
                    <a:cubicBezTo>
                      <a:pt x="13" y="1"/>
                      <a:pt x="13" y="1"/>
                      <a:pt x="13" y="1"/>
                    </a:cubicBezTo>
                    <a:cubicBezTo>
                      <a:pt x="13" y="1"/>
                      <a:pt x="13" y="1"/>
                      <a:pt x="13" y="1"/>
                    </a:cubicBezTo>
                    <a:cubicBezTo>
                      <a:pt x="13" y="1"/>
                      <a:pt x="13" y="1"/>
                      <a:pt x="13" y="1"/>
                    </a:cubicBezTo>
                    <a:cubicBezTo>
                      <a:pt x="13" y="1"/>
                      <a:pt x="13" y="1"/>
                      <a:pt x="13" y="1"/>
                    </a:cubicBezTo>
                    <a:cubicBezTo>
                      <a:pt x="13" y="1"/>
                      <a:pt x="13" y="1"/>
                      <a:pt x="13" y="1"/>
                    </a:cubicBezTo>
                    <a:cubicBezTo>
                      <a:pt x="13" y="1"/>
                      <a:pt x="13" y="1"/>
                      <a:pt x="13" y="1"/>
                    </a:cubicBezTo>
                    <a:cubicBezTo>
                      <a:pt x="13" y="1"/>
                      <a:pt x="13" y="1"/>
                      <a:pt x="13" y="1"/>
                    </a:cubicBezTo>
                    <a:cubicBezTo>
                      <a:pt x="13" y="1"/>
                      <a:pt x="13" y="1"/>
                      <a:pt x="13" y="1"/>
                    </a:cubicBezTo>
                    <a:cubicBezTo>
                      <a:pt x="13" y="1"/>
                      <a:pt x="13" y="1"/>
                      <a:pt x="13" y="1"/>
                    </a:cubicBezTo>
                    <a:cubicBezTo>
                      <a:pt x="13" y="1"/>
                      <a:pt x="13" y="1"/>
                      <a:pt x="13" y="1"/>
                    </a:cubicBezTo>
                    <a:cubicBezTo>
                      <a:pt x="14" y="1"/>
                      <a:pt x="14" y="1"/>
                      <a:pt x="14" y="1"/>
                    </a:cubicBezTo>
                    <a:cubicBezTo>
                      <a:pt x="14" y="1"/>
                      <a:pt x="14" y="1"/>
                      <a:pt x="14" y="1"/>
                    </a:cubicBezTo>
                    <a:cubicBezTo>
                      <a:pt x="14" y="1"/>
                      <a:pt x="14" y="1"/>
                      <a:pt x="14" y="1"/>
                    </a:cubicBezTo>
                    <a:cubicBezTo>
                      <a:pt x="14" y="1"/>
                      <a:pt x="14" y="1"/>
                      <a:pt x="14" y="1"/>
                    </a:cubicBezTo>
                    <a:cubicBezTo>
                      <a:pt x="0" y="0"/>
                      <a:pt x="0" y="0"/>
                      <a:pt x="0" y="0"/>
                    </a:cubicBezTo>
                    <a:cubicBezTo>
                      <a:pt x="0" y="1"/>
                      <a:pt x="0" y="1"/>
                      <a:pt x="0" y="1"/>
                    </a:cubicBezTo>
                    <a:cubicBezTo>
                      <a:pt x="0" y="1"/>
                      <a:pt x="9" y="2"/>
                      <a:pt x="12" y="2"/>
                    </a:cubicBezTo>
                    <a:close/>
                  </a:path>
                </a:pathLst>
              </a:custGeom>
              <a:grp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328" name="Freeform 10"/>
              <p:cNvSpPr>
                <a:spLocks/>
              </p:cNvSpPr>
              <p:nvPr/>
            </p:nvSpPr>
            <p:spPr bwMode="auto">
              <a:xfrm>
                <a:off x="3778" y="2572"/>
                <a:ext cx="1280" cy="688"/>
              </a:xfrm>
              <a:custGeom>
                <a:avLst/>
                <a:gdLst>
                  <a:gd name="T0" fmla="*/ 608 w 638"/>
                  <a:gd name="T1" fmla="*/ 105 h 343"/>
                  <a:gd name="T2" fmla="*/ 576 w 638"/>
                  <a:gd name="T3" fmla="*/ 69 h 343"/>
                  <a:gd name="T4" fmla="*/ 578 w 638"/>
                  <a:gd name="T5" fmla="*/ 46 h 343"/>
                  <a:gd name="T6" fmla="*/ 553 w 638"/>
                  <a:gd name="T7" fmla="*/ 49 h 343"/>
                  <a:gd name="T8" fmla="*/ 544 w 638"/>
                  <a:gd name="T9" fmla="*/ 36 h 343"/>
                  <a:gd name="T10" fmla="*/ 541 w 638"/>
                  <a:gd name="T11" fmla="*/ 15 h 343"/>
                  <a:gd name="T12" fmla="*/ 523 w 638"/>
                  <a:gd name="T13" fmla="*/ 11 h 343"/>
                  <a:gd name="T14" fmla="*/ 501 w 638"/>
                  <a:gd name="T15" fmla="*/ 6 h 343"/>
                  <a:gd name="T16" fmla="*/ 465 w 638"/>
                  <a:gd name="T17" fmla="*/ 12 h 343"/>
                  <a:gd name="T18" fmla="*/ 448 w 638"/>
                  <a:gd name="T19" fmla="*/ 35 h 343"/>
                  <a:gd name="T20" fmla="*/ 426 w 638"/>
                  <a:gd name="T21" fmla="*/ 49 h 343"/>
                  <a:gd name="T22" fmla="*/ 401 w 638"/>
                  <a:gd name="T23" fmla="*/ 56 h 343"/>
                  <a:gd name="T24" fmla="*/ 378 w 638"/>
                  <a:gd name="T25" fmla="*/ 69 h 343"/>
                  <a:gd name="T26" fmla="*/ 355 w 638"/>
                  <a:gd name="T27" fmla="*/ 68 h 343"/>
                  <a:gd name="T28" fmla="*/ 330 w 638"/>
                  <a:gd name="T29" fmla="*/ 68 h 343"/>
                  <a:gd name="T30" fmla="*/ 304 w 638"/>
                  <a:gd name="T31" fmla="*/ 66 h 343"/>
                  <a:gd name="T32" fmla="*/ 274 w 638"/>
                  <a:gd name="T33" fmla="*/ 64 h 343"/>
                  <a:gd name="T34" fmla="*/ 240 w 638"/>
                  <a:gd name="T35" fmla="*/ 66 h 343"/>
                  <a:gd name="T36" fmla="*/ 178 w 638"/>
                  <a:gd name="T37" fmla="*/ 99 h 343"/>
                  <a:gd name="T38" fmla="*/ 162 w 638"/>
                  <a:gd name="T39" fmla="*/ 125 h 343"/>
                  <a:gd name="T40" fmla="*/ 107 w 638"/>
                  <a:gd name="T41" fmla="*/ 130 h 343"/>
                  <a:gd name="T42" fmla="*/ 64 w 638"/>
                  <a:gd name="T43" fmla="*/ 124 h 343"/>
                  <a:gd name="T44" fmla="*/ 45 w 638"/>
                  <a:gd name="T45" fmla="*/ 109 h 343"/>
                  <a:gd name="T46" fmla="*/ 18 w 638"/>
                  <a:gd name="T47" fmla="*/ 115 h 343"/>
                  <a:gd name="T48" fmla="*/ 1 w 638"/>
                  <a:gd name="T49" fmla="*/ 129 h 343"/>
                  <a:gd name="T50" fmla="*/ 8 w 638"/>
                  <a:gd name="T51" fmla="*/ 131 h 343"/>
                  <a:gd name="T52" fmla="*/ 19 w 638"/>
                  <a:gd name="T53" fmla="*/ 147 h 343"/>
                  <a:gd name="T54" fmla="*/ 10 w 638"/>
                  <a:gd name="T55" fmla="*/ 173 h 343"/>
                  <a:gd name="T56" fmla="*/ 8 w 638"/>
                  <a:gd name="T57" fmla="*/ 180 h 343"/>
                  <a:gd name="T58" fmla="*/ 18 w 638"/>
                  <a:gd name="T59" fmla="*/ 184 h 343"/>
                  <a:gd name="T60" fmla="*/ 11 w 638"/>
                  <a:gd name="T61" fmla="*/ 204 h 343"/>
                  <a:gd name="T62" fmla="*/ 24 w 638"/>
                  <a:gd name="T63" fmla="*/ 184 h 343"/>
                  <a:gd name="T64" fmla="*/ 54 w 638"/>
                  <a:gd name="T65" fmla="*/ 150 h 343"/>
                  <a:gd name="T66" fmla="*/ 103 w 638"/>
                  <a:gd name="T67" fmla="*/ 143 h 343"/>
                  <a:gd name="T68" fmla="*/ 107 w 638"/>
                  <a:gd name="T69" fmla="*/ 151 h 343"/>
                  <a:gd name="T70" fmla="*/ 104 w 638"/>
                  <a:gd name="T71" fmla="*/ 162 h 343"/>
                  <a:gd name="T72" fmla="*/ 73 w 638"/>
                  <a:gd name="T73" fmla="*/ 173 h 343"/>
                  <a:gd name="T74" fmla="*/ 60 w 638"/>
                  <a:gd name="T75" fmla="*/ 170 h 343"/>
                  <a:gd name="T76" fmla="*/ 46 w 638"/>
                  <a:gd name="T77" fmla="*/ 178 h 343"/>
                  <a:gd name="T78" fmla="*/ 27 w 638"/>
                  <a:gd name="T79" fmla="*/ 184 h 343"/>
                  <a:gd name="T80" fmla="*/ 15 w 638"/>
                  <a:gd name="T81" fmla="*/ 209 h 343"/>
                  <a:gd name="T82" fmla="*/ 23 w 638"/>
                  <a:gd name="T83" fmla="*/ 228 h 343"/>
                  <a:gd name="T84" fmla="*/ 38 w 638"/>
                  <a:gd name="T85" fmla="*/ 230 h 343"/>
                  <a:gd name="T86" fmla="*/ 48 w 638"/>
                  <a:gd name="T87" fmla="*/ 248 h 343"/>
                  <a:gd name="T88" fmla="*/ 46 w 638"/>
                  <a:gd name="T89" fmla="*/ 260 h 343"/>
                  <a:gd name="T90" fmla="*/ 46 w 638"/>
                  <a:gd name="T91" fmla="*/ 267 h 343"/>
                  <a:gd name="T92" fmla="*/ 39 w 638"/>
                  <a:gd name="T93" fmla="*/ 271 h 343"/>
                  <a:gd name="T94" fmla="*/ 46 w 638"/>
                  <a:gd name="T95" fmla="*/ 284 h 343"/>
                  <a:gd name="T96" fmla="*/ 71 w 638"/>
                  <a:gd name="T97" fmla="*/ 285 h 343"/>
                  <a:gd name="T98" fmla="*/ 69 w 638"/>
                  <a:gd name="T99" fmla="*/ 300 h 343"/>
                  <a:gd name="T100" fmla="*/ 80 w 638"/>
                  <a:gd name="T101" fmla="*/ 321 h 343"/>
                  <a:gd name="T102" fmla="*/ 103 w 638"/>
                  <a:gd name="T103" fmla="*/ 331 h 343"/>
                  <a:gd name="T104" fmla="*/ 142 w 638"/>
                  <a:gd name="T105" fmla="*/ 335 h 343"/>
                  <a:gd name="T106" fmla="*/ 209 w 638"/>
                  <a:gd name="T107" fmla="*/ 303 h 343"/>
                  <a:gd name="T108" fmla="*/ 300 w 638"/>
                  <a:gd name="T109" fmla="*/ 302 h 343"/>
                  <a:gd name="T110" fmla="*/ 352 w 638"/>
                  <a:gd name="T111" fmla="*/ 267 h 343"/>
                  <a:gd name="T112" fmla="*/ 379 w 638"/>
                  <a:gd name="T113" fmla="*/ 299 h 343"/>
                  <a:gd name="T114" fmla="*/ 400 w 638"/>
                  <a:gd name="T115" fmla="*/ 256 h 343"/>
                  <a:gd name="T116" fmla="*/ 504 w 638"/>
                  <a:gd name="T117" fmla="*/ 205 h 343"/>
                  <a:gd name="T118" fmla="*/ 562 w 638"/>
                  <a:gd name="T119" fmla="*/ 178 h 343"/>
                  <a:gd name="T120" fmla="*/ 619 w 638"/>
                  <a:gd name="T121" fmla="*/ 15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38" h="343">
                    <a:moveTo>
                      <a:pt x="636" y="140"/>
                    </a:moveTo>
                    <a:cubicBezTo>
                      <a:pt x="632" y="139"/>
                      <a:pt x="626" y="140"/>
                      <a:pt x="626" y="138"/>
                    </a:cubicBezTo>
                    <a:cubicBezTo>
                      <a:pt x="629" y="133"/>
                      <a:pt x="621" y="135"/>
                      <a:pt x="623" y="132"/>
                    </a:cubicBezTo>
                    <a:cubicBezTo>
                      <a:pt x="624" y="128"/>
                      <a:pt x="619" y="126"/>
                      <a:pt x="620" y="125"/>
                    </a:cubicBezTo>
                    <a:cubicBezTo>
                      <a:pt x="619" y="124"/>
                      <a:pt x="608" y="126"/>
                      <a:pt x="607" y="123"/>
                    </a:cubicBezTo>
                    <a:cubicBezTo>
                      <a:pt x="605" y="111"/>
                      <a:pt x="606" y="118"/>
                      <a:pt x="607" y="109"/>
                    </a:cubicBezTo>
                    <a:cubicBezTo>
                      <a:pt x="607" y="106"/>
                      <a:pt x="607" y="105"/>
                      <a:pt x="608" y="105"/>
                    </a:cubicBezTo>
                    <a:cubicBezTo>
                      <a:pt x="608" y="105"/>
                      <a:pt x="607" y="105"/>
                      <a:pt x="607" y="104"/>
                    </a:cubicBezTo>
                    <a:cubicBezTo>
                      <a:pt x="601" y="103"/>
                      <a:pt x="601" y="103"/>
                      <a:pt x="601" y="103"/>
                    </a:cubicBezTo>
                    <a:cubicBezTo>
                      <a:pt x="596" y="92"/>
                      <a:pt x="596" y="92"/>
                      <a:pt x="596" y="92"/>
                    </a:cubicBezTo>
                    <a:cubicBezTo>
                      <a:pt x="589" y="84"/>
                      <a:pt x="589" y="84"/>
                      <a:pt x="589" y="84"/>
                    </a:cubicBezTo>
                    <a:cubicBezTo>
                      <a:pt x="586" y="75"/>
                      <a:pt x="586" y="75"/>
                      <a:pt x="586" y="75"/>
                    </a:cubicBezTo>
                    <a:cubicBezTo>
                      <a:pt x="581" y="74"/>
                      <a:pt x="581" y="74"/>
                      <a:pt x="581" y="74"/>
                    </a:cubicBezTo>
                    <a:cubicBezTo>
                      <a:pt x="576" y="69"/>
                      <a:pt x="576" y="69"/>
                      <a:pt x="576" y="69"/>
                    </a:cubicBezTo>
                    <a:cubicBezTo>
                      <a:pt x="576" y="67"/>
                      <a:pt x="576" y="67"/>
                      <a:pt x="576" y="67"/>
                    </a:cubicBezTo>
                    <a:cubicBezTo>
                      <a:pt x="584" y="63"/>
                      <a:pt x="584" y="63"/>
                      <a:pt x="584" y="63"/>
                    </a:cubicBezTo>
                    <a:cubicBezTo>
                      <a:pt x="584" y="63"/>
                      <a:pt x="587" y="60"/>
                      <a:pt x="587" y="58"/>
                    </a:cubicBezTo>
                    <a:cubicBezTo>
                      <a:pt x="586" y="57"/>
                      <a:pt x="584" y="55"/>
                      <a:pt x="583" y="54"/>
                    </a:cubicBezTo>
                    <a:cubicBezTo>
                      <a:pt x="583" y="54"/>
                      <a:pt x="584" y="52"/>
                      <a:pt x="584" y="50"/>
                    </a:cubicBezTo>
                    <a:cubicBezTo>
                      <a:pt x="584" y="49"/>
                      <a:pt x="582" y="48"/>
                      <a:pt x="582" y="48"/>
                    </a:cubicBezTo>
                    <a:cubicBezTo>
                      <a:pt x="582" y="48"/>
                      <a:pt x="579" y="46"/>
                      <a:pt x="578" y="46"/>
                    </a:cubicBezTo>
                    <a:cubicBezTo>
                      <a:pt x="577" y="46"/>
                      <a:pt x="575" y="46"/>
                      <a:pt x="574" y="46"/>
                    </a:cubicBezTo>
                    <a:cubicBezTo>
                      <a:pt x="573" y="46"/>
                      <a:pt x="569" y="46"/>
                      <a:pt x="569" y="46"/>
                    </a:cubicBezTo>
                    <a:cubicBezTo>
                      <a:pt x="565" y="48"/>
                      <a:pt x="565" y="48"/>
                      <a:pt x="565" y="48"/>
                    </a:cubicBezTo>
                    <a:cubicBezTo>
                      <a:pt x="565" y="48"/>
                      <a:pt x="564" y="49"/>
                      <a:pt x="563" y="49"/>
                    </a:cubicBezTo>
                    <a:cubicBezTo>
                      <a:pt x="561" y="49"/>
                      <a:pt x="560" y="50"/>
                      <a:pt x="560" y="50"/>
                    </a:cubicBezTo>
                    <a:cubicBezTo>
                      <a:pt x="560" y="50"/>
                      <a:pt x="557" y="49"/>
                      <a:pt x="556" y="49"/>
                    </a:cubicBezTo>
                    <a:cubicBezTo>
                      <a:pt x="555" y="49"/>
                      <a:pt x="555" y="49"/>
                      <a:pt x="553" y="49"/>
                    </a:cubicBezTo>
                    <a:cubicBezTo>
                      <a:pt x="552" y="49"/>
                      <a:pt x="548" y="49"/>
                      <a:pt x="548" y="49"/>
                    </a:cubicBezTo>
                    <a:cubicBezTo>
                      <a:pt x="550" y="46"/>
                      <a:pt x="550" y="46"/>
                      <a:pt x="550" y="46"/>
                    </a:cubicBezTo>
                    <a:cubicBezTo>
                      <a:pt x="550" y="46"/>
                      <a:pt x="551" y="45"/>
                      <a:pt x="550" y="44"/>
                    </a:cubicBezTo>
                    <a:cubicBezTo>
                      <a:pt x="550" y="44"/>
                      <a:pt x="549" y="43"/>
                      <a:pt x="548" y="42"/>
                    </a:cubicBezTo>
                    <a:cubicBezTo>
                      <a:pt x="548" y="42"/>
                      <a:pt x="546" y="41"/>
                      <a:pt x="546" y="41"/>
                    </a:cubicBezTo>
                    <a:cubicBezTo>
                      <a:pt x="546" y="41"/>
                      <a:pt x="546" y="40"/>
                      <a:pt x="545" y="39"/>
                    </a:cubicBezTo>
                    <a:cubicBezTo>
                      <a:pt x="545" y="38"/>
                      <a:pt x="544" y="36"/>
                      <a:pt x="544" y="36"/>
                    </a:cubicBezTo>
                    <a:cubicBezTo>
                      <a:pt x="543" y="35"/>
                      <a:pt x="543" y="35"/>
                      <a:pt x="543" y="35"/>
                    </a:cubicBezTo>
                    <a:cubicBezTo>
                      <a:pt x="543" y="35"/>
                      <a:pt x="541" y="33"/>
                      <a:pt x="541" y="32"/>
                    </a:cubicBezTo>
                    <a:cubicBezTo>
                      <a:pt x="542" y="30"/>
                      <a:pt x="544" y="26"/>
                      <a:pt x="544" y="26"/>
                    </a:cubicBezTo>
                    <a:cubicBezTo>
                      <a:pt x="545" y="21"/>
                      <a:pt x="545" y="21"/>
                      <a:pt x="545" y="21"/>
                    </a:cubicBezTo>
                    <a:cubicBezTo>
                      <a:pt x="544" y="19"/>
                      <a:pt x="544" y="19"/>
                      <a:pt x="544" y="19"/>
                    </a:cubicBezTo>
                    <a:cubicBezTo>
                      <a:pt x="542" y="17"/>
                      <a:pt x="542" y="17"/>
                      <a:pt x="542" y="17"/>
                    </a:cubicBezTo>
                    <a:cubicBezTo>
                      <a:pt x="542" y="17"/>
                      <a:pt x="541" y="17"/>
                      <a:pt x="541" y="15"/>
                    </a:cubicBezTo>
                    <a:cubicBezTo>
                      <a:pt x="541" y="14"/>
                      <a:pt x="540" y="14"/>
                      <a:pt x="540" y="13"/>
                    </a:cubicBezTo>
                    <a:cubicBezTo>
                      <a:pt x="540" y="13"/>
                      <a:pt x="539" y="12"/>
                      <a:pt x="539" y="12"/>
                    </a:cubicBezTo>
                    <a:cubicBezTo>
                      <a:pt x="536" y="13"/>
                      <a:pt x="536" y="13"/>
                      <a:pt x="536" y="13"/>
                    </a:cubicBezTo>
                    <a:cubicBezTo>
                      <a:pt x="532" y="11"/>
                      <a:pt x="532" y="11"/>
                      <a:pt x="532" y="11"/>
                    </a:cubicBezTo>
                    <a:cubicBezTo>
                      <a:pt x="528" y="12"/>
                      <a:pt x="528" y="12"/>
                      <a:pt x="528" y="12"/>
                    </a:cubicBezTo>
                    <a:cubicBezTo>
                      <a:pt x="523" y="12"/>
                      <a:pt x="523" y="12"/>
                      <a:pt x="523" y="12"/>
                    </a:cubicBezTo>
                    <a:cubicBezTo>
                      <a:pt x="523" y="12"/>
                      <a:pt x="523" y="12"/>
                      <a:pt x="523" y="11"/>
                    </a:cubicBezTo>
                    <a:cubicBezTo>
                      <a:pt x="522" y="10"/>
                      <a:pt x="520" y="8"/>
                      <a:pt x="520" y="8"/>
                    </a:cubicBezTo>
                    <a:cubicBezTo>
                      <a:pt x="516" y="6"/>
                      <a:pt x="516" y="6"/>
                      <a:pt x="516" y="6"/>
                    </a:cubicBezTo>
                    <a:cubicBezTo>
                      <a:pt x="512" y="3"/>
                      <a:pt x="512" y="3"/>
                      <a:pt x="512" y="3"/>
                    </a:cubicBezTo>
                    <a:cubicBezTo>
                      <a:pt x="510" y="1"/>
                      <a:pt x="510" y="1"/>
                      <a:pt x="510" y="1"/>
                    </a:cubicBezTo>
                    <a:cubicBezTo>
                      <a:pt x="510" y="1"/>
                      <a:pt x="508" y="0"/>
                      <a:pt x="506" y="0"/>
                    </a:cubicBezTo>
                    <a:cubicBezTo>
                      <a:pt x="505" y="1"/>
                      <a:pt x="500" y="3"/>
                      <a:pt x="500" y="3"/>
                    </a:cubicBezTo>
                    <a:cubicBezTo>
                      <a:pt x="501" y="6"/>
                      <a:pt x="501" y="6"/>
                      <a:pt x="501" y="6"/>
                    </a:cubicBezTo>
                    <a:cubicBezTo>
                      <a:pt x="501" y="6"/>
                      <a:pt x="500" y="7"/>
                      <a:pt x="498" y="9"/>
                    </a:cubicBezTo>
                    <a:cubicBezTo>
                      <a:pt x="496" y="10"/>
                      <a:pt x="487" y="11"/>
                      <a:pt x="487" y="11"/>
                    </a:cubicBezTo>
                    <a:cubicBezTo>
                      <a:pt x="483" y="12"/>
                      <a:pt x="483" y="12"/>
                      <a:pt x="483" y="12"/>
                    </a:cubicBezTo>
                    <a:cubicBezTo>
                      <a:pt x="479" y="13"/>
                      <a:pt x="479" y="13"/>
                      <a:pt x="479" y="13"/>
                    </a:cubicBezTo>
                    <a:cubicBezTo>
                      <a:pt x="479" y="13"/>
                      <a:pt x="472" y="16"/>
                      <a:pt x="470" y="15"/>
                    </a:cubicBezTo>
                    <a:cubicBezTo>
                      <a:pt x="468" y="15"/>
                      <a:pt x="467" y="13"/>
                      <a:pt x="466" y="12"/>
                    </a:cubicBezTo>
                    <a:cubicBezTo>
                      <a:pt x="466" y="12"/>
                      <a:pt x="465" y="12"/>
                      <a:pt x="465" y="12"/>
                    </a:cubicBezTo>
                    <a:cubicBezTo>
                      <a:pt x="462" y="12"/>
                      <a:pt x="464" y="14"/>
                      <a:pt x="463" y="16"/>
                    </a:cubicBezTo>
                    <a:cubicBezTo>
                      <a:pt x="461" y="18"/>
                      <a:pt x="462" y="19"/>
                      <a:pt x="462" y="21"/>
                    </a:cubicBezTo>
                    <a:cubicBezTo>
                      <a:pt x="461" y="22"/>
                      <a:pt x="460" y="23"/>
                      <a:pt x="459" y="25"/>
                    </a:cubicBezTo>
                    <a:cubicBezTo>
                      <a:pt x="457" y="26"/>
                      <a:pt x="456" y="27"/>
                      <a:pt x="455" y="28"/>
                    </a:cubicBezTo>
                    <a:cubicBezTo>
                      <a:pt x="453" y="29"/>
                      <a:pt x="454" y="28"/>
                      <a:pt x="454" y="30"/>
                    </a:cubicBezTo>
                    <a:cubicBezTo>
                      <a:pt x="454" y="31"/>
                      <a:pt x="452" y="32"/>
                      <a:pt x="451" y="33"/>
                    </a:cubicBezTo>
                    <a:cubicBezTo>
                      <a:pt x="450" y="33"/>
                      <a:pt x="449" y="35"/>
                      <a:pt x="448" y="35"/>
                    </a:cubicBezTo>
                    <a:cubicBezTo>
                      <a:pt x="447" y="35"/>
                      <a:pt x="447" y="37"/>
                      <a:pt x="447" y="39"/>
                    </a:cubicBezTo>
                    <a:cubicBezTo>
                      <a:pt x="447" y="40"/>
                      <a:pt x="446" y="39"/>
                      <a:pt x="445" y="40"/>
                    </a:cubicBezTo>
                    <a:cubicBezTo>
                      <a:pt x="443" y="40"/>
                      <a:pt x="443" y="41"/>
                      <a:pt x="441" y="42"/>
                    </a:cubicBezTo>
                    <a:cubicBezTo>
                      <a:pt x="439" y="43"/>
                      <a:pt x="439" y="45"/>
                      <a:pt x="439" y="45"/>
                    </a:cubicBezTo>
                    <a:cubicBezTo>
                      <a:pt x="439" y="45"/>
                      <a:pt x="437" y="48"/>
                      <a:pt x="434" y="50"/>
                    </a:cubicBezTo>
                    <a:cubicBezTo>
                      <a:pt x="431" y="52"/>
                      <a:pt x="430" y="51"/>
                      <a:pt x="430" y="51"/>
                    </a:cubicBezTo>
                    <a:cubicBezTo>
                      <a:pt x="429" y="51"/>
                      <a:pt x="427" y="50"/>
                      <a:pt x="426" y="49"/>
                    </a:cubicBezTo>
                    <a:cubicBezTo>
                      <a:pt x="425" y="49"/>
                      <a:pt x="423" y="53"/>
                      <a:pt x="421" y="53"/>
                    </a:cubicBezTo>
                    <a:cubicBezTo>
                      <a:pt x="420" y="54"/>
                      <a:pt x="415" y="53"/>
                      <a:pt x="415" y="53"/>
                    </a:cubicBezTo>
                    <a:cubicBezTo>
                      <a:pt x="408" y="52"/>
                      <a:pt x="408" y="52"/>
                      <a:pt x="408" y="52"/>
                    </a:cubicBezTo>
                    <a:cubicBezTo>
                      <a:pt x="407" y="53"/>
                      <a:pt x="407" y="53"/>
                      <a:pt x="407" y="53"/>
                    </a:cubicBezTo>
                    <a:cubicBezTo>
                      <a:pt x="404" y="54"/>
                      <a:pt x="404" y="54"/>
                      <a:pt x="404" y="54"/>
                    </a:cubicBezTo>
                    <a:cubicBezTo>
                      <a:pt x="403" y="54"/>
                      <a:pt x="403" y="54"/>
                      <a:pt x="403" y="54"/>
                    </a:cubicBezTo>
                    <a:cubicBezTo>
                      <a:pt x="403" y="54"/>
                      <a:pt x="402" y="55"/>
                      <a:pt x="401" y="56"/>
                    </a:cubicBezTo>
                    <a:cubicBezTo>
                      <a:pt x="400" y="56"/>
                      <a:pt x="399" y="58"/>
                      <a:pt x="399" y="58"/>
                    </a:cubicBezTo>
                    <a:cubicBezTo>
                      <a:pt x="399" y="58"/>
                      <a:pt x="394" y="59"/>
                      <a:pt x="393" y="59"/>
                    </a:cubicBezTo>
                    <a:cubicBezTo>
                      <a:pt x="392" y="59"/>
                      <a:pt x="392" y="60"/>
                      <a:pt x="392" y="60"/>
                    </a:cubicBezTo>
                    <a:cubicBezTo>
                      <a:pt x="392" y="60"/>
                      <a:pt x="392" y="62"/>
                      <a:pt x="390" y="63"/>
                    </a:cubicBezTo>
                    <a:cubicBezTo>
                      <a:pt x="387" y="64"/>
                      <a:pt x="387" y="64"/>
                      <a:pt x="387" y="64"/>
                    </a:cubicBezTo>
                    <a:cubicBezTo>
                      <a:pt x="387" y="64"/>
                      <a:pt x="383" y="67"/>
                      <a:pt x="380" y="68"/>
                    </a:cubicBezTo>
                    <a:cubicBezTo>
                      <a:pt x="378" y="69"/>
                      <a:pt x="377" y="69"/>
                      <a:pt x="378" y="69"/>
                    </a:cubicBezTo>
                    <a:cubicBezTo>
                      <a:pt x="378" y="69"/>
                      <a:pt x="378" y="69"/>
                      <a:pt x="378" y="69"/>
                    </a:cubicBezTo>
                    <a:cubicBezTo>
                      <a:pt x="378" y="69"/>
                      <a:pt x="378" y="69"/>
                      <a:pt x="378" y="69"/>
                    </a:cubicBezTo>
                    <a:cubicBezTo>
                      <a:pt x="376" y="70"/>
                      <a:pt x="370" y="70"/>
                      <a:pt x="369" y="70"/>
                    </a:cubicBezTo>
                    <a:cubicBezTo>
                      <a:pt x="368" y="70"/>
                      <a:pt x="365" y="69"/>
                      <a:pt x="364" y="69"/>
                    </a:cubicBezTo>
                    <a:cubicBezTo>
                      <a:pt x="363" y="68"/>
                      <a:pt x="359" y="68"/>
                      <a:pt x="359" y="68"/>
                    </a:cubicBezTo>
                    <a:cubicBezTo>
                      <a:pt x="358" y="67"/>
                      <a:pt x="359" y="68"/>
                      <a:pt x="356" y="68"/>
                    </a:cubicBezTo>
                    <a:cubicBezTo>
                      <a:pt x="354" y="68"/>
                      <a:pt x="355" y="68"/>
                      <a:pt x="355" y="68"/>
                    </a:cubicBezTo>
                    <a:cubicBezTo>
                      <a:pt x="355" y="68"/>
                      <a:pt x="355" y="71"/>
                      <a:pt x="354" y="72"/>
                    </a:cubicBezTo>
                    <a:cubicBezTo>
                      <a:pt x="354" y="72"/>
                      <a:pt x="352" y="73"/>
                      <a:pt x="352" y="73"/>
                    </a:cubicBezTo>
                    <a:cubicBezTo>
                      <a:pt x="345" y="71"/>
                      <a:pt x="345" y="71"/>
                      <a:pt x="345" y="71"/>
                    </a:cubicBezTo>
                    <a:cubicBezTo>
                      <a:pt x="342" y="71"/>
                      <a:pt x="342" y="71"/>
                      <a:pt x="342" y="71"/>
                    </a:cubicBezTo>
                    <a:cubicBezTo>
                      <a:pt x="337" y="72"/>
                      <a:pt x="337" y="72"/>
                      <a:pt x="337" y="72"/>
                    </a:cubicBezTo>
                    <a:cubicBezTo>
                      <a:pt x="337" y="72"/>
                      <a:pt x="333" y="70"/>
                      <a:pt x="333" y="69"/>
                    </a:cubicBezTo>
                    <a:cubicBezTo>
                      <a:pt x="333" y="69"/>
                      <a:pt x="330" y="68"/>
                      <a:pt x="330" y="68"/>
                    </a:cubicBezTo>
                    <a:cubicBezTo>
                      <a:pt x="330" y="68"/>
                      <a:pt x="326" y="67"/>
                      <a:pt x="323" y="67"/>
                    </a:cubicBezTo>
                    <a:cubicBezTo>
                      <a:pt x="321" y="68"/>
                      <a:pt x="320" y="69"/>
                      <a:pt x="320" y="69"/>
                    </a:cubicBezTo>
                    <a:cubicBezTo>
                      <a:pt x="319" y="75"/>
                      <a:pt x="319" y="75"/>
                      <a:pt x="319" y="75"/>
                    </a:cubicBezTo>
                    <a:cubicBezTo>
                      <a:pt x="319" y="75"/>
                      <a:pt x="314" y="74"/>
                      <a:pt x="313" y="74"/>
                    </a:cubicBezTo>
                    <a:cubicBezTo>
                      <a:pt x="312" y="73"/>
                      <a:pt x="309" y="72"/>
                      <a:pt x="309" y="72"/>
                    </a:cubicBezTo>
                    <a:cubicBezTo>
                      <a:pt x="304" y="69"/>
                      <a:pt x="304" y="69"/>
                      <a:pt x="304" y="69"/>
                    </a:cubicBezTo>
                    <a:cubicBezTo>
                      <a:pt x="304" y="69"/>
                      <a:pt x="304" y="67"/>
                      <a:pt x="304" y="66"/>
                    </a:cubicBezTo>
                    <a:cubicBezTo>
                      <a:pt x="305" y="65"/>
                      <a:pt x="302" y="62"/>
                      <a:pt x="302" y="62"/>
                    </a:cubicBezTo>
                    <a:cubicBezTo>
                      <a:pt x="301" y="62"/>
                      <a:pt x="299" y="59"/>
                      <a:pt x="299" y="59"/>
                    </a:cubicBezTo>
                    <a:cubicBezTo>
                      <a:pt x="299" y="59"/>
                      <a:pt x="293" y="61"/>
                      <a:pt x="291" y="62"/>
                    </a:cubicBezTo>
                    <a:cubicBezTo>
                      <a:pt x="289" y="63"/>
                      <a:pt x="288" y="64"/>
                      <a:pt x="287" y="64"/>
                    </a:cubicBezTo>
                    <a:cubicBezTo>
                      <a:pt x="287" y="65"/>
                      <a:pt x="283" y="66"/>
                      <a:pt x="283" y="66"/>
                    </a:cubicBezTo>
                    <a:cubicBezTo>
                      <a:pt x="283" y="66"/>
                      <a:pt x="279" y="65"/>
                      <a:pt x="278" y="64"/>
                    </a:cubicBezTo>
                    <a:cubicBezTo>
                      <a:pt x="277" y="64"/>
                      <a:pt x="275" y="64"/>
                      <a:pt x="274" y="64"/>
                    </a:cubicBezTo>
                    <a:cubicBezTo>
                      <a:pt x="274" y="63"/>
                      <a:pt x="271" y="62"/>
                      <a:pt x="269" y="61"/>
                    </a:cubicBezTo>
                    <a:cubicBezTo>
                      <a:pt x="266" y="60"/>
                      <a:pt x="267" y="59"/>
                      <a:pt x="267" y="58"/>
                    </a:cubicBezTo>
                    <a:cubicBezTo>
                      <a:pt x="267" y="58"/>
                      <a:pt x="268" y="55"/>
                      <a:pt x="268" y="55"/>
                    </a:cubicBezTo>
                    <a:cubicBezTo>
                      <a:pt x="261" y="54"/>
                      <a:pt x="261" y="54"/>
                      <a:pt x="261" y="54"/>
                    </a:cubicBezTo>
                    <a:cubicBezTo>
                      <a:pt x="260" y="57"/>
                      <a:pt x="260" y="57"/>
                      <a:pt x="260" y="57"/>
                    </a:cubicBezTo>
                    <a:cubicBezTo>
                      <a:pt x="254" y="62"/>
                      <a:pt x="254" y="62"/>
                      <a:pt x="254" y="62"/>
                    </a:cubicBezTo>
                    <a:cubicBezTo>
                      <a:pt x="240" y="66"/>
                      <a:pt x="240" y="66"/>
                      <a:pt x="240" y="66"/>
                    </a:cubicBezTo>
                    <a:cubicBezTo>
                      <a:pt x="240" y="66"/>
                      <a:pt x="218" y="69"/>
                      <a:pt x="215" y="70"/>
                    </a:cubicBezTo>
                    <a:cubicBezTo>
                      <a:pt x="211" y="70"/>
                      <a:pt x="211" y="71"/>
                      <a:pt x="210" y="73"/>
                    </a:cubicBezTo>
                    <a:cubicBezTo>
                      <a:pt x="208" y="74"/>
                      <a:pt x="203" y="79"/>
                      <a:pt x="201" y="79"/>
                    </a:cubicBezTo>
                    <a:cubicBezTo>
                      <a:pt x="199" y="78"/>
                      <a:pt x="191" y="85"/>
                      <a:pt x="189" y="85"/>
                    </a:cubicBezTo>
                    <a:cubicBezTo>
                      <a:pt x="187" y="86"/>
                      <a:pt x="184" y="92"/>
                      <a:pt x="184" y="92"/>
                    </a:cubicBezTo>
                    <a:cubicBezTo>
                      <a:pt x="182" y="95"/>
                      <a:pt x="182" y="95"/>
                      <a:pt x="182" y="95"/>
                    </a:cubicBezTo>
                    <a:cubicBezTo>
                      <a:pt x="182" y="95"/>
                      <a:pt x="178" y="99"/>
                      <a:pt x="178" y="99"/>
                    </a:cubicBezTo>
                    <a:cubicBezTo>
                      <a:pt x="177" y="99"/>
                      <a:pt x="176" y="102"/>
                      <a:pt x="175" y="103"/>
                    </a:cubicBezTo>
                    <a:cubicBezTo>
                      <a:pt x="175" y="103"/>
                      <a:pt x="173" y="106"/>
                      <a:pt x="173" y="106"/>
                    </a:cubicBezTo>
                    <a:cubicBezTo>
                      <a:pt x="172" y="107"/>
                      <a:pt x="170" y="109"/>
                      <a:pt x="168" y="111"/>
                    </a:cubicBezTo>
                    <a:cubicBezTo>
                      <a:pt x="166" y="112"/>
                      <a:pt x="165" y="113"/>
                      <a:pt x="163" y="114"/>
                    </a:cubicBezTo>
                    <a:cubicBezTo>
                      <a:pt x="161" y="115"/>
                      <a:pt x="162" y="116"/>
                      <a:pt x="162" y="116"/>
                    </a:cubicBezTo>
                    <a:cubicBezTo>
                      <a:pt x="162" y="116"/>
                      <a:pt x="163" y="118"/>
                      <a:pt x="163" y="120"/>
                    </a:cubicBezTo>
                    <a:cubicBezTo>
                      <a:pt x="164" y="122"/>
                      <a:pt x="162" y="125"/>
                      <a:pt x="162" y="125"/>
                    </a:cubicBezTo>
                    <a:cubicBezTo>
                      <a:pt x="162" y="125"/>
                      <a:pt x="155" y="127"/>
                      <a:pt x="154" y="127"/>
                    </a:cubicBezTo>
                    <a:cubicBezTo>
                      <a:pt x="153" y="127"/>
                      <a:pt x="144" y="129"/>
                      <a:pt x="144" y="129"/>
                    </a:cubicBezTo>
                    <a:cubicBezTo>
                      <a:pt x="135" y="119"/>
                      <a:pt x="135" y="119"/>
                      <a:pt x="135" y="119"/>
                    </a:cubicBezTo>
                    <a:cubicBezTo>
                      <a:pt x="128" y="123"/>
                      <a:pt x="128" y="123"/>
                      <a:pt x="128" y="123"/>
                    </a:cubicBezTo>
                    <a:cubicBezTo>
                      <a:pt x="124" y="126"/>
                      <a:pt x="124" y="126"/>
                      <a:pt x="124" y="126"/>
                    </a:cubicBezTo>
                    <a:cubicBezTo>
                      <a:pt x="124" y="126"/>
                      <a:pt x="117" y="128"/>
                      <a:pt x="115" y="128"/>
                    </a:cubicBezTo>
                    <a:cubicBezTo>
                      <a:pt x="113" y="127"/>
                      <a:pt x="109" y="129"/>
                      <a:pt x="107" y="130"/>
                    </a:cubicBezTo>
                    <a:cubicBezTo>
                      <a:pt x="106" y="130"/>
                      <a:pt x="101" y="131"/>
                      <a:pt x="99" y="130"/>
                    </a:cubicBezTo>
                    <a:cubicBezTo>
                      <a:pt x="98" y="130"/>
                      <a:pt x="95" y="129"/>
                      <a:pt x="95" y="129"/>
                    </a:cubicBezTo>
                    <a:cubicBezTo>
                      <a:pt x="90" y="130"/>
                      <a:pt x="90" y="130"/>
                      <a:pt x="90" y="130"/>
                    </a:cubicBezTo>
                    <a:cubicBezTo>
                      <a:pt x="85" y="126"/>
                      <a:pt x="85" y="126"/>
                      <a:pt x="85" y="126"/>
                    </a:cubicBezTo>
                    <a:cubicBezTo>
                      <a:pt x="75" y="128"/>
                      <a:pt x="75" y="128"/>
                      <a:pt x="75" y="128"/>
                    </a:cubicBezTo>
                    <a:cubicBezTo>
                      <a:pt x="75" y="128"/>
                      <a:pt x="69" y="125"/>
                      <a:pt x="69" y="125"/>
                    </a:cubicBezTo>
                    <a:cubicBezTo>
                      <a:pt x="69" y="124"/>
                      <a:pt x="64" y="124"/>
                      <a:pt x="64" y="124"/>
                    </a:cubicBezTo>
                    <a:cubicBezTo>
                      <a:pt x="64" y="124"/>
                      <a:pt x="59" y="121"/>
                      <a:pt x="58" y="120"/>
                    </a:cubicBezTo>
                    <a:cubicBezTo>
                      <a:pt x="58" y="119"/>
                      <a:pt x="59" y="118"/>
                      <a:pt x="58" y="117"/>
                    </a:cubicBezTo>
                    <a:cubicBezTo>
                      <a:pt x="50" y="112"/>
                      <a:pt x="54" y="120"/>
                      <a:pt x="52" y="105"/>
                    </a:cubicBezTo>
                    <a:cubicBezTo>
                      <a:pt x="52" y="105"/>
                      <a:pt x="52" y="105"/>
                      <a:pt x="52" y="105"/>
                    </a:cubicBezTo>
                    <a:cubicBezTo>
                      <a:pt x="52" y="105"/>
                      <a:pt x="52" y="105"/>
                      <a:pt x="52" y="105"/>
                    </a:cubicBezTo>
                    <a:cubicBezTo>
                      <a:pt x="51" y="105"/>
                      <a:pt x="47" y="107"/>
                      <a:pt x="47" y="107"/>
                    </a:cubicBezTo>
                    <a:cubicBezTo>
                      <a:pt x="45" y="109"/>
                      <a:pt x="45" y="109"/>
                      <a:pt x="45" y="109"/>
                    </a:cubicBezTo>
                    <a:cubicBezTo>
                      <a:pt x="45" y="109"/>
                      <a:pt x="43" y="108"/>
                      <a:pt x="42" y="109"/>
                    </a:cubicBezTo>
                    <a:cubicBezTo>
                      <a:pt x="40" y="110"/>
                      <a:pt x="36" y="112"/>
                      <a:pt x="36" y="112"/>
                    </a:cubicBezTo>
                    <a:cubicBezTo>
                      <a:pt x="30" y="109"/>
                      <a:pt x="30" y="109"/>
                      <a:pt x="30" y="109"/>
                    </a:cubicBezTo>
                    <a:cubicBezTo>
                      <a:pt x="26" y="107"/>
                      <a:pt x="26" y="107"/>
                      <a:pt x="26" y="107"/>
                    </a:cubicBezTo>
                    <a:cubicBezTo>
                      <a:pt x="24" y="110"/>
                      <a:pt x="24" y="110"/>
                      <a:pt x="24" y="110"/>
                    </a:cubicBezTo>
                    <a:cubicBezTo>
                      <a:pt x="20" y="111"/>
                      <a:pt x="20" y="111"/>
                      <a:pt x="20" y="111"/>
                    </a:cubicBezTo>
                    <a:cubicBezTo>
                      <a:pt x="18" y="115"/>
                      <a:pt x="18" y="115"/>
                      <a:pt x="18" y="115"/>
                    </a:cubicBezTo>
                    <a:cubicBezTo>
                      <a:pt x="18" y="115"/>
                      <a:pt x="12" y="117"/>
                      <a:pt x="10" y="117"/>
                    </a:cubicBezTo>
                    <a:cubicBezTo>
                      <a:pt x="9" y="118"/>
                      <a:pt x="6" y="121"/>
                      <a:pt x="6" y="121"/>
                    </a:cubicBezTo>
                    <a:cubicBezTo>
                      <a:pt x="7" y="124"/>
                      <a:pt x="7" y="124"/>
                      <a:pt x="7" y="124"/>
                    </a:cubicBezTo>
                    <a:cubicBezTo>
                      <a:pt x="4" y="126"/>
                      <a:pt x="4" y="126"/>
                      <a:pt x="4" y="126"/>
                    </a:cubicBezTo>
                    <a:cubicBezTo>
                      <a:pt x="4" y="126"/>
                      <a:pt x="1" y="127"/>
                      <a:pt x="1" y="129"/>
                    </a:cubicBezTo>
                    <a:cubicBezTo>
                      <a:pt x="1" y="129"/>
                      <a:pt x="1" y="129"/>
                      <a:pt x="1" y="129"/>
                    </a:cubicBezTo>
                    <a:cubicBezTo>
                      <a:pt x="1" y="129"/>
                      <a:pt x="1" y="129"/>
                      <a:pt x="1" y="129"/>
                    </a:cubicBezTo>
                    <a:cubicBezTo>
                      <a:pt x="1" y="129"/>
                      <a:pt x="1" y="129"/>
                      <a:pt x="1" y="129"/>
                    </a:cubicBezTo>
                    <a:cubicBezTo>
                      <a:pt x="1" y="129"/>
                      <a:pt x="1" y="129"/>
                      <a:pt x="1" y="129"/>
                    </a:cubicBezTo>
                    <a:cubicBezTo>
                      <a:pt x="1" y="129"/>
                      <a:pt x="1" y="129"/>
                      <a:pt x="1" y="129"/>
                    </a:cubicBezTo>
                    <a:cubicBezTo>
                      <a:pt x="1" y="129"/>
                      <a:pt x="1" y="129"/>
                      <a:pt x="1" y="129"/>
                    </a:cubicBezTo>
                    <a:cubicBezTo>
                      <a:pt x="1" y="129"/>
                      <a:pt x="2" y="129"/>
                      <a:pt x="2" y="129"/>
                    </a:cubicBezTo>
                    <a:cubicBezTo>
                      <a:pt x="3" y="129"/>
                      <a:pt x="4" y="130"/>
                      <a:pt x="5" y="130"/>
                    </a:cubicBezTo>
                    <a:cubicBezTo>
                      <a:pt x="7" y="130"/>
                      <a:pt x="8" y="130"/>
                      <a:pt x="8" y="131"/>
                    </a:cubicBezTo>
                    <a:cubicBezTo>
                      <a:pt x="9" y="131"/>
                      <a:pt x="13" y="133"/>
                      <a:pt x="14" y="133"/>
                    </a:cubicBezTo>
                    <a:cubicBezTo>
                      <a:pt x="14" y="133"/>
                      <a:pt x="14" y="133"/>
                      <a:pt x="14" y="133"/>
                    </a:cubicBezTo>
                    <a:cubicBezTo>
                      <a:pt x="14" y="134"/>
                      <a:pt x="14" y="134"/>
                      <a:pt x="14" y="134"/>
                    </a:cubicBezTo>
                    <a:cubicBezTo>
                      <a:pt x="15" y="134"/>
                      <a:pt x="16" y="140"/>
                      <a:pt x="16" y="140"/>
                    </a:cubicBezTo>
                    <a:cubicBezTo>
                      <a:pt x="16" y="140"/>
                      <a:pt x="17" y="140"/>
                      <a:pt x="17" y="141"/>
                    </a:cubicBezTo>
                    <a:cubicBezTo>
                      <a:pt x="19" y="143"/>
                      <a:pt x="20" y="145"/>
                      <a:pt x="19" y="146"/>
                    </a:cubicBezTo>
                    <a:cubicBezTo>
                      <a:pt x="19" y="147"/>
                      <a:pt x="19" y="147"/>
                      <a:pt x="19" y="147"/>
                    </a:cubicBezTo>
                    <a:cubicBezTo>
                      <a:pt x="18" y="147"/>
                      <a:pt x="18" y="147"/>
                      <a:pt x="18" y="147"/>
                    </a:cubicBezTo>
                    <a:cubicBezTo>
                      <a:pt x="17" y="148"/>
                      <a:pt x="15" y="148"/>
                      <a:pt x="14" y="149"/>
                    </a:cubicBezTo>
                    <a:cubicBezTo>
                      <a:pt x="13" y="150"/>
                      <a:pt x="13" y="150"/>
                      <a:pt x="13" y="150"/>
                    </a:cubicBezTo>
                    <a:cubicBezTo>
                      <a:pt x="12" y="151"/>
                      <a:pt x="12" y="152"/>
                      <a:pt x="11" y="153"/>
                    </a:cubicBezTo>
                    <a:cubicBezTo>
                      <a:pt x="12" y="154"/>
                      <a:pt x="11" y="156"/>
                      <a:pt x="11" y="157"/>
                    </a:cubicBezTo>
                    <a:cubicBezTo>
                      <a:pt x="15" y="167"/>
                      <a:pt x="15" y="167"/>
                      <a:pt x="15" y="167"/>
                    </a:cubicBezTo>
                    <a:cubicBezTo>
                      <a:pt x="10" y="173"/>
                      <a:pt x="10" y="173"/>
                      <a:pt x="10" y="173"/>
                    </a:cubicBezTo>
                    <a:cubicBezTo>
                      <a:pt x="6" y="177"/>
                      <a:pt x="6" y="177"/>
                      <a:pt x="6" y="177"/>
                    </a:cubicBezTo>
                    <a:cubicBezTo>
                      <a:pt x="4" y="177"/>
                      <a:pt x="4" y="177"/>
                      <a:pt x="4" y="177"/>
                    </a:cubicBezTo>
                    <a:cubicBezTo>
                      <a:pt x="4" y="177"/>
                      <a:pt x="4" y="177"/>
                      <a:pt x="4" y="177"/>
                    </a:cubicBezTo>
                    <a:cubicBezTo>
                      <a:pt x="3" y="177"/>
                      <a:pt x="1" y="177"/>
                      <a:pt x="0" y="177"/>
                    </a:cubicBezTo>
                    <a:cubicBezTo>
                      <a:pt x="1" y="179"/>
                      <a:pt x="1" y="179"/>
                      <a:pt x="1" y="179"/>
                    </a:cubicBezTo>
                    <a:cubicBezTo>
                      <a:pt x="1" y="179"/>
                      <a:pt x="3" y="181"/>
                      <a:pt x="5" y="180"/>
                    </a:cubicBezTo>
                    <a:cubicBezTo>
                      <a:pt x="6" y="180"/>
                      <a:pt x="7" y="180"/>
                      <a:pt x="8" y="180"/>
                    </a:cubicBezTo>
                    <a:cubicBezTo>
                      <a:pt x="9" y="180"/>
                      <a:pt x="15" y="178"/>
                      <a:pt x="15" y="178"/>
                    </a:cubicBezTo>
                    <a:cubicBezTo>
                      <a:pt x="15" y="178"/>
                      <a:pt x="18" y="177"/>
                      <a:pt x="20" y="176"/>
                    </a:cubicBezTo>
                    <a:cubicBezTo>
                      <a:pt x="22" y="176"/>
                      <a:pt x="25" y="174"/>
                      <a:pt x="27" y="174"/>
                    </a:cubicBezTo>
                    <a:cubicBezTo>
                      <a:pt x="29" y="174"/>
                      <a:pt x="28" y="175"/>
                      <a:pt x="28" y="176"/>
                    </a:cubicBezTo>
                    <a:cubicBezTo>
                      <a:pt x="28" y="177"/>
                      <a:pt x="25" y="179"/>
                      <a:pt x="24" y="179"/>
                    </a:cubicBezTo>
                    <a:cubicBezTo>
                      <a:pt x="24" y="180"/>
                      <a:pt x="23" y="181"/>
                      <a:pt x="21" y="182"/>
                    </a:cubicBezTo>
                    <a:cubicBezTo>
                      <a:pt x="19" y="184"/>
                      <a:pt x="19" y="183"/>
                      <a:pt x="18" y="184"/>
                    </a:cubicBezTo>
                    <a:cubicBezTo>
                      <a:pt x="16" y="184"/>
                      <a:pt x="17" y="185"/>
                      <a:pt x="16" y="187"/>
                    </a:cubicBezTo>
                    <a:cubicBezTo>
                      <a:pt x="14" y="188"/>
                      <a:pt x="14" y="188"/>
                      <a:pt x="13" y="189"/>
                    </a:cubicBezTo>
                    <a:cubicBezTo>
                      <a:pt x="12" y="190"/>
                      <a:pt x="13" y="190"/>
                      <a:pt x="12" y="192"/>
                    </a:cubicBezTo>
                    <a:cubicBezTo>
                      <a:pt x="11" y="195"/>
                      <a:pt x="12" y="193"/>
                      <a:pt x="12" y="193"/>
                    </a:cubicBezTo>
                    <a:cubicBezTo>
                      <a:pt x="13" y="197"/>
                      <a:pt x="13" y="197"/>
                      <a:pt x="13" y="197"/>
                    </a:cubicBezTo>
                    <a:cubicBezTo>
                      <a:pt x="13" y="197"/>
                      <a:pt x="13" y="199"/>
                      <a:pt x="12" y="199"/>
                    </a:cubicBezTo>
                    <a:cubicBezTo>
                      <a:pt x="11" y="200"/>
                      <a:pt x="11" y="203"/>
                      <a:pt x="11" y="204"/>
                    </a:cubicBezTo>
                    <a:cubicBezTo>
                      <a:pt x="11" y="205"/>
                      <a:pt x="13" y="203"/>
                      <a:pt x="13" y="203"/>
                    </a:cubicBezTo>
                    <a:cubicBezTo>
                      <a:pt x="13" y="200"/>
                      <a:pt x="13" y="200"/>
                      <a:pt x="13" y="200"/>
                    </a:cubicBezTo>
                    <a:cubicBezTo>
                      <a:pt x="15" y="198"/>
                      <a:pt x="15" y="198"/>
                      <a:pt x="15" y="198"/>
                    </a:cubicBezTo>
                    <a:cubicBezTo>
                      <a:pt x="15" y="198"/>
                      <a:pt x="17" y="194"/>
                      <a:pt x="18" y="193"/>
                    </a:cubicBezTo>
                    <a:cubicBezTo>
                      <a:pt x="18" y="192"/>
                      <a:pt x="20" y="188"/>
                      <a:pt x="20" y="188"/>
                    </a:cubicBezTo>
                    <a:cubicBezTo>
                      <a:pt x="20" y="188"/>
                      <a:pt x="23" y="184"/>
                      <a:pt x="23" y="183"/>
                    </a:cubicBezTo>
                    <a:cubicBezTo>
                      <a:pt x="23" y="183"/>
                      <a:pt x="24" y="184"/>
                      <a:pt x="24" y="184"/>
                    </a:cubicBezTo>
                    <a:cubicBezTo>
                      <a:pt x="24" y="184"/>
                      <a:pt x="30" y="179"/>
                      <a:pt x="30" y="179"/>
                    </a:cubicBezTo>
                    <a:cubicBezTo>
                      <a:pt x="31" y="178"/>
                      <a:pt x="34" y="175"/>
                      <a:pt x="34" y="175"/>
                    </a:cubicBezTo>
                    <a:cubicBezTo>
                      <a:pt x="39" y="171"/>
                      <a:pt x="39" y="171"/>
                      <a:pt x="39" y="171"/>
                    </a:cubicBezTo>
                    <a:cubicBezTo>
                      <a:pt x="39" y="171"/>
                      <a:pt x="43" y="166"/>
                      <a:pt x="43" y="164"/>
                    </a:cubicBezTo>
                    <a:cubicBezTo>
                      <a:pt x="43" y="163"/>
                      <a:pt x="44" y="157"/>
                      <a:pt x="46" y="156"/>
                    </a:cubicBezTo>
                    <a:cubicBezTo>
                      <a:pt x="47" y="155"/>
                      <a:pt x="49" y="154"/>
                      <a:pt x="51" y="153"/>
                    </a:cubicBezTo>
                    <a:cubicBezTo>
                      <a:pt x="53" y="152"/>
                      <a:pt x="54" y="150"/>
                      <a:pt x="54" y="150"/>
                    </a:cubicBezTo>
                    <a:cubicBezTo>
                      <a:pt x="54" y="150"/>
                      <a:pt x="58" y="151"/>
                      <a:pt x="60" y="150"/>
                    </a:cubicBezTo>
                    <a:cubicBezTo>
                      <a:pt x="61" y="149"/>
                      <a:pt x="65" y="145"/>
                      <a:pt x="65" y="145"/>
                    </a:cubicBezTo>
                    <a:cubicBezTo>
                      <a:pt x="66" y="144"/>
                      <a:pt x="70" y="143"/>
                      <a:pt x="71" y="143"/>
                    </a:cubicBezTo>
                    <a:cubicBezTo>
                      <a:pt x="71" y="143"/>
                      <a:pt x="76" y="144"/>
                      <a:pt x="78" y="144"/>
                    </a:cubicBezTo>
                    <a:cubicBezTo>
                      <a:pt x="80" y="144"/>
                      <a:pt x="89" y="143"/>
                      <a:pt x="89" y="143"/>
                    </a:cubicBezTo>
                    <a:cubicBezTo>
                      <a:pt x="89" y="143"/>
                      <a:pt x="95" y="141"/>
                      <a:pt x="96" y="141"/>
                    </a:cubicBezTo>
                    <a:cubicBezTo>
                      <a:pt x="96" y="141"/>
                      <a:pt x="101" y="141"/>
                      <a:pt x="103" y="143"/>
                    </a:cubicBezTo>
                    <a:cubicBezTo>
                      <a:pt x="105" y="145"/>
                      <a:pt x="107" y="146"/>
                      <a:pt x="108" y="146"/>
                    </a:cubicBezTo>
                    <a:cubicBezTo>
                      <a:pt x="109" y="146"/>
                      <a:pt x="116" y="145"/>
                      <a:pt x="119" y="143"/>
                    </a:cubicBezTo>
                    <a:cubicBezTo>
                      <a:pt x="123" y="140"/>
                      <a:pt x="121" y="142"/>
                      <a:pt x="123" y="142"/>
                    </a:cubicBezTo>
                    <a:cubicBezTo>
                      <a:pt x="125" y="141"/>
                      <a:pt x="127" y="142"/>
                      <a:pt x="128" y="142"/>
                    </a:cubicBezTo>
                    <a:cubicBezTo>
                      <a:pt x="128" y="142"/>
                      <a:pt x="126" y="144"/>
                      <a:pt x="122" y="145"/>
                    </a:cubicBezTo>
                    <a:cubicBezTo>
                      <a:pt x="118" y="146"/>
                      <a:pt x="118" y="146"/>
                      <a:pt x="117" y="146"/>
                    </a:cubicBezTo>
                    <a:cubicBezTo>
                      <a:pt x="116" y="146"/>
                      <a:pt x="110" y="150"/>
                      <a:pt x="107" y="151"/>
                    </a:cubicBezTo>
                    <a:cubicBezTo>
                      <a:pt x="103" y="153"/>
                      <a:pt x="103" y="153"/>
                      <a:pt x="102" y="154"/>
                    </a:cubicBezTo>
                    <a:cubicBezTo>
                      <a:pt x="100" y="154"/>
                      <a:pt x="100" y="155"/>
                      <a:pt x="99" y="156"/>
                    </a:cubicBezTo>
                    <a:cubicBezTo>
                      <a:pt x="97" y="156"/>
                      <a:pt x="97" y="157"/>
                      <a:pt x="96" y="158"/>
                    </a:cubicBezTo>
                    <a:cubicBezTo>
                      <a:pt x="94" y="159"/>
                      <a:pt x="95" y="159"/>
                      <a:pt x="94" y="161"/>
                    </a:cubicBezTo>
                    <a:cubicBezTo>
                      <a:pt x="93" y="162"/>
                      <a:pt x="96" y="162"/>
                      <a:pt x="96" y="162"/>
                    </a:cubicBezTo>
                    <a:cubicBezTo>
                      <a:pt x="96" y="163"/>
                      <a:pt x="100" y="162"/>
                      <a:pt x="100" y="162"/>
                    </a:cubicBezTo>
                    <a:cubicBezTo>
                      <a:pt x="104" y="162"/>
                      <a:pt x="104" y="162"/>
                      <a:pt x="104" y="162"/>
                    </a:cubicBezTo>
                    <a:cubicBezTo>
                      <a:pt x="106" y="163"/>
                      <a:pt x="106" y="163"/>
                      <a:pt x="106" y="163"/>
                    </a:cubicBezTo>
                    <a:cubicBezTo>
                      <a:pt x="106" y="163"/>
                      <a:pt x="104" y="165"/>
                      <a:pt x="103" y="166"/>
                    </a:cubicBezTo>
                    <a:cubicBezTo>
                      <a:pt x="103" y="167"/>
                      <a:pt x="101" y="166"/>
                      <a:pt x="99" y="166"/>
                    </a:cubicBezTo>
                    <a:cubicBezTo>
                      <a:pt x="97" y="165"/>
                      <a:pt x="90" y="170"/>
                      <a:pt x="90" y="170"/>
                    </a:cubicBezTo>
                    <a:cubicBezTo>
                      <a:pt x="85" y="171"/>
                      <a:pt x="85" y="171"/>
                      <a:pt x="85" y="171"/>
                    </a:cubicBezTo>
                    <a:cubicBezTo>
                      <a:pt x="77" y="172"/>
                      <a:pt x="77" y="172"/>
                      <a:pt x="77" y="172"/>
                    </a:cubicBezTo>
                    <a:cubicBezTo>
                      <a:pt x="77" y="172"/>
                      <a:pt x="74" y="173"/>
                      <a:pt x="73" y="173"/>
                    </a:cubicBezTo>
                    <a:cubicBezTo>
                      <a:pt x="72" y="174"/>
                      <a:pt x="72" y="175"/>
                      <a:pt x="72" y="175"/>
                    </a:cubicBezTo>
                    <a:cubicBezTo>
                      <a:pt x="72" y="175"/>
                      <a:pt x="68" y="176"/>
                      <a:pt x="67" y="176"/>
                    </a:cubicBezTo>
                    <a:cubicBezTo>
                      <a:pt x="67" y="176"/>
                      <a:pt x="67" y="175"/>
                      <a:pt x="67" y="174"/>
                    </a:cubicBezTo>
                    <a:cubicBezTo>
                      <a:pt x="66" y="174"/>
                      <a:pt x="67" y="173"/>
                      <a:pt x="68" y="173"/>
                    </a:cubicBezTo>
                    <a:cubicBezTo>
                      <a:pt x="69" y="172"/>
                      <a:pt x="68" y="170"/>
                      <a:pt x="68" y="170"/>
                    </a:cubicBezTo>
                    <a:cubicBezTo>
                      <a:pt x="68" y="170"/>
                      <a:pt x="65" y="170"/>
                      <a:pt x="63" y="170"/>
                    </a:cubicBezTo>
                    <a:cubicBezTo>
                      <a:pt x="62" y="170"/>
                      <a:pt x="61" y="170"/>
                      <a:pt x="60" y="170"/>
                    </a:cubicBezTo>
                    <a:cubicBezTo>
                      <a:pt x="60" y="170"/>
                      <a:pt x="58" y="174"/>
                      <a:pt x="58" y="174"/>
                    </a:cubicBezTo>
                    <a:cubicBezTo>
                      <a:pt x="58" y="175"/>
                      <a:pt x="58" y="175"/>
                      <a:pt x="58" y="175"/>
                    </a:cubicBezTo>
                    <a:cubicBezTo>
                      <a:pt x="58" y="175"/>
                      <a:pt x="63" y="176"/>
                      <a:pt x="63" y="176"/>
                    </a:cubicBezTo>
                    <a:cubicBezTo>
                      <a:pt x="64" y="176"/>
                      <a:pt x="63" y="178"/>
                      <a:pt x="63" y="178"/>
                    </a:cubicBezTo>
                    <a:cubicBezTo>
                      <a:pt x="59" y="180"/>
                      <a:pt x="59" y="180"/>
                      <a:pt x="59" y="180"/>
                    </a:cubicBezTo>
                    <a:cubicBezTo>
                      <a:pt x="50" y="182"/>
                      <a:pt x="50" y="182"/>
                      <a:pt x="50" y="182"/>
                    </a:cubicBezTo>
                    <a:cubicBezTo>
                      <a:pt x="50" y="182"/>
                      <a:pt x="46" y="178"/>
                      <a:pt x="46" y="178"/>
                    </a:cubicBezTo>
                    <a:cubicBezTo>
                      <a:pt x="46" y="177"/>
                      <a:pt x="44" y="178"/>
                      <a:pt x="43" y="179"/>
                    </a:cubicBezTo>
                    <a:cubicBezTo>
                      <a:pt x="41" y="179"/>
                      <a:pt x="40" y="179"/>
                      <a:pt x="40" y="179"/>
                    </a:cubicBezTo>
                    <a:cubicBezTo>
                      <a:pt x="39" y="179"/>
                      <a:pt x="37" y="180"/>
                      <a:pt x="37" y="180"/>
                    </a:cubicBezTo>
                    <a:cubicBezTo>
                      <a:pt x="35" y="180"/>
                      <a:pt x="35" y="180"/>
                      <a:pt x="35" y="180"/>
                    </a:cubicBezTo>
                    <a:cubicBezTo>
                      <a:pt x="34" y="182"/>
                      <a:pt x="34" y="182"/>
                      <a:pt x="34" y="182"/>
                    </a:cubicBezTo>
                    <a:cubicBezTo>
                      <a:pt x="34" y="182"/>
                      <a:pt x="31" y="184"/>
                      <a:pt x="31" y="184"/>
                    </a:cubicBezTo>
                    <a:cubicBezTo>
                      <a:pt x="30" y="184"/>
                      <a:pt x="27" y="184"/>
                      <a:pt x="27" y="184"/>
                    </a:cubicBezTo>
                    <a:cubicBezTo>
                      <a:pt x="25" y="187"/>
                      <a:pt x="25" y="187"/>
                      <a:pt x="25" y="187"/>
                    </a:cubicBezTo>
                    <a:cubicBezTo>
                      <a:pt x="25" y="187"/>
                      <a:pt x="20" y="192"/>
                      <a:pt x="19" y="193"/>
                    </a:cubicBezTo>
                    <a:cubicBezTo>
                      <a:pt x="19" y="193"/>
                      <a:pt x="17" y="196"/>
                      <a:pt x="17" y="197"/>
                    </a:cubicBezTo>
                    <a:cubicBezTo>
                      <a:pt x="17" y="197"/>
                      <a:pt x="16" y="200"/>
                      <a:pt x="16" y="200"/>
                    </a:cubicBezTo>
                    <a:cubicBezTo>
                      <a:pt x="15" y="202"/>
                      <a:pt x="15" y="202"/>
                      <a:pt x="15" y="202"/>
                    </a:cubicBezTo>
                    <a:cubicBezTo>
                      <a:pt x="14" y="205"/>
                      <a:pt x="14" y="205"/>
                      <a:pt x="14" y="205"/>
                    </a:cubicBezTo>
                    <a:cubicBezTo>
                      <a:pt x="15" y="209"/>
                      <a:pt x="15" y="209"/>
                      <a:pt x="15" y="209"/>
                    </a:cubicBezTo>
                    <a:cubicBezTo>
                      <a:pt x="15" y="209"/>
                      <a:pt x="16" y="212"/>
                      <a:pt x="16" y="213"/>
                    </a:cubicBezTo>
                    <a:cubicBezTo>
                      <a:pt x="16" y="214"/>
                      <a:pt x="16" y="218"/>
                      <a:pt x="16" y="218"/>
                    </a:cubicBezTo>
                    <a:cubicBezTo>
                      <a:pt x="16" y="219"/>
                      <a:pt x="17" y="222"/>
                      <a:pt x="18" y="222"/>
                    </a:cubicBezTo>
                    <a:cubicBezTo>
                      <a:pt x="18" y="223"/>
                      <a:pt x="16" y="224"/>
                      <a:pt x="16" y="224"/>
                    </a:cubicBezTo>
                    <a:cubicBezTo>
                      <a:pt x="16" y="224"/>
                      <a:pt x="15" y="229"/>
                      <a:pt x="16" y="230"/>
                    </a:cubicBezTo>
                    <a:cubicBezTo>
                      <a:pt x="16" y="230"/>
                      <a:pt x="19" y="230"/>
                      <a:pt x="19" y="230"/>
                    </a:cubicBezTo>
                    <a:cubicBezTo>
                      <a:pt x="19" y="230"/>
                      <a:pt x="23" y="228"/>
                      <a:pt x="23" y="228"/>
                    </a:cubicBezTo>
                    <a:cubicBezTo>
                      <a:pt x="24" y="228"/>
                      <a:pt x="26" y="226"/>
                      <a:pt x="26" y="226"/>
                    </a:cubicBezTo>
                    <a:cubicBezTo>
                      <a:pt x="27" y="225"/>
                      <a:pt x="30" y="224"/>
                      <a:pt x="31" y="224"/>
                    </a:cubicBezTo>
                    <a:cubicBezTo>
                      <a:pt x="31" y="224"/>
                      <a:pt x="34" y="223"/>
                      <a:pt x="34" y="223"/>
                    </a:cubicBezTo>
                    <a:cubicBezTo>
                      <a:pt x="34" y="223"/>
                      <a:pt x="37" y="220"/>
                      <a:pt x="37" y="220"/>
                    </a:cubicBezTo>
                    <a:cubicBezTo>
                      <a:pt x="38" y="220"/>
                      <a:pt x="43" y="220"/>
                      <a:pt x="43" y="220"/>
                    </a:cubicBezTo>
                    <a:cubicBezTo>
                      <a:pt x="43" y="220"/>
                      <a:pt x="42" y="225"/>
                      <a:pt x="39" y="227"/>
                    </a:cubicBezTo>
                    <a:cubicBezTo>
                      <a:pt x="37" y="229"/>
                      <a:pt x="38" y="230"/>
                      <a:pt x="38" y="230"/>
                    </a:cubicBezTo>
                    <a:cubicBezTo>
                      <a:pt x="38" y="231"/>
                      <a:pt x="38" y="233"/>
                      <a:pt x="38" y="234"/>
                    </a:cubicBezTo>
                    <a:cubicBezTo>
                      <a:pt x="38" y="234"/>
                      <a:pt x="43" y="237"/>
                      <a:pt x="43" y="237"/>
                    </a:cubicBezTo>
                    <a:cubicBezTo>
                      <a:pt x="43" y="237"/>
                      <a:pt x="44" y="239"/>
                      <a:pt x="44" y="239"/>
                    </a:cubicBezTo>
                    <a:cubicBezTo>
                      <a:pt x="45" y="240"/>
                      <a:pt x="45" y="241"/>
                      <a:pt x="45" y="241"/>
                    </a:cubicBezTo>
                    <a:cubicBezTo>
                      <a:pt x="45" y="241"/>
                      <a:pt x="45" y="243"/>
                      <a:pt x="45" y="244"/>
                    </a:cubicBezTo>
                    <a:cubicBezTo>
                      <a:pt x="44" y="244"/>
                      <a:pt x="45" y="246"/>
                      <a:pt x="45" y="247"/>
                    </a:cubicBezTo>
                    <a:cubicBezTo>
                      <a:pt x="46" y="247"/>
                      <a:pt x="47" y="248"/>
                      <a:pt x="48" y="248"/>
                    </a:cubicBezTo>
                    <a:cubicBezTo>
                      <a:pt x="48" y="248"/>
                      <a:pt x="53" y="246"/>
                      <a:pt x="54" y="246"/>
                    </a:cubicBezTo>
                    <a:cubicBezTo>
                      <a:pt x="55" y="246"/>
                      <a:pt x="53" y="249"/>
                      <a:pt x="53" y="249"/>
                    </a:cubicBezTo>
                    <a:cubicBezTo>
                      <a:pt x="52" y="253"/>
                      <a:pt x="52" y="253"/>
                      <a:pt x="52" y="253"/>
                    </a:cubicBezTo>
                    <a:cubicBezTo>
                      <a:pt x="52" y="253"/>
                      <a:pt x="49" y="254"/>
                      <a:pt x="49" y="254"/>
                    </a:cubicBezTo>
                    <a:cubicBezTo>
                      <a:pt x="48" y="254"/>
                      <a:pt x="46" y="255"/>
                      <a:pt x="46" y="255"/>
                    </a:cubicBezTo>
                    <a:cubicBezTo>
                      <a:pt x="45" y="255"/>
                      <a:pt x="45" y="257"/>
                      <a:pt x="45" y="258"/>
                    </a:cubicBezTo>
                    <a:cubicBezTo>
                      <a:pt x="45" y="258"/>
                      <a:pt x="46" y="260"/>
                      <a:pt x="46" y="260"/>
                    </a:cubicBezTo>
                    <a:cubicBezTo>
                      <a:pt x="46" y="260"/>
                      <a:pt x="48" y="261"/>
                      <a:pt x="49" y="262"/>
                    </a:cubicBezTo>
                    <a:cubicBezTo>
                      <a:pt x="49" y="262"/>
                      <a:pt x="50" y="263"/>
                      <a:pt x="51" y="263"/>
                    </a:cubicBezTo>
                    <a:cubicBezTo>
                      <a:pt x="51" y="264"/>
                      <a:pt x="56" y="267"/>
                      <a:pt x="56" y="267"/>
                    </a:cubicBezTo>
                    <a:cubicBezTo>
                      <a:pt x="56" y="267"/>
                      <a:pt x="55" y="271"/>
                      <a:pt x="54" y="271"/>
                    </a:cubicBezTo>
                    <a:cubicBezTo>
                      <a:pt x="53" y="271"/>
                      <a:pt x="52" y="270"/>
                      <a:pt x="50" y="270"/>
                    </a:cubicBezTo>
                    <a:cubicBezTo>
                      <a:pt x="49" y="269"/>
                      <a:pt x="48" y="271"/>
                      <a:pt x="48" y="271"/>
                    </a:cubicBezTo>
                    <a:cubicBezTo>
                      <a:pt x="47" y="270"/>
                      <a:pt x="46" y="267"/>
                      <a:pt x="46" y="267"/>
                    </a:cubicBezTo>
                    <a:cubicBezTo>
                      <a:pt x="46" y="267"/>
                      <a:pt x="43" y="264"/>
                      <a:pt x="43" y="264"/>
                    </a:cubicBezTo>
                    <a:cubicBezTo>
                      <a:pt x="42" y="264"/>
                      <a:pt x="41" y="262"/>
                      <a:pt x="41" y="262"/>
                    </a:cubicBezTo>
                    <a:cubicBezTo>
                      <a:pt x="39" y="261"/>
                      <a:pt x="39" y="261"/>
                      <a:pt x="39" y="261"/>
                    </a:cubicBezTo>
                    <a:cubicBezTo>
                      <a:pt x="38" y="261"/>
                      <a:pt x="39" y="261"/>
                      <a:pt x="38" y="261"/>
                    </a:cubicBezTo>
                    <a:cubicBezTo>
                      <a:pt x="37" y="260"/>
                      <a:pt x="34" y="263"/>
                      <a:pt x="35" y="266"/>
                    </a:cubicBezTo>
                    <a:cubicBezTo>
                      <a:pt x="35" y="267"/>
                      <a:pt x="37" y="268"/>
                      <a:pt x="37" y="268"/>
                    </a:cubicBezTo>
                    <a:cubicBezTo>
                      <a:pt x="37" y="268"/>
                      <a:pt x="38" y="270"/>
                      <a:pt x="39" y="271"/>
                    </a:cubicBezTo>
                    <a:cubicBezTo>
                      <a:pt x="39" y="272"/>
                      <a:pt x="42" y="272"/>
                      <a:pt x="41" y="272"/>
                    </a:cubicBezTo>
                    <a:cubicBezTo>
                      <a:pt x="40" y="272"/>
                      <a:pt x="40" y="277"/>
                      <a:pt x="40" y="277"/>
                    </a:cubicBezTo>
                    <a:cubicBezTo>
                      <a:pt x="40" y="277"/>
                      <a:pt x="35" y="275"/>
                      <a:pt x="36" y="275"/>
                    </a:cubicBezTo>
                    <a:cubicBezTo>
                      <a:pt x="37" y="275"/>
                      <a:pt x="34" y="279"/>
                      <a:pt x="34" y="279"/>
                    </a:cubicBezTo>
                    <a:cubicBezTo>
                      <a:pt x="34" y="279"/>
                      <a:pt x="37" y="280"/>
                      <a:pt x="37" y="281"/>
                    </a:cubicBezTo>
                    <a:cubicBezTo>
                      <a:pt x="38" y="282"/>
                      <a:pt x="41" y="282"/>
                      <a:pt x="42" y="282"/>
                    </a:cubicBezTo>
                    <a:cubicBezTo>
                      <a:pt x="43" y="281"/>
                      <a:pt x="45" y="283"/>
                      <a:pt x="46" y="284"/>
                    </a:cubicBezTo>
                    <a:cubicBezTo>
                      <a:pt x="49" y="287"/>
                      <a:pt x="49" y="284"/>
                      <a:pt x="49" y="283"/>
                    </a:cubicBezTo>
                    <a:cubicBezTo>
                      <a:pt x="49" y="283"/>
                      <a:pt x="49" y="279"/>
                      <a:pt x="49" y="280"/>
                    </a:cubicBezTo>
                    <a:cubicBezTo>
                      <a:pt x="49" y="280"/>
                      <a:pt x="52" y="279"/>
                      <a:pt x="52" y="279"/>
                    </a:cubicBezTo>
                    <a:cubicBezTo>
                      <a:pt x="56" y="281"/>
                      <a:pt x="56" y="281"/>
                      <a:pt x="56" y="281"/>
                    </a:cubicBezTo>
                    <a:cubicBezTo>
                      <a:pt x="56" y="281"/>
                      <a:pt x="58" y="282"/>
                      <a:pt x="59" y="283"/>
                    </a:cubicBezTo>
                    <a:cubicBezTo>
                      <a:pt x="61" y="284"/>
                      <a:pt x="60" y="284"/>
                      <a:pt x="60" y="284"/>
                    </a:cubicBezTo>
                    <a:cubicBezTo>
                      <a:pt x="71" y="285"/>
                      <a:pt x="71" y="285"/>
                      <a:pt x="71" y="285"/>
                    </a:cubicBezTo>
                    <a:cubicBezTo>
                      <a:pt x="71" y="285"/>
                      <a:pt x="72" y="285"/>
                      <a:pt x="73" y="286"/>
                    </a:cubicBezTo>
                    <a:cubicBezTo>
                      <a:pt x="74" y="287"/>
                      <a:pt x="73" y="287"/>
                      <a:pt x="73" y="288"/>
                    </a:cubicBezTo>
                    <a:cubicBezTo>
                      <a:pt x="72" y="293"/>
                      <a:pt x="76" y="295"/>
                      <a:pt x="76" y="296"/>
                    </a:cubicBezTo>
                    <a:cubicBezTo>
                      <a:pt x="76" y="296"/>
                      <a:pt x="72" y="297"/>
                      <a:pt x="71" y="297"/>
                    </a:cubicBezTo>
                    <a:cubicBezTo>
                      <a:pt x="70" y="297"/>
                      <a:pt x="70" y="297"/>
                      <a:pt x="70" y="297"/>
                    </a:cubicBezTo>
                    <a:cubicBezTo>
                      <a:pt x="70" y="297"/>
                      <a:pt x="70" y="297"/>
                      <a:pt x="70" y="297"/>
                    </a:cubicBezTo>
                    <a:cubicBezTo>
                      <a:pt x="70" y="298"/>
                      <a:pt x="69" y="299"/>
                      <a:pt x="69" y="300"/>
                    </a:cubicBezTo>
                    <a:cubicBezTo>
                      <a:pt x="70" y="300"/>
                      <a:pt x="70" y="300"/>
                      <a:pt x="70" y="300"/>
                    </a:cubicBezTo>
                    <a:cubicBezTo>
                      <a:pt x="78" y="302"/>
                      <a:pt x="74" y="302"/>
                      <a:pt x="76" y="308"/>
                    </a:cubicBezTo>
                    <a:cubicBezTo>
                      <a:pt x="80" y="319"/>
                      <a:pt x="79" y="304"/>
                      <a:pt x="81" y="308"/>
                    </a:cubicBezTo>
                    <a:cubicBezTo>
                      <a:pt x="81" y="309"/>
                      <a:pt x="84" y="308"/>
                      <a:pt x="86" y="311"/>
                    </a:cubicBezTo>
                    <a:cubicBezTo>
                      <a:pt x="87" y="314"/>
                      <a:pt x="91" y="306"/>
                      <a:pt x="93" y="315"/>
                    </a:cubicBezTo>
                    <a:cubicBezTo>
                      <a:pt x="94" y="317"/>
                      <a:pt x="89" y="319"/>
                      <a:pt x="87" y="320"/>
                    </a:cubicBezTo>
                    <a:cubicBezTo>
                      <a:pt x="83" y="322"/>
                      <a:pt x="83" y="320"/>
                      <a:pt x="80" y="321"/>
                    </a:cubicBezTo>
                    <a:cubicBezTo>
                      <a:pt x="80" y="321"/>
                      <a:pt x="78" y="327"/>
                      <a:pt x="82" y="327"/>
                    </a:cubicBezTo>
                    <a:cubicBezTo>
                      <a:pt x="83" y="327"/>
                      <a:pt x="83" y="325"/>
                      <a:pt x="85" y="325"/>
                    </a:cubicBezTo>
                    <a:cubicBezTo>
                      <a:pt x="88" y="324"/>
                      <a:pt x="88" y="327"/>
                      <a:pt x="90" y="326"/>
                    </a:cubicBezTo>
                    <a:cubicBezTo>
                      <a:pt x="94" y="326"/>
                      <a:pt x="94" y="325"/>
                      <a:pt x="100" y="323"/>
                    </a:cubicBezTo>
                    <a:cubicBezTo>
                      <a:pt x="104" y="322"/>
                      <a:pt x="108" y="315"/>
                      <a:pt x="109" y="315"/>
                    </a:cubicBezTo>
                    <a:cubicBezTo>
                      <a:pt x="110" y="315"/>
                      <a:pt x="118" y="319"/>
                      <a:pt x="118" y="321"/>
                    </a:cubicBezTo>
                    <a:cubicBezTo>
                      <a:pt x="118" y="322"/>
                      <a:pt x="105" y="331"/>
                      <a:pt x="103" y="331"/>
                    </a:cubicBezTo>
                    <a:cubicBezTo>
                      <a:pt x="93" y="334"/>
                      <a:pt x="102" y="336"/>
                      <a:pt x="104" y="335"/>
                    </a:cubicBezTo>
                    <a:cubicBezTo>
                      <a:pt x="111" y="331"/>
                      <a:pt x="110" y="336"/>
                      <a:pt x="113" y="334"/>
                    </a:cubicBezTo>
                    <a:cubicBezTo>
                      <a:pt x="115" y="333"/>
                      <a:pt x="114" y="339"/>
                      <a:pt x="116" y="338"/>
                    </a:cubicBezTo>
                    <a:cubicBezTo>
                      <a:pt x="118" y="337"/>
                      <a:pt x="121" y="330"/>
                      <a:pt x="123" y="328"/>
                    </a:cubicBezTo>
                    <a:cubicBezTo>
                      <a:pt x="127" y="324"/>
                      <a:pt x="130" y="323"/>
                      <a:pt x="131" y="324"/>
                    </a:cubicBezTo>
                    <a:cubicBezTo>
                      <a:pt x="132" y="325"/>
                      <a:pt x="132" y="322"/>
                      <a:pt x="138" y="324"/>
                    </a:cubicBezTo>
                    <a:cubicBezTo>
                      <a:pt x="141" y="325"/>
                      <a:pt x="139" y="324"/>
                      <a:pt x="142" y="335"/>
                    </a:cubicBezTo>
                    <a:cubicBezTo>
                      <a:pt x="143" y="337"/>
                      <a:pt x="151" y="343"/>
                      <a:pt x="151" y="341"/>
                    </a:cubicBezTo>
                    <a:cubicBezTo>
                      <a:pt x="165" y="342"/>
                      <a:pt x="165" y="342"/>
                      <a:pt x="165" y="342"/>
                    </a:cubicBezTo>
                    <a:cubicBezTo>
                      <a:pt x="173" y="336"/>
                      <a:pt x="173" y="336"/>
                      <a:pt x="173" y="336"/>
                    </a:cubicBezTo>
                    <a:cubicBezTo>
                      <a:pt x="187" y="334"/>
                      <a:pt x="187" y="334"/>
                      <a:pt x="187" y="334"/>
                    </a:cubicBezTo>
                    <a:cubicBezTo>
                      <a:pt x="191" y="331"/>
                      <a:pt x="186" y="320"/>
                      <a:pt x="190" y="319"/>
                    </a:cubicBezTo>
                    <a:cubicBezTo>
                      <a:pt x="190" y="309"/>
                      <a:pt x="191" y="315"/>
                      <a:pt x="189" y="306"/>
                    </a:cubicBezTo>
                    <a:cubicBezTo>
                      <a:pt x="192" y="305"/>
                      <a:pt x="207" y="303"/>
                      <a:pt x="209" y="303"/>
                    </a:cubicBezTo>
                    <a:cubicBezTo>
                      <a:pt x="217" y="303"/>
                      <a:pt x="217" y="303"/>
                      <a:pt x="217" y="303"/>
                    </a:cubicBezTo>
                    <a:cubicBezTo>
                      <a:pt x="230" y="307"/>
                      <a:pt x="230" y="307"/>
                      <a:pt x="230" y="307"/>
                    </a:cubicBezTo>
                    <a:cubicBezTo>
                      <a:pt x="235" y="313"/>
                      <a:pt x="240" y="305"/>
                      <a:pt x="241" y="311"/>
                    </a:cubicBezTo>
                    <a:cubicBezTo>
                      <a:pt x="243" y="317"/>
                      <a:pt x="261" y="322"/>
                      <a:pt x="267" y="323"/>
                    </a:cubicBezTo>
                    <a:cubicBezTo>
                      <a:pt x="268" y="322"/>
                      <a:pt x="277" y="315"/>
                      <a:pt x="279" y="315"/>
                    </a:cubicBezTo>
                    <a:cubicBezTo>
                      <a:pt x="283" y="315"/>
                      <a:pt x="288" y="311"/>
                      <a:pt x="291" y="310"/>
                    </a:cubicBezTo>
                    <a:cubicBezTo>
                      <a:pt x="297" y="309"/>
                      <a:pt x="298" y="303"/>
                      <a:pt x="300" y="302"/>
                    </a:cubicBezTo>
                    <a:cubicBezTo>
                      <a:pt x="304" y="301"/>
                      <a:pt x="297" y="298"/>
                      <a:pt x="306" y="295"/>
                    </a:cubicBezTo>
                    <a:cubicBezTo>
                      <a:pt x="312" y="286"/>
                      <a:pt x="312" y="286"/>
                      <a:pt x="312" y="286"/>
                    </a:cubicBezTo>
                    <a:cubicBezTo>
                      <a:pt x="314" y="284"/>
                      <a:pt x="315" y="279"/>
                      <a:pt x="317" y="275"/>
                    </a:cubicBezTo>
                    <a:cubicBezTo>
                      <a:pt x="324" y="271"/>
                      <a:pt x="324" y="271"/>
                      <a:pt x="324" y="271"/>
                    </a:cubicBezTo>
                    <a:cubicBezTo>
                      <a:pt x="327" y="272"/>
                      <a:pt x="334" y="273"/>
                      <a:pt x="340" y="276"/>
                    </a:cubicBezTo>
                    <a:cubicBezTo>
                      <a:pt x="345" y="278"/>
                      <a:pt x="350" y="273"/>
                      <a:pt x="351" y="274"/>
                    </a:cubicBezTo>
                    <a:cubicBezTo>
                      <a:pt x="355" y="275"/>
                      <a:pt x="345" y="267"/>
                      <a:pt x="352" y="267"/>
                    </a:cubicBezTo>
                    <a:cubicBezTo>
                      <a:pt x="358" y="263"/>
                      <a:pt x="358" y="263"/>
                      <a:pt x="358" y="263"/>
                    </a:cubicBezTo>
                    <a:cubicBezTo>
                      <a:pt x="363" y="254"/>
                      <a:pt x="363" y="254"/>
                      <a:pt x="363" y="254"/>
                    </a:cubicBezTo>
                    <a:cubicBezTo>
                      <a:pt x="364" y="256"/>
                      <a:pt x="371" y="258"/>
                      <a:pt x="372" y="260"/>
                    </a:cubicBezTo>
                    <a:cubicBezTo>
                      <a:pt x="373" y="265"/>
                      <a:pt x="374" y="264"/>
                      <a:pt x="373" y="267"/>
                    </a:cubicBezTo>
                    <a:cubicBezTo>
                      <a:pt x="373" y="268"/>
                      <a:pt x="363" y="280"/>
                      <a:pt x="365" y="284"/>
                    </a:cubicBezTo>
                    <a:cubicBezTo>
                      <a:pt x="366" y="287"/>
                      <a:pt x="371" y="289"/>
                      <a:pt x="373" y="292"/>
                    </a:cubicBezTo>
                    <a:cubicBezTo>
                      <a:pt x="375" y="295"/>
                      <a:pt x="377" y="297"/>
                      <a:pt x="379" y="299"/>
                    </a:cubicBezTo>
                    <a:cubicBezTo>
                      <a:pt x="382" y="301"/>
                      <a:pt x="387" y="291"/>
                      <a:pt x="387" y="291"/>
                    </a:cubicBezTo>
                    <a:cubicBezTo>
                      <a:pt x="388" y="291"/>
                      <a:pt x="383" y="282"/>
                      <a:pt x="386" y="280"/>
                    </a:cubicBezTo>
                    <a:cubicBezTo>
                      <a:pt x="388" y="278"/>
                      <a:pt x="393" y="278"/>
                      <a:pt x="393" y="276"/>
                    </a:cubicBezTo>
                    <a:cubicBezTo>
                      <a:pt x="394" y="273"/>
                      <a:pt x="387" y="271"/>
                      <a:pt x="387" y="268"/>
                    </a:cubicBezTo>
                    <a:cubicBezTo>
                      <a:pt x="386" y="265"/>
                      <a:pt x="388" y="264"/>
                      <a:pt x="386" y="261"/>
                    </a:cubicBezTo>
                    <a:cubicBezTo>
                      <a:pt x="382" y="256"/>
                      <a:pt x="386" y="251"/>
                      <a:pt x="393" y="251"/>
                    </a:cubicBezTo>
                    <a:cubicBezTo>
                      <a:pt x="400" y="256"/>
                      <a:pt x="400" y="256"/>
                      <a:pt x="400" y="256"/>
                    </a:cubicBezTo>
                    <a:cubicBezTo>
                      <a:pt x="405" y="256"/>
                      <a:pt x="410" y="254"/>
                      <a:pt x="414" y="251"/>
                    </a:cubicBezTo>
                    <a:cubicBezTo>
                      <a:pt x="425" y="242"/>
                      <a:pt x="425" y="242"/>
                      <a:pt x="425" y="242"/>
                    </a:cubicBezTo>
                    <a:cubicBezTo>
                      <a:pt x="425" y="242"/>
                      <a:pt x="433" y="233"/>
                      <a:pt x="435" y="233"/>
                    </a:cubicBezTo>
                    <a:cubicBezTo>
                      <a:pt x="438" y="232"/>
                      <a:pt x="443" y="231"/>
                      <a:pt x="443" y="231"/>
                    </a:cubicBezTo>
                    <a:cubicBezTo>
                      <a:pt x="453" y="236"/>
                      <a:pt x="453" y="236"/>
                      <a:pt x="453" y="236"/>
                    </a:cubicBezTo>
                    <a:cubicBezTo>
                      <a:pt x="466" y="233"/>
                      <a:pt x="480" y="230"/>
                      <a:pt x="489" y="221"/>
                    </a:cubicBezTo>
                    <a:cubicBezTo>
                      <a:pt x="502" y="209"/>
                      <a:pt x="490" y="209"/>
                      <a:pt x="504" y="205"/>
                    </a:cubicBezTo>
                    <a:cubicBezTo>
                      <a:pt x="512" y="197"/>
                      <a:pt x="512" y="197"/>
                      <a:pt x="512" y="197"/>
                    </a:cubicBezTo>
                    <a:cubicBezTo>
                      <a:pt x="530" y="192"/>
                      <a:pt x="530" y="192"/>
                      <a:pt x="530" y="192"/>
                    </a:cubicBezTo>
                    <a:cubicBezTo>
                      <a:pt x="538" y="187"/>
                      <a:pt x="538" y="187"/>
                      <a:pt x="538" y="187"/>
                    </a:cubicBezTo>
                    <a:cubicBezTo>
                      <a:pt x="550" y="182"/>
                      <a:pt x="550" y="182"/>
                      <a:pt x="550" y="182"/>
                    </a:cubicBezTo>
                    <a:cubicBezTo>
                      <a:pt x="554" y="173"/>
                      <a:pt x="554" y="173"/>
                      <a:pt x="554" y="173"/>
                    </a:cubicBezTo>
                    <a:cubicBezTo>
                      <a:pt x="559" y="174"/>
                      <a:pt x="559" y="174"/>
                      <a:pt x="559" y="174"/>
                    </a:cubicBezTo>
                    <a:cubicBezTo>
                      <a:pt x="560" y="174"/>
                      <a:pt x="556" y="177"/>
                      <a:pt x="562" y="178"/>
                    </a:cubicBezTo>
                    <a:cubicBezTo>
                      <a:pt x="564" y="178"/>
                      <a:pt x="565" y="176"/>
                      <a:pt x="567" y="175"/>
                    </a:cubicBezTo>
                    <a:cubicBezTo>
                      <a:pt x="571" y="173"/>
                      <a:pt x="570" y="163"/>
                      <a:pt x="571" y="163"/>
                    </a:cubicBezTo>
                    <a:cubicBezTo>
                      <a:pt x="579" y="164"/>
                      <a:pt x="573" y="163"/>
                      <a:pt x="580" y="162"/>
                    </a:cubicBezTo>
                    <a:cubicBezTo>
                      <a:pt x="583" y="155"/>
                      <a:pt x="586" y="162"/>
                      <a:pt x="592" y="159"/>
                    </a:cubicBezTo>
                    <a:cubicBezTo>
                      <a:pt x="608" y="157"/>
                      <a:pt x="608" y="157"/>
                      <a:pt x="608" y="157"/>
                    </a:cubicBezTo>
                    <a:cubicBezTo>
                      <a:pt x="611" y="151"/>
                      <a:pt x="611" y="151"/>
                      <a:pt x="611" y="151"/>
                    </a:cubicBezTo>
                    <a:cubicBezTo>
                      <a:pt x="619" y="150"/>
                      <a:pt x="619" y="150"/>
                      <a:pt x="619" y="150"/>
                    </a:cubicBezTo>
                    <a:cubicBezTo>
                      <a:pt x="620" y="157"/>
                      <a:pt x="620" y="157"/>
                      <a:pt x="620" y="157"/>
                    </a:cubicBezTo>
                    <a:cubicBezTo>
                      <a:pt x="626" y="160"/>
                      <a:pt x="626" y="160"/>
                      <a:pt x="626" y="160"/>
                    </a:cubicBezTo>
                    <a:cubicBezTo>
                      <a:pt x="627" y="159"/>
                      <a:pt x="628" y="158"/>
                      <a:pt x="629" y="156"/>
                    </a:cubicBezTo>
                    <a:cubicBezTo>
                      <a:pt x="629" y="155"/>
                      <a:pt x="626" y="153"/>
                      <a:pt x="631" y="149"/>
                    </a:cubicBezTo>
                    <a:cubicBezTo>
                      <a:pt x="635" y="146"/>
                      <a:pt x="635" y="148"/>
                      <a:pt x="637" y="145"/>
                    </a:cubicBezTo>
                    <a:cubicBezTo>
                      <a:pt x="638" y="145"/>
                      <a:pt x="638" y="141"/>
                      <a:pt x="636" y="140"/>
                    </a:cubicBezTo>
                    <a:close/>
                  </a:path>
                </a:pathLst>
              </a:custGeom>
              <a:solidFill>
                <a:srgbClr val="BDC3C7"/>
              </a:solid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329" name="Freeform 11"/>
              <p:cNvSpPr>
                <a:spLocks/>
              </p:cNvSpPr>
              <p:nvPr/>
            </p:nvSpPr>
            <p:spPr bwMode="auto">
              <a:xfrm>
                <a:off x="3248" y="2538"/>
                <a:ext cx="293" cy="315"/>
              </a:xfrm>
              <a:custGeom>
                <a:avLst/>
                <a:gdLst>
                  <a:gd name="T0" fmla="*/ 135 w 146"/>
                  <a:gd name="T1" fmla="*/ 101 h 157"/>
                  <a:gd name="T2" fmla="*/ 121 w 146"/>
                  <a:gd name="T3" fmla="*/ 88 h 157"/>
                  <a:gd name="T4" fmla="*/ 125 w 146"/>
                  <a:gd name="T5" fmla="*/ 73 h 157"/>
                  <a:gd name="T6" fmla="*/ 124 w 146"/>
                  <a:gd name="T7" fmla="*/ 63 h 157"/>
                  <a:gd name="T8" fmla="*/ 120 w 146"/>
                  <a:gd name="T9" fmla="*/ 54 h 157"/>
                  <a:gd name="T10" fmla="*/ 124 w 146"/>
                  <a:gd name="T11" fmla="*/ 50 h 157"/>
                  <a:gd name="T12" fmla="*/ 111 w 146"/>
                  <a:gd name="T13" fmla="*/ 51 h 157"/>
                  <a:gd name="T14" fmla="*/ 102 w 146"/>
                  <a:gd name="T15" fmla="*/ 55 h 157"/>
                  <a:gd name="T16" fmla="*/ 91 w 146"/>
                  <a:gd name="T17" fmla="*/ 54 h 157"/>
                  <a:gd name="T18" fmla="*/ 81 w 146"/>
                  <a:gd name="T19" fmla="*/ 46 h 157"/>
                  <a:gd name="T20" fmla="*/ 79 w 146"/>
                  <a:gd name="T21" fmla="*/ 40 h 157"/>
                  <a:gd name="T22" fmla="*/ 81 w 146"/>
                  <a:gd name="T23" fmla="*/ 32 h 157"/>
                  <a:gd name="T24" fmla="*/ 71 w 146"/>
                  <a:gd name="T25" fmla="*/ 30 h 157"/>
                  <a:gd name="T26" fmla="*/ 59 w 146"/>
                  <a:gd name="T27" fmla="*/ 24 h 157"/>
                  <a:gd name="T28" fmla="*/ 57 w 146"/>
                  <a:gd name="T29" fmla="*/ 14 h 157"/>
                  <a:gd name="T30" fmla="*/ 47 w 146"/>
                  <a:gd name="T31" fmla="*/ 5 h 157"/>
                  <a:gd name="T32" fmla="*/ 38 w 146"/>
                  <a:gd name="T33" fmla="*/ 1 h 157"/>
                  <a:gd name="T34" fmla="*/ 27 w 146"/>
                  <a:gd name="T35" fmla="*/ 1 h 157"/>
                  <a:gd name="T36" fmla="*/ 18 w 146"/>
                  <a:gd name="T37" fmla="*/ 3 h 157"/>
                  <a:gd name="T38" fmla="*/ 8 w 146"/>
                  <a:gd name="T39" fmla="*/ 11 h 157"/>
                  <a:gd name="T40" fmla="*/ 4 w 146"/>
                  <a:gd name="T41" fmla="*/ 12 h 157"/>
                  <a:gd name="T42" fmla="*/ 3 w 146"/>
                  <a:gd name="T43" fmla="*/ 25 h 157"/>
                  <a:gd name="T44" fmla="*/ 7 w 146"/>
                  <a:gd name="T45" fmla="*/ 33 h 157"/>
                  <a:gd name="T46" fmla="*/ 9 w 146"/>
                  <a:gd name="T47" fmla="*/ 37 h 157"/>
                  <a:gd name="T48" fmla="*/ 14 w 146"/>
                  <a:gd name="T49" fmla="*/ 39 h 157"/>
                  <a:gd name="T50" fmla="*/ 21 w 146"/>
                  <a:gd name="T51" fmla="*/ 41 h 157"/>
                  <a:gd name="T52" fmla="*/ 12 w 146"/>
                  <a:gd name="T53" fmla="*/ 47 h 157"/>
                  <a:gd name="T54" fmla="*/ 12 w 146"/>
                  <a:gd name="T55" fmla="*/ 53 h 157"/>
                  <a:gd name="T56" fmla="*/ 18 w 146"/>
                  <a:gd name="T57" fmla="*/ 69 h 157"/>
                  <a:gd name="T58" fmla="*/ 16 w 146"/>
                  <a:gd name="T59" fmla="*/ 75 h 157"/>
                  <a:gd name="T60" fmla="*/ 23 w 146"/>
                  <a:gd name="T61" fmla="*/ 82 h 157"/>
                  <a:gd name="T62" fmla="*/ 30 w 146"/>
                  <a:gd name="T63" fmla="*/ 88 h 157"/>
                  <a:gd name="T64" fmla="*/ 33 w 146"/>
                  <a:gd name="T65" fmla="*/ 94 h 157"/>
                  <a:gd name="T66" fmla="*/ 30 w 146"/>
                  <a:gd name="T67" fmla="*/ 102 h 157"/>
                  <a:gd name="T68" fmla="*/ 31 w 146"/>
                  <a:gd name="T69" fmla="*/ 114 h 157"/>
                  <a:gd name="T70" fmla="*/ 26 w 146"/>
                  <a:gd name="T71" fmla="*/ 115 h 157"/>
                  <a:gd name="T72" fmla="*/ 29 w 146"/>
                  <a:gd name="T73" fmla="*/ 118 h 157"/>
                  <a:gd name="T74" fmla="*/ 32 w 146"/>
                  <a:gd name="T75" fmla="*/ 120 h 157"/>
                  <a:gd name="T76" fmla="*/ 37 w 146"/>
                  <a:gd name="T77" fmla="*/ 124 h 157"/>
                  <a:gd name="T78" fmla="*/ 43 w 146"/>
                  <a:gd name="T79" fmla="*/ 126 h 157"/>
                  <a:gd name="T80" fmla="*/ 48 w 146"/>
                  <a:gd name="T81" fmla="*/ 126 h 157"/>
                  <a:gd name="T82" fmla="*/ 53 w 146"/>
                  <a:gd name="T83" fmla="*/ 128 h 157"/>
                  <a:gd name="T84" fmla="*/ 60 w 146"/>
                  <a:gd name="T85" fmla="*/ 132 h 157"/>
                  <a:gd name="T86" fmla="*/ 68 w 146"/>
                  <a:gd name="T87" fmla="*/ 138 h 157"/>
                  <a:gd name="T88" fmla="*/ 73 w 146"/>
                  <a:gd name="T89" fmla="*/ 126 h 157"/>
                  <a:gd name="T90" fmla="*/ 76 w 146"/>
                  <a:gd name="T91" fmla="*/ 118 h 157"/>
                  <a:gd name="T92" fmla="*/ 90 w 146"/>
                  <a:gd name="T93" fmla="*/ 126 h 157"/>
                  <a:gd name="T94" fmla="*/ 104 w 146"/>
                  <a:gd name="T95" fmla="*/ 136 h 157"/>
                  <a:gd name="T96" fmla="*/ 112 w 146"/>
                  <a:gd name="T97" fmla="*/ 140 h 157"/>
                  <a:gd name="T98" fmla="*/ 109 w 146"/>
                  <a:gd name="T99" fmla="*/ 150 h 157"/>
                  <a:gd name="T100" fmla="*/ 109 w 146"/>
                  <a:gd name="T101" fmla="*/ 156 h 157"/>
                  <a:gd name="T102" fmla="*/ 113 w 146"/>
                  <a:gd name="T103" fmla="*/ 156 h 157"/>
                  <a:gd name="T104" fmla="*/ 124 w 146"/>
                  <a:gd name="T105" fmla="*/ 151 h 157"/>
                  <a:gd name="T106" fmla="*/ 134 w 146"/>
                  <a:gd name="T107" fmla="*/ 148 h 157"/>
                  <a:gd name="T108" fmla="*/ 133 w 146"/>
                  <a:gd name="T109" fmla="*/ 131 h 157"/>
                  <a:gd name="T110" fmla="*/ 140 w 146"/>
                  <a:gd name="T111" fmla="*/ 12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6" h="157">
                    <a:moveTo>
                      <a:pt x="146" y="107"/>
                    </a:moveTo>
                    <a:cubicBezTo>
                      <a:pt x="143" y="107"/>
                      <a:pt x="143" y="107"/>
                      <a:pt x="143" y="107"/>
                    </a:cubicBezTo>
                    <a:cubicBezTo>
                      <a:pt x="140" y="106"/>
                      <a:pt x="140" y="106"/>
                      <a:pt x="140" y="106"/>
                    </a:cubicBezTo>
                    <a:cubicBezTo>
                      <a:pt x="139" y="105"/>
                      <a:pt x="137" y="102"/>
                      <a:pt x="136" y="101"/>
                    </a:cubicBezTo>
                    <a:cubicBezTo>
                      <a:pt x="136" y="101"/>
                      <a:pt x="136" y="101"/>
                      <a:pt x="135" y="101"/>
                    </a:cubicBezTo>
                    <a:cubicBezTo>
                      <a:pt x="134" y="100"/>
                      <a:pt x="132" y="100"/>
                      <a:pt x="132" y="99"/>
                    </a:cubicBezTo>
                    <a:cubicBezTo>
                      <a:pt x="131" y="99"/>
                      <a:pt x="129" y="98"/>
                      <a:pt x="128" y="98"/>
                    </a:cubicBezTo>
                    <a:cubicBezTo>
                      <a:pt x="128" y="98"/>
                      <a:pt x="125" y="94"/>
                      <a:pt x="125" y="93"/>
                    </a:cubicBezTo>
                    <a:cubicBezTo>
                      <a:pt x="124" y="91"/>
                      <a:pt x="123" y="91"/>
                      <a:pt x="123" y="91"/>
                    </a:cubicBezTo>
                    <a:cubicBezTo>
                      <a:pt x="123" y="91"/>
                      <a:pt x="122" y="89"/>
                      <a:pt x="121" y="88"/>
                    </a:cubicBezTo>
                    <a:cubicBezTo>
                      <a:pt x="121" y="87"/>
                      <a:pt x="120" y="85"/>
                      <a:pt x="120" y="85"/>
                    </a:cubicBezTo>
                    <a:cubicBezTo>
                      <a:pt x="120" y="85"/>
                      <a:pt x="121" y="83"/>
                      <a:pt x="121" y="82"/>
                    </a:cubicBezTo>
                    <a:cubicBezTo>
                      <a:pt x="120" y="81"/>
                      <a:pt x="120" y="77"/>
                      <a:pt x="120" y="77"/>
                    </a:cubicBezTo>
                    <a:cubicBezTo>
                      <a:pt x="122" y="74"/>
                      <a:pt x="122" y="74"/>
                      <a:pt x="122" y="74"/>
                    </a:cubicBezTo>
                    <a:cubicBezTo>
                      <a:pt x="122" y="74"/>
                      <a:pt x="124" y="73"/>
                      <a:pt x="125" y="73"/>
                    </a:cubicBezTo>
                    <a:cubicBezTo>
                      <a:pt x="126" y="72"/>
                      <a:pt x="126" y="72"/>
                      <a:pt x="125" y="71"/>
                    </a:cubicBezTo>
                    <a:cubicBezTo>
                      <a:pt x="125" y="68"/>
                      <a:pt x="125" y="68"/>
                      <a:pt x="125" y="68"/>
                    </a:cubicBezTo>
                    <a:cubicBezTo>
                      <a:pt x="125" y="62"/>
                      <a:pt x="125" y="62"/>
                      <a:pt x="125" y="62"/>
                    </a:cubicBezTo>
                    <a:cubicBezTo>
                      <a:pt x="125" y="63"/>
                      <a:pt x="125" y="63"/>
                      <a:pt x="125" y="63"/>
                    </a:cubicBezTo>
                    <a:cubicBezTo>
                      <a:pt x="124" y="63"/>
                      <a:pt x="124" y="63"/>
                      <a:pt x="124" y="63"/>
                    </a:cubicBezTo>
                    <a:cubicBezTo>
                      <a:pt x="121" y="62"/>
                      <a:pt x="121" y="62"/>
                      <a:pt x="121" y="62"/>
                    </a:cubicBezTo>
                    <a:cubicBezTo>
                      <a:pt x="121" y="62"/>
                      <a:pt x="121" y="61"/>
                      <a:pt x="121" y="60"/>
                    </a:cubicBezTo>
                    <a:cubicBezTo>
                      <a:pt x="121" y="60"/>
                      <a:pt x="119" y="59"/>
                      <a:pt x="118" y="58"/>
                    </a:cubicBezTo>
                    <a:cubicBezTo>
                      <a:pt x="116" y="56"/>
                      <a:pt x="116" y="56"/>
                      <a:pt x="116" y="56"/>
                    </a:cubicBezTo>
                    <a:cubicBezTo>
                      <a:pt x="120" y="54"/>
                      <a:pt x="120" y="54"/>
                      <a:pt x="120" y="54"/>
                    </a:cubicBezTo>
                    <a:cubicBezTo>
                      <a:pt x="120" y="54"/>
                      <a:pt x="120" y="52"/>
                      <a:pt x="120" y="52"/>
                    </a:cubicBezTo>
                    <a:cubicBezTo>
                      <a:pt x="121" y="51"/>
                      <a:pt x="122" y="52"/>
                      <a:pt x="122" y="52"/>
                    </a:cubicBezTo>
                    <a:cubicBezTo>
                      <a:pt x="123" y="52"/>
                      <a:pt x="124" y="53"/>
                      <a:pt x="124" y="53"/>
                    </a:cubicBezTo>
                    <a:cubicBezTo>
                      <a:pt x="125" y="53"/>
                      <a:pt x="126" y="52"/>
                      <a:pt x="126" y="51"/>
                    </a:cubicBezTo>
                    <a:cubicBezTo>
                      <a:pt x="126" y="51"/>
                      <a:pt x="125" y="51"/>
                      <a:pt x="124" y="50"/>
                    </a:cubicBezTo>
                    <a:cubicBezTo>
                      <a:pt x="120" y="50"/>
                      <a:pt x="120" y="50"/>
                      <a:pt x="120" y="50"/>
                    </a:cubicBezTo>
                    <a:cubicBezTo>
                      <a:pt x="120" y="50"/>
                      <a:pt x="118" y="48"/>
                      <a:pt x="116" y="47"/>
                    </a:cubicBezTo>
                    <a:cubicBezTo>
                      <a:pt x="116" y="47"/>
                      <a:pt x="115" y="47"/>
                      <a:pt x="115" y="47"/>
                    </a:cubicBezTo>
                    <a:cubicBezTo>
                      <a:pt x="114" y="48"/>
                      <a:pt x="112" y="49"/>
                      <a:pt x="112" y="49"/>
                    </a:cubicBezTo>
                    <a:cubicBezTo>
                      <a:pt x="112" y="50"/>
                      <a:pt x="111" y="50"/>
                      <a:pt x="111" y="51"/>
                    </a:cubicBezTo>
                    <a:cubicBezTo>
                      <a:pt x="111" y="52"/>
                      <a:pt x="110" y="52"/>
                      <a:pt x="110" y="53"/>
                    </a:cubicBezTo>
                    <a:cubicBezTo>
                      <a:pt x="109" y="54"/>
                      <a:pt x="108" y="56"/>
                      <a:pt x="108" y="56"/>
                    </a:cubicBezTo>
                    <a:cubicBezTo>
                      <a:pt x="108" y="56"/>
                      <a:pt x="107" y="57"/>
                      <a:pt x="107" y="57"/>
                    </a:cubicBezTo>
                    <a:cubicBezTo>
                      <a:pt x="107" y="57"/>
                      <a:pt x="107" y="58"/>
                      <a:pt x="107" y="58"/>
                    </a:cubicBezTo>
                    <a:cubicBezTo>
                      <a:pt x="106" y="58"/>
                      <a:pt x="103" y="57"/>
                      <a:pt x="102" y="55"/>
                    </a:cubicBezTo>
                    <a:cubicBezTo>
                      <a:pt x="102" y="53"/>
                      <a:pt x="101" y="53"/>
                      <a:pt x="101" y="53"/>
                    </a:cubicBezTo>
                    <a:cubicBezTo>
                      <a:pt x="101" y="53"/>
                      <a:pt x="97" y="53"/>
                      <a:pt x="96" y="53"/>
                    </a:cubicBezTo>
                    <a:cubicBezTo>
                      <a:pt x="95" y="53"/>
                      <a:pt x="95" y="53"/>
                      <a:pt x="95" y="53"/>
                    </a:cubicBezTo>
                    <a:cubicBezTo>
                      <a:pt x="95" y="53"/>
                      <a:pt x="94" y="53"/>
                      <a:pt x="94" y="53"/>
                    </a:cubicBezTo>
                    <a:cubicBezTo>
                      <a:pt x="93" y="53"/>
                      <a:pt x="92" y="53"/>
                      <a:pt x="91" y="54"/>
                    </a:cubicBezTo>
                    <a:cubicBezTo>
                      <a:pt x="90" y="54"/>
                      <a:pt x="89" y="53"/>
                      <a:pt x="89" y="51"/>
                    </a:cubicBezTo>
                    <a:cubicBezTo>
                      <a:pt x="88" y="50"/>
                      <a:pt x="88" y="50"/>
                      <a:pt x="88" y="50"/>
                    </a:cubicBezTo>
                    <a:cubicBezTo>
                      <a:pt x="87" y="50"/>
                      <a:pt x="86" y="49"/>
                      <a:pt x="85" y="49"/>
                    </a:cubicBezTo>
                    <a:cubicBezTo>
                      <a:pt x="84" y="49"/>
                      <a:pt x="83" y="50"/>
                      <a:pt x="82" y="49"/>
                    </a:cubicBezTo>
                    <a:cubicBezTo>
                      <a:pt x="81" y="48"/>
                      <a:pt x="81" y="46"/>
                      <a:pt x="81" y="46"/>
                    </a:cubicBezTo>
                    <a:cubicBezTo>
                      <a:pt x="82" y="46"/>
                      <a:pt x="84" y="46"/>
                      <a:pt x="84" y="45"/>
                    </a:cubicBezTo>
                    <a:cubicBezTo>
                      <a:pt x="85" y="45"/>
                      <a:pt x="86" y="44"/>
                      <a:pt x="87" y="43"/>
                    </a:cubicBezTo>
                    <a:cubicBezTo>
                      <a:pt x="86" y="42"/>
                      <a:pt x="86" y="42"/>
                      <a:pt x="86" y="42"/>
                    </a:cubicBezTo>
                    <a:cubicBezTo>
                      <a:pt x="84" y="41"/>
                      <a:pt x="84" y="41"/>
                      <a:pt x="84" y="41"/>
                    </a:cubicBezTo>
                    <a:cubicBezTo>
                      <a:pt x="84" y="41"/>
                      <a:pt x="81" y="41"/>
                      <a:pt x="79" y="40"/>
                    </a:cubicBezTo>
                    <a:cubicBezTo>
                      <a:pt x="79" y="40"/>
                      <a:pt x="78" y="40"/>
                      <a:pt x="78" y="39"/>
                    </a:cubicBezTo>
                    <a:cubicBezTo>
                      <a:pt x="78" y="39"/>
                      <a:pt x="79" y="38"/>
                      <a:pt x="80" y="38"/>
                    </a:cubicBezTo>
                    <a:cubicBezTo>
                      <a:pt x="79" y="36"/>
                      <a:pt x="79" y="36"/>
                      <a:pt x="79" y="36"/>
                    </a:cubicBezTo>
                    <a:cubicBezTo>
                      <a:pt x="81" y="33"/>
                      <a:pt x="81" y="33"/>
                      <a:pt x="81" y="33"/>
                    </a:cubicBezTo>
                    <a:cubicBezTo>
                      <a:pt x="81" y="32"/>
                      <a:pt x="81" y="32"/>
                      <a:pt x="81" y="32"/>
                    </a:cubicBezTo>
                    <a:cubicBezTo>
                      <a:pt x="81" y="32"/>
                      <a:pt x="80" y="31"/>
                      <a:pt x="78" y="31"/>
                    </a:cubicBezTo>
                    <a:cubicBezTo>
                      <a:pt x="77" y="31"/>
                      <a:pt x="77" y="31"/>
                      <a:pt x="76" y="31"/>
                    </a:cubicBezTo>
                    <a:cubicBezTo>
                      <a:pt x="75" y="31"/>
                      <a:pt x="75" y="31"/>
                      <a:pt x="75" y="31"/>
                    </a:cubicBezTo>
                    <a:cubicBezTo>
                      <a:pt x="75" y="31"/>
                      <a:pt x="74" y="31"/>
                      <a:pt x="72" y="30"/>
                    </a:cubicBezTo>
                    <a:cubicBezTo>
                      <a:pt x="71" y="30"/>
                      <a:pt x="71" y="30"/>
                      <a:pt x="71" y="30"/>
                    </a:cubicBezTo>
                    <a:cubicBezTo>
                      <a:pt x="69" y="29"/>
                      <a:pt x="69" y="29"/>
                      <a:pt x="69" y="29"/>
                    </a:cubicBezTo>
                    <a:cubicBezTo>
                      <a:pt x="69" y="29"/>
                      <a:pt x="68" y="28"/>
                      <a:pt x="67" y="28"/>
                    </a:cubicBezTo>
                    <a:cubicBezTo>
                      <a:pt x="67" y="28"/>
                      <a:pt x="66" y="28"/>
                      <a:pt x="65" y="27"/>
                    </a:cubicBezTo>
                    <a:cubicBezTo>
                      <a:pt x="63" y="26"/>
                      <a:pt x="62" y="26"/>
                      <a:pt x="61" y="26"/>
                    </a:cubicBezTo>
                    <a:cubicBezTo>
                      <a:pt x="61" y="26"/>
                      <a:pt x="59" y="25"/>
                      <a:pt x="59" y="24"/>
                    </a:cubicBezTo>
                    <a:cubicBezTo>
                      <a:pt x="58" y="23"/>
                      <a:pt x="58" y="23"/>
                      <a:pt x="58" y="23"/>
                    </a:cubicBezTo>
                    <a:cubicBezTo>
                      <a:pt x="58" y="23"/>
                      <a:pt x="58" y="22"/>
                      <a:pt x="58" y="22"/>
                    </a:cubicBezTo>
                    <a:cubicBezTo>
                      <a:pt x="58" y="21"/>
                      <a:pt x="57" y="20"/>
                      <a:pt x="57" y="20"/>
                    </a:cubicBezTo>
                    <a:cubicBezTo>
                      <a:pt x="56" y="18"/>
                      <a:pt x="56" y="17"/>
                      <a:pt x="56" y="17"/>
                    </a:cubicBezTo>
                    <a:cubicBezTo>
                      <a:pt x="56" y="17"/>
                      <a:pt x="56" y="14"/>
                      <a:pt x="57" y="14"/>
                    </a:cubicBezTo>
                    <a:cubicBezTo>
                      <a:pt x="57" y="13"/>
                      <a:pt x="56" y="12"/>
                      <a:pt x="56" y="11"/>
                    </a:cubicBezTo>
                    <a:cubicBezTo>
                      <a:pt x="56" y="11"/>
                      <a:pt x="55" y="11"/>
                      <a:pt x="55" y="11"/>
                    </a:cubicBezTo>
                    <a:cubicBezTo>
                      <a:pt x="54" y="11"/>
                      <a:pt x="53" y="11"/>
                      <a:pt x="53" y="10"/>
                    </a:cubicBezTo>
                    <a:cubicBezTo>
                      <a:pt x="53" y="10"/>
                      <a:pt x="52" y="10"/>
                      <a:pt x="52" y="10"/>
                    </a:cubicBezTo>
                    <a:cubicBezTo>
                      <a:pt x="51" y="9"/>
                      <a:pt x="47" y="6"/>
                      <a:pt x="47" y="5"/>
                    </a:cubicBezTo>
                    <a:cubicBezTo>
                      <a:pt x="47" y="5"/>
                      <a:pt x="45" y="4"/>
                      <a:pt x="44" y="4"/>
                    </a:cubicBezTo>
                    <a:cubicBezTo>
                      <a:pt x="44" y="4"/>
                      <a:pt x="43" y="4"/>
                      <a:pt x="42" y="3"/>
                    </a:cubicBezTo>
                    <a:cubicBezTo>
                      <a:pt x="42" y="3"/>
                      <a:pt x="41" y="3"/>
                      <a:pt x="41" y="3"/>
                    </a:cubicBezTo>
                    <a:cubicBezTo>
                      <a:pt x="40" y="3"/>
                      <a:pt x="39" y="2"/>
                      <a:pt x="39" y="2"/>
                    </a:cubicBezTo>
                    <a:cubicBezTo>
                      <a:pt x="38" y="1"/>
                      <a:pt x="38" y="1"/>
                      <a:pt x="38" y="1"/>
                    </a:cubicBezTo>
                    <a:cubicBezTo>
                      <a:pt x="37" y="1"/>
                      <a:pt x="36" y="1"/>
                      <a:pt x="35" y="1"/>
                    </a:cubicBezTo>
                    <a:cubicBezTo>
                      <a:pt x="34" y="1"/>
                      <a:pt x="34" y="1"/>
                      <a:pt x="34" y="1"/>
                    </a:cubicBezTo>
                    <a:cubicBezTo>
                      <a:pt x="33" y="1"/>
                      <a:pt x="33" y="1"/>
                      <a:pt x="33" y="1"/>
                    </a:cubicBezTo>
                    <a:cubicBezTo>
                      <a:pt x="32" y="0"/>
                      <a:pt x="32" y="0"/>
                      <a:pt x="32" y="0"/>
                    </a:cubicBezTo>
                    <a:cubicBezTo>
                      <a:pt x="27" y="1"/>
                      <a:pt x="27" y="1"/>
                      <a:pt x="27" y="1"/>
                    </a:cubicBezTo>
                    <a:cubicBezTo>
                      <a:pt x="22" y="3"/>
                      <a:pt x="22" y="3"/>
                      <a:pt x="22" y="3"/>
                    </a:cubicBezTo>
                    <a:cubicBezTo>
                      <a:pt x="22" y="2"/>
                      <a:pt x="22" y="2"/>
                      <a:pt x="22" y="2"/>
                    </a:cubicBezTo>
                    <a:cubicBezTo>
                      <a:pt x="21" y="2"/>
                      <a:pt x="21" y="2"/>
                      <a:pt x="21" y="2"/>
                    </a:cubicBezTo>
                    <a:cubicBezTo>
                      <a:pt x="20" y="2"/>
                      <a:pt x="19" y="2"/>
                      <a:pt x="19" y="2"/>
                    </a:cubicBezTo>
                    <a:cubicBezTo>
                      <a:pt x="19" y="3"/>
                      <a:pt x="18" y="3"/>
                      <a:pt x="18" y="3"/>
                    </a:cubicBezTo>
                    <a:cubicBezTo>
                      <a:pt x="18" y="4"/>
                      <a:pt x="16" y="5"/>
                      <a:pt x="16" y="5"/>
                    </a:cubicBezTo>
                    <a:cubicBezTo>
                      <a:pt x="16" y="5"/>
                      <a:pt x="14" y="6"/>
                      <a:pt x="14" y="7"/>
                    </a:cubicBezTo>
                    <a:cubicBezTo>
                      <a:pt x="11" y="10"/>
                      <a:pt x="11" y="10"/>
                      <a:pt x="11" y="10"/>
                    </a:cubicBezTo>
                    <a:cubicBezTo>
                      <a:pt x="11" y="11"/>
                      <a:pt x="11" y="11"/>
                      <a:pt x="11" y="11"/>
                    </a:cubicBezTo>
                    <a:cubicBezTo>
                      <a:pt x="10" y="11"/>
                      <a:pt x="9" y="11"/>
                      <a:pt x="8" y="11"/>
                    </a:cubicBezTo>
                    <a:cubicBezTo>
                      <a:pt x="8" y="11"/>
                      <a:pt x="8" y="11"/>
                      <a:pt x="8" y="11"/>
                    </a:cubicBezTo>
                    <a:cubicBezTo>
                      <a:pt x="7" y="11"/>
                      <a:pt x="7" y="11"/>
                      <a:pt x="5" y="12"/>
                    </a:cubicBezTo>
                    <a:cubicBezTo>
                      <a:pt x="5" y="12"/>
                      <a:pt x="5" y="12"/>
                      <a:pt x="5" y="12"/>
                    </a:cubicBezTo>
                    <a:cubicBezTo>
                      <a:pt x="4" y="12"/>
                      <a:pt x="4" y="12"/>
                      <a:pt x="4" y="12"/>
                    </a:cubicBezTo>
                    <a:cubicBezTo>
                      <a:pt x="4" y="12"/>
                      <a:pt x="4" y="12"/>
                      <a:pt x="4" y="12"/>
                    </a:cubicBezTo>
                    <a:cubicBezTo>
                      <a:pt x="2" y="15"/>
                      <a:pt x="2" y="15"/>
                      <a:pt x="2" y="15"/>
                    </a:cubicBezTo>
                    <a:cubicBezTo>
                      <a:pt x="0" y="16"/>
                      <a:pt x="0" y="16"/>
                      <a:pt x="0" y="16"/>
                    </a:cubicBezTo>
                    <a:cubicBezTo>
                      <a:pt x="2" y="16"/>
                      <a:pt x="2" y="16"/>
                      <a:pt x="2" y="16"/>
                    </a:cubicBezTo>
                    <a:cubicBezTo>
                      <a:pt x="2" y="22"/>
                      <a:pt x="2" y="22"/>
                      <a:pt x="2" y="22"/>
                    </a:cubicBezTo>
                    <a:cubicBezTo>
                      <a:pt x="3" y="25"/>
                      <a:pt x="3" y="25"/>
                      <a:pt x="3" y="25"/>
                    </a:cubicBezTo>
                    <a:cubicBezTo>
                      <a:pt x="3" y="25"/>
                      <a:pt x="3" y="25"/>
                      <a:pt x="3" y="25"/>
                    </a:cubicBezTo>
                    <a:cubicBezTo>
                      <a:pt x="3" y="26"/>
                      <a:pt x="3" y="26"/>
                      <a:pt x="3" y="27"/>
                    </a:cubicBezTo>
                    <a:cubicBezTo>
                      <a:pt x="3" y="27"/>
                      <a:pt x="3" y="27"/>
                      <a:pt x="4" y="27"/>
                    </a:cubicBezTo>
                    <a:cubicBezTo>
                      <a:pt x="5" y="27"/>
                      <a:pt x="7" y="27"/>
                      <a:pt x="8" y="29"/>
                    </a:cubicBezTo>
                    <a:cubicBezTo>
                      <a:pt x="8" y="30"/>
                      <a:pt x="8" y="31"/>
                      <a:pt x="7" y="33"/>
                    </a:cubicBezTo>
                    <a:cubicBezTo>
                      <a:pt x="6" y="34"/>
                      <a:pt x="6" y="34"/>
                      <a:pt x="6" y="34"/>
                    </a:cubicBezTo>
                    <a:cubicBezTo>
                      <a:pt x="6" y="34"/>
                      <a:pt x="6" y="34"/>
                      <a:pt x="6" y="34"/>
                    </a:cubicBezTo>
                    <a:cubicBezTo>
                      <a:pt x="6" y="35"/>
                      <a:pt x="7" y="35"/>
                      <a:pt x="8" y="37"/>
                    </a:cubicBezTo>
                    <a:cubicBezTo>
                      <a:pt x="8" y="37"/>
                      <a:pt x="9" y="37"/>
                      <a:pt x="9" y="37"/>
                    </a:cubicBezTo>
                    <a:cubicBezTo>
                      <a:pt x="9" y="37"/>
                      <a:pt x="9" y="37"/>
                      <a:pt x="9" y="37"/>
                    </a:cubicBezTo>
                    <a:cubicBezTo>
                      <a:pt x="10" y="37"/>
                      <a:pt x="11" y="37"/>
                      <a:pt x="11" y="37"/>
                    </a:cubicBezTo>
                    <a:cubicBezTo>
                      <a:pt x="11" y="37"/>
                      <a:pt x="11" y="37"/>
                      <a:pt x="11" y="37"/>
                    </a:cubicBezTo>
                    <a:cubicBezTo>
                      <a:pt x="12" y="38"/>
                      <a:pt x="12" y="38"/>
                      <a:pt x="12" y="38"/>
                    </a:cubicBezTo>
                    <a:cubicBezTo>
                      <a:pt x="12" y="38"/>
                      <a:pt x="12" y="38"/>
                      <a:pt x="12" y="38"/>
                    </a:cubicBezTo>
                    <a:cubicBezTo>
                      <a:pt x="12" y="38"/>
                      <a:pt x="13" y="39"/>
                      <a:pt x="14" y="39"/>
                    </a:cubicBezTo>
                    <a:cubicBezTo>
                      <a:pt x="14" y="39"/>
                      <a:pt x="14" y="39"/>
                      <a:pt x="14" y="39"/>
                    </a:cubicBezTo>
                    <a:cubicBezTo>
                      <a:pt x="15" y="39"/>
                      <a:pt x="15" y="38"/>
                      <a:pt x="16" y="38"/>
                    </a:cubicBezTo>
                    <a:cubicBezTo>
                      <a:pt x="16" y="38"/>
                      <a:pt x="16" y="38"/>
                      <a:pt x="16" y="38"/>
                    </a:cubicBezTo>
                    <a:cubicBezTo>
                      <a:pt x="18" y="38"/>
                      <a:pt x="19" y="40"/>
                      <a:pt x="20" y="41"/>
                    </a:cubicBezTo>
                    <a:cubicBezTo>
                      <a:pt x="21" y="41"/>
                      <a:pt x="21" y="41"/>
                      <a:pt x="21" y="41"/>
                    </a:cubicBezTo>
                    <a:cubicBezTo>
                      <a:pt x="20" y="42"/>
                      <a:pt x="20" y="42"/>
                      <a:pt x="20" y="42"/>
                    </a:cubicBezTo>
                    <a:cubicBezTo>
                      <a:pt x="20" y="44"/>
                      <a:pt x="17" y="46"/>
                      <a:pt x="15" y="47"/>
                    </a:cubicBezTo>
                    <a:cubicBezTo>
                      <a:pt x="14" y="47"/>
                      <a:pt x="14" y="47"/>
                      <a:pt x="14" y="47"/>
                    </a:cubicBezTo>
                    <a:cubicBezTo>
                      <a:pt x="14" y="47"/>
                      <a:pt x="14" y="47"/>
                      <a:pt x="13" y="47"/>
                    </a:cubicBezTo>
                    <a:cubicBezTo>
                      <a:pt x="13" y="47"/>
                      <a:pt x="13" y="47"/>
                      <a:pt x="12" y="47"/>
                    </a:cubicBezTo>
                    <a:cubicBezTo>
                      <a:pt x="12" y="47"/>
                      <a:pt x="11" y="47"/>
                      <a:pt x="10" y="47"/>
                    </a:cubicBezTo>
                    <a:cubicBezTo>
                      <a:pt x="10" y="47"/>
                      <a:pt x="10" y="47"/>
                      <a:pt x="10" y="47"/>
                    </a:cubicBezTo>
                    <a:cubicBezTo>
                      <a:pt x="10" y="47"/>
                      <a:pt x="10" y="47"/>
                      <a:pt x="10" y="47"/>
                    </a:cubicBezTo>
                    <a:cubicBezTo>
                      <a:pt x="11" y="49"/>
                      <a:pt x="12" y="51"/>
                      <a:pt x="12" y="51"/>
                    </a:cubicBezTo>
                    <a:cubicBezTo>
                      <a:pt x="12" y="53"/>
                      <a:pt x="12" y="53"/>
                      <a:pt x="12" y="53"/>
                    </a:cubicBezTo>
                    <a:cubicBezTo>
                      <a:pt x="20" y="54"/>
                      <a:pt x="20" y="54"/>
                      <a:pt x="20" y="54"/>
                    </a:cubicBezTo>
                    <a:cubicBezTo>
                      <a:pt x="21" y="59"/>
                      <a:pt x="21" y="59"/>
                      <a:pt x="21" y="59"/>
                    </a:cubicBezTo>
                    <a:cubicBezTo>
                      <a:pt x="21" y="62"/>
                      <a:pt x="21" y="62"/>
                      <a:pt x="21" y="62"/>
                    </a:cubicBezTo>
                    <a:cubicBezTo>
                      <a:pt x="20" y="66"/>
                      <a:pt x="20" y="66"/>
                      <a:pt x="20" y="66"/>
                    </a:cubicBezTo>
                    <a:cubicBezTo>
                      <a:pt x="18" y="69"/>
                      <a:pt x="18" y="69"/>
                      <a:pt x="18" y="69"/>
                    </a:cubicBezTo>
                    <a:cubicBezTo>
                      <a:pt x="18" y="69"/>
                      <a:pt x="18" y="70"/>
                      <a:pt x="18" y="71"/>
                    </a:cubicBezTo>
                    <a:cubicBezTo>
                      <a:pt x="18" y="71"/>
                      <a:pt x="18" y="72"/>
                      <a:pt x="17" y="73"/>
                    </a:cubicBezTo>
                    <a:cubicBezTo>
                      <a:pt x="17" y="75"/>
                      <a:pt x="17" y="75"/>
                      <a:pt x="17" y="75"/>
                    </a:cubicBezTo>
                    <a:cubicBezTo>
                      <a:pt x="16" y="75"/>
                      <a:pt x="16" y="75"/>
                      <a:pt x="16" y="75"/>
                    </a:cubicBezTo>
                    <a:cubicBezTo>
                      <a:pt x="16" y="75"/>
                      <a:pt x="16" y="75"/>
                      <a:pt x="16" y="75"/>
                    </a:cubicBezTo>
                    <a:cubicBezTo>
                      <a:pt x="17" y="76"/>
                      <a:pt x="17" y="79"/>
                      <a:pt x="17" y="81"/>
                    </a:cubicBezTo>
                    <a:cubicBezTo>
                      <a:pt x="17" y="81"/>
                      <a:pt x="17" y="81"/>
                      <a:pt x="17" y="81"/>
                    </a:cubicBezTo>
                    <a:cubicBezTo>
                      <a:pt x="18" y="81"/>
                      <a:pt x="18" y="81"/>
                      <a:pt x="18" y="81"/>
                    </a:cubicBezTo>
                    <a:cubicBezTo>
                      <a:pt x="19" y="81"/>
                      <a:pt x="19" y="81"/>
                      <a:pt x="19" y="81"/>
                    </a:cubicBezTo>
                    <a:cubicBezTo>
                      <a:pt x="21" y="81"/>
                      <a:pt x="22" y="81"/>
                      <a:pt x="23" y="82"/>
                    </a:cubicBezTo>
                    <a:cubicBezTo>
                      <a:pt x="25" y="83"/>
                      <a:pt x="25" y="84"/>
                      <a:pt x="25" y="84"/>
                    </a:cubicBezTo>
                    <a:cubicBezTo>
                      <a:pt x="25" y="85"/>
                      <a:pt x="25" y="85"/>
                      <a:pt x="26" y="85"/>
                    </a:cubicBezTo>
                    <a:cubicBezTo>
                      <a:pt x="26" y="85"/>
                      <a:pt x="26" y="85"/>
                      <a:pt x="26" y="85"/>
                    </a:cubicBezTo>
                    <a:cubicBezTo>
                      <a:pt x="27" y="85"/>
                      <a:pt x="27" y="85"/>
                      <a:pt x="27" y="85"/>
                    </a:cubicBezTo>
                    <a:cubicBezTo>
                      <a:pt x="28" y="85"/>
                      <a:pt x="30" y="87"/>
                      <a:pt x="30" y="88"/>
                    </a:cubicBezTo>
                    <a:cubicBezTo>
                      <a:pt x="30" y="88"/>
                      <a:pt x="30" y="88"/>
                      <a:pt x="30" y="88"/>
                    </a:cubicBezTo>
                    <a:cubicBezTo>
                      <a:pt x="30" y="88"/>
                      <a:pt x="30" y="88"/>
                      <a:pt x="31" y="88"/>
                    </a:cubicBezTo>
                    <a:cubicBezTo>
                      <a:pt x="32" y="89"/>
                      <a:pt x="33" y="89"/>
                      <a:pt x="34" y="90"/>
                    </a:cubicBezTo>
                    <a:cubicBezTo>
                      <a:pt x="34" y="91"/>
                      <a:pt x="34" y="92"/>
                      <a:pt x="34" y="93"/>
                    </a:cubicBezTo>
                    <a:cubicBezTo>
                      <a:pt x="34" y="94"/>
                      <a:pt x="33" y="94"/>
                      <a:pt x="33" y="94"/>
                    </a:cubicBezTo>
                    <a:cubicBezTo>
                      <a:pt x="32" y="95"/>
                      <a:pt x="32" y="96"/>
                      <a:pt x="30" y="97"/>
                    </a:cubicBezTo>
                    <a:cubicBezTo>
                      <a:pt x="26" y="97"/>
                      <a:pt x="26" y="97"/>
                      <a:pt x="26" y="97"/>
                    </a:cubicBezTo>
                    <a:cubicBezTo>
                      <a:pt x="26" y="98"/>
                      <a:pt x="26" y="98"/>
                      <a:pt x="26" y="98"/>
                    </a:cubicBezTo>
                    <a:cubicBezTo>
                      <a:pt x="27" y="99"/>
                      <a:pt x="28" y="100"/>
                      <a:pt x="29" y="100"/>
                    </a:cubicBezTo>
                    <a:cubicBezTo>
                      <a:pt x="29" y="101"/>
                      <a:pt x="30" y="102"/>
                      <a:pt x="30" y="102"/>
                    </a:cubicBezTo>
                    <a:cubicBezTo>
                      <a:pt x="33" y="106"/>
                      <a:pt x="33" y="106"/>
                      <a:pt x="33" y="106"/>
                    </a:cubicBezTo>
                    <a:cubicBezTo>
                      <a:pt x="33" y="106"/>
                      <a:pt x="33" y="106"/>
                      <a:pt x="33" y="106"/>
                    </a:cubicBezTo>
                    <a:cubicBezTo>
                      <a:pt x="34" y="107"/>
                      <a:pt x="34" y="108"/>
                      <a:pt x="34" y="111"/>
                    </a:cubicBezTo>
                    <a:cubicBezTo>
                      <a:pt x="34" y="114"/>
                      <a:pt x="32" y="114"/>
                      <a:pt x="31" y="114"/>
                    </a:cubicBezTo>
                    <a:cubicBezTo>
                      <a:pt x="31" y="114"/>
                      <a:pt x="31" y="114"/>
                      <a:pt x="31" y="114"/>
                    </a:cubicBezTo>
                    <a:cubicBezTo>
                      <a:pt x="30" y="114"/>
                      <a:pt x="30" y="114"/>
                      <a:pt x="30" y="114"/>
                    </a:cubicBezTo>
                    <a:cubicBezTo>
                      <a:pt x="29" y="114"/>
                      <a:pt x="29" y="114"/>
                      <a:pt x="29" y="114"/>
                    </a:cubicBezTo>
                    <a:cubicBezTo>
                      <a:pt x="28" y="114"/>
                      <a:pt x="28" y="114"/>
                      <a:pt x="27" y="114"/>
                    </a:cubicBezTo>
                    <a:cubicBezTo>
                      <a:pt x="27" y="114"/>
                      <a:pt x="27" y="114"/>
                      <a:pt x="27" y="114"/>
                    </a:cubicBezTo>
                    <a:cubicBezTo>
                      <a:pt x="26" y="115"/>
                      <a:pt x="26" y="115"/>
                      <a:pt x="26" y="115"/>
                    </a:cubicBezTo>
                    <a:cubicBezTo>
                      <a:pt x="28" y="116"/>
                      <a:pt x="28" y="116"/>
                      <a:pt x="28" y="116"/>
                    </a:cubicBezTo>
                    <a:cubicBezTo>
                      <a:pt x="27" y="116"/>
                      <a:pt x="27" y="116"/>
                      <a:pt x="27" y="116"/>
                    </a:cubicBezTo>
                    <a:cubicBezTo>
                      <a:pt x="28" y="117"/>
                      <a:pt x="28" y="117"/>
                      <a:pt x="28" y="117"/>
                    </a:cubicBezTo>
                    <a:cubicBezTo>
                      <a:pt x="28" y="117"/>
                      <a:pt x="28" y="117"/>
                      <a:pt x="28" y="117"/>
                    </a:cubicBezTo>
                    <a:cubicBezTo>
                      <a:pt x="28" y="117"/>
                      <a:pt x="28" y="117"/>
                      <a:pt x="29" y="118"/>
                    </a:cubicBezTo>
                    <a:cubicBezTo>
                      <a:pt x="29" y="118"/>
                      <a:pt x="29" y="118"/>
                      <a:pt x="29" y="118"/>
                    </a:cubicBezTo>
                    <a:cubicBezTo>
                      <a:pt x="30" y="118"/>
                      <a:pt x="30" y="118"/>
                      <a:pt x="30" y="118"/>
                    </a:cubicBezTo>
                    <a:cubicBezTo>
                      <a:pt x="30" y="118"/>
                      <a:pt x="31" y="119"/>
                      <a:pt x="31" y="119"/>
                    </a:cubicBezTo>
                    <a:cubicBezTo>
                      <a:pt x="32" y="120"/>
                      <a:pt x="32" y="120"/>
                      <a:pt x="32" y="120"/>
                    </a:cubicBezTo>
                    <a:cubicBezTo>
                      <a:pt x="32" y="120"/>
                      <a:pt x="32" y="120"/>
                      <a:pt x="32" y="120"/>
                    </a:cubicBezTo>
                    <a:cubicBezTo>
                      <a:pt x="32" y="120"/>
                      <a:pt x="33" y="120"/>
                      <a:pt x="33" y="120"/>
                    </a:cubicBezTo>
                    <a:cubicBezTo>
                      <a:pt x="33" y="120"/>
                      <a:pt x="33" y="120"/>
                      <a:pt x="33" y="120"/>
                    </a:cubicBezTo>
                    <a:cubicBezTo>
                      <a:pt x="35" y="120"/>
                      <a:pt x="35" y="122"/>
                      <a:pt x="35" y="123"/>
                    </a:cubicBezTo>
                    <a:cubicBezTo>
                      <a:pt x="35" y="123"/>
                      <a:pt x="36" y="123"/>
                      <a:pt x="36" y="123"/>
                    </a:cubicBezTo>
                    <a:cubicBezTo>
                      <a:pt x="36" y="123"/>
                      <a:pt x="37" y="123"/>
                      <a:pt x="37" y="124"/>
                    </a:cubicBezTo>
                    <a:cubicBezTo>
                      <a:pt x="39" y="125"/>
                      <a:pt x="39" y="125"/>
                      <a:pt x="39" y="125"/>
                    </a:cubicBezTo>
                    <a:cubicBezTo>
                      <a:pt x="39" y="125"/>
                      <a:pt x="39" y="126"/>
                      <a:pt x="39" y="126"/>
                    </a:cubicBezTo>
                    <a:cubicBezTo>
                      <a:pt x="40" y="125"/>
                      <a:pt x="40" y="125"/>
                      <a:pt x="41" y="125"/>
                    </a:cubicBezTo>
                    <a:cubicBezTo>
                      <a:pt x="42" y="125"/>
                      <a:pt x="42" y="125"/>
                      <a:pt x="42" y="125"/>
                    </a:cubicBezTo>
                    <a:cubicBezTo>
                      <a:pt x="43" y="126"/>
                      <a:pt x="43" y="126"/>
                      <a:pt x="43" y="126"/>
                    </a:cubicBezTo>
                    <a:cubicBezTo>
                      <a:pt x="43" y="126"/>
                      <a:pt x="44" y="127"/>
                      <a:pt x="44" y="127"/>
                    </a:cubicBezTo>
                    <a:cubicBezTo>
                      <a:pt x="44" y="127"/>
                      <a:pt x="44" y="127"/>
                      <a:pt x="44" y="127"/>
                    </a:cubicBezTo>
                    <a:cubicBezTo>
                      <a:pt x="44" y="127"/>
                      <a:pt x="44" y="127"/>
                      <a:pt x="44" y="127"/>
                    </a:cubicBezTo>
                    <a:cubicBezTo>
                      <a:pt x="45" y="127"/>
                      <a:pt x="45" y="127"/>
                      <a:pt x="45" y="127"/>
                    </a:cubicBezTo>
                    <a:cubicBezTo>
                      <a:pt x="46" y="126"/>
                      <a:pt x="47" y="126"/>
                      <a:pt x="48" y="126"/>
                    </a:cubicBezTo>
                    <a:cubicBezTo>
                      <a:pt x="48" y="126"/>
                      <a:pt x="48" y="126"/>
                      <a:pt x="48" y="126"/>
                    </a:cubicBezTo>
                    <a:cubicBezTo>
                      <a:pt x="49" y="126"/>
                      <a:pt x="49" y="126"/>
                      <a:pt x="50" y="126"/>
                    </a:cubicBezTo>
                    <a:cubicBezTo>
                      <a:pt x="50" y="126"/>
                      <a:pt x="50" y="126"/>
                      <a:pt x="50" y="126"/>
                    </a:cubicBezTo>
                    <a:cubicBezTo>
                      <a:pt x="51" y="128"/>
                      <a:pt x="51" y="128"/>
                      <a:pt x="51" y="128"/>
                    </a:cubicBezTo>
                    <a:cubicBezTo>
                      <a:pt x="51" y="128"/>
                      <a:pt x="53" y="128"/>
                      <a:pt x="53" y="128"/>
                    </a:cubicBezTo>
                    <a:cubicBezTo>
                      <a:pt x="53" y="128"/>
                      <a:pt x="54" y="129"/>
                      <a:pt x="56" y="131"/>
                    </a:cubicBezTo>
                    <a:cubicBezTo>
                      <a:pt x="57" y="131"/>
                      <a:pt x="57" y="131"/>
                      <a:pt x="57" y="131"/>
                    </a:cubicBezTo>
                    <a:cubicBezTo>
                      <a:pt x="57" y="131"/>
                      <a:pt x="57" y="131"/>
                      <a:pt x="57" y="131"/>
                    </a:cubicBezTo>
                    <a:cubicBezTo>
                      <a:pt x="58" y="131"/>
                      <a:pt x="58" y="131"/>
                      <a:pt x="58" y="131"/>
                    </a:cubicBezTo>
                    <a:cubicBezTo>
                      <a:pt x="59" y="131"/>
                      <a:pt x="60" y="132"/>
                      <a:pt x="60" y="132"/>
                    </a:cubicBezTo>
                    <a:cubicBezTo>
                      <a:pt x="62" y="132"/>
                      <a:pt x="63" y="133"/>
                      <a:pt x="63" y="134"/>
                    </a:cubicBezTo>
                    <a:cubicBezTo>
                      <a:pt x="64" y="134"/>
                      <a:pt x="64" y="135"/>
                      <a:pt x="65" y="135"/>
                    </a:cubicBezTo>
                    <a:cubicBezTo>
                      <a:pt x="66" y="136"/>
                      <a:pt x="67" y="137"/>
                      <a:pt x="67" y="137"/>
                    </a:cubicBezTo>
                    <a:cubicBezTo>
                      <a:pt x="68" y="138"/>
                      <a:pt x="68" y="138"/>
                      <a:pt x="68" y="138"/>
                    </a:cubicBezTo>
                    <a:cubicBezTo>
                      <a:pt x="68" y="138"/>
                      <a:pt x="68" y="138"/>
                      <a:pt x="68" y="138"/>
                    </a:cubicBezTo>
                    <a:cubicBezTo>
                      <a:pt x="69" y="137"/>
                      <a:pt x="69" y="137"/>
                      <a:pt x="69" y="137"/>
                    </a:cubicBezTo>
                    <a:cubicBezTo>
                      <a:pt x="67" y="134"/>
                      <a:pt x="67" y="134"/>
                      <a:pt x="67" y="134"/>
                    </a:cubicBezTo>
                    <a:cubicBezTo>
                      <a:pt x="72" y="130"/>
                      <a:pt x="72" y="130"/>
                      <a:pt x="72" y="130"/>
                    </a:cubicBezTo>
                    <a:cubicBezTo>
                      <a:pt x="73" y="126"/>
                      <a:pt x="73" y="126"/>
                      <a:pt x="73" y="126"/>
                    </a:cubicBezTo>
                    <a:cubicBezTo>
                      <a:pt x="73" y="126"/>
                      <a:pt x="73" y="126"/>
                      <a:pt x="73" y="126"/>
                    </a:cubicBezTo>
                    <a:cubicBezTo>
                      <a:pt x="73" y="126"/>
                      <a:pt x="72" y="125"/>
                      <a:pt x="71" y="124"/>
                    </a:cubicBezTo>
                    <a:cubicBezTo>
                      <a:pt x="70" y="123"/>
                      <a:pt x="70" y="122"/>
                      <a:pt x="71" y="122"/>
                    </a:cubicBezTo>
                    <a:cubicBezTo>
                      <a:pt x="71" y="121"/>
                      <a:pt x="72" y="121"/>
                      <a:pt x="72" y="121"/>
                    </a:cubicBezTo>
                    <a:cubicBezTo>
                      <a:pt x="73" y="120"/>
                      <a:pt x="73" y="120"/>
                      <a:pt x="74" y="120"/>
                    </a:cubicBezTo>
                    <a:cubicBezTo>
                      <a:pt x="75" y="119"/>
                      <a:pt x="76" y="119"/>
                      <a:pt x="76" y="118"/>
                    </a:cubicBezTo>
                    <a:cubicBezTo>
                      <a:pt x="78" y="117"/>
                      <a:pt x="79" y="119"/>
                      <a:pt x="79" y="119"/>
                    </a:cubicBezTo>
                    <a:cubicBezTo>
                      <a:pt x="79" y="119"/>
                      <a:pt x="79" y="122"/>
                      <a:pt x="81" y="122"/>
                    </a:cubicBezTo>
                    <a:cubicBezTo>
                      <a:pt x="82" y="123"/>
                      <a:pt x="83" y="123"/>
                      <a:pt x="83" y="123"/>
                    </a:cubicBezTo>
                    <a:cubicBezTo>
                      <a:pt x="86" y="123"/>
                      <a:pt x="86" y="123"/>
                      <a:pt x="86" y="123"/>
                    </a:cubicBezTo>
                    <a:cubicBezTo>
                      <a:pt x="90" y="126"/>
                      <a:pt x="90" y="126"/>
                      <a:pt x="90" y="126"/>
                    </a:cubicBezTo>
                    <a:cubicBezTo>
                      <a:pt x="90" y="126"/>
                      <a:pt x="91" y="127"/>
                      <a:pt x="91" y="127"/>
                    </a:cubicBezTo>
                    <a:cubicBezTo>
                      <a:pt x="92" y="128"/>
                      <a:pt x="93" y="130"/>
                      <a:pt x="93" y="131"/>
                    </a:cubicBezTo>
                    <a:cubicBezTo>
                      <a:pt x="99" y="133"/>
                      <a:pt x="99" y="133"/>
                      <a:pt x="99" y="133"/>
                    </a:cubicBezTo>
                    <a:cubicBezTo>
                      <a:pt x="100" y="136"/>
                      <a:pt x="100" y="136"/>
                      <a:pt x="100" y="136"/>
                    </a:cubicBezTo>
                    <a:cubicBezTo>
                      <a:pt x="100" y="136"/>
                      <a:pt x="103" y="136"/>
                      <a:pt x="104" y="136"/>
                    </a:cubicBezTo>
                    <a:cubicBezTo>
                      <a:pt x="106" y="137"/>
                      <a:pt x="107" y="138"/>
                      <a:pt x="107" y="138"/>
                    </a:cubicBezTo>
                    <a:cubicBezTo>
                      <a:pt x="107" y="138"/>
                      <a:pt x="107" y="138"/>
                      <a:pt x="107" y="138"/>
                    </a:cubicBezTo>
                    <a:cubicBezTo>
                      <a:pt x="108" y="137"/>
                      <a:pt x="108" y="137"/>
                      <a:pt x="108" y="137"/>
                    </a:cubicBezTo>
                    <a:cubicBezTo>
                      <a:pt x="113" y="138"/>
                      <a:pt x="113" y="138"/>
                      <a:pt x="113" y="138"/>
                    </a:cubicBezTo>
                    <a:cubicBezTo>
                      <a:pt x="113" y="139"/>
                      <a:pt x="113" y="139"/>
                      <a:pt x="112" y="140"/>
                    </a:cubicBezTo>
                    <a:cubicBezTo>
                      <a:pt x="111" y="140"/>
                      <a:pt x="111" y="142"/>
                      <a:pt x="112" y="143"/>
                    </a:cubicBezTo>
                    <a:cubicBezTo>
                      <a:pt x="112" y="144"/>
                      <a:pt x="112" y="145"/>
                      <a:pt x="111" y="146"/>
                    </a:cubicBezTo>
                    <a:cubicBezTo>
                      <a:pt x="111" y="147"/>
                      <a:pt x="110" y="147"/>
                      <a:pt x="109" y="147"/>
                    </a:cubicBezTo>
                    <a:cubicBezTo>
                      <a:pt x="108" y="147"/>
                      <a:pt x="109" y="148"/>
                      <a:pt x="109" y="149"/>
                    </a:cubicBezTo>
                    <a:cubicBezTo>
                      <a:pt x="109" y="149"/>
                      <a:pt x="109" y="150"/>
                      <a:pt x="109" y="150"/>
                    </a:cubicBezTo>
                    <a:cubicBezTo>
                      <a:pt x="110" y="151"/>
                      <a:pt x="110" y="151"/>
                      <a:pt x="109" y="152"/>
                    </a:cubicBezTo>
                    <a:cubicBezTo>
                      <a:pt x="108" y="153"/>
                      <a:pt x="107" y="154"/>
                      <a:pt x="107" y="154"/>
                    </a:cubicBezTo>
                    <a:cubicBezTo>
                      <a:pt x="107" y="154"/>
                      <a:pt x="107" y="154"/>
                      <a:pt x="107" y="154"/>
                    </a:cubicBezTo>
                    <a:cubicBezTo>
                      <a:pt x="109" y="156"/>
                      <a:pt x="109" y="156"/>
                      <a:pt x="109" y="156"/>
                    </a:cubicBezTo>
                    <a:cubicBezTo>
                      <a:pt x="109" y="156"/>
                      <a:pt x="109" y="156"/>
                      <a:pt x="109" y="156"/>
                    </a:cubicBezTo>
                    <a:cubicBezTo>
                      <a:pt x="109" y="156"/>
                      <a:pt x="111" y="156"/>
                      <a:pt x="112" y="156"/>
                    </a:cubicBezTo>
                    <a:cubicBezTo>
                      <a:pt x="112" y="157"/>
                      <a:pt x="112" y="157"/>
                      <a:pt x="112" y="157"/>
                    </a:cubicBezTo>
                    <a:cubicBezTo>
                      <a:pt x="112" y="157"/>
                      <a:pt x="112" y="157"/>
                      <a:pt x="112" y="157"/>
                    </a:cubicBezTo>
                    <a:cubicBezTo>
                      <a:pt x="112" y="156"/>
                      <a:pt x="112" y="156"/>
                      <a:pt x="112" y="156"/>
                    </a:cubicBezTo>
                    <a:cubicBezTo>
                      <a:pt x="112" y="156"/>
                      <a:pt x="113" y="156"/>
                      <a:pt x="113" y="156"/>
                    </a:cubicBezTo>
                    <a:cubicBezTo>
                      <a:pt x="113" y="155"/>
                      <a:pt x="115" y="153"/>
                      <a:pt x="115" y="153"/>
                    </a:cubicBezTo>
                    <a:cubicBezTo>
                      <a:pt x="117" y="153"/>
                      <a:pt x="117" y="153"/>
                      <a:pt x="117" y="153"/>
                    </a:cubicBezTo>
                    <a:cubicBezTo>
                      <a:pt x="119" y="151"/>
                      <a:pt x="119" y="151"/>
                      <a:pt x="119" y="151"/>
                    </a:cubicBezTo>
                    <a:cubicBezTo>
                      <a:pt x="119" y="151"/>
                      <a:pt x="121" y="151"/>
                      <a:pt x="121" y="151"/>
                    </a:cubicBezTo>
                    <a:cubicBezTo>
                      <a:pt x="122" y="151"/>
                      <a:pt x="123" y="151"/>
                      <a:pt x="124" y="151"/>
                    </a:cubicBezTo>
                    <a:cubicBezTo>
                      <a:pt x="125" y="151"/>
                      <a:pt x="125" y="150"/>
                      <a:pt x="125" y="150"/>
                    </a:cubicBezTo>
                    <a:cubicBezTo>
                      <a:pt x="125" y="150"/>
                      <a:pt x="127" y="149"/>
                      <a:pt x="129" y="148"/>
                    </a:cubicBezTo>
                    <a:cubicBezTo>
                      <a:pt x="130" y="148"/>
                      <a:pt x="131" y="148"/>
                      <a:pt x="131" y="148"/>
                    </a:cubicBezTo>
                    <a:cubicBezTo>
                      <a:pt x="131" y="148"/>
                      <a:pt x="132" y="148"/>
                      <a:pt x="133" y="148"/>
                    </a:cubicBezTo>
                    <a:cubicBezTo>
                      <a:pt x="133" y="148"/>
                      <a:pt x="134" y="148"/>
                      <a:pt x="134" y="148"/>
                    </a:cubicBezTo>
                    <a:cubicBezTo>
                      <a:pt x="135" y="148"/>
                      <a:pt x="135" y="147"/>
                      <a:pt x="135" y="147"/>
                    </a:cubicBezTo>
                    <a:cubicBezTo>
                      <a:pt x="137" y="142"/>
                      <a:pt x="137" y="142"/>
                      <a:pt x="137" y="142"/>
                    </a:cubicBezTo>
                    <a:cubicBezTo>
                      <a:pt x="137" y="142"/>
                      <a:pt x="136" y="140"/>
                      <a:pt x="136" y="140"/>
                    </a:cubicBezTo>
                    <a:cubicBezTo>
                      <a:pt x="136" y="140"/>
                      <a:pt x="135" y="139"/>
                      <a:pt x="133" y="139"/>
                    </a:cubicBezTo>
                    <a:cubicBezTo>
                      <a:pt x="133" y="131"/>
                      <a:pt x="133" y="131"/>
                      <a:pt x="133" y="131"/>
                    </a:cubicBezTo>
                    <a:cubicBezTo>
                      <a:pt x="131" y="128"/>
                      <a:pt x="131" y="128"/>
                      <a:pt x="131" y="128"/>
                    </a:cubicBezTo>
                    <a:cubicBezTo>
                      <a:pt x="131" y="127"/>
                      <a:pt x="133" y="126"/>
                      <a:pt x="133" y="126"/>
                    </a:cubicBezTo>
                    <a:cubicBezTo>
                      <a:pt x="133" y="125"/>
                      <a:pt x="134" y="124"/>
                      <a:pt x="135" y="124"/>
                    </a:cubicBezTo>
                    <a:cubicBezTo>
                      <a:pt x="138" y="124"/>
                      <a:pt x="138" y="124"/>
                      <a:pt x="138" y="124"/>
                    </a:cubicBezTo>
                    <a:cubicBezTo>
                      <a:pt x="139" y="123"/>
                      <a:pt x="140" y="123"/>
                      <a:pt x="140" y="122"/>
                    </a:cubicBezTo>
                    <a:cubicBezTo>
                      <a:pt x="140" y="122"/>
                      <a:pt x="140" y="120"/>
                      <a:pt x="140" y="119"/>
                    </a:cubicBezTo>
                    <a:cubicBezTo>
                      <a:pt x="140" y="118"/>
                      <a:pt x="141" y="116"/>
                      <a:pt x="142" y="115"/>
                    </a:cubicBezTo>
                    <a:cubicBezTo>
                      <a:pt x="142" y="115"/>
                      <a:pt x="144" y="113"/>
                      <a:pt x="145" y="112"/>
                    </a:cubicBezTo>
                    <a:cubicBezTo>
                      <a:pt x="145" y="111"/>
                      <a:pt x="146" y="108"/>
                      <a:pt x="146" y="107"/>
                    </a:cubicBezTo>
                    <a:close/>
                  </a:path>
                </a:pathLst>
              </a:custGeom>
              <a:solidFill>
                <a:srgbClr val="BFBFBF"/>
              </a:solid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330" name="Freeform 12"/>
              <p:cNvSpPr>
                <a:spLocks/>
              </p:cNvSpPr>
              <p:nvPr/>
            </p:nvSpPr>
            <p:spPr bwMode="auto">
              <a:xfrm>
                <a:off x="3092" y="2831"/>
                <a:ext cx="16" cy="8"/>
              </a:xfrm>
              <a:custGeom>
                <a:avLst/>
                <a:gdLst>
                  <a:gd name="T0" fmla="*/ 7 w 8"/>
                  <a:gd name="T1" fmla="*/ 0 h 4"/>
                  <a:gd name="T2" fmla="*/ 5 w 8"/>
                  <a:gd name="T3" fmla="*/ 0 h 4"/>
                  <a:gd name="T4" fmla="*/ 4 w 8"/>
                  <a:gd name="T5" fmla="*/ 0 h 4"/>
                  <a:gd name="T6" fmla="*/ 1 w 8"/>
                  <a:gd name="T7" fmla="*/ 1 h 4"/>
                  <a:gd name="T8" fmla="*/ 1 w 8"/>
                  <a:gd name="T9" fmla="*/ 2 h 4"/>
                  <a:gd name="T10" fmla="*/ 3 w 8"/>
                  <a:gd name="T11" fmla="*/ 3 h 4"/>
                  <a:gd name="T12" fmla="*/ 4 w 8"/>
                  <a:gd name="T13" fmla="*/ 4 h 4"/>
                  <a:gd name="T14" fmla="*/ 7 w 8"/>
                  <a:gd name="T15" fmla="*/ 2 h 4"/>
                  <a:gd name="T16" fmla="*/ 8 w 8"/>
                  <a:gd name="T17" fmla="*/ 1 h 4"/>
                  <a:gd name="T18" fmla="*/ 7 w 8"/>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4">
                    <a:moveTo>
                      <a:pt x="7" y="0"/>
                    </a:moveTo>
                    <a:cubicBezTo>
                      <a:pt x="6" y="0"/>
                      <a:pt x="5" y="0"/>
                      <a:pt x="5" y="0"/>
                    </a:cubicBezTo>
                    <a:cubicBezTo>
                      <a:pt x="5" y="0"/>
                      <a:pt x="4" y="0"/>
                      <a:pt x="4" y="0"/>
                    </a:cubicBezTo>
                    <a:cubicBezTo>
                      <a:pt x="4" y="0"/>
                      <a:pt x="2" y="0"/>
                      <a:pt x="1" y="1"/>
                    </a:cubicBezTo>
                    <a:cubicBezTo>
                      <a:pt x="0" y="1"/>
                      <a:pt x="1" y="2"/>
                      <a:pt x="1" y="2"/>
                    </a:cubicBezTo>
                    <a:cubicBezTo>
                      <a:pt x="1" y="2"/>
                      <a:pt x="2" y="3"/>
                      <a:pt x="3" y="3"/>
                    </a:cubicBezTo>
                    <a:cubicBezTo>
                      <a:pt x="4" y="4"/>
                      <a:pt x="4" y="4"/>
                      <a:pt x="4" y="4"/>
                    </a:cubicBezTo>
                    <a:cubicBezTo>
                      <a:pt x="4" y="4"/>
                      <a:pt x="6" y="3"/>
                      <a:pt x="7" y="2"/>
                    </a:cubicBezTo>
                    <a:cubicBezTo>
                      <a:pt x="7" y="1"/>
                      <a:pt x="7" y="2"/>
                      <a:pt x="8" y="1"/>
                    </a:cubicBezTo>
                    <a:cubicBezTo>
                      <a:pt x="8" y="1"/>
                      <a:pt x="7" y="0"/>
                      <a:pt x="7" y="0"/>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331" name="Freeform 13"/>
              <p:cNvSpPr>
                <a:spLocks/>
              </p:cNvSpPr>
              <p:nvPr/>
            </p:nvSpPr>
            <p:spPr bwMode="auto">
              <a:xfrm>
                <a:off x="2973" y="2670"/>
                <a:ext cx="20" cy="52"/>
              </a:xfrm>
              <a:custGeom>
                <a:avLst/>
                <a:gdLst>
                  <a:gd name="T0" fmla="*/ 7 w 10"/>
                  <a:gd name="T1" fmla="*/ 22 h 26"/>
                  <a:gd name="T2" fmla="*/ 5 w 10"/>
                  <a:gd name="T3" fmla="*/ 19 h 26"/>
                  <a:gd name="T4" fmla="*/ 4 w 10"/>
                  <a:gd name="T5" fmla="*/ 16 h 26"/>
                  <a:gd name="T6" fmla="*/ 6 w 10"/>
                  <a:gd name="T7" fmla="*/ 18 h 26"/>
                  <a:gd name="T8" fmla="*/ 8 w 10"/>
                  <a:gd name="T9" fmla="*/ 17 h 26"/>
                  <a:gd name="T10" fmla="*/ 6 w 10"/>
                  <a:gd name="T11" fmla="*/ 13 h 26"/>
                  <a:gd name="T12" fmla="*/ 5 w 10"/>
                  <a:gd name="T13" fmla="*/ 11 h 26"/>
                  <a:gd name="T14" fmla="*/ 5 w 10"/>
                  <a:gd name="T15" fmla="*/ 9 h 26"/>
                  <a:gd name="T16" fmla="*/ 4 w 10"/>
                  <a:gd name="T17" fmla="*/ 7 h 26"/>
                  <a:gd name="T18" fmla="*/ 4 w 10"/>
                  <a:gd name="T19" fmla="*/ 5 h 26"/>
                  <a:gd name="T20" fmla="*/ 4 w 10"/>
                  <a:gd name="T21" fmla="*/ 3 h 26"/>
                  <a:gd name="T22" fmla="*/ 7 w 10"/>
                  <a:gd name="T23" fmla="*/ 3 h 26"/>
                  <a:gd name="T24" fmla="*/ 5 w 10"/>
                  <a:gd name="T25" fmla="*/ 2 h 26"/>
                  <a:gd name="T26" fmla="*/ 3 w 10"/>
                  <a:gd name="T27" fmla="*/ 2 h 26"/>
                  <a:gd name="T28" fmla="*/ 2 w 10"/>
                  <a:gd name="T29" fmla="*/ 0 h 26"/>
                  <a:gd name="T30" fmla="*/ 1 w 10"/>
                  <a:gd name="T31" fmla="*/ 1 h 26"/>
                  <a:gd name="T32" fmla="*/ 1 w 10"/>
                  <a:gd name="T33" fmla="*/ 3 h 26"/>
                  <a:gd name="T34" fmla="*/ 2 w 10"/>
                  <a:gd name="T35" fmla="*/ 6 h 26"/>
                  <a:gd name="T36" fmla="*/ 0 w 10"/>
                  <a:gd name="T37" fmla="*/ 5 h 26"/>
                  <a:gd name="T38" fmla="*/ 1 w 10"/>
                  <a:gd name="T39" fmla="*/ 7 h 26"/>
                  <a:gd name="T40" fmla="*/ 1 w 10"/>
                  <a:gd name="T41" fmla="*/ 10 h 26"/>
                  <a:gd name="T42" fmla="*/ 2 w 10"/>
                  <a:gd name="T43" fmla="*/ 12 h 26"/>
                  <a:gd name="T44" fmla="*/ 4 w 10"/>
                  <a:gd name="T45" fmla="*/ 13 h 26"/>
                  <a:gd name="T46" fmla="*/ 2 w 10"/>
                  <a:gd name="T47" fmla="*/ 14 h 26"/>
                  <a:gd name="T48" fmla="*/ 2 w 10"/>
                  <a:gd name="T49" fmla="*/ 17 h 26"/>
                  <a:gd name="T50" fmla="*/ 3 w 10"/>
                  <a:gd name="T51" fmla="*/ 18 h 26"/>
                  <a:gd name="T52" fmla="*/ 3 w 10"/>
                  <a:gd name="T53" fmla="*/ 19 h 26"/>
                  <a:gd name="T54" fmla="*/ 4 w 10"/>
                  <a:gd name="T55" fmla="*/ 20 h 26"/>
                  <a:gd name="T56" fmla="*/ 5 w 10"/>
                  <a:gd name="T57" fmla="*/ 21 h 26"/>
                  <a:gd name="T58" fmla="*/ 8 w 10"/>
                  <a:gd name="T59" fmla="*/ 24 h 26"/>
                  <a:gd name="T60" fmla="*/ 9 w 10"/>
                  <a:gd name="T61" fmla="*/ 25 h 26"/>
                  <a:gd name="T62" fmla="*/ 8 w 10"/>
                  <a:gd name="T63" fmla="*/ 2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 h="26">
                    <a:moveTo>
                      <a:pt x="8" y="23"/>
                    </a:moveTo>
                    <a:cubicBezTo>
                      <a:pt x="8" y="22"/>
                      <a:pt x="7" y="22"/>
                      <a:pt x="7" y="22"/>
                    </a:cubicBezTo>
                    <a:cubicBezTo>
                      <a:pt x="7" y="22"/>
                      <a:pt x="6" y="21"/>
                      <a:pt x="5" y="20"/>
                    </a:cubicBezTo>
                    <a:cubicBezTo>
                      <a:pt x="5" y="19"/>
                      <a:pt x="5" y="19"/>
                      <a:pt x="5" y="19"/>
                    </a:cubicBezTo>
                    <a:cubicBezTo>
                      <a:pt x="5" y="19"/>
                      <a:pt x="4" y="18"/>
                      <a:pt x="4" y="18"/>
                    </a:cubicBezTo>
                    <a:cubicBezTo>
                      <a:pt x="4" y="18"/>
                      <a:pt x="4" y="17"/>
                      <a:pt x="4" y="16"/>
                    </a:cubicBezTo>
                    <a:cubicBezTo>
                      <a:pt x="5" y="16"/>
                      <a:pt x="5" y="17"/>
                      <a:pt x="5" y="17"/>
                    </a:cubicBezTo>
                    <a:cubicBezTo>
                      <a:pt x="5" y="17"/>
                      <a:pt x="6" y="18"/>
                      <a:pt x="6" y="18"/>
                    </a:cubicBezTo>
                    <a:cubicBezTo>
                      <a:pt x="7" y="19"/>
                      <a:pt x="7" y="18"/>
                      <a:pt x="7" y="18"/>
                    </a:cubicBezTo>
                    <a:cubicBezTo>
                      <a:pt x="7" y="18"/>
                      <a:pt x="8" y="17"/>
                      <a:pt x="8" y="17"/>
                    </a:cubicBezTo>
                    <a:cubicBezTo>
                      <a:pt x="8" y="16"/>
                      <a:pt x="7" y="15"/>
                      <a:pt x="6" y="15"/>
                    </a:cubicBezTo>
                    <a:cubicBezTo>
                      <a:pt x="6" y="15"/>
                      <a:pt x="6" y="13"/>
                      <a:pt x="6" y="13"/>
                    </a:cubicBezTo>
                    <a:cubicBezTo>
                      <a:pt x="6" y="12"/>
                      <a:pt x="6" y="12"/>
                      <a:pt x="6" y="12"/>
                    </a:cubicBezTo>
                    <a:cubicBezTo>
                      <a:pt x="5" y="11"/>
                      <a:pt x="5" y="11"/>
                      <a:pt x="5" y="11"/>
                    </a:cubicBezTo>
                    <a:cubicBezTo>
                      <a:pt x="5" y="11"/>
                      <a:pt x="5" y="10"/>
                      <a:pt x="5" y="10"/>
                    </a:cubicBezTo>
                    <a:cubicBezTo>
                      <a:pt x="5" y="10"/>
                      <a:pt x="5" y="9"/>
                      <a:pt x="5" y="9"/>
                    </a:cubicBezTo>
                    <a:cubicBezTo>
                      <a:pt x="5" y="8"/>
                      <a:pt x="5" y="8"/>
                      <a:pt x="5" y="8"/>
                    </a:cubicBezTo>
                    <a:cubicBezTo>
                      <a:pt x="5" y="8"/>
                      <a:pt x="4" y="7"/>
                      <a:pt x="4" y="7"/>
                    </a:cubicBezTo>
                    <a:cubicBezTo>
                      <a:pt x="4" y="6"/>
                      <a:pt x="4" y="6"/>
                      <a:pt x="4" y="5"/>
                    </a:cubicBezTo>
                    <a:cubicBezTo>
                      <a:pt x="5" y="5"/>
                      <a:pt x="4" y="5"/>
                      <a:pt x="4" y="5"/>
                    </a:cubicBezTo>
                    <a:cubicBezTo>
                      <a:pt x="4" y="4"/>
                      <a:pt x="4" y="3"/>
                      <a:pt x="4" y="3"/>
                    </a:cubicBezTo>
                    <a:cubicBezTo>
                      <a:pt x="4" y="2"/>
                      <a:pt x="4" y="3"/>
                      <a:pt x="4" y="3"/>
                    </a:cubicBezTo>
                    <a:cubicBezTo>
                      <a:pt x="4" y="3"/>
                      <a:pt x="5" y="4"/>
                      <a:pt x="6" y="4"/>
                    </a:cubicBezTo>
                    <a:cubicBezTo>
                      <a:pt x="6" y="4"/>
                      <a:pt x="7" y="3"/>
                      <a:pt x="7" y="3"/>
                    </a:cubicBezTo>
                    <a:cubicBezTo>
                      <a:pt x="7" y="2"/>
                      <a:pt x="6" y="2"/>
                      <a:pt x="6" y="2"/>
                    </a:cubicBezTo>
                    <a:cubicBezTo>
                      <a:pt x="6" y="2"/>
                      <a:pt x="5" y="2"/>
                      <a:pt x="5" y="2"/>
                    </a:cubicBezTo>
                    <a:cubicBezTo>
                      <a:pt x="5" y="2"/>
                      <a:pt x="4" y="2"/>
                      <a:pt x="4" y="2"/>
                    </a:cubicBezTo>
                    <a:cubicBezTo>
                      <a:pt x="3" y="2"/>
                      <a:pt x="4" y="2"/>
                      <a:pt x="3" y="2"/>
                    </a:cubicBezTo>
                    <a:cubicBezTo>
                      <a:pt x="3" y="2"/>
                      <a:pt x="3" y="2"/>
                      <a:pt x="3" y="1"/>
                    </a:cubicBezTo>
                    <a:cubicBezTo>
                      <a:pt x="2" y="1"/>
                      <a:pt x="2" y="0"/>
                      <a:pt x="2" y="0"/>
                    </a:cubicBezTo>
                    <a:cubicBezTo>
                      <a:pt x="2" y="0"/>
                      <a:pt x="1" y="0"/>
                      <a:pt x="1" y="0"/>
                    </a:cubicBezTo>
                    <a:cubicBezTo>
                      <a:pt x="1" y="0"/>
                      <a:pt x="1" y="1"/>
                      <a:pt x="1" y="1"/>
                    </a:cubicBezTo>
                    <a:cubicBezTo>
                      <a:pt x="1" y="1"/>
                      <a:pt x="1" y="2"/>
                      <a:pt x="1" y="2"/>
                    </a:cubicBezTo>
                    <a:cubicBezTo>
                      <a:pt x="1" y="3"/>
                      <a:pt x="1" y="3"/>
                      <a:pt x="1" y="3"/>
                    </a:cubicBezTo>
                    <a:cubicBezTo>
                      <a:pt x="1" y="3"/>
                      <a:pt x="2" y="3"/>
                      <a:pt x="2" y="4"/>
                    </a:cubicBezTo>
                    <a:cubicBezTo>
                      <a:pt x="3" y="4"/>
                      <a:pt x="2" y="5"/>
                      <a:pt x="2" y="6"/>
                    </a:cubicBezTo>
                    <a:cubicBezTo>
                      <a:pt x="2" y="6"/>
                      <a:pt x="2" y="5"/>
                      <a:pt x="1" y="5"/>
                    </a:cubicBezTo>
                    <a:cubicBezTo>
                      <a:pt x="1" y="5"/>
                      <a:pt x="0" y="5"/>
                      <a:pt x="0" y="5"/>
                    </a:cubicBezTo>
                    <a:cubicBezTo>
                      <a:pt x="0" y="5"/>
                      <a:pt x="0" y="6"/>
                      <a:pt x="0" y="6"/>
                    </a:cubicBezTo>
                    <a:cubicBezTo>
                      <a:pt x="0" y="7"/>
                      <a:pt x="0" y="7"/>
                      <a:pt x="1" y="7"/>
                    </a:cubicBezTo>
                    <a:cubicBezTo>
                      <a:pt x="1" y="8"/>
                      <a:pt x="1" y="8"/>
                      <a:pt x="1" y="8"/>
                    </a:cubicBezTo>
                    <a:cubicBezTo>
                      <a:pt x="1" y="8"/>
                      <a:pt x="1" y="9"/>
                      <a:pt x="1" y="10"/>
                    </a:cubicBezTo>
                    <a:cubicBezTo>
                      <a:pt x="2" y="10"/>
                      <a:pt x="2" y="10"/>
                      <a:pt x="2" y="11"/>
                    </a:cubicBezTo>
                    <a:cubicBezTo>
                      <a:pt x="2" y="11"/>
                      <a:pt x="2" y="12"/>
                      <a:pt x="2" y="12"/>
                    </a:cubicBezTo>
                    <a:cubicBezTo>
                      <a:pt x="2" y="12"/>
                      <a:pt x="3" y="13"/>
                      <a:pt x="3" y="13"/>
                    </a:cubicBezTo>
                    <a:cubicBezTo>
                      <a:pt x="3" y="13"/>
                      <a:pt x="4" y="13"/>
                      <a:pt x="4" y="13"/>
                    </a:cubicBezTo>
                    <a:cubicBezTo>
                      <a:pt x="3" y="15"/>
                      <a:pt x="3" y="15"/>
                      <a:pt x="3" y="15"/>
                    </a:cubicBezTo>
                    <a:cubicBezTo>
                      <a:pt x="2" y="14"/>
                      <a:pt x="2" y="14"/>
                      <a:pt x="2" y="14"/>
                    </a:cubicBezTo>
                    <a:cubicBezTo>
                      <a:pt x="2" y="14"/>
                      <a:pt x="2" y="15"/>
                      <a:pt x="2" y="16"/>
                    </a:cubicBezTo>
                    <a:cubicBezTo>
                      <a:pt x="2" y="16"/>
                      <a:pt x="2" y="16"/>
                      <a:pt x="2" y="17"/>
                    </a:cubicBezTo>
                    <a:cubicBezTo>
                      <a:pt x="2" y="17"/>
                      <a:pt x="2" y="17"/>
                      <a:pt x="3" y="17"/>
                    </a:cubicBezTo>
                    <a:cubicBezTo>
                      <a:pt x="3" y="17"/>
                      <a:pt x="3" y="17"/>
                      <a:pt x="3" y="18"/>
                    </a:cubicBezTo>
                    <a:cubicBezTo>
                      <a:pt x="3" y="18"/>
                      <a:pt x="4" y="19"/>
                      <a:pt x="4" y="19"/>
                    </a:cubicBezTo>
                    <a:cubicBezTo>
                      <a:pt x="4" y="19"/>
                      <a:pt x="3" y="19"/>
                      <a:pt x="3" y="19"/>
                    </a:cubicBezTo>
                    <a:cubicBezTo>
                      <a:pt x="2" y="19"/>
                      <a:pt x="2" y="20"/>
                      <a:pt x="2" y="20"/>
                    </a:cubicBezTo>
                    <a:cubicBezTo>
                      <a:pt x="2" y="20"/>
                      <a:pt x="4" y="20"/>
                      <a:pt x="4" y="20"/>
                    </a:cubicBezTo>
                    <a:cubicBezTo>
                      <a:pt x="4" y="20"/>
                      <a:pt x="5" y="20"/>
                      <a:pt x="5" y="20"/>
                    </a:cubicBezTo>
                    <a:cubicBezTo>
                      <a:pt x="5" y="20"/>
                      <a:pt x="5" y="21"/>
                      <a:pt x="5" y="21"/>
                    </a:cubicBezTo>
                    <a:cubicBezTo>
                      <a:pt x="5" y="21"/>
                      <a:pt x="6" y="22"/>
                      <a:pt x="7" y="22"/>
                    </a:cubicBezTo>
                    <a:cubicBezTo>
                      <a:pt x="7" y="22"/>
                      <a:pt x="7" y="24"/>
                      <a:pt x="8" y="24"/>
                    </a:cubicBezTo>
                    <a:cubicBezTo>
                      <a:pt x="8" y="25"/>
                      <a:pt x="8" y="25"/>
                      <a:pt x="9" y="25"/>
                    </a:cubicBezTo>
                    <a:cubicBezTo>
                      <a:pt x="9" y="26"/>
                      <a:pt x="9" y="25"/>
                      <a:pt x="9" y="25"/>
                    </a:cubicBezTo>
                    <a:cubicBezTo>
                      <a:pt x="10" y="25"/>
                      <a:pt x="9" y="24"/>
                      <a:pt x="9" y="24"/>
                    </a:cubicBezTo>
                    <a:cubicBezTo>
                      <a:pt x="9" y="23"/>
                      <a:pt x="9" y="23"/>
                      <a:pt x="8" y="23"/>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332" name="Freeform 14"/>
              <p:cNvSpPr>
                <a:spLocks/>
              </p:cNvSpPr>
              <p:nvPr/>
            </p:nvSpPr>
            <p:spPr bwMode="auto">
              <a:xfrm>
                <a:off x="3092" y="2839"/>
                <a:ext cx="4" cy="4"/>
              </a:xfrm>
              <a:custGeom>
                <a:avLst/>
                <a:gdLst>
                  <a:gd name="T0" fmla="*/ 1 w 2"/>
                  <a:gd name="T1" fmla="*/ 0 h 2"/>
                  <a:gd name="T2" fmla="*/ 0 w 2"/>
                  <a:gd name="T3" fmla="*/ 2 h 2"/>
                  <a:gd name="T4" fmla="*/ 1 w 2"/>
                  <a:gd name="T5" fmla="*/ 2 h 2"/>
                  <a:gd name="T6" fmla="*/ 2 w 2"/>
                  <a:gd name="T7" fmla="*/ 1 h 2"/>
                  <a:gd name="T8" fmla="*/ 1 w 2"/>
                  <a:gd name="T9" fmla="*/ 0 h 2"/>
                </a:gdLst>
                <a:ahLst/>
                <a:cxnLst>
                  <a:cxn ang="0">
                    <a:pos x="T0" y="T1"/>
                  </a:cxn>
                  <a:cxn ang="0">
                    <a:pos x="T2" y="T3"/>
                  </a:cxn>
                  <a:cxn ang="0">
                    <a:pos x="T4" y="T5"/>
                  </a:cxn>
                  <a:cxn ang="0">
                    <a:pos x="T6" y="T7"/>
                  </a:cxn>
                  <a:cxn ang="0">
                    <a:pos x="T8" y="T9"/>
                  </a:cxn>
                </a:cxnLst>
                <a:rect l="0" t="0" r="r" b="b"/>
                <a:pathLst>
                  <a:path w="2" h="2">
                    <a:moveTo>
                      <a:pt x="1" y="0"/>
                    </a:moveTo>
                    <a:cubicBezTo>
                      <a:pt x="0" y="0"/>
                      <a:pt x="0" y="2"/>
                      <a:pt x="0" y="2"/>
                    </a:cubicBezTo>
                    <a:cubicBezTo>
                      <a:pt x="0" y="2"/>
                      <a:pt x="1" y="2"/>
                      <a:pt x="1" y="2"/>
                    </a:cubicBezTo>
                    <a:cubicBezTo>
                      <a:pt x="1" y="2"/>
                      <a:pt x="2" y="1"/>
                      <a:pt x="2" y="1"/>
                    </a:cubicBezTo>
                    <a:cubicBezTo>
                      <a:pt x="2" y="0"/>
                      <a:pt x="1" y="0"/>
                      <a:pt x="1" y="0"/>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333" name="Freeform 15"/>
              <p:cNvSpPr>
                <a:spLocks/>
              </p:cNvSpPr>
              <p:nvPr/>
            </p:nvSpPr>
            <p:spPr bwMode="auto">
              <a:xfrm>
                <a:off x="3100" y="2797"/>
                <a:ext cx="44" cy="12"/>
              </a:xfrm>
              <a:custGeom>
                <a:avLst/>
                <a:gdLst>
                  <a:gd name="T0" fmla="*/ 6 w 22"/>
                  <a:gd name="T1" fmla="*/ 3 h 6"/>
                  <a:gd name="T2" fmla="*/ 4 w 22"/>
                  <a:gd name="T3" fmla="*/ 2 h 6"/>
                  <a:gd name="T4" fmla="*/ 2 w 22"/>
                  <a:gd name="T5" fmla="*/ 0 h 6"/>
                  <a:gd name="T6" fmla="*/ 0 w 22"/>
                  <a:gd name="T7" fmla="*/ 1 h 6"/>
                  <a:gd name="T8" fmla="*/ 1 w 22"/>
                  <a:gd name="T9" fmla="*/ 2 h 6"/>
                  <a:gd name="T10" fmla="*/ 3 w 22"/>
                  <a:gd name="T11" fmla="*/ 2 h 6"/>
                  <a:gd name="T12" fmla="*/ 6 w 22"/>
                  <a:gd name="T13" fmla="*/ 4 h 6"/>
                  <a:gd name="T14" fmla="*/ 8 w 22"/>
                  <a:gd name="T15" fmla="*/ 5 h 6"/>
                  <a:gd name="T16" fmla="*/ 11 w 22"/>
                  <a:gd name="T17" fmla="*/ 5 h 6"/>
                  <a:gd name="T18" fmla="*/ 12 w 22"/>
                  <a:gd name="T19" fmla="*/ 6 h 6"/>
                  <a:gd name="T20" fmla="*/ 16 w 22"/>
                  <a:gd name="T21" fmla="*/ 5 h 6"/>
                  <a:gd name="T22" fmla="*/ 18 w 22"/>
                  <a:gd name="T23" fmla="*/ 5 h 6"/>
                  <a:gd name="T24" fmla="*/ 21 w 22"/>
                  <a:gd name="T25" fmla="*/ 4 h 6"/>
                  <a:gd name="T26" fmla="*/ 21 w 22"/>
                  <a:gd name="T27" fmla="*/ 2 h 6"/>
                  <a:gd name="T28" fmla="*/ 19 w 22"/>
                  <a:gd name="T29" fmla="*/ 1 h 6"/>
                  <a:gd name="T30" fmla="*/ 17 w 22"/>
                  <a:gd name="T31" fmla="*/ 1 h 6"/>
                  <a:gd name="T32" fmla="*/ 14 w 22"/>
                  <a:gd name="T33" fmla="*/ 1 h 6"/>
                  <a:gd name="T34" fmla="*/ 11 w 22"/>
                  <a:gd name="T35" fmla="*/ 0 h 6"/>
                  <a:gd name="T36" fmla="*/ 9 w 22"/>
                  <a:gd name="T37" fmla="*/ 0 h 6"/>
                  <a:gd name="T38" fmla="*/ 7 w 22"/>
                  <a:gd name="T39" fmla="*/ 0 h 6"/>
                  <a:gd name="T40" fmla="*/ 8 w 22"/>
                  <a:gd name="T41" fmla="*/ 1 h 6"/>
                  <a:gd name="T42" fmla="*/ 7 w 22"/>
                  <a:gd name="T43" fmla="*/ 3 h 6"/>
                  <a:gd name="T44" fmla="*/ 6 w 22"/>
                  <a:gd name="T45"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6">
                    <a:moveTo>
                      <a:pt x="6" y="3"/>
                    </a:moveTo>
                    <a:cubicBezTo>
                      <a:pt x="6" y="3"/>
                      <a:pt x="4" y="2"/>
                      <a:pt x="4" y="2"/>
                    </a:cubicBezTo>
                    <a:cubicBezTo>
                      <a:pt x="3" y="2"/>
                      <a:pt x="3" y="1"/>
                      <a:pt x="2" y="0"/>
                    </a:cubicBezTo>
                    <a:cubicBezTo>
                      <a:pt x="1" y="0"/>
                      <a:pt x="1" y="1"/>
                      <a:pt x="0" y="1"/>
                    </a:cubicBezTo>
                    <a:cubicBezTo>
                      <a:pt x="0" y="1"/>
                      <a:pt x="1" y="2"/>
                      <a:pt x="1" y="2"/>
                    </a:cubicBezTo>
                    <a:cubicBezTo>
                      <a:pt x="2" y="2"/>
                      <a:pt x="3" y="2"/>
                      <a:pt x="3" y="2"/>
                    </a:cubicBezTo>
                    <a:cubicBezTo>
                      <a:pt x="3" y="3"/>
                      <a:pt x="6" y="4"/>
                      <a:pt x="6" y="4"/>
                    </a:cubicBezTo>
                    <a:cubicBezTo>
                      <a:pt x="6" y="4"/>
                      <a:pt x="7" y="4"/>
                      <a:pt x="8" y="5"/>
                    </a:cubicBezTo>
                    <a:cubicBezTo>
                      <a:pt x="8" y="5"/>
                      <a:pt x="9" y="5"/>
                      <a:pt x="11" y="5"/>
                    </a:cubicBezTo>
                    <a:cubicBezTo>
                      <a:pt x="13" y="6"/>
                      <a:pt x="12" y="6"/>
                      <a:pt x="12" y="6"/>
                    </a:cubicBezTo>
                    <a:cubicBezTo>
                      <a:pt x="12" y="6"/>
                      <a:pt x="14" y="6"/>
                      <a:pt x="16" y="5"/>
                    </a:cubicBezTo>
                    <a:cubicBezTo>
                      <a:pt x="18" y="5"/>
                      <a:pt x="17" y="5"/>
                      <a:pt x="18" y="5"/>
                    </a:cubicBezTo>
                    <a:cubicBezTo>
                      <a:pt x="20" y="5"/>
                      <a:pt x="19" y="5"/>
                      <a:pt x="21" y="4"/>
                    </a:cubicBezTo>
                    <a:cubicBezTo>
                      <a:pt x="22" y="3"/>
                      <a:pt x="21" y="3"/>
                      <a:pt x="21" y="2"/>
                    </a:cubicBezTo>
                    <a:cubicBezTo>
                      <a:pt x="21" y="2"/>
                      <a:pt x="20" y="1"/>
                      <a:pt x="19" y="1"/>
                    </a:cubicBezTo>
                    <a:cubicBezTo>
                      <a:pt x="19" y="1"/>
                      <a:pt x="18" y="1"/>
                      <a:pt x="17" y="1"/>
                    </a:cubicBezTo>
                    <a:cubicBezTo>
                      <a:pt x="16" y="1"/>
                      <a:pt x="16" y="0"/>
                      <a:pt x="14" y="1"/>
                    </a:cubicBezTo>
                    <a:cubicBezTo>
                      <a:pt x="11" y="1"/>
                      <a:pt x="12" y="1"/>
                      <a:pt x="11" y="0"/>
                    </a:cubicBezTo>
                    <a:cubicBezTo>
                      <a:pt x="11" y="0"/>
                      <a:pt x="10" y="0"/>
                      <a:pt x="9" y="0"/>
                    </a:cubicBezTo>
                    <a:cubicBezTo>
                      <a:pt x="9" y="0"/>
                      <a:pt x="7" y="0"/>
                      <a:pt x="7" y="0"/>
                    </a:cubicBezTo>
                    <a:cubicBezTo>
                      <a:pt x="7" y="1"/>
                      <a:pt x="7" y="1"/>
                      <a:pt x="8" y="1"/>
                    </a:cubicBezTo>
                    <a:cubicBezTo>
                      <a:pt x="8" y="2"/>
                      <a:pt x="7" y="3"/>
                      <a:pt x="7" y="3"/>
                    </a:cubicBezTo>
                    <a:cubicBezTo>
                      <a:pt x="7" y="4"/>
                      <a:pt x="6" y="3"/>
                      <a:pt x="6" y="3"/>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334" name="Freeform 16"/>
              <p:cNvSpPr>
                <a:spLocks/>
              </p:cNvSpPr>
              <p:nvPr/>
            </p:nvSpPr>
            <p:spPr bwMode="auto">
              <a:xfrm>
                <a:off x="2969" y="2658"/>
                <a:ext cx="8" cy="12"/>
              </a:xfrm>
              <a:custGeom>
                <a:avLst/>
                <a:gdLst>
                  <a:gd name="T0" fmla="*/ 2 w 4"/>
                  <a:gd name="T1" fmla="*/ 1 h 6"/>
                  <a:gd name="T2" fmla="*/ 1 w 4"/>
                  <a:gd name="T3" fmla="*/ 1 h 6"/>
                  <a:gd name="T4" fmla="*/ 1 w 4"/>
                  <a:gd name="T5" fmla="*/ 2 h 6"/>
                  <a:gd name="T6" fmla="*/ 1 w 4"/>
                  <a:gd name="T7" fmla="*/ 4 h 6"/>
                  <a:gd name="T8" fmla="*/ 1 w 4"/>
                  <a:gd name="T9" fmla="*/ 5 h 6"/>
                  <a:gd name="T10" fmla="*/ 2 w 4"/>
                  <a:gd name="T11" fmla="*/ 6 h 6"/>
                  <a:gd name="T12" fmla="*/ 4 w 4"/>
                  <a:gd name="T13" fmla="*/ 6 h 6"/>
                  <a:gd name="T14" fmla="*/ 3 w 4"/>
                  <a:gd name="T15" fmla="*/ 5 h 6"/>
                  <a:gd name="T16" fmla="*/ 3 w 4"/>
                  <a:gd name="T17" fmla="*/ 4 h 6"/>
                  <a:gd name="T18" fmla="*/ 3 w 4"/>
                  <a:gd name="T19" fmla="*/ 3 h 6"/>
                  <a:gd name="T20" fmla="*/ 2 w 4"/>
                  <a:gd name="T21"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6">
                    <a:moveTo>
                      <a:pt x="2" y="1"/>
                    </a:moveTo>
                    <a:cubicBezTo>
                      <a:pt x="2" y="0"/>
                      <a:pt x="1" y="1"/>
                      <a:pt x="1" y="1"/>
                    </a:cubicBezTo>
                    <a:cubicBezTo>
                      <a:pt x="1" y="1"/>
                      <a:pt x="1" y="2"/>
                      <a:pt x="1" y="2"/>
                    </a:cubicBezTo>
                    <a:cubicBezTo>
                      <a:pt x="0" y="3"/>
                      <a:pt x="1" y="3"/>
                      <a:pt x="1" y="4"/>
                    </a:cubicBezTo>
                    <a:cubicBezTo>
                      <a:pt x="1" y="4"/>
                      <a:pt x="1" y="4"/>
                      <a:pt x="1" y="5"/>
                    </a:cubicBezTo>
                    <a:cubicBezTo>
                      <a:pt x="1" y="5"/>
                      <a:pt x="2" y="6"/>
                      <a:pt x="2" y="6"/>
                    </a:cubicBezTo>
                    <a:cubicBezTo>
                      <a:pt x="4" y="6"/>
                      <a:pt x="4" y="6"/>
                      <a:pt x="4" y="6"/>
                    </a:cubicBezTo>
                    <a:cubicBezTo>
                      <a:pt x="4" y="6"/>
                      <a:pt x="4" y="5"/>
                      <a:pt x="3" y="5"/>
                    </a:cubicBezTo>
                    <a:cubicBezTo>
                      <a:pt x="3" y="4"/>
                      <a:pt x="3" y="4"/>
                      <a:pt x="3" y="4"/>
                    </a:cubicBezTo>
                    <a:cubicBezTo>
                      <a:pt x="3" y="4"/>
                      <a:pt x="3" y="3"/>
                      <a:pt x="3" y="3"/>
                    </a:cubicBezTo>
                    <a:cubicBezTo>
                      <a:pt x="3" y="2"/>
                      <a:pt x="3" y="1"/>
                      <a:pt x="2" y="1"/>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335" name="Freeform 17"/>
              <p:cNvSpPr>
                <a:spLocks/>
              </p:cNvSpPr>
              <p:nvPr/>
            </p:nvSpPr>
            <p:spPr bwMode="auto">
              <a:xfrm>
                <a:off x="2969" y="2700"/>
                <a:ext cx="4" cy="8"/>
              </a:xfrm>
              <a:custGeom>
                <a:avLst/>
                <a:gdLst>
                  <a:gd name="T0" fmla="*/ 2 w 2"/>
                  <a:gd name="T1" fmla="*/ 0 h 4"/>
                  <a:gd name="T2" fmla="*/ 1 w 2"/>
                  <a:gd name="T3" fmla="*/ 1 h 4"/>
                  <a:gd name="T4" fmla="*/ 1 w 2"/>
                  <a:gd name="T5" fmla="*/ 2 h 4"/>
                  <a:gd name="T6" fmla="*/ 0 w 2"/>
                  <a:gd name="T7" fmla="*/ 3 h 4"/>
                  <a:gd name="T8" fmla="*/ 1 w 2"/>
                  <a:gd name="T9" fmla="*/ 4 h 4"/>
                  <a:gd name="T10" fmla="*/ 2 w 2"/>
                  <a:gd name="T11" fmla="*/ 3 h 4"/>
                  <a:gd name="T12" fmla="*/ 2 w 2"/>
                  <a:gd name="T13" fmla="*/ 1 h 4"/>
                  <a:gd name="T14" fmla="*/ 2 w 2"/>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2" y="0"/>
                    </a:moveTo>
                    <a:cubicBezTo>
                      <a:pt x="2" y="0"/>
                      <a:pt x="1" y="1"/>
                      <a:pt x="1" y="1"/>
                    </a:cubicBezTo>
                    <a:cubicBezTo>
                      <a:pt x="1" y="1"/>
                      <a:pt x="1" y="2"/>
                      <a:pt x="1" y="2"/>
                    </a:cubicBezTo>
                    <a:cubicBezTo>
                      <a:pt x="0" y="2"/>
                      <a:pt x="0" y="2"/>
                      <a:pt x="0" y="3"/>
                    </a:cubicBezTo>
                    <a:cubicBezTo>
                      <a:pt x="0" y="3"/>
                      <a:pt x="1" y="4"/>
                      <a:pt x="1" y="4"/>
                    </a:cubicBezTo>
                    <a:cubicBezTo>
                      <a:pt x="1" y="4"/>
                      <a:pt x="2" y="3"/>
                      <a:pt x="2" y="3"/>
                    </a:cubicBezTo>
                    <a:cubicBezTo>
                      <a:pt x="2" y="3"/>
                      <a:pt x="2" y="1"/>
                      <a:pt x="2" y="1"/>
                    </a:cubicBezTo>
                    <a:cubicBezTo>
                      <a:pt x="2" y="1"/>
                      <a:pt x="2" y="0"/>
                      <a:pt x="2" y="0"/>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336" name="Freeform 18"/>
              <p:cNvSpPr>
                <a:spLocks/>
              </p:cNvSpPr>
              <p:nvPr/>
            </p:nvSpPr>
            <p:spPr bwMode="auto">
              <a:xfrm>
                <a:off x="2973" y="2714"/>
                <a:ext cx="4" cy="4"/>
              </a:xfrm>
              <a:custGeom>
                <a:avLst/>
                <a:gdLst>
                  <a:gd name="T0" fmla="*/ 0 w 2"/>
                  <a:gd name="T1" fmla="*/ 0 h 2"/>
                  <a:gd name="T2" fmla="*/ 0 w 2"/>
                  <a:gd name="T3" fmla="*/ 1 h 2"/>
                  <a:gd name="T4" fmla="*/ 1 w 2"/>
                  <a:gd name="T5" fmla="*/ 2 h 2"/>
                  <a:gd name="T6" fmla="*/ 2 w 2"/>
                  <a:gd name="T7" fmla="*/ 1 h 2"/>
                  <a:gd name="T8" fmla="*/ 2 w 2"/>
                  <a:gd name="T9" fmla="*/ 0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cubicBezTo>
                      <a:pt x="0" y="1"/>
                      <a:pt x="0" y="1"/>
                      <a:pt x="0" y="1"/>
                    </a:cubicBezTo>
                    <a:cubicBezTo>
                      <a:pt x="0" y="1"/>
                      <a:pt x="1" y="2"/>
                      <a:pt x="1" y="2"/>
                    </a:cubicBezTo>
                    <a:cubicBezTo>
                      <a:pt x="1" y="2"/>
                      <a:pt x="2" y="1"/>
                      <a:pt x="2" y="1"/>
                    </a:cubicBezTo>
                    <a:cubicBezTo>
                      <a:pt x="2" y="1"/>
                      <a:pt x="2" y="0"/>
                      <a:pt x="2" y="0"/>
                    </a:cubicBezTo>
                    <a:cubicBezTo>
                      <a:pt x="1" y="0"/>
                      <a:pt x="0" y="0"/>
                      <a:pt x="0" y="0"/>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337" name="Freeform 19"/>
              <p:cNvSpPr>
                <a:spLocks/>
              </p:cNvSpPr>
              <p:nvPr/>
            </p:nvSpPr>
            <p:spPr bwMode="auto">
              <a:xfrm>
                <a:off x="2983" y="270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338" name="Freeform 20"/>
              <p:cNvSpPr>
                <a:spLocks/>
              </p:cNvSpPr>
              <p:nvPr/>
            </p:nvSpPr>
            <p:spPr bwMode="auto">
              <a:xfrm>
                <a:off x="3112" y="2811"/>
                <a:ext cx="54" cy="12"/>
              </a:xfrm>
              <a:custGeom>
                <a:avLst/>
                <a:gdLst>
                  <a:gd name="T0" fmla="*/ 9 w 27"/>
                  <a:gd name="T1" fmla="*/ 5 h 6"/>
                  <a:gd name="T2" fmla="*/ 11 w 27"/>
                  <a:gd name="T3" fmla="*/ 6 h 6"/>
                  <a:gd name="T4" fmla="*/ 11 w 27"/>
                  <a:gd name="T5" fmla="*/ 5 h 6"/>
                  <a:gd name="T6" fmla="*/ 11 w 27"/>
                  <a:gd name="T7" fmla="*/ 4 h 6"/>
                  <a:gd name="T8" fmla="*/ 14 w 27"/>
                  <a:gd name="T9" fmla="*/ 3 h 6"/>
                  <a:gd name="T10" fmla="*/ 16 w 27"/>
                  <a:gd name="T11" fmla="*/ 3 h 6"/>
                  <a:gd name="T12" fmla="*/ 18 w 27"/>
                  <a:gd name="T13" fmla="*/ 3 h 6"/>
                  <a:gd name="T14" fmla="*/ 20 w 27"/>
                  <a:gd name="T15" fmla="*/ 3 h 6"/>
                  <a:gd name="T16" fmla="*/ 21 w 27"/>
                  <a:gd name="T17" fmla="*/ 4 h 6"/>
                  <a:gd name="T18" fmla="*/ 23 w 27"/>
                  <a:gd name="T19" fmla="*/ 3 h 6"/>
                  <a:gd name="T20" fmla="*/ 24 w 27"/>
                  <a:gd name="T21" fmla="*/ 4 h 6"/>
                  <a:gd name="T22" fmla="*/ 25 w 27"/>
                  <a:gd name="T23" fmla="*/ 5 h 6"/>
                  <a:gd name="T24" fmla="*/ 27 w 27"/>
                  <a:gd name="T25" fmla="*/ 4 h 6"/>
                  <a:gd name="T26" fmla="*/ 27 w 27"/>
                  <a:gd name="T27" fmla="*/ 3 h 6"/>
                  <a:gd name="T28" fmla="*/ 27 w 27"/>
                  <a:gd name="T29" fmla="*/ 1 h 6"/>
                  <a:gd name="T30" fmla="*/ 25 w 27"/>
                  <a:gd name="T31" fmla="*/ 1 h 6"/>
                  <a:gd name="T32" fmla="*/ 24 w 27"/>
                  <a:gd name="T33" fmla="*/ 2 h 6"/>
                  <a:gd name="T34" fmla="*/ 23 w 27"/>
                  <a:gd name="T35" fmla="*/ 2 h 6"/>
                  <a:gd name="T36" fmla="*/ 22 w 27"/>
                  <a:gd name="T37" fmla="*/ 3 h 6"/>
                  <a:gd name="T38" fmla="*/ 21 w 27"/>
                  <a:gd name="T39" fmla="*/ 2 h 6"/>
                  <a:gd name="T40" fmla="*/ 19 w 27"/>
                  <a:gd name="T41" fmla="*/ 2 h 6"/>
                  <a:gd name="T42" fmla="*/ 18 w 27"/>
                  <a:gd name="T43" fmla="*/ 2 h 6"/>
                  <a:gd name="T44" fmla="*/ 13 w 27"/>
                  <a:gd name="T45" fmla="*/ 1 h 6"/>
                  <a:gd name="T46" fmla="*/ 11 w 27"/>
                  <a:gd name="T47" fmla="*/ 2 h 6"/>
                  <a:gd name="T48" fmla="*/ 10 w 27"/>
                  <a:gd name="T49" fmla="*/ 1 h 6"/>
                  <a:gd name="T50" fmla="*/ 9 w 27"/>
                  <a:gd name="T51" fmla="*/ 0 h 6"/>
                  <a:gd name="T52" fmla="*/ 7 w 27"/>
                  <a:gd name="T53" fmla="*/ 1 h 6"/>
                  <a:gd name="T54" fmla="*/ 6 w 27"/>
                  <a:gd name="T55" fmla="*/ 0 h 6"/>
                  <a:gd name="T56" fmla="*/ 5 w 27"/>
                  <a:gd name="T57" fmla="*/ 1 h 6"/>
                  <a:gd name="T58" fmla="*/ 4 w 27"/>
                  <a:gd name="T59" fmla="*/ 2 h 6"/>
                  <a:gd name="T60" fmla="*/ 3 w 27"/>
                  <a:gd name="T61" fmla="*/ 2 h 6"/>
                  <a:gd name="T62" fmla="*/ 2 w 27"/>
                  <a:gd name="T63" fmla="*/ 1 h 6"/>
                  <a:gd name="T64" fmla="*/ 1 w 27"/>
                  <a:gd name="T65" fmla="*/ 2 h 6"/>
                  <a:gd name="T66" fmla="*/ 0 w 27"/>
                  <a:gd name="T67" fmla="*/ 4 h 6"/>
                  <a:gd name="T68" fmla="*/ 2 w 27"/>
                  <a:gd name="T69" fmla="*/ 4 h 6"/>
                  <a:gd name="T70" fmla="*/ 3 w 27"/>
                  <a:gd name="T71" fmla="*/ 3 h 6"/>
                  <a:gd name="T72" fmla="*/ 6 w 27"/>
                  <a:gd name="T73" fmla="*/ 4 h 6"/>
                  <a:gd name="T74" fmla="*/ 8 w 27"/>
                  <a:gd name="T75" fmla="*/ 4 h 6"/>
                  <a:gd name="T76" fmla="*/ 9 w 27"/>
                  <a:gd name="T7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7" h="6">
                    <a:moveTo>
                      <a:pt x="9" y="5"/>
                    </a:moveTo>
                    <a:cubicBezTo>
                      <a:pt x="10" y="6"/>
                      <a:pt x="10" y="6"/>
                      <a:pt x="11" y="6"/>
                    </a:cubicBezTo>
                    <a:cubicBezTo>
                      <a:pt x="12" y="6"/>
                      <a:pt x="11" y="5"/>
                      <a:pt x="11" y="5"/>
                    </a:cubicBezTo>
                    <a:cubicBezTo>
                      <a:pt x="11" y="5"/>
                      <a:pt x="11" y="4"/>
                      <a:pt x="11" y="4"/>
                    </a:cubicBezTo>
                    <a:cubicBezTo>
                      <a:pt x="11" y="4"/>
                      <a:pt x="13" y="4"/>
                      <a:pt x="14" y="3"/>
                    </a:cubicBezTo>
                    <a:cubicBezTo>
                      <a:pt x="14" y="3"/>
                      <a:pt x="15" y="3"/>
                      <a:pt x="16" y="3"/>
                    </a:cubicBezTo>
                    <a:cubicBezTo>
                      <a:pt x="17" y="3"/>
                      <a:pt x="17" y="3"/>
                      <a:pt x="18" y="3"/>
                    </a:cubicBezTo>
                    <a:cubicBezTo>
                      <a:pt x="18" y="3"/>
                      <a:pt x="20" y="3"/>
                      <a:pt x="20" y="3"/>
                    </a:cubicBezTo>
                    <a:cubicBezTo>
                      <a:pt x="20" y="3"/>
                      <a:pt x="20" y="4"/>
                      <a:pt x="21" y="4"/>
                    </a:cubicBezTo>
                    <a:cubicBezTo>
                      <a:pt x="21" y="4"/>
                      <a:pt x="23" y="3"/>
                      <a:pt x="23" y="3"/>
                    </a:cubicBezTo>
                    <a:cubicBezTo>
                      <a:pt x="23" y="3"/>
                      <a:pt x="24" y="4"/>
                      <a:pt x="24" y="4"/>
                    </a:cubicBezTo>
                    <a:cubicBezTo>
                      <a:pt x="24" y="4"/>
                      <a:pt x="25" y="5"/>
                      <a:pt x="25" y="5"/>
                    </a:cubicBezTo>
                    <a:cubicBezTo>
                      <a:pt x="25" y="5"/>
                      <a:pt x="27" y="4"/>
                      <a:pt x="27" y="4"/>
                    </a:cubicBezTo>
                    <a:cubicBezTo>
                      <a:pt x="27" y="3"/>
                      <a:pt x="27" y="3"/>
                      <a:pt x="27" y="3"/>
                    </a:cubicBezTo>
                    <a:cubicBezTo>
                      <a:pt x="27" y="1"/>
                      <a:pt x="27" y="1"/>
                      <a:pt x="27" y="1"/>
                    </a:cubicBezTo>
                    <a:cubicBezTo>
                      <a:pt x="25" y="1"/>
                      <a:pt x="25" y="1"/>
                      <a:pt x="25" y="1"/>
                    </a:cubicBezTo>
                    <a:cubicBezTo>
                      <a:pt x="25" y="1"/>
                      <a:pt x="25" y="1"/>
                      <a:pt x="24" y="2"/>
                    </a:cubicBezTo>
                    <a:cubicBezTo>
                      <a:pt x="23" y="3"/>
                      <a:pt x="23" y="2"/>
                      <a:pt x="23" y="2"/>
                    </a:cubicBezTo>
                    <a:cubicBezTo>
                      <a:pt x="23" y="2"/>
                      <a:pt x="23" y="3"/>
                      <a:pt x="22" y="3"/>
                    </a:cubicBezTo>
                    <a:cubicBezTo>
                      <a:pt x="21" y="3"/>
                      <a:pt x="22" y="3"/>
                      <a:pt x="21" y="2"/>
                    </a:cubicBezTo>
                    <a:cubicBezTo>
                      <a:pt x="21" y="2"/>
                      <a:pt x="20" y="2"/>
                      <a:pt x="19" y="2"/>
                    </a:cubicBezTo>
                    <a:cubicBezTo>
                      <a:pt x="18" y="2"/>
                      <a:pt x="18" y="2"/>
                      <a:pt x="18" y="2"/>
                    </a:cubicBezTo>
                    <a:cubicBezTo>
                      <a:pt x="17" y="2"/>
                      <a:pt x="15" y="1"/>
                      <a:pt x="13" y="1"/>
                    </a:cubicBezTo>
                    <a:cubicBezTo>
                      <a:pt x="12" y="1"/>
                      <a:pt x="12" y="2"/>
                      <a:pt x="11" y="2"/>
                    </a:cubicBezTo>
                    <a:cubicBezTo>
                      <a:pt x="11" y="2"/>
                      <a:pt x="10" y="1"/>
                      <a:pt x="10" y="1"/>
                    </a:cubicBezTo>
                    <a:cubicBezTo>
                      <a:pt x="10" y="1"/>
                      <a:pt x="9" y="1"/>
                      <a:pt x="9" y="0"/>
                    </a:cubicBezTo>
                    <a:cubicBezTo>
                      <a:pt x="8" y="0"/>
                      <a:pt x="7" y="1"/>
                      <a:pt x="7" y="1"/>
                    </a:cubicBezTo>
                    <a:cubicBezTo>
                      <a:pt x="7" y="1"/>
                      <a:pt x="6" y="0"/>
                      <a:pt x="6" y="0"/>
                    </a:cubicBezTo>
                    <a:cubicBezTo>
                      <a:pt x="6" y="0"/>
                      <a:pt x="5" y="0"/>
                      <a:pt x="5" y="1"/>
                    </a:cubicBezTo>
                    <a:cubicBezTo>
                      <a:pt x="5" y="1"/>
                      <a:pt x="4" y="2"/>
                      <a:pt x="4" y="2"/>
                    </a:cubicBezTo>
                    <a:cubicBezTo>
                      <a:pt x="4" y="2"/>
                      <a:pt x="3" y="2"/>
                      <a:pt x="3" y="2"/>
                    </a:cubicBezTo>
                    <a:cubicBezTo>
                      <a:pt x="3" y="2"/>
                      <a:pt x="2" y="1"/>
                      <a:pt x="2" y="1"/>
                    </a:cubicBezTo>
                    <a:cubicBezTo>
                      <a:pt x="1" y="1"/>
                      <a:pt x="1" y="2"/>
                      <a:pt x="1" y="2"/>
                    </a:cubicBezTo>
                    <a:cubicBezTo>
                      <a:pt x="0" y="2"/>
                      <a:pt x="0" y="4"/>
                      <a:pt x="0" y="4"/>
                    </a:cubicBezTo>
                    <a:cubicBezTo>
                      <a:pt x="0" y="4"/>
                      <a:pt x="2" y="4"/>
                      <a:pt x="2" y="4"/>
                    </a:cubicBezTo>
                    <a:cubicBezTo>
                      <a:pt x="2" y="4"/>
                      <a:pt x="3" y="3"/>
                      <a:pt x="3" y="3"/>
                    </a:cubicBezTo>
                    <a:cubicBezTo>
                      <a:pt x="4" y="3"/>
                      <a:pt x="6" y="4"/>
                      <a:pt x="6" y="4"/>
                    </a:cubicBezTo>
                    <a:cubicBezTo>
                      <a:pt x="6" y="4"/>
                      <a:pt x="7" y="4"/>
                      <a:pt x="8" y="4"/>
                    </a:cubicBezTo>
                    <a:cubicBezTo>
                      <a:pt x="10" y="4"/>
                      <a:pt x="9" y="4"/>
                      <a:pt x="9" y="5"/>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339" name="Freeform 21"/>
              <p:cNvSpPr>
                <a:spLocks/>
              </p:cNvSpPr>
              <p:nvPr/>
            </p:nvSpPr>
            <p:spPr bwMode="auto">
              <a:xfrm>
                <a:off x="2999" y="2722"/>
                <a:ext cx="4" cy="6"/>
              </a:xfrm>
              <a:custGeom>
                <a:avLst/>
                <a:gdLst>
                  <a:gd name="T0" fmla="*/ 1 w 2"/>
                  <a:gd name="T1" fmla="*/ 0 h 3"/>
                  <a:gd name="T2" fmla="*/ 0 w 2"/>
                  <a:gd name="T3" fmla="*/ 0 h 3"/>
                  <a:gd name="T4" fmla="*/ 0 w 2"/>
                  <a:gd name="T5" fmla="*/ 0 h 3"/>
                  <a:gd name="T6" fmla="*/ 0 w 2"/>
                  <a:gd name="T7" fmla="*/ 1 h 3"/>
                  <a:gd name="T8" fmla="*/ 0 w 2"/>
                  <a:gd name="T9" fmla="*/ 2 h 3"/>
                  <a:gd name="T10" fmla="*/ 1 w 2"/>
                  <a:gd name="T11" fmla="*/ 3 h 3"/>
                  <a:gd name="T12" fmla="*/ 1 w 2"/>
                  <a:gd name="T13" fmla="*/ 2 h 3"/>
                  <a:gd name="T14" fmla="*/ 1 w 2"/>
                  <a:gd name="T15" fmla="*/ 1 h 3"/>
                  <a:gd name="T16" fmla="*/ 1 w 2"/>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3">
                    <a:moveTo>
                      <a:pt x="1" y="0"/>
                    </a:moveTo>
                    <a:cubicBezTo>
                      <a:pt x="1" y="0"/>
                      <a:pt x="0" y="0"/>
                      <a:pt x="0" y="0"/>
                    </a:cubicBezTo>
                    <a:cubicBezTo>
                      <a:pt x="0" y="0"/>
                      <a:pt x="0" y="0"/>
                      <a:pt x="0" y="0"/>
                    </a:cubicBezTo>
                    <a:cubicBezTo>
                      <a:pt x="0" y="1"/>
                      <a:pt x="0" y="1"/>
                      <a:pt x="0" y="1"/>
                    </a:cubicBezTo>
                    <a:cubicBezTo>
                      <a:pt x="0" y="2"/>
                      <a:pt x="0" y="2"/>
                      <a:pt x="0" y="2"/>
                    </a:cubicBezTo>
                    <a:cubicBezTo>
                      <a:pt x="0" y="2"/>
                      <a:pt x="0" y="2"/>
                      <a:pt x="1" y="3"/>
                    </a:cubicBezTo>
                    <a:cubicBezTo>
                      <a:pt x="2" y="3"/>
                      <a:pt x="1" y="3"/>
                      <a:pt x="1" y="2"/>
                    </a:cubicBezTo>
                    <a:cubicBezTo>
                      <a:pt x="1" y="2"/>
                      <a:pt x="1" y="2"/>
                      <a:pt x="1" y="1"/>
                    </a:cubicBezTo>
                    <a:cubicBezTo>
                      <a:pt x="1" y="1"/>
                      <a:pt x="1" y="1"/>
                      <a:pt x="1" y="0"/>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340" name="Freeform 22"/>
              <p:cNvSpPr>
                <a:spLocks/>
              </p:cNvSpPr>
              <p:nvPr/>
            </p:nvSpPr>
            <p:spPr bwMode="auto">
              <a:xfrm>
                <a:off x="3005" y="2720"/>
                <a:ext cx="2" cy="8"/>
              </a:xfrm>
              <a:custGeom>
                <a:avLst/>
                <a:gdLst>
                  <a:gd name="T0" fmla="*/ 1 w 1"/>
                  <a:gd name="T1" fmla="*/ 1 h 4"/>
                  <a:gd name="T2" fmla="*/ 0 w 1"/>
                  <a:gd name="T3" fmla="*/ 0 h 4"/>
                  <a:gd name="T4" fmla="*/ 0 w 1"/>
                  <a:gd name="T5" fmla="*/ 1 h 4"/>
                  <a:gd name="T6" fmla="*/ 0 w 1"/>
                  <a:gd name="T7" fmla="*/ 2 h 4"/>
                  <a:gd name="T8" fmla="*/ 0 w 1"/>
                  <a:gd name="T9" fmla="*/ 3 h 4"/>
                  <a:gd name="T10" fmla="*/ 1 w 1"/>
                  <a:gd name="T11" fmla="*/ 4 h 4"/>
                  <a:gd name="T12" fmla="*/ 1 w 1"/>
                  <a:gd name="T13" fmla="*/ 3 h 4"/>
                  <a:gd name="T14" fmla="*/ 1 w 1"/>
                  <a:gd name="T15" fmla="*/ 2 h 4"/>
                  <a:gd name="T16" fmla="*/ 1 w 1"/>
                  <a:gd name="T17"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4">
                    <a:moveTo>
                      <a:pt x="1" y="1"/>
                    </a:moveTo>
                    <a:cubicBezTo>
                      <a:pt x="1" y="0"/>
                      <a:pt x="0" y="0"/>
                      <a:pt x="0" y="0"/>
                    </a:cubicBezTo>
                    <a:cubicBezTo>
                      <a:pt x="0" y="0"/>
                      <a:pt x="0" y="1"/>
                      <a:pt x="0" y="1"/>
                    </a:cubicBezTo>
                    <a:cubicBezTo>
                      <a:pt x="0" y="1"/>
                      <a:pt x="0" y="2"/>
                      <a:pt x="0" y="2"/>
                    </a:cubicBezTo>
                    <a:cubicBezTo>
                      <a:pt x="0" y="2"/>
                      <a:pt x="0" y="3"/>
                      <a:pt x="0" y="3"/>
                    </a:cubicBezTo>
                    <a:cubicBezTo>
                      <a:pt x="0" y="3"/>
                      <a:pt x="0" y="4"/>
                      <a:pt x="1" y="4"/>
                    </a:cubicBezTo>
                    <a:cubicBezTo>
                      <a:pt x="1" y="4"/>
                      <a:pt x="1" y="3"/>
                      <a:pt x="1" y="3"/>
                    </a:cubicBezTo>
                    <a:cubicBezTo>
                      <a:pt x="1" y="2"/>
                      <a:pt x="1" y="2"/>
                      <a:pt x="1" y="2"/>
                    </a:cubicBezTo>
                    <a:cubicBezTo>
                      <a:pt x="1" y="1"/>
                      <a:pt x="1" y="1"/>
                      <a:pt x="1" y="1"/>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341" name="Freeform 23"/>
              <p:cNvSpPr>
                <a:spLocks/>
              </p:cNvSpPr>
              <p:nvPr/>
            </p:nvSpPr>
            <p:spPr bwMode="auto">
              <a:xfrm>
                <a:off x="2999" y="2676"/>
                <a:ext cx="6" cy="6"/>
              </a:xfrm>
              <a:custGeom>
                <a:avLst/>
                <a:gdLst>
                  <a:gd name="T0" fmla="*/ 1 w 3"/>
                  <a:gd name="T1" fmla="*/ 2 h 3"/>
                  <a:gd name="T2" fmla="*/ 2 w 3"/>
                  <a:gd name="T3" fmla="*/ 3 h 3"/>
                  <a:gd name="T4" fmla="*/ 3 w 3"/>
                  <a:gd name="T5" fmla="*/ 2 h 3"/>
                  <a:gd name="T6" fmla="*/ 3 w 3"/>
                  <a:gd name="T7" fmla="*/ 1 h 3"/>
                  <a:gd name="T8" fmla="*/ 2 w 3"/>
                  <a:gd name="T9" fmla="*/ 1 h 3"/>
                  <a:gd name="T10" fmla="*/ 1 w 3"/>
                  <a:gd name="T11" fmla="*/ 1 h 3"/>
                  <a:gd name="T12" fmla="*/ 1 w 3"/>
                  <a:gd name="T13" fmla="*/ 0 h 3"/>
                  <a:gd name="T14" fmla="*/ 0 w 3"/>
                  <a:gd name="T15" fmla="*/ 0 h 3"/>
                  <a:gd name="T16" fmla="*/ 0 w 3"/>
                  <a:gd name="T17" fmla="*/ 1 h 3"/>
                  <a:gd name="T18" fmla="*/ 1 w 3"/>
                  <a:gd name="T19"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1" y="2"/>
                    </a:moveTo>
                    <a:cubicBezTo>
                      <a:pt x="1" y="2"/>
                      <a:pt x="2" y="3"/>
                      <a:pt x="2" y="3"/>
                    </a:cubicBezTo>
                    <a:cubicBezTo>
                      <a:pt x="3" y="3"/>
                      <a:pt x="3" y="2"/>
                      <a:pt x="3" y="2"/>
                    </a:cubicBezTo>
                    <a:cubicBezTo>
                      <a:pt x="3" y="2"/>
                      <a:pt x="3" y="2"/>
                      <a:pt x="3" y="1"/>
                    </a:cubicBezTo>
                    <a:cubicBezTo>
                      <a:pt x="2" y="1"/>
                      <a:pt x="2" y="1"/>
                      <a:pt x="2" y="1"/>
                    </a:cubicBezTo>
                    <a:cubicBezTo>
                      <a:pt x="1" y="1"/>
                      <a:pt x="1" y="1"/>
                      <a:pt x="1" y="1"/>
                    </a:cubicBezTo>
                    <a:cubicBezTo>
                      <a:pt x="1" y="0"/>
                      <a:pt x="1" y="0"/>
                      <a:pt x="1" y="0"/>
                    </a:cubicBezTo>
                    <a:cubicBezTo>
                      <a:pt x="0" y="0"/>
                      <a:pt x="0" y="0"/>
                      <a:pt x="0" y="0"/>
                    </a:cubicBezTo>
                    <a:cubicBezTo>
                      <a:pt x="0" y="0"/>
                      <a:pt x="0" y="1"/>
                      <a:pt x="0" y="1"/>
                    </a:cubicBezTo>
                    <a:cubicBezTo>
                      <a:pt x="0" y="1"/>
                      <a:pt x="1" y="2"/>
                      <a:pt x="1" y="2"/>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342" name="Freeform 24"/>
              <p:cNvSpPr>
                <a:spLocks/>
              </p:cNvSpPr>
              <p:nvPr/>
            </p:nvSpPr>
            <p:spPr bwMode="auto">
              <a:xfrm>
                <a:off x="3009" y="2714"/>
                <a:ext cx="8" cy="8"/>
              </a:xfrm>
              <a:custGeom>
                <a:avLst/>
                <a:gdLst>
                  <a:gd name="T0" fmla="*/ 2 w 4"/>
                  <a:gd name="T1" fmla="*/ 4 h 4"/>
                  <a:gd name="T2" fmla="*/ 3 w 4"/>
                  <a:gd name="T3" fmla="*/ 4 h 4"/>
                  <a:gd name="T4" fmla="*/ 3 w 4"/>
                  <a:gd name="T5" fmla="*/ 2 h 4"/>
                  <a:gd name="T6" fmla="*/ 1 w 4"/>
                  <a:gd name="T7" fmla="*/ 2 h 4"/>
                  <a:gd name="T8" fmla="*/ 1 w 4"/>
                  <a:gd name="T9" fmla="*/ 1 h 4"/>
                  <a:gd name="T10" fmla="*/ 0 w 4"/>
                  <a:gd name="T11" fmla="*/ 1 h 4"/>
                  <a:gd name="T12" fmla="*/ 1 w 4"/>
                  <a:gd name="T13" fmla="*/ 2 h 4"/>
                  <a:gd name="T14" fmla="*/ 2 w 4"/>
                  <a:gd name="T15" fmla="*/ 3 h 4"/>
                  <a:gd name="T16" fmla="*/ 2 w 4"/>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
                    <a:moveTo>
                      <a:pt x="2" y="4"/>
                    </a:moveTo>
                    <a:cubicBezTo>
                      <a:pt x="3" y="4"/>
                      <a:pt x="3" y="4"/>
                      <a:pt x="3" y="4"/>
                    </a:cubicBezTo>
                    <a:cubicBezTo>
                      <a:pt x="4" y="4"/>
                      <a:pt x="3" y="3"/>
                      <a:pt x="3" y="2"/>
                    </a:cubicBezTo>
                    <a:cubicBezTo>
                      <a:pt x="3" y="2"/>
                      <a:pt x="2" y="2"/>
                      <a:pt x="1" y="2"/>
                    </a:cubicBezTo>
                    <a:cubicBezTo>
                      <a:pt x="1" y="1"/>
                      <a:pt x="1" y="1"/>
                      <a:pt x="1" y="1"/>
                    </a:cubicBezTo>
                    <a:cubicBezTo>
                      <a:pt x="0" y="0"/>
                      <a:pt x="0" y="1"/>
                      <a:pt x="0" y="1"/>
                    </a:cubicBezTo>
                    <a:cubicBezTo>
                      <a:pt x="0" y="1"/>
                      <a:pt x="1" y="2"/>
                      <a:pt x="1" y="2"/>
                    </a:cubicBezTo>
                    <a:cubicBezTo>
                      <a:pt x="1" y="3"/>
                      <a:pt x="2" y="3"/>
                      <a:pt x="2" y="3"/>
                    </a:cubicBezTo>
                    <a:cubicBezTo>
                      <a:pt x="2" y="3"/>
                      <a:pt x="2" y="3"/>
                      <a:pt x="2" y="4"/>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343" name="Freeform 25"/>
              <p:cNvSpPr>
                <a:spLocks/>
              </p:cNvSpPr>
              <p:nvPr/>
            </p:nvSpPr>
            <p:spPr bwMode="auto">
              <a:xfrm>
                <a:off x="3202" y="2833"/>
                <a:ext cx="50" cy="34"/>
              </a:xfrm>
              <a:custGeom>
                <a:avLst/>
                <a:gdLst>
                  <a:gd name="T0" fmla="*/ 23 w 25"/>
                  <a:gd name="T1" fmla="*/ 12 h 17"/>
                  <a:gd name="T2" fmla="*/ 19 w 25"/>
                  <a:gd name="T3" fmla="*/ 10 h 17"/>
                  <a:gd name="T4" fmla="*/ 13 w 25"/>
                  <a:gd name="T5" fmla="*/ 8 h 17"/>
                  <a:gd name="T6" fmla="*/ 10 w 25"/>
                  <a:gd name="T7" fmla="*/ 6 h 17"/>
                  <a:gd name="T8" fmla="*/ 8 w 25"/>
                  <a:gd name="T9" fmla="*/ 4 h 17"/>
                  <a:gd name="T10" fmla="*/ 7 w 25"/>
                  <a:gd name="T11" fmla="*/ 3 h 17"/>
                  <a:gd name="T12" fmla="*/ 5 w 25"/>
                  <a:gd name="T13" fmla="*/ 1 h 17"/>
                  <a:gd name="T14" fmla="*/ 3 w 25"/>
                  <a:gd name="T15" fmla="*/ 0 h 17"/>
                  <a:gd name="T16" fmla="*/ 3 w 25"/>
                  <a:gd name="T17" fmla="*/ 0 h 17"/>
                  <a:gd name="T18" fmla="*/ 1 w 25"/>
                  <a:gd name="T19" fmla="*/ 0 h 17"/>
                  <a:gd name="T20" fmla="*/ 0 w 25"/>
                  <a:gd name="T21" fmla="*/ 1 h 17"/>
                  <a:gd name="T22" fmla="*/ 0 w 25"/>
                  <a:gd name="T23" fmla="*/ 2 h 17"/>
                  <a:gd name="T24" fmla="*/ 2 w 25"/>
                  <a:gd name="T25" fmla="*/ 1 h 17"/>
                  <a:gd name="T26" fmla="*/ 3 w 25"/>
                  <a:gd name="T27" fmla="*/ 2 h 17"/>
                  <a:gd name="T28" fmla="*/ 4 w 25"/>
                  <a:gd name="T29" fmla="*/ 2 h 17"/>
                  <a:gd name="T30" fmla="*/ 5 w 25"/>
                  <a:gd name="T31" fmla="*/ 4 h 17"/>
                  <a:gd name="T32" fmla="*/ 9 w 25"/>
                  <a:gd name="T33" fmla="*/ 5 h 17"/>
                  <a:gd name="T34" fmla="*/ 10 w 25"/>
                  <a:gd name="T35" fmla="*/ 7 h 17"/>
                  <a:gd name="T36" fmla="*/ 14 w 25"/>
                  <a:gd name="T37" fmla="*/ 9 h 17"/>
                  <a:gd name="T38" fmla="*/ 16 w 25"/>
                  <a:gd name="T39" fmla="*/ 11 h 17"/>
                  <a:gd name="T40" fmla="*/ 18 w 25"/>
                  <a:gd name="T41" fmla="*/ 12 h 17"/>
                  <a:gd name="T42" fmla="*/ 21 w 25"/>
                  <a:gd name="T43" fmla="*/ 14 h 17"/>
                  <a:gd name="T44" fmla="*/ 23 w 25"/>
                  <a:gd name="T45" fmla="*/ 16 h 17"/>
                  <a:gd name="T46" fmla="*/ 25 w 25"/>
                  <a:gd name="T47" fmla="*/ 16 h 17"/>
                  <a:gd name="T48" fmla="*/ 23 w 25"/>
                  <a:gd name="T49" fmla="*/ 13 h 17"/>
                  <a:gd name="T50" fmla="*/ 23 w 25"/>
                  <a:gd name="T51"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5" h="17">
                    <a:moveTo>
                      <a:pt x="23" y="12"/>
                    </a:moveTo>
                    <a:cubicBezTo>
                      <a:pt x="21" y="12"/>
                      <a:pt x="19" y="10"/>
                      <a:pt x="19" y="10"/>
                    </a:cubicBezTo>
                    <a:cubicBezTo>
                      <a:pt x="13" y="8"/>
                      <a:pt x="13" y="8"/>
                      <a:pt x="13" y="8"/>
                    </a:cubicBezTo>
                    <a:cubicBezTo>
                      <a:pt x="10" y="6"/>
                      <a:pt x="10" y="6"/>
                      <a:pt x="10" y="6"/>
                    </a:cubicBezTo>
                    <a:cubicBezTo>
                      <a:pt x="8" y="4"/>
                      <a:pt x="8" y="4"/>
                      <a:pt x="8" y="4"/>
                    </a:cubicBezTo>
                    <a:cubicBezTo>
                      <a:pt x="7" y="3"/>
                      <a:pt x="7" y="3"/>
                      <a:pt x="7" y="3"/>
                    </a:cubicBezTo>
                    <a:cubicBezTo>
                      <a:pt x="5" y="1"/>
                      <a:pt x="5" y="1"/>
                      <a:pt x="5" y="1"/>
                    </a:cubicBezTo>
                    <a:cubicBezTo>
                      <a:pt x="3" y="0"/>
                      <a:pt x="3" y="0"/>
                      <a:pt x="3" y="0"/>
                    </a:cubicBezTo>
                    <a:cubicBezTo>
                      <a:pt x="3" y="0"/>
                      <a:pt x="3" y="0"/>
                      <a:pt x="3" y="0"/>
                    </a:cubicBezTo>
                    <a:cubicBezTo>
                      <a:pt x="1" y="0"/>
                      <a:pt x="1" y="0"/>
                      <a:pt x="1" y="0"/>
                    </a:cubicBezTo>
                    <a:cubicBezTo>
                      <a:pt x="1" y="0"/>
                      <a:pt x="0" y="1"/>
                      <a:pt x="0" y="1"/>
                    </a:cubicBezTo>
                    <a:cubicBezTo>
                      <a:pt x="0" y="2"/>
                      <a:pt x="0" y="2"/>
                      <a:pt x="0" y="2"/>
                    </a:cubicBezTo>
                    <a:cubicBezTo>
                      <a:pt x="1" y="2"/>
                      <a:pt x="2" y="1"/>
                      <a:pt x="2" y="1"/>
                    </a:cubicBezTo>
                    <a:cubicBezTo>
                      <a:pt x="2" y="1"/>
                      <a:pt x="2" y="1"/>
                      <a:pt x="3" y="2"/>
                    </a:cubicBezTo>
                    <a:cubicBezTo>
                      <a:pt x="4" y="2"/>
                      <a:pt x="3" y="1"/>
                      <a:pt x="4" y="2"/>
                    </a:cubicBezTo>
                    <a:cubicBezTo>
                      <a:pt x="4" y="3"/>
                      <a:pt x="2" y="3"/>
                      <a:pt x="5" y="4"/>
                    </a:cubicBezTo>
                    <a:cubicBezTo>
                      <a:pt x="8" y="5"/>
                      <a:pt x="7" y="5"/>
                      <a:pt x="9" y="5"/>
                    </a:cubicBezTo>
                    <a:cubicBezTo>
                      <a:pt x="10" y="6"/>
                      <a:pt x="10" y="5"/>
                      <a:pt x="10" y="7"/>
                    </a:cubicBezTo>
                    <a:cubicBezTo>
                      <a:pt x="11" y="9"/>
                      <a:pt x="11" y="8"/>
                      <a:pt x="14" y="9"/>
                    </a:cubicBezTo>
                    <a:cubicBezTo>
                      <a:pt x="16" y="9"/>
                      <a:pt x="16" y="10"/>
                      <a:pt x="16" y="11"/>
                    </a:cubicBezTo>
                    <a:cubicBezTo>
                      <a:pt x="17" y="11"/>
                      <a:pt x="17" y="12"/>
                      <a:pt x="18" y="12"/>
                    </a:cubicBezTo>
                    <a:cubicBezTo>
                      <a:pt x="18" y="13"/>
                      <a:pt x="20" y="13"/>
                      <a:pt x="21" y="14"/>
                    </a:cubicBezTo>
                    <a:cubicBezTo>
                      <a:pt x="22" y="14"/>
                      <a:pt x="23" y="16"/>
                      <a:pt x="23" y="16"/>
                    </a:cubicBezTo>
                    <a:cubicBezTo>
                      <a:pt x="23" y="16"/>
                      <a:pt x="25" y="17"/>
                      <a:pt x="25" y="16"/>
                    </a:cubicBezTo>
                    <a:cubicBezTo>
                      <a:pt x="25" y="16"/>
                      <a:pt x="23" y="14"/>
                      <a:pt x="23" y="13"/>
                    </a:cubicBezTo>
                    <a:cubicBezTo>
                      <a:pt x="23" y="13"/>
                      <a:pt x="23" y="13"/>
                      <a:pt x="23" y="12"/>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573" name="Freeform 26"/>
              <p:cNvSpPr>
                <a:spLocks/>
              </p:cNvSpPr>
              <p:nvPr/>
            </p:nvSpPr>
            <p:spPr bwMode="auto">
              <a:xfrm>
                <a:off x="3176" y="2841"/>
                <a:ext cx="28" cy="8"/>
              </a:xfrm>
              <a:custGeom>
                <a:avLst/>
                <a:gdLst>
                  <a:gd name="T0" fmla="*/ 12 w 14"/>
                  <a:gd name="T1" fmla="*/ 2 h 4"/>
                  <a:gd name="T2" fmla="*/ 10 w 14"/>
                  <a:gd name="T3" fmla="*/ 1 h 4"/>
                  <a:gd name="T4" fmla="*/ 9 w 14"/>
                  <a:gd name="T5" fmla="*/ 1 h 4"/>
                  <a:gd name="T6" fmla="*/ 6 w 14"/>
                  <a:gd name="T7" fmla="*/ 1 h 4"/>
                  <a:gd name="T8" fmla="*/ 1 w 14"/>
                  <a:gd name="T9" fmla="*/ 0 h 4"/>
                  <a:gd name="T10" fmla="*/ 0 w 14"/>
                  <a:gd name="T11" fmla="*/ 0 h 4"/>
                  <a:gd name="T12" fmla="*/ 0 w 14"/>
                  <a:gd name="T13" fmla="*/ 1 h 4"/>
                  <a:gd name="T14" fmla="*/ 1 w 14"/>
                  <a:gd name="T15" fmla="*/ 2 h 4"/>
                  <a:gd name="T16" fmla="*/ 4 w 14"/>
                  <a:gd name="T17" fmla="*/ 2 h 4"/>
                  <a:gd name="T18" fmla="*/ 6 w 14"/>
                  <a:gd name="T19" fmla="*/ 3 h 4"/>
                  <a:gd name="T20" fmla="*/ 8 w 14"/>
                  <a:gd name="T21" fmla="*/ 3 h 4"/>
                  <a:gd name="T22" fmla="*/ 9 w 14"/>
                  <a:gd name="T23" fmla="*/ 3 h 4"/>
                  <a:gd name="T24" fmla="*/ 11 w 14"/>
                  <a:gd name="T25" fmla="*/ 3 h 4"/>
                  <a:gd name="T26" fmla="*/ 12 w 14"/>
                  <a:gd name="T27" fmla="*/ 4 h 4"/>
                  <a:gd name="T28" fmla="*/ 13 w 14"/>
                  <a:gd name="T29" fmla="*/ 3 h 4"/>
                  <a:gd name="T30" fmla="*/ 13 w 14"/>
                  <a:gd name="T31" fmla="*/ 2 h 4"/>
                  <a:gd name="T32" fmla="*/ 12 w 14"/>
                  <a:gd name="T33"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4">
                    <a:moveTo>
                      <a:pt x="12" y="2"/>
                    </a:moveTo>
                    <a:cubicBezTo>
                      <a:pt x="12" y="1"/>
                      <a:pt x="11" y="1"/>
                      <a:pt x="10" y="1"/>
                    </a:cubicBezTo>
                    <a:cubicBezTo>
                      <a:pt x="10" y="1"/>
                      <a:pt x="9" y="1"/>
                      <a:pt x="9" y="1"/>
                    </a:cubicBezTo>
                    <a:cubicBezTo>
                      <a:pt x="6" y="1"/>
                      <a:pt x="6" y="1"/>
                      <a:pt x="6" y="1"/>
                    </a:cubicBezTo>
                    <a:cubicBezTo>
                      <a:pt x="6" y="1"/>
                      <a:pt x="2" y="0"/>
                      <a:pt x="1" y="0"/>
                    </a:cubicBezTo>
                    <a:cubicBezTo>
                      <a:pt x="1" y="0"/>
                      <a:pt x="0" y="0"/>
                      <a:pt x="0" y="0"/>
                    </a:cubicBezTo>
                    <a:cubicBezTo>
                      <a:pt x="0" y="0"/>
                      <a:pt x="0" y="1"/>
                      <a:pt x="0" y="1"/>
                    </a:cubicBezTo>
                    <a:cubicBezTo>
                      <a:pt x="0" y="1"/>
                      <a:pt x="1" y="2"/>
                      <a:pt x="1" y="2"/>
                    </a:cubicBezTo>
                    <a:cubicBezTo>
                      <a:pt x="1" y="2"/>
                      <a:pt x="4" y="2"/>
                      <a:pt x="4" y="2"/>
                    </a:cubicBezTo>
                    <a:cubicBezTo>
                      <a:pt x="5" y="2"/>
                      <a:pt x="6" y="2"/>
                      <a:pt x="6" y="3"/>
                    </a:cubicBezTo>
                    <a:cubicBezTo>
                      <a:pt x="6" y="3"/>
                      <a:pt x="8" y="3"/>
                      <a:pt x="8" y="3"/>
                    </a:cubicBezTo>
                    <a:cubicBezTo>
                      <a:pt x="9" y="3"/>
                      <a:pt x="9" y="3"/>
                      <a:pt x="9" y="3"/>
                    </a:cubicBezTo>
                    <a:cubicBezTo>
                      <a:pt x="11" y="3"/>
                      <a:pt x="11" y="3"/>
                      <a:pt x="11" y="3"/>
                    </a:cubicBezTo>
                    <a:cubicBezTo>
                      <a:pt x="11" y="3"/>
                      <a:pt x="12" y="3"/>
                      <a:pt x="12" y="4"/>
                    </a:cubicBezTo>
                    <a:cubicBezTo>
                      <a:pt x="12" y="4"/>
                      <a:pt x="13" y="4"/>
                      <a:pt x="13" y="3"/>
                    </a:cubicBezTo>
                    <a:cubicBezTo>
                      <a:pt x="14" y="3"/>
                      <a:pt x="13" y="3"/>
                      <a:pt x="13" y="2"/>
                    </a:cubicBezTo>
                    <a:cubicBezTo>
                      <a:pt x="13" y="2"/>
                      <a:pt x="13" y="2"/>
                      <a:pt x="12" y="2"/>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574" name="Freeform 27"/>
              <p:cNvSpPr>
                <a:spLocks/>
              </p:cNvSpPr>
              <p:nvPr/>
            </p:nvSpPr>
            <p:spPr bwMode="auto">
              <a:xfrm>
                <a:off x="2995" y="2682"/>
                <a:ext cx="12" cy="14"/>
              </a:xfrm>
              <a:custGeom>
                <a:avLst/>
                <a:gdLst>
                  <a:gd name="T0" fmla="*/ 1 w 6"/>
                  <a:gd name="T1" fmla="*/ 2 h 7"/>
                  <a:gd name="T2" fmla="*/ 0 w 6"/>
                  <a:gd name="T3" fmla="*/ 3 h 7"/>
                  <a:gd name="T4" fmla="*/ 0 w 6"/>
                  <a:gd name="T5" fmla="*/ 4 h 7"/>
                  <a:gd name="T6" fmla="*/ 2 w 6"/>
                  <a:gd name="T7" fmla="*/ 5 h 7"/>
                  <a:gd name="T8" fmla="*/ 3 w 6"/>
                  <a:gd name="T9" fmla="*/ 6 h 7"/>
                  <a:gd name="T10" fmla="*/ 5 w 6"/>
                  <a:gd name="T11" fmla="*/ 7 h 7"/>
                  <a:gd name="T12" fmla="*/ 5 w 6"/>
                  <a:gd name="T13" fmla="*/ 7 h 7"/>
                  <a:gd name="T14" fmla="*/ 6 w 6"/>
                  <a:gd name="T15" fmla="*/ 6 h 7"/>
                  <a:gd name="T16" fmla="*/ 5 w 6"/>
                  <a:gd name="T17" fmla="*/ 5 h 7"/>
                  <a:gd name="T18" fmla="*/ 4 w 6"/>
                  <a:gd name="T19" fmla="*/ 4 h 7"/>
                  <a:gd name="T20" fmla="*/ 3 w 6"/>
                  <a:gd name="T21" fmla="*/ 4 h 7"/>
                  <a:gd name="T22" fmla="*/ 3 w 6"/>
                  <a:gd name="T23" fmla="*/ 2 h 7"/>
                  <a:gd name="T24" fmla="*/ 5 w 6"/>
                  <a:gd name="T25" fmla="*/ 2 h 7"/>
                  <a:gd name="T26" fmla="*/ 3 w 6"/>
                  <a:gd name="T27" fmla="*/ 0 h 7"/>
                  <a:gd name="T28" fmla="*/ 2 w 6"/>
                  <a:gd name="T29" fmla="*/ 0 h 7"/>
                  <a:gd name="T30" fmla="*/ 2 w 6"/>
                  <a:gd name="T31" fmla="*/ 1 h 7"/>
                  <a:gd name="T32" fmla="*/ 2 w 6"/>
                  <a:gd name="T33" fmla="*/ 2 h 7"/>
                  <a:gd name="T34" fmla="*/ 1 w 6"/>
                  <a:gd name="T35"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 h="7">
                    <a:moveTo>
                      <a:pt x="1" y="2"/>
                    </a:moveTo>
                    <a:cubicBezTo>
                      <a:pt x="1" y="2"/>
                      <a:pt x="1" y="3"/>
                      <a:pt x="0" y="3"/>
                    </a:cubicBezTo>
                    <a:cubicBezTo>
                      <a:pt x="0" y="4"/>
                      <a:pt x="0" y="4"/>
                      <a:pt x="0" y="4"/>
                    </a:cubicBezTo>
                    <a:cubicBezTo>
                      <a:pt x="1" y="4"/>
                      <a:pt x="2" y="5"/>
                      <a:pt x="2" y="5"/>
                    </a:cubicBezTo>
                    <a:cubicBezTo>
                      <a:pt x="3" y="5"/>
                      <a:pt x="3" y="6"/>
                      <a:pt x="3" y="6"/>
                    </a:cubicBezTo>
                    <a:cubicBezTo>
                      <a:pt x="4" y="6"/>
                      <a:pt x="5" y="7"/>
                      <a:pt x="5" y="7"/>
                    </a:cubicBezTo>
                    <a:cubicBezTo>
                      <a:pt x="5" y="7"/>
                      <a:pt x="5" y="7"/>
                      <a:pt x="5" y="7"/>
                    </a:cubicBezTo>
                    <a:cubicBezTo>
                      <a:pt x="6" y="7"/>
                      <a:pt x="6" y="7"/>
                      <a:pt x="6" y="6"/>
                    </a:cubicBezTo>
                    <a:cubicBezTo>
                      <a:pt x="6" y="5"/>
                      <a:pt x="6" y="5"/>
                      <a:pt x="5" y="5"/>
                    </a:cubicBezTo>
                    <a:cubicBezTo>
                      <a:pt x="4" y="4"/>
                      <a:pt x="4" y="4"/>
                      <a:pt x="4" y="4"/>
                    </a:cubicBezTo>
                    <a:cubicBezTo>
                      <a:pt x="4" y="4"/>
                      <a:pt x="4" y="5"/>
                      <a:pt x="3" y="4"/>
                    </a:cubicBezTo>
                    <a:cubicBezTo>
                      <a:pt x="3" y="2"/>
                      <a:pt x="3" y="2"/>
                      <a:pt x="3" y="2"/>
                    </a:cubicBezTo>
                    <a:cubicBezTo>
                      <a:pt x="3" y="2"/>
                      <a:pt x="5" y="2"/>
                      <a:pt x="5" y="2"/>
                    </a:cubicBezTo>
                    <a:cubicBezTo>
                      <a:pt x="5" y="2"/>
                      <a:pt x="3" y="0"/>
                      <a:pt x="3" y="0"/>
                    </a:cubicBezTo>
                    <a:cubicBezTo>
                      <a:pt x="3" y="0"/>
                      <a:pt x="2" y="0"/>
                      <a:pt x="2" y="0"/>
                    </a:cubicBezTo>
                    <a:cubicBezTo>
                      <a:pt x="2" y="1"/>
                      <a:pt x="2" y="1"/>
                      <a:pt x="2" y="1"/>
                    </a:cubicBezTo>
                    <a:cubicBezTo>
                      <a:pt x="2" y="2"/>
                      <a:pt x="2" y="2"/>
                      <a:pt x="2" y="2"/>
                    </a:cubicBezTo>
                    <a:cubicBezTo>
                      <a:pt x="2" y="2"/>
                      <a:pt x="1" y="2"/>
                      <a:pt x="1" y="2"/>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575" name="Freeform 28"/>
              <p:cNvSpPr>
                <a:spLocks/>
              </p:cNvSpPr>
              <p:nvPr/>
            </p:nvSpPr>
            <p:spPr bwMode="auto">
              <a:xfrm>
                <a:off x="3142" y="2845"/>
                <a:ext cx="10" cy="8"/>
              </a:xfrm>
              <a:custGeom>
                <a:avLst/>
                <a:gdLst>
                  <a:gd name="T0" fmla="*/ 0 w 5"/>
                  <a:gd name="T1" fmla="*/ 1 h 4"/>
                  <a:gd name="T2" fmla="*/ 0 w 5"/>
                  <a:gd name="T3" fmla="*/ 3 h 4"/>
                  <a:gd name="T4" fmla="*/ 3 w 5"/>
                  <a:gd name="T5" fmla="*/ 4 h 4"/>
                  <a:gd name="T6" fmla="*/ 4 w 5"/>
                  <a:gd name="T7" fmla="*/ 2 h 4"/>
                  <a:gd name="T8" fmla="*/ 5 w 5"/>
                  <a:gd name="T9" fmla="*/ 1 h 4"/>
                  <a:gd name="T10" fmla="*/ 3 w 5"/>
                  <a:gd name="T11" fmla="*/ 0 h 4"/>
                  <a:gd name="T12" fmla="*/ 0 w 5"/>
                  <a:gd name="T13" fmla="*/ 1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0" y="1"/>
                    </a:moveTo>
                    <a:cubicBezTo>
                      <a:pt x="0" y="3"/>
                      <a:pt x="0" y="3"/>
                      <a:pt x="0" y="3"/>
                    </a:cubicBezTo>
                    <a:cubicBezTo>
                      <a:pt x="3" y="4"/>
                      <a:pt x="3" y="4"/>
                      <a:pt x="3" y="4"/>
                    </a:cubicBezTo>
                    <a:cubicBezTo>
                      <a:pt x="3" y="4"/>
                      <a:pt x="4" y="2"/>
                      <a:pt x="4" y="2"/>
                    </a:cubicBezTo>
                    <a:cubicBezTo>
                      <a:pt x="5" y="2"/>
                      <a:pt x="5" y="1"/>
                      <a:pt x="5" y="1"/>
                    </a:cubicBezTo>
                    <a:cubicBezTo>
                      <a:pt x="3" y="0"/>
                      <a:pt x="3" y="0"/>
                      <a:pt x="3" y="0"/>
                    </a:cubicBezTo>
                    <a:cubicBezTo>
                      <a:pt x="3" y="0"/>
                      <a:pt x="0" y="1"/>
                      <a:pt x="0" y="1"/>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576" name="Freeform 29"/>
              <p:cNvSpPr>
                <a:spLocks/>
              </p:cNvSpPr>
              <p:nvPr/>
            </p:nvSpPr>
            <p:spPr bwMode="auto">
              <a:xfrm>
                <a:off x="2921" y="2532"/>
                <a:ext cx="363" cy="317"/>
              </a:xfrm>
              <a:custGeom>
                <a:avLst/>
                <a:gdLst>
                  <a:gd name="T0" fmla="*/ 166 w 181"/>
                  <a:gd name="T1" fmla="*/ 36 h 158"/>
                  <a:gd name="T2" fmla="*/ 163 w 181"/>
                  <a:gd name="T3" fmla="*/ 26 h 158"/>
                  <a:gd name="T4" fmla="*/ 141 w 181"/>
                  <a:gd name="T5" fmla="*/ 28 h 158"/>
                  <a:gd name="T6" fmla="*/ 122 w 181"/>
                  <a:gd name="T7" fmla="*/ 25 h 158"/>
                  <a:gd name="T8" fmla="*/ 90 w 181"/>
                  <a:gd name="T9" fmla="*/ 4 h 158"/>
                  <a:gd name="T10" fmla="*/ 81 w 181"/>
                  <a:gd name="T11" fmla="*/ 7 h 158"/>
                  <a:gd name="T12" fmla="*/ 69 w 181"/>
                  <a:gd name="T13" fmla="*/ 14 h 158"/>
                  <a:gd name="T14" fmla="*/ 66 w 181"/>
                  <a:gd name="T15" fmla="*/ 19 h 158"/>
                  <a:gd name="T16" fmla="*/ 64 w 181"/>
                  <a:gd name="T17" fmla="*/ 33 h 158"/>
                  <a:gd name="T18" fmla="*/ 59 w 181"/>
                  <a:gd name="T19" fmla="*/ 39 h 158"/>
                  <a:gd name="T20" fmla="*/ 58 w 181"/>
                  <a:gd name="T21" fmla="*/ 48 h 158"/>
                  <a:gd name="T22" fmla="*/ 49 w 181"/>
                  <a:gd name="T23" fmla="*/ 51 h 158"/>
                  <a:gd name="T24" fmla="*/ 37 w 181"/>
                  <a:gd name="T25" fmla="*/ 49 h 158"/>
                  <a:gd name="T26" fmla="*/ 26 w 181"/>
                  <a:gd name="T27" fmla="*/ 52 h 158"/>
                  <a:gd name="T28" fmla="*/ 16 w 181"/>
                  <a:gd name="T29" fmla="*/ 53 h 158"/>
                  <a:gd name="T30" fmla="*/ 8 w 181"/>
                  <a:gd name="T31" fmla="*/ 54 h 158"/>
                  <a:gd name="T32" fmla="*/ 2 w 181"/>
                  <a:gd name="T33" fmla="*/ 59 h 158"/>
                  <a:gd name="T34" fmla="*/ 7 w 181"/>
                  <a:gd name="T35" fmla="*/ 71 h 158"/>
                  <a:gd name="T36" fmla="*/ 16 w 181"/>
                  <a:gd name="T37" fmla="*/ 80 h 158"/>
                  <a:gd name="T38" fmla="*/ 21 w 181"/>
                  <a:gd name="T39" fmla="*/ 69 h 158"/>
                  <a:gd name="T40" fmla="*/ 31 w 181"/>
                  <a:gd name="T41" fmla="*/ 64 h 158"/>
                  <a:gd name="T42" fmla="*/ 39 w 181"/>
                  <a:gd name="T43" fmla="*/ 72 h 158"/>
                  <a:gd name="T44" fmla="*/ 41 w 181"/>
                  <a:gd name="T45" fmla="*/ 67 h 158"/>
                  <a:gd name="T46" fmla="*/ 57 w 181"/>
                  <a:gd name="T47" fmla="*/ 95 h 158"/>
                  <a:gd name="T48" fmla="*/ 49 w 181"/>
                  <a:gd name="T49" fmla="*/ 89 h 158"/>
                  <a:gd name="T50" fmla="*/ 45 w 181"/>
                  <a:gd name="T51" fmla="*/ 89 h 158"/>
                  <a:gd name="T52" fmla="*/ 54 w 181"/>
                  <a:gd name="T53" fmla="*/ 98 h 158"/>
                  <a:gd name="T54" fmla="*/ 55 w 181"/>
                  <a:gd name="T55" fmla="*/ 99 h 158"/>
                  <a:gd name="T56" fmla="*/ 61 w 181"/>
                  <a:gd name="T57" fmla="*/ 111 h 158"/>
                  <a:gd name="T58" fmla="*/ 64 w 181"/>
                  <a:gd name="T59" fmla="*/ 115 h 158"/>
                  <a:gd name="T60" fmla="*/ 53 w 181"/>
                  <a:gd name="T61" fmla="*/ 110 h 158"/>
                  <a:gd name="T62" fmla="*/ 48 w 181"/>
                  <a:gd name="T63" fmla="*/ 104 h 158"/>
                  <a:gd name="T64" fmla="*/ 40 w 181"/>
                  <a:gd name="T65" fmla="*/ 101 h 158"/>
                  <a:gd name="T66" fmla="*/ 52 w 181"/>
                  <a:gd name="T67" fmla="*/ 110 h 158"/>
                  <a:gd name="T68" fmla="*/ 59 w 181"/>
                  <a:gd name="T69" fmla="*/ 118 h 158"/>
                  <a:gd name="T70" fmla="*/ 67 w 181"/>
                  <a:gd name="T71" fmla="*/ 124 h 158"/>
                  <a:gd name="T72" fmla="*/ 58 w 181"/>
                  <a:gd name="T73" fmla="*/ 115 h 158"/>
                  <a:gd name="T74" fmla="*/ 70 w 181"/>
                  <a:gd name="T75" fmla="*/ 117 h 158"/>
                  <a:gd name="T76" fmla="*/ 70 w 181"/>
                  <a:gd name="T77" fmla="*/ 123 h 158"/>
                  <a:gd name="T78" fmla="*/ 76 w 181"/>
                  <a:gd name="T79" fmla="*/ 122 h 158"/>
                  <a:gd name="T80" fmla="*/ 84 w 181"/>
                  <a:gd name="T81" fmla="*/ 131 h 158"/>
                  <a:gd name="T82" fmla="*/ 99 w 181"/>
                  <a:gd name="T83" fmla="*/ 129 h 158"/>
                  <a:gd name="T84" fmla="*/ 123 w 181"/>
                  <a:gd name="T85" fmla="*/ 140 h 158"/>
                  <a:gd name="T86" fmla="*/ 124 w 181"/>
                  <a:gd name="T87" fmla="*/ 146 h 158"/>
                  <a:gd name="T88" fmla="*/ 105 w 181"/>
                  <a:gd name="T89" fmla="*/ 149 h 158"/>
                  <a:gd name="T90" fmla="*/ 122 w 181"/>
                  <a:gd name="T91" fmla="*/ 147 h 158"/>
                  <a:gd name="T92" fmla="*/ 143 w 181"/>
                  <a:gd name="T93" fmla="*/ 157 h 158"/>
                  <a:gd name="T94" fmla="*/ 139 w 181"/>
                  <a:gd name="T95" fmla="*/ 152 h 158"/>
                  <a:gd name="T96" fmla="*/ 135 w 181"/>
                  <a:gd name="T97" fmla="*/ 148 h 158"/>
                  <a:gd name="T98" fmla="*/ 124 w 181"/>
                  <a:gd name="T99" fmla="*/ 134 h 158"/>
                  <a:gd name="T100" fmla="*/ 111 w 181"/>
                  <a:gd name="T101" fmla="*/ 120 h 158"/>
                  <a:gd name="T102" fmla="*/ 97 w 181"/>
                  <a:gd name="T103" fmla="*/ 108 h 158"/>
                  <a:gd name="T104" fmla="*/ 85 w 181"/>
                  <a:gd name="T105" fmla="*/ 93 h 158"/>
                  <a:gd name="T106" fmla="*/ 75 w 181"/>
                  <a:gd name="T107" fmla="*/ 78 h 158"/>
                  <a:gd name="T108" fmla="*/ 69 w 181"/>
                  <a:gd name="T109" fmla="*/ 66 h 158"/>
                  <a:gd name="T110" fmla="*/ 80 w 181"/>
                  <a:gd name="T111" fmla="*/ 60 h 158"/>
                  <a:gd name="T112" fmla="*/ 94 w 181"/>
                  <a:gd name="T113" fmla="*/ 55 h 158"/>
                  <a:gd name="T114" fmla="*/ 112 w 181"/>
                  <a:gd name="T115" fmla="*/ 55 h 158"/>
                  <a:gd name="T116" fmla="*/ 132 w 181"/>
                  <a:gd name="T117" fmla="*/ 56 h 158"/>
                  <a:gd name="T118" fmla="*/ 144 w 181"/>
                  <a:gd name="T119" fmla="*/ 53 h 158"/>
                  <a:gd name="T120" fmla="*/ 158 w 181"/>
                  <a:gd name="T121" fmla="*/ 53 h 158"/>
                  <a:gd name="T122" fmla="*/ 175 w 181"/>
                  <a:gd name="T123" fmla="*/ 58 h 158"/>
                  <a:gd name="T124" fmla="*/ 170 w 181"/>
                  <a:gd name="T125" fmla="*/ 5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1" h="158">
                    <a:moveTo>
                      <a:pt x="179" y="44"/>
                    </a:moveTo>
                    <a:cubicBezTo>
                      <a:pt x="178" y="44"/>
                      <a:pt x="179" y="45"/>
                      <a:pt x="177" y="44"/>
                    </a:cubicBezTo>
                    <a:cubicBezTo>
                      <a:pt x="174" y="44"/>
                      <a:pt x="173" y="43"/>
                      <a:pt x="173" y="43"/>
                    </a:cubicBezTo>
                    <a:cubicBezTo>
                      <a:pt x="173" y="43"/>
                      <a:pt x="173" y="42"/>
                      <a:pt x="172" y="43"/>
                    </a:cubicBezTo>
                    <a:cubicBezTo>
                      <a:pt x="171" y="43"/>
                      <a:pt x="171" y="43"/>
                      <a:pt x="170" y="42"/>
                    </a:cubicBezTo>
                    <a:cubicBezTo>
                      <a:pt x="169" y="41"/>
                      <a:pt x="167" y="39"/>
                      <a:pt x="167" y="39"/>
                    </a:cubicBezTo>
                    <a:cubicBezTo>
                      <a:pt x="167" y="39"/>
                      <a:pt x="166" y="40"/>
                      <a:pt x="166" y="39"/>
                    </a:cubicBezTo>
                    <a:cubicBezTo>
                      <a:pt x="166" y="38"/>
                      <a:pt x="166" y="37"/>
                      <a:pt x="167" y="37"/>
                    </a:cubicBezTo>
                    <a:cubicBezTo>
                      <a:pt x="166" y="36"/>
                      <a:pt x="166" y="36"/>
                      <a:pt x="166" y="36"/>
                    </a:cubicBezTo>
                    <a:cubicBezTo>
                      <a:pt x="166" y="35"/>
                      <a:pt x="166" y="35"/>
                      <a:pt x="166" y="35"/>
                    </a:cubicBezTo>
                    <a:cubicBezTo>
                      <a:pt x="166" y="35"/>
                      <a:pt x="167" y="35"/>
                      <a:pt x="167" y="35"/>
                    </a:cubicBezTo>
                    <a:cubicBezTo>
                      <a:pt x="168" y="34"/>
                      <a:pt x="168" y="34"/>
                      <a:pt x="168" y="34"/>
                    </a:cubicBezTo>
                    <a:cubicBezTo>
                      <a:pt x="169" y="33"/>
                      <a:pt x="168" y="31"/>
                      <a:pt x="165" y="32"/>
                    </a:cubicBezTo>
                    <a:cubicBezTo>
                      <a:pt x="165" y="32"/>
                      <a:pt x="164" y="33"/>
                      <a:pt x="164" y="33"/>
                    </a:cubicBezTo>
                    <a:cubicBezTo>
                      <a:pt x="163" y="33"/>
                      <a:pt x="162" y="32"/>
                      <a:pt x="162" y="31"/>
                    </a:cubicBezTo>
                    <a:cubicBezTo>
                      <a:pt x="162" y="31"/>
                      <a:pt x="161" y="30"/>
                      <a:pt x="162" y="30"/>
                    </a:cubicBezTo>
                    <a:cubicBezTo>
                      <a:pt x="163" y="30"/>
                      <a:pt x="164" y="28"/>
                      <a:pt x="164" y="28"/>
                    </a:cubicBezTo>
                    <a:cubicBezTo>
                      <a:pt x="163" y="26"/>
                      <a:pt x="163" y="26"/>
                      <a:pt x="163" y="26"/>
                    </a:cubicBezTo>
                    <a:cubicBezTo>
                      <a:pt x="163" y="21"/>
                      <a:pt x="163" y="21"/>
                      <a:pt x="163" y="21"/>
                    </a:cubicBezTo>
                    <a:cubicBezTo>
                      <a:pt x="161" y="20"/>
                      <a:pt x="161" y="20"/>
                      <a:pt x="161" y="20"/>
                    </a:cubicBezTo>
                    <a:cubicBezTo>
                      <a:pt x="160" y="21"/>
                      <a:pt x="160" y="21"/>
                      <a:pt x="160" y="21"/>
                    </a:cubicBezTo>
                    <a:cubicBezTo>
                      <a:pt x="159" y="21"/>
                      <a:pt x="159" y="21"/>
                      <a:pt x="159" y="21"/>
                    </a:cubicBezTo>
                    <a:cubicBezTo>
                      <a:pt x="158" y="23"/>
                      <a:pt x="158" y="23"/>
                      <a:pt x="158" y="23"/>
                    </a:cubicBezTo>
                    <a:cubicBezTo>
                      <a:pt x="158" y="23"/>
                      <a:pt x="158" y="23"/>
                      <a:pt x="158" y="23"/>
                    </a:cubicBezTo>
                    <a:cubicBezTo>
                      <a:pt x="157" y="24"/>
                      <a:pt x="156" y="24"/>
                      <a:pt x="156" y="25"/>
                    </a:cubicBezTo>
                    <a:cubicBezTo>
                      <a:pt x="155" y="26"/>
                      <a:pt x="154" y="26"/>
                      <a:pt x="150" y="26"/>
                    </a:cubicBezTo>
                    <a:cubicBezTo>
                      <a:pt x="141" y="28"/>
                      <a:pt x="141" y="28"/>
                      <a:pt x="141" y="28"/>
                    </a:cubicBezTo>
                    <a:cubicBezTo>
                      <a:pt x="141" y="28"/>
                      <a:pt x="139" y="28"/>
                      <a:pt x="138" y="28"/>
                    </a:cubicBezTo>
                    <a:cubicBezTo>
                      <a:pt x="138" y="28"/>
                      <a:pt x="138" y="28"/>
                      <a:pt x="138" y="28"/>
                    </a:cubicBezTo>
                    <a:cubicBezTo>
                      <a:pt x="136" y="28"/>
                      <a:pt x="134" y="28"/>
                      <a:pt x="134" y="28"/>
                    </a:cubicBezTo>
                    <a:cubicBezTo>
                      <a:pt x="131" y="29"/>
                      <a:pt x="131" y="29"/>
                      <a:pt x="131" y="29"/>
                    </a:cubicBezTo>
                    <a:cubicBezTo>
                      <a:pt x="131" y="29"/>
                      <a:pt x="131" y="29"/>
                      <a:pt x="131" y="29"/>
                    </a:cubicBezTo>
                    <a:cubicBezTo>
                      <a:pt x="130" y="29"/>
                      <a:pt x="130" y="29"/>
                      <a:pt x="130" y="29"/>
                    </a:cubicBezTo>
                    <a:cubicBezTo>
                      <a:pt x="130" y="29"/>
                      <a:pt x="130" y="29"/>
                      <a:pt x="130" y="29"/>
                    </a:cubicBezTo>
                    <a:cubicBezTo>
                      <a:pt x="124" y="27"/>
                      <a:pt x="124" y="27"/>
                      <a:pt x="124" y="27"/>
                    </a:cubicBezTo>
                    <a:cubicBezTo>
                      <a:pt x="122" y="25"/>
                      <a:pt x="122" y="25"/>
                      <a:pt x="122" y="25"/>
                    </a:cubicBezTo>
                    <a:cubicBezTo>
                      <a:pt x="118" y="24"/>
                      <a:pt x="118" y="24"/>
                      <a:pt x="118" y="24"/>
                    </a:cubicBezTo>
                    <a:cubicBezTo>
                      <a:pt x="117" y="22"/>
                      <a:pt x="117" y="22"/>
                      <a:pt x="117" y="22"/>
                    </a:cubicBezTo>
                    <a:cubicBezTo>
                      <a:pt x="114" y="22"/>
                      <a:pt x="114" y="22"/>
                      <a:pt x="114" y="22"/>
                    </a:cubicBezTo>
                    <a:cubicBezTo>
                      <a:pt x="110" y="19"/>
                      <a:pt x="110" y="19"/>
                      <a:pt x="110" y="19"/>
                    </a:cubicBezTo>
                    <a:cubicBezTo>
                      <a:pt x="106" y="14"/>
                      <a:pt x="106" y="14"/>
                      <a:pt x="106" y="14"/>
                    </a:cubicBezTo>
                    <a:cubicBezTo>
                      <a:pt x="99" y="12"/>
                      <a:pt x="99" y="12"/>
                      <a:pt x="99" y="12"/>
                    </a:cubicBezTo>
                    <a:cubicBezTo>
                      <a:pt x="96" y="8"/>
                      <a:pt x="96" y="8"/>
                      <a:pt x="96" y="8"/>
                    </a:cubicBezTo>
                    <a:cubicBezTo>
                      <a:pt x="93" y="7"/>
                      <a:pt x="93" y="7"/>
                      <a:pt x="93" y="7"/>
                    </a:cubicBezTo>
                    <a:cubicBezTo>
                      <a:pt x="90" y="4"/>
                      <a:pt x="90" y="4"/>
                      <a:pt x="90" y="4"/>
                    </a:cubicBezTo>
                    <a:cubicBezTo>
                      <a:pt x="85" y="0"/>
                      <a:pt x="85" y="0"/>
                      <a:pt x="85" y="0"/>
                    </a:cubicBezTo>
                    <a:cubicBezTo>
                      <a:pt x="85" y="0"/>
                      <a:pt x="85" y="0"/>
                      <a:pt x="85" y="0"/>
                    </a:cubicBezTo>
                    <a:cubicBezTo>
                      <a:pt x="85" y="0"/>
                      <a:pt x="85" y="0"/>
                      <a:pt x="85" y="0"/>
                    </a:cubicBezTo>
                    <a:cubicBezTo>
                      <a:pt x="83" y="0"/>
                      <a:pt x="83" y="0"/>
                      <a:pt x="83" y="0"/>
                    </a:cubicBezTo>
                    <a:cubicBezTo>
                      <a:pt x="83" y="0"/>
                      <a:pt x="83" y="0"/>
                      <a:pt x="83" y="0"/>
                    </a:cubicBezTo>
                    <a:cubicBezTo>
                      <a:pt x="83" y="0"/>
                      <a:pt x="83" y="1"/>
                      <a:pt x="83" y="1"/>
                    </a:cubicBezTo>
                    <a:cubicBezTo>
                      <a:pt x="83" y="2"/>
                      <a:pt x="83" y="2"/>
                      <a:pt x="83" y="2"/>
                    </a:cubicBezTo>
                    <a:cubicBezTo>
                      <a:pt x="84" y="3"/>
                      <a:pt x="84" y="4"/>
                      <a:pt x="83" y="6"/>
                    </a:cubicBezTo>
                    <a:cubicBezTo>
                      <a:pt x="83" y="7"/>
                      <a:pt x="81" y="7"/>
                      <a:pt x="81" y="7"/>
                    </a:cubicBezTo>
                    <a:cubicBezTo>
                      <a:pt x="80" y="7"/>
                      <a:pt x="80" y="7"/>
                      <a:pt x="78" y="7"/>
                    </a:cubicBezTo>
                    <a:cubicBezTo>
                      <a:pt x="78" y="6"/>
                      <a:pt x="78" y="6"/>
                      <a:pt x="78" y="6"/>
                    </a:cubicBezTo>
                    <a:cubicBezTo>
                      <a:pt x="77" y="6"/>
                      <a:pt x="77" y="6"/>
                      <a:pt x="77" y="6"/>
                    </a:cubicBezTo>
                    <a:cubicBezTo>
                      <a:pt x="77" y="7"/>
                      <a:pt x="77" y="7"/>
                      <a:pt x="77" y="7"/>
                    </a:cubicBezTo>
                    <a:cubicBezTo>
                      <a:pt x="75" y="10"/>
                      <a:pt x="75" y="10"/>
                      <a:pt x="75" y="10"/>
                    </a:cubicBezTo>
                    <a:cubicBezTo>
                      <a:pt x="71" y="12"/>
                      <a:pt x="71" y="12"/>
                      <a:pt x="71" y="12"/>
                    </a:cubicBezTo>
                    <a:cubicBezTo>
                      <a:pt x="69" y="13"/>
                      <a:pt x="69" y="13"/>
                      <a:pt x="69" y="13"/>
                    </a:cubicBezTo>
                    <a:cubicBezTo>
                      <a:pt x="69" y="13"/>
                      <a:pt x="69" y="13"/>
                      <a:pt x="69" y="13"/>
                    </a:cubicBezTo>
                    <a:cubicBezTo>
                      <a:pt x="69" y="14"/>
                      <a:pt x="69" y="14"/>
                      <a:pt x="69" y="14"/>
                    </a:cubicBezTo>
                    <a:cubicBezTo>
                      <a:pt x="68" y="15"/>
                      <a:pt x="68" y="15"/>
                      <a:pt x="68" y="15"/>
                    </a:cubicBezTo>
                    <a:cubicBezTo>
                      <a:pt x="67" y="15"/>
                      <a:pt x="66" y="15"/>
                      <a:pt x="66" y="15"/>
                    </a:cubicBezTo>
                    <a:cubicBezTo>
                      <a:pt x="65" y="15"/>
                      <a:pt x="65" y="15"/>
                      <a:pt x="64" y="15"/>
                    </a:cubicBezTo>
                    <a:cubicBezTo>
                      <a:pt x="64" y="15"/>
                      <a:pt x="64" y="15"/>
                      <a:pt x="64" y="15"/>
                    </a:cubicBezTo>
                    <a:cubicBezTo>
                      <a:pt x="64" y="16"/>
                      <a:pt x="64" y="16"/>
                      <a:pt x="64" y="16"/>
                    </a:cubicBezTo>
                    <a:cubicBezTo>
                      <a:pt x="64" y="16"/>
                      <a:pt x="63" y="16"/>
                      <a:pt x="63" y="16"/>
                    </a:cubicBezTo>
                    <a:cubicBezTo>
                      <a:pt x="63" y="17"/>
                      <a:pt x="63" y="17"/>
                      <a:pt x="63" y="17"/>
                    </a:cubicBezTo>
                    <a:cubicBezTo>
                      <a:pt x="64" y="17"/>
                      <a:pt x="65" y="18"/>
                      <a:pt x="65" y="18"/>
                    </a:cubicBezTo>
                    <a:cubicBezTo>
                      <a:pt x="66" y="19"/>
                      <a:pt x="66" y="19"/>
                      <a:pt x="66" y="19"/>
                    </a:cubicBezTo>
                    <a:cubicBezTo>
                      <a:pt x="67" y="20"/>
                      <a:pt x="67" y="20"/>
                      <a:pt x="67" y="20"/>
                    </a:cubicBezTo>
                    <a:cubicBezTo>
                      <a:pt x="67" y="21"/>
                      <a:pt x="67" y="22"/>
                      <a:pt x="67" y="23"/>
                    </a:cubicBezTo>
                    <a:cubicBezTo>
                      <a:pt x="67" y="23"/>
                      <a:pt x="67" y="23"/>
                      <a:pt x="67" y="24"/>
                    </a:cubicBezTo>
                    <a:cubicBezTo>
                      <a:pt x="67" y="26"/>
                      <a:pt x="67" y="26"/>
                      <a:pt x="67" y="26"/>
                    </a:cubicBezTo>
                    <a:cubicBezTo>
                      <a:pt x="67" y="27"/>
                      <a:pt x="67" y="27"/>
                      <a:pt x="67" y="27"/>
                    </a:cubicBezTo>
                    <a:cubicBezTo>
                      <a:pt x="67" y="27"/>
                      <a:pt x="67" y="27"/>
                      <a:pt x="67" y="27"/>
                    </a:cubicBezTo>
                    <a:cubicBezTo>
                      <a:pt x="68" y="28"/>
                      <a:pt x="68" y="30"/>
                      <a:pt x="67" y="31"/>
                    </a:cubicBezTo>
                    <a:cubicBezTo>
                      <a:pt x="65" y="33"/>
                      <a:pt x="65" y="33"/>
                      <a:pt x="64" y="33"/>
                    </a:cubicBezTo>
                    <a:cubicBezTo>
                      <a:pt x="64" y="33"/>
                      <a:pt x="64" y="33"/>
                      <a:pt x="64" y="33"/>
                    </a:cubicBezTo>
                    <a:cubicBezTo>
                      <a:pt x="64" y="33"/>
                      <a:pt x="62" y="33"/>
                      <a:pt x="61" y="33"/>
                    </a:cubicBezTo>
                    <a:cubicBezTo>
                      <a:pt x="60" y="34"/>
                      <a:pt x="60" y="34"/>
                      <a:pt x="60" y="34"/>
                    </a:cubicBezTo>
                    <a:cubicBezTo>
                      <a:pt x="60" y="34"/>
                      <a:pt x="60" y="34"/>
                      <a:pt x="60" y="34"/>
                    </a:cubicBezTo>
                    <a:cubicBezTo>
                      <a:pt x="57" y="35"/>
                      <a:pt x="57" y="35"/>
                      <a:pt x="57" y="35"/>
                    </a:cubicBezTo>
                    <a:cubicBezTo>
                      <a:pt x="57" y="36"/>
                      <a:pt x="58" y="36"/>
                      <a:pt x="58" y="36"/>
                    </a:cubicBezTo>
                    <a:cubicBezTo>
                      <a:pt x="59" y="39"/>
                      <a:pt x="59" y="39"/>
                      <a:pt x="59" y="39"/>
                    </a:cubicBezTo>
                    <a:cubicBezTo>
                      <a:pt x="59" y="39"/>
                      <a:pt x="59" y="39"/>
                      <a:pt x="59" y="39"/>
                    </a:cubicBezTo>
                    <a:cubicBezTo>
                      <a:pt x="60" y="39"/>
                      <a:pt x="60" y="39"/>
                      <a:pt x="60" y="39"/>
                    </a:cubicBezTo>
                    <a:cubicBezTo>
                      <a:pt x="59" y="39"/>
                      <a:pt x="59" y="39"/>
                      <a:pt x="59" y="39"/>
                    </a:cubicBezTo>
                    <a:cubicBezTo>
                      <a:pt x="59" y="40"/>
                      <a:pt x="58" y="41"/>
                      <a:pt x="57" y="41"/>
                    </a:cubicBezTo>
                    <a:cubicBezTo>
                      <a:pt x="57" y="42"/>
                      <a:pt x="56" y="42"/>
                      <a:pt x="56" y="42"/>
                    </a:cubicBezTo>
                    <a:cubicBezTo>
                      <a:pt x="56" y="42"/>
                      <a:pt x="56" y="42"/>
                      <a:pt x="56" y="43"/>
                    </a:cubicBezTo>
                    <a:cubicBezTo>
                      <a:pt x="56" y="43"/>
                      <a:pt x="56" y="43"/>
                      <a:pt x="56" y="43"/>
                    </a:cubicBezTo>
                    <a:cubicBezTo>
                      <a:pt x="56" y="43"/>
                      <a:pt x="57" y="43"/>
                      <a:pt x="57" y="43"/>
                    </a:cubicBezTo>
                    <a:cubicBezTo>
                      <a:pt x="57" y="43"/>
                      <a:pt x="58" y="44"/>
                      <a:pt x="58" y="44"/>
                    </a:cubicBezTo>
                    <a:cubicBezTo>
                      <a:pt x="59" y="45"/>
                      <a:pt x="59" y="46"/>
                      <a:pt x="59" y="47"/>
                    </a:cubicBezTo>
                    <a:cubicBezTo>
                      <a:pt x="59" y="48"/>
                      <a:pt x="59" y="48"/>
                      <a:pt x="59" y="48"/>
                    </a:cubicBezTo>
                    <a:cubicBezTo>
                      <a:pt x="58" y="48"/>
                      <a:pt x="58" y="48"/>
                      <a:pt x="58" y="48"/>
                    </a:cubicBezTo>
                    <a:cubicBezTo>
                      <a:pt x="58" y="49"/>
                      <a:pt x="56" y="50"/>
                      <a:pt x="55" y="50"/>
                    </a:cubicBezTo>
                    <a:cubicBezTo>
                      <a:pt x="55" y="50"/>
                      <a:pt x="55" y="50"/>
                      <a:pt x="55" y="50"/>
                    </a:cubicBezTo>
                    <a:cubicBezTo>
                      <a:pt x="55" y="50"/>
                      <a:pt x="54" y="50"/>
                      <a:pt x="54" y="50"/>
                    </a:cubicBezTo>
                    <a:cubicBezTo>
                      <a:pt x="54" y="50"/>
                      <a:pt x="54" y="51"/>
                      <a:pt x="54" y="51"/>
                    </a:cubicBezTo>
                    <a:cubicBezTo>
                      <a:pt x="53" y="51"/>
                      <a:pt x="53" y="51"/>
                      <a:pt x="53" y="51"/>
                    </a:cubicBezTo>
                    <a:cubicBezTo>
                      <a:pt x="52" y="51"/>
                      <a:pt x="52" y="51"/>
                      <a:pt x="52" y="51"/>
                    </a:cubicBezTo>
                    <a:cubicBezTo>
                      <a:pt x="51" y="51"/>
                      <a:pt x="51" y="51"/>
                      <a:pt x="50" y="51"/>
                    </a:cubicBezTo>
                    <a:cubicBezTo>
                      <a:pt x="50" y="51"/>
                      <a:pt x="50" y="51"/>
                      <a:pt x="50" y="51"/>
                    </a:cubicBezTo>
                    <a:cubicBezTo>
                      <a:pt x="50" y="51"/>
                      <a:pt x="49" y="51"/>
                      <a:pt x="49" y="51"/>
                    </a:cubicBezTo>
                    <a:cubicBezTo>
                      <a:pt x="48" y="50"/>
                      <a:pt x="47" y="50"/>
                      <a:pt x="47" y="50"/>
                    </a:cubicBezTo>
                    <a:cubicBezTo>
                      <a:pt x="46" y="50"/>
                      <a:pt x="46" y="50"/>
                      <a:pt x="46" y="50"/>
                    </a:cubicBezTo>
                    <a:cubicBezTo>
                      <a:pt x="46" y="50"/>
                      <a:pt x="46" y="49"/>
                      <a:pt x="46" y="49"/>
                    </a:cubicBezTo>
                    <a:cubicBezTo>
                      <a:pt x="46" y="49"/>
                      <a:pt x="46" y="49"/>
                      <a:pt x="46" y="49"/>
                    </a:cubicBezTo>
                    <a:cubicBezTo>
                      <a:pt x="45" y="49"/>
                      <a:pt x="45" y="49"/>
                      <a:pt x="45" y="49"/>
                    </a:cubicBezTo>
                    <a:cubicBezTo>
                      <a:pt x="44" y="50"/>
                      <a:pt x="44" y="50"/>
                      <a:pt x="43" y="50"/>
                    </a:cubicBezTo>
                    <a:cubicBezTo>
                      <a:pt x="42" y="51"/>
                      <a:pt x="42" y="51"/>
                      <a:pt x="42" y="51"/>
                    </a:cubicBezTo>
                    <a:cubicBezTo>
                      <a:pt x="41" y="51"/>
                      <a:pt x="41" y="51"/>
                      <a:pt x="41" y="51"/>
                    </a:cubicBezTo>
                    <a:cubicBezTo>
                      <a:pt x="39" y="51"/>
                      <a:pt x="38" y="50"/>
                      <a:pt x="37" y="49"/>
                    </a:cubicBezTo>
                    <a:cubicBezTo>
                      <a:pt x="37" y="49"/>
                      <a:pt x="36" y="49"/>
                      <a:pt x="36" y="48"/>
                    </a:cubicBezTo>
                    <a:cubicBezTo>
                      <a:pt x="36" y="48"/>
                      <a:pt x="35" y="48"/>
                      <a:pt x="35" y="48"/>
                    </a:cubicBezTo>
                    <a:cubicBezTo>
                      <a:pt x="34" y="48"/>
                      <a:pt x="33" y="48"/>
                      <a:pt x="33" y="46"/>
                    </a:cubicBezTo>
                    <a:cubicBezTo>
                      <a:pt x="33" y="45"/>
                      <a:pt x="32" y="45"/>
                      <a:pt x="32" y="45"/>
                    </a:cubicBezTo>
                    <a:cubicBezTo>
                      <a:pt x="32" y="45"/>
                      <a:pt x="32" y="45"/>
                      <a:pt x="32" y="45"/>
                    </a:cubicBezTo>
                    <a:cubicBezTo>
                      <a:pt x="32" y="45"/>
                      <a:pt x="32" y="45"/>
                      <a:pt x="32" y="45"/>
                    </a:cubicBezTo>
                    <a:cubicBezTo>
                      <a:pt x="32" y="47"/>
                      <a:pt x="31" y="48"/>
                      <a:pt x="30" y="49"/>
                    </a:cubicBezTo>
                    <a:cubicBezTo>
                      <a:pt x="29" y="49"/>
                      <a:pt x="29" y="49"/>
                      <a:pt x="29" y="49"/>
                    </a:cubicBezTo>
                    <a:cubicBezTo>
                      <a:pt x="26" y="52"/>
                      <a:pt x="26" y="52"/>
                      <a:pt x="26" y="52"/>
                    </a:cubicBezTo>
                    <a:cubicBezTo>
                      <a:pt x="22" y="51"/>
                      <a:pt x="22" y="51"/>
                      <a:pt x="22" y="51"/>
                    </a:cubicBezTo>
                    <a:cubicBezTo>
                      <a:pt x="21" y="52"/>
                      <a:pt x="21" y="52"/>
                      <a:pt x="21" y="52"/>
                    </a:cubicBezTo>
                    <a:cubicBezTo>
                      <a:pt x="21" y="52"/>
                      <a:pt x="21" y="52"/>
                      <a:pt x="20" y="52"/>
                    </a:cubicBezTo>
                    <a:cubicBezTo>
                      <a:pt x="20" y="52"/>
                      <a:pt x="20" y="52"/>
                      <a:pt x="20" y="52"/>
                    </a:cubicBezTo>
                    <a:cubicBezTo>
                      <a:pt x="19" y="52"/>
                      <a:pt x="19" y="52"/>
                      <a:pt x="19" y="52"/>
                    </a:cubicBezTo>
                    <a:cubicBezTo>
                      <a:pt x="18" y="52"/>
                      <a:pt x="18" y="52"/>
                      <a:pt x="17" y="52"/>
                    </a:cubicBezTo>
                    <a:cubicBezTo>
                      <a:pt x="17" y="52"/>
                      <a:pt x="17" y="52"/>
                      <a:pt x="17" y="52"/>
                    </a:cubicBezTo>
                    <a:cubicBezTo>
                      <a:pt x="17" y="52"/>
                      <a:pt x="17" y="52"/>
                      <a:pt x="16" y="53"/>
                    </a:cubicBezTo>
                    <a:cubicBezTo>
                      <a:pt x="16" y="53"/>
                      <a:pt x="16" y="53"/>
                      <a:pt x="16" y="53"/>
                    </a:cubicBezTo>
                    <a:cubicBezTo>
                      <a:pt x="16" y="53"/>
                      <a:pt x="15" y="54"/>
                      <a:pt x="15" y="54"/>
                    </a:cubicBezTo>
                    <a:cubicBezTo>
                      <a:pt x="15" y="54"/>
                      <a:pt x="14" y="54"/>
                      <a:pt x="14" y="54"/>
                    </a:cubicBezTo>
                    <a:cubicBezTo>
                      <a:pt x="14" y="54"/>
                      <a:pt x="14" y="55"/>
                      <a:pt x="14" y="55"/>
                    </a:cubicBezTo>
                    <a:cubicBezTo>
                      <a:pt x="12" y="55"/>
                      <a:pt x="12" y="55"/>
                      <a:pt x="12" y="55"/>
                    </a:cubicBezTo>
                    <a:cubicBezTo>
                      <a:pt x="12" y="55"/>
                      <a:pt x="12" y="55"/>
                      <a:pt x="12" y="55"/>
                    </a:cubicBezTo>
                    <a:cubicBezTo>
                      <a:pt x="10" y="55"/>
                      <a:pt x="10" y="55"/>
                      <a:pt x="10" y="55"/>
                    </a:cubicBezTo>
                    <a:cubicBezTo>
                      <a:pt x="10" y="55"/>
                      <a:pt x="10" y="55"/>
                      <a:pt x="10" y="55"/>
                    </a:cubicBezTo>
                    <a:cubicBezTo>
                      <a:pt x="10" y="55"/>
                      <a:pt x="9" y="55"/>
                      <a:pt x="9" y="55"/>
                    </a:cubicBezTo>
                    <a:cubicBezTo>
                      <a:pt x="9" y="55"/>
                      <a:pt x="8" y="54"/>
                      <a:pt x="8" y="54"/>
                    </a:cubicBezTo>
                    <a:cubicBezTo>
                      <a:pt x="7" y="54"/>
                      <a:pt x="6" y="54"/>
                      <a:pt x="6" y="54"/>
                    </a:cubicBezTo>
                    <a:cubicBezTo>
                      <a:pt x="5" y="54"/>
                      <a:pt x="5" y="54"/>
                      <a:pt x="4" y="54"/>
                    </a:cubicBezTo>
                    <a:cubicBezTo>
                      <a:pt x="3" y="54"/>
                      <a:pt x="2" y="54"/>
                      <a:pt x="2" y="54"/>
                    </a:cubicBezTo>
                    <a:cubicBezTo>
                      <a:pt x="1" y="54"/>
                      <a:pt x="1" y="53"/>
                      <a:pt x="0" y="53"/>
                    </a:cubicBezTo>
                    <a:cubicBezTo>
                      <a:pt x="1" y="54"/>
                      <a:pt x="1" y="54"/>
                      <a:pt x="1" y="54"/>
                    </a:cubicBezTo>
                    <a:cubicBezTo>
                      <a:pt x="0" y="56"/>
                      <a:pt x="0" y="56"/>
                      <a:pt x="0" y="56"/>
                    </a:cubicBezTo>
                    <a:cubicBezTo>
                      <a:pt x="0" y="56"/>
                      <a:pt x="1" y="56"/>
                      <a:pt x="1" y="57"/>
                    </a:cubicBezTo>
                    <a:cubicBezTo>
                      <a:pt x="1" y="57"/>
                      <a:pt x="2" y="57"/>
                      <a:pt x="2" y="58"/>
                    </a:cubicBezTo>
                    <a:cubicBezTo>
                      <a:pt x="2" y="58"/>
                      <a:pt x="2" y="59"/>
                      <a:pt x="2" y="59"/>
                    </a:cubicBezTo>
                    <a:cubicBezTo>
                      <a:pt x="2" y="59"/>
                      <a:pt x="2" y="59"/>
                      <a:pt x="2" y="59"/>
                    </a:cubicBezTo>
                    <a:cubicBezTo>
                      <a:pt x="3" y="61"/>
                      <a:pt x="3" y="61"/>
                      <a:pt x="3" y="61"/>
                    </a:cubicBezTo>
                    <a:cubicBezTo>
                      <a:pt x="3" y="62"/>
                      <a:pt x="3" y="62"/>
                      <a:pt x="3" y="62"/>
                    </a:cubicBezTo>
                    <a:cubicBezTo>
                      <a:pt x="4" y="64"/>
                      <a:pt x="4" y="64"/>
                      <a:pt x="4" y="64"/>
                    </a:cubicBezTo>
                    <a:cubicBezTo>
                      <a:pt x="4" y="64"/>
                      <a:pt x="4" y="65"/>
                      <a:pt x="4" y="65"/>
                    </a:cubicBezTo>
                    <a:cubicBezTo>
                      <a:pt x="4" y="65"/>
                      <a:pt x="4" y="66"/>
                      <a:pt x="4" y="66"/>
                    </a:cubicBezTo>
                    <a:cubicBezTo>
                      <a:pt x="4" y="67"/>
                      <a:pt x="5" y="68"/>
                      <a:pt x="5" y="68"/>
                    </a:cubicBezTo>
                    <a:cubicBezTo>
                      <a:pt x="5" y="70"/>
                      <a:pt x="5" y="70"/>
                      <a:pt x="5" y="70"/>
                    </a:cubicBezTo>
                    <a:cubicBezTo>
                      <a:pt x="5" y="70"/>
                      <a:pt x="7" y="71"/>
                      <a:pt x="7" y="71"/>
                    </a:cubicBezTo>
                    <a:cubicBezTo>
                      <a:pt x="7" y="71"/>
                      <a:pt x="8" y="72"/>
                      <a:pt x="8" y="72"/>
                    </a:cubicBezTo>
                    <a:cubicBezTo>
                      <a:pt x="9" y="74"/>
                      <a:pt x="9" y="74"/>
                      <a:pt x="9" y="74"/>
                    </a:cubicBezTo>
                    <a:cubicBezTo>
                      <a:pt x="9" y="75"/>
                      <a:pt x="9" y="75"/>
                      <a:pt x="9" y="75"/>
                    </a:cubicBezTo>
                    <a:cubicBezTo>
                      <a:pt x="11" y="77"/>
                      <a:pt x="11" y="77"/>
                      <a:pt x="11" y="77"/>
                    </a:cubicBezTo>
                    <a:cubicBezTo>
                      <a:pt x="11" y="78"/>
                      <a:pt x="11" y="78"/>
                      <a:pt x="11" y="78"/>
                    </a:cubicBezTo>
                    <a:cubicBezTo>
                      <a:pt x="12" y="79"/>
                      <a:pt x="12" y="79"/>
                      <a:pt x="12" y="79"/>
                    </a:cubicBezTo>
                    <a:cubicBezTo>
                      <a:pt x="13" y="80"/>
                      <a:pt x="13" y="80"/>
                      <a:pt x="13" y="80"/>
                    </a:cubicBezTo>
                    <a:cubicBezTo>
                      <a:pt x="13" y="80"/>
                      <a:pt x="13" y="80"/>
                      <a:pt x="13" y="80"/>
                    </a:cubicBezTo>
                    <a:cubicBezTo>
                      <a:pt x="14" y="80"/>
                      <a:pt x="15" y="81"/>
                      <a:pt x="16" y="80"/>
                    </a:cubicBezTo>
                    <a:cubicBezTo>
                      <a:pt x="16" y="80"/>
                      <a:pt x="16" y="81"/>
                      <a:pt x="17" y="79"/>
                    </a:cubicBezTo>
                    <a:cubicBezTo>
                      <a:pt x="17" y="77"/>
                      <a:pt x="17" y="77"/>
                      <a:pt x="17" y="77"/>
                    </a:cubicBezTo>
                    <a:cubicBezTo>
                      <a:pt x="17" y="77"/>
                      <a:pt x="17" y="76"/>
                      <a:pt x="18" y="76"/>
                    </a:cubicBezTo>
                    <a:cubicBezTo>
                      <a:pt x="19" y="75"/>
                      <a:pt x="19" y="75"/>
                      <a:pt x="19" y="74"/>
                    </a:cubicBezTo>
                    <a:cubicBezTo>
                      <a:pt x="19" y="73"/>
                      <a:pt x="17" y="72"/>
                      <a:pt x="17" y="72"/>
                    </a:cubicBezTo>
                    <a:cubicBezTo>
                      <a:pt x="17" y="72"/>
                      <a:pt x="20" y="72"/>
                      <a:pt x="20" y="72"/>
                    </a:cubicBezTo>
                    <a:cubicBezTo>
                      <a:pt x="20" y="73"/>
                      <a:pt x="20" y="74"/>
                      <a:pt x="21" y="73"/>
                    </a:cubicBezTo>
                    <a:cubicBezTo>
                      <a:pt x="22" y="71"/>
                      <a:pt x="22" y="72"/>
                      <a:pt x="21" y="71"/>
                    </a:cubicBezTo>
                    <a:cubicBezTo>
                      <a:pt x="21" y="70"/>
                      <a:pt x="21" y="70"/>
                      <a:pt x="21" y="69"/>
                    </a:cubicBezTo>
                    <a:cubicBezTo>
                      <a:pt x="21" y="69"/>
                      <a:pt x="22" y="69"/>
                      <a:pt x="22" y="68"/>
                    </a:cubicBezTo>
                    <a:cubicBezTo>
                      <a:pt x="22" y="66"/>
                      <a:pt x="22" y="66"/>
                      <a:pt x="22" y="65"/>
                    </a:cubicBezTo>
                    <a:cubicBezTo>
                      <a:pt x="23" y="64"/>
                      <a:pt x="23" y="64"/>
                      <a:pt x="23" y="63"/>
                    </a:cubicBezTo>
                    <a:cubicBezTo>
                      <a:pt x="23" y="62"/>
                      <a:pt x="23" y="62"/>
                      <a:pt x="24" y="60"/>
                    </a:cubicBezTo>
                    <a:cubicBezTo>
                      <a:pt x="24" y="57"/>
                      <a:pt x="25" y="57"/>
                      <a:pt x="25" y="57"/>
                    </a:cubicBezTo>
                    <a:cubicBezTo>
                      <a:pt x="25" y="57"/>
                      <a:pt x="31" y="59"/>
                      <a:pt x="31" y="59"/>
                    </a:cubicBezTo>
                    <a:cubicBezTo>
                      <a:pt x="31" y="59"/>
                      <a:pt x="32" y="60"/>
                      <a:pt x="32" y="60"/>
                    </a:cubicBezTo>
                    <a:cubicBezTo>
                      <a:pt x="32" y="61"/>
                      <a:pt x="32" y="62"/>
                      <a:pt x="32" y="62"/>
                    </a:cubicBezTo>
                    <a:cubicBezTo>
                      <a:pt x="32" y="63"/>
                      <a:pt x="31" y="64"/>
                      <a:pt x="31" y="64"/>
                    </a:cubicBezTo>
                    <a:cubicBezTo>
                      <a:pt x="31" y="65"/>
                      <a:pt x="31" y="65"/>
                      <a:pt x="31" y="65"/>
                    </a:cubicBezTo>
                    <a:cubicBezTo>
                      <a:pt x="31" y="65"/>
                      <a:pt x="30" y="65"/>
                      <a:pt x="30" y="66"/>
                    </a:cubicBezTo>
                    <a:cubicBezTo>
                      <a:pt x="29" y="67"/>
                      <a:pt x="29" y="68"/>
                      <a:pt x="30" y="69"/>
                    </a:cubicBezTo>
                    <a:cubicBezTo>
                      <a:pt x="31" y="69"/>
                      <a:pt x="31" y="70"/>
                      <a:pt x="32" y="70"/>
                    </a:cubicBezTo>
                    <a:cubicBezTo>
                      <a:pt x="32" y="70"/>
                      <a:pt x="33" y="69"/>
                      <a:pt x="33" y="69"/>
                    </a:cubicBezTo>
                    <a:cubicBezTo>
                      <a:pt x="34" y="69"/>
                      <a:pt x="35" y="69"/>
                      <a:pt x="35" y="69"/>
                    </a:cubicBezTo>
                    <a:cubicBezTo>
                      <a:pt x="35" y="70"/>
                      <a:pt x="35" y="71"/>
                      <a:pt x="35" y="71"/>
                    </a:cubicBezTo>
                    <a:cubicBezTo>
                      <a:pt x="36" y="72"/>
                      <a:pt x="37" y="72"/>
                      <a:pt x="37" y="72"/>
                    </a:cubicBezTo>
                    <a:cubicBezTo>
                      <a:pt x="38" y="72"/>
                      <a:pt x="39" y="72"/>
                      <a:pt x="39" y="72"/>
                    </a:cubicBezTo>
                    <a:cubicBezTo>
                      <a:pt x="39" y="72"/>
                      <a:pt x="39" y="72"/>
                      <a:pt x="40" y="71"/>
                    </a:cubicBezTo>
                    <a:cubicBezTo>
                      <a:pt x="41" y="71"/>
                      <a:pt x="42" y="74"/>
                      <a:pt x="41" y="71"/>
                    </a:cubicBezTo>
                    <a:cubicBezTo>
                      <a:pt x="39" y="68"/>
                      <a:pt x="39" y="68"/>
                      <a:pt x="38" y="68"/>
                    </a:cubicBezTo>
                    <a:cubicBezTo>
                      <a:pt x="38" y="67"/>
                      <a:pt x="37" y="67"/>
                      <a:pt x="37" y="67"/>
                    </a:cubicBezTo>
                    <a:cubicBezTo>
                      <a:pt x="37" y="67"/>
                      <a:pt x="37" y="67"/>
                      <a:pt x="37" y="67"/>
                    </a:cubicBezTo>
                    <a:cubicBezTo>
                      <a:pt x="37" y="67"/>
                      <a:pt x="36" y="66"/>
                      <a:pt x="36" y="65"/>
                    </a:cubicBezTo>
                    <a:cubicBezTo>
                      <a:pt x="37" y="64"/>
                      <a:pt x="37" y="64"/>
                      <a:pt x="38" y="64"/>
                    </a:cubicBezTo>
                    <a:cubicBezTo>
                      <a:pt x="38" y="64"/>
                      <a:pt x="39" y="64"/>
                      <a:pt x="40" y="65"/>
                    </a:cubicBezTo>
                    <a:cubicBezTo>
                      <a:pt x="41" y="66"/>
                      <a:pt x="41" y="66"/>
                      <a:pt x="41" y="67"/>
                    </a:cubicBezTo>
                    <a:cubicBezTo>
                      <a:pt x="42" y="68"/>
                      <a:pt x="43" y="69"/>
                      <a:pt x="43" y="70"/>
                    </a:cubicBezTo>
                    <a:cubicBezTo>
                      <a:pt x="44" y="70"/>
                      <a:pt x="44" y="70"/>
                      <a:pt x="44" y="71"/>
                    </a:cubicBezTo>
                    <a:cubicBezTo>
                      <a:pt x="44" y="73"/>
                      <a:pt x="44" y="75"/>
                      <a:pt x="44" y="75"/>
                    </a:cubicBezTo>
                    <a:cubicBezTo>
                      <a:pt x="44" y="76"/>
                      <a:pt x="44" y="79"/>
                      <a:pt x="44" y="79"/>
                    </a:cubicBezTo>
                    <a:cubicBezTo>
                      <a:pt x="44" y="79"/>
                      <a:pt x="44" y="80"/>
                      <a:pt x="44" y="81"/>
                    </a:cubicBezTo>
                    <a:cubicBezTo>
                      <a:pt x="44" y="82"/>
                      <a:pt x="48" y="87"/>
                      <a:pt x="48" y="87"/>
                    </a:cubicBezTo>
                    <a:cubicBezTo>
                      <a:pt x="48" y="87"/>
                      <a:pt x="50" y="90"/>
                      <a:pt x="50" y="90"/>
                    </a:cubicBezTo>
                    <a:cubicBezTo>
                      <a:pt x="51" y="90"/>
                      <a:pt x="51" y="92"/>
                      <a:pt x="52" y="93"/>
                    </a:cubicBezTo>
                    <a:cubicBezTo>
                      <a:pt x="54" y="93"/>
                      <a:pt x="57" y="95"/>
                      <a:pt x="57" y="95"/>
                    </a:cubicBezTo>
                    <a:cubicBezTo>
                      <a:pt x="62" y="98"/>
                      <a:pt x="62" y="98"/>
                      <a:pt x="62" y="98"/>
                    </a:cubicBezTo>
                    <a:cubicBezTo>
                      <a:pt x="62" y="98"/>
                      <a:pt x="65" y="100"/>
                      <a:pt x="65" y="100"/>
                    </a:cubicBezTo>
                    <a:cubicBezTo>
                      <a:pt x="65" y="100"/>
                      <a:pt x="69" y="100"/>
                      <a:pt x="66" y="100"/>
                    </a:cubicBezTo>
                    <a:cubicBezTo>
                      <a:pt x="64" y="100"/>
                      <a:pt x="60" y="98"/>
                      <a:pt x="60" y="98"/>
                    </a:cubicBezTo>
                    <a:cubicBezTo>
                      <a:pt x="60" y="98"/>
                      <a:pt x="60" y="97"/>
                      <a:pt x="59" y="97"/>
                    </a:cubicBezTo>
                    <a:cubicBezTo>
                      <a:pt x="59" y="97"/>
                      <a:pt x="55" y="96"/>
                      <a:pt x="55" y="96"/>
                    </a:cubicBezTo>
                    <a:cubicBezTo>
                      <a:pt x="54" y="95"/>
                      <a:pt x="54" y="95"/>
                      <a:pt x="53" y="94"/>
                    </a:cubicBezTo>
                    <a:cubicBezTo>
                      <a:pt x="52" y="93"/>
                      <a:pt x="51" y="91"/>
                      <a:pt x="51" y="91"/>
                    </a:cubicBezTo>
                    <a:cubicBezTo>
                      <a:pt x="51" y="91"/>
                      <a:pt x="50" y="90"/>
                      <a:pt x="49" y="89"/>
                    </a:cubicBezTo>
                    <a:cubicBezTo>
                      <a:pt x="48" y="88"/>
                      <a:pt x="49" y="88"/>
                      <a:pt x="48" y="88"/>
                    </a:cubicBezTo>
                    <a:cubicBezTo>
                      <a:pt x="47" y="87"/>
                      <a:pt x="48" y="88"/>
                      <a:pt x="47" y="87"/>
                    </a:cubicBezTo>
                    <a:cubicBezTo>
                      <a:pt x="45" y="86"/>
                      <a:pt x="45" y="85"/>
                      <a:pt x="44" y="85"/>
                    </a:cubicBezTo>
                    <a:cubicBezTo>
                      <a:pt x="44" y="85"/>
                      <a:pt x="42" y="85"/>
                      <a:pt x="42" y="84"/>
                    </a:cubicBezTo>
                    <a:cubicBezTo>
                      <a:pt x="41" y="84"/>
                      <a:pt x="40" y="83"/>
                      <a:pt x="40" y="83"/>
                    </a:cubicBezTo>
                    <a:cubicBezTo>
                      <a:pt x="40" y="83"/>
                      <a:pt x="40" y="84"/>
                      <a:pt x="41" y="85"/>
                    </a:cubicBezTo>
                    <a:cubicBezTo>
                      <a:pt x="42" y="85"/>
                      <a:pt x="44" y="87"/>
                      <a:pt x="44" y="87"/>
                    </a:cubicBezTo>
                    <a:cubicBezTo>
                      <a:pt x="44" y="87"/>
                      <a:pt x="45" y="87"/>
                      <a:pt x="45" y="87"/>
                    </a:cubicBezTo>
                    <a:cubicBezTo>
                      <a:pt x="45" y="87"/>
                      <a:pt x="45" y="89"/>
                      <a:pt x="45" y="89"/>
                    </a:cubicBezTo>
                    <a:cubicBezTo>
                      <a:pt x="45" y="89"/>
                      <a:pt x="43" y="88"/>
                      <a:pt x="45" y="89"/>
                    </a:cubicBezTo>
                    <a:cubicBezTo>
                      <a:pt x="47" y="90"/>
                      <a:pt x="48" y="90"/>
                      <a:pt x="48" y="90"/>
                    </a:cubicBezTo>
                    <a:cubicBezTo>
                      <a:pt x="48" y="90"/>
                      <a:pt x="46" y="91"/>
                      <a:pt x="46" y="91"/>
                    </a:cubicBezTo>
                    <a:cubicBezTo>
                      <a:pt x="46" y="91"/>
                      <a:pt x="47" y="94"/>
                      <a:pt x="48" y="94"/>
                    </a:cubicBezTo>
                    <a:cubicBezTo>
                      <a:pt x="48" y="94"/>
                      <a:pt x="49" y="94"/>
                      <a:pt x="50" y="94"/>
                    </a:cubicBezTo>
                    <a:cubicBezTo>
                      <a:pt x="50" y="94"/>
                      <a:pt x="51" y="94"/>
                      <a:pt x="52" y="94"/>
                    </a:cubicBezTo>
                    <a:cubicBezTo>
                      <a:pt x="52" y="95"/>
                      <a:pt x="52" y="95"/>
                      <a:pt x="52" y="95"/>
                    </a:cubicBezTo>
                    <a:cubicBezTo>
                      <a:pt x="52" y="96"/>
                      <a:pt x="52" y="98"/>
                      <a:pt x="52" y="98"/>
                    </a:cubicBezTo>
                    <a:cubicBezTo>
                      <a:pt x="54" y="98"/>
                      <a:pt x="54" y="98"/>
                      <a:pt x="54" y="98"/>
                    </a:cubicBezTo>
                    <a:cubicBezTo>
                      <a:pt x="54" y="98"/>
                      <a:pt x="52" y="98"/>
                      <a:pt x="51" y="98"/>
                    </a:cubicBezTo>
                    <a:cubicBezTo>
                      <a:pt x="51" y="97"/>
                      <a:pt x="50" y="97"/>
                      <a:pt x="50" y="97"/>
                    </a:cubicBezTo>
                    <a:cubicBezTo>
                      <a:pt x="49" y="98"/>
                      <a:pt x="49" y="98"/>
                      <a:pt x="49" y="99"/>
                    </a:cubicBezTo>
                    <a:cubicBezTo>
                      <a:pt x="50" y="99"/>
                      <a:pt x="51" y="100"/>
                      <a:pt x="51" y="100"/>
                    </a:cubicBezTo>
                    <a:cubicBezTo>
                      <a:pt x="52" y="99"/>
                      <a:pt x="52" y="99"/>
                      <a:pt x="52" y="99"/>
                    </a:cubicBezTo>
                    <a:cubicBezTo>
                      <a:pt x="52" y="99"/>
                      <a:pt x="52" y="99"/>
                      <a:pt x="53" y="99"/>
                    </a:cubicBezTo>
                    <a:cubicBezTo>
                      <a:pt x="53" y="99"/>
                      <a:pt x="54" y="99"/>
                      <a:pt x="54" y="99"/>
                    </a:cubicBezTo>
                    <a:cubicBezTo>
                      <a:pt x="55" y="98"/>
                      <a:pt x="55" y="98"/>
                      <a:pt x="55" y="98"/>
                    </a:cubicBezTo>
                    <a:cubicBezTo>
                      <a:pt x="55" y="98"/>
                      <a:pt x="55" y="98"/>
                      <a:pt x="55" y="99"/>
                    </a:cubicBezTo>
                    <a:cubicBezTo>
                      <a:pt x="55" y="99"/>
                      <a:pt x="55" y="99"/>
                      <a:pt x="55" y="100"/>
                    </a:cubicBezTo>
                    <a:cubicBezTo>
                      <a:pt x="54" y="101"/>
                      <a:pt x="54" y="100"/>
                      <a:pt x="54" y="101"/>
                    </a:cubicBezTo>
                    <a:cubicBezTo>
                      <a:pt x="54" y="101"/>
                      <a:pt x="53" y="101"/>
                      <a:pt x="54" y="102"/>
                    </a:cubicBezTo>
                    <a:cubicBezTo>
                      <a:pt x="54" y="103"/>
                      <a:pt x="54" y="103"/>
                      <a:pt x="54" y="103"/>
                    </a:cubicBezTo>
                    <a:cubicBezTo>
                      <a:pt x="54" y="103"/>
                      <a:pt x="54" y="103"/>
                      <a:pt x="55" y="104"/>
                    </a:cubicBezTo>
                    <a:cubicBezTo>
                      <a:pt x="55" y="105"/>
                      <a:pt x="55" y="105"/>
                      <a:pt x="56" y="106"/>
                    </a:cubicBezTo>
                    <a:cubicBezTo>
                      <a:pt x="56" y="106"/>
                      <a:pt x="58" y="108"/>
                      <a:pt x="58" y="108"/>
                    </a:cubicBezTo>
                    <a:cubicBezTo>
                      <a:pt x="58" y="108"/>
                      <a:pt x="60" y="110"/>
                      <a:pt x="60" y="110"/>
                    </a:cubicBezTo>
                    <a:cubicBezTo>
                      <a:pt x="60" y="110"/>
                      <a:pt x="61" y="111"/>
                      <a:pt x="61" y="111"/>
                    </a:cubicBezTo>
                    <a:cubicBezTo>
                      <a:pt x="61" y="111"/>
                      <a:pt x="61" y="112"/>
                      <a:pt x="61" y="111"/>
                    </a:cubicBezTo>
                    <a:cubicBezTo>
                      <a:pt x="60" y="110"/>
                      <a:pt x="58" y="109"/>
                      <a:pt x="58" y="109"/>
                    </a:cubicBezTo>
                    <a:cubicBezTo>
                      <a:pt x="58" y="111"/>
                      <a:pt x="58" y="111"/>
                      <a:pt x="58" y="111"/>
                    </a:cubicBezTo>
                    <a:cubicBezTo>
                      <a:pt x="58" y="111"/>
                      <a:pt x="59" y="112"/>
                      <a:pt x="59" y="112"/>
                    </a:cubicBezTo>
                    <a:cubicBezTo>
                      <a:pt x="60" y="112"/>
                      <a:pt x="60" y="113"/>
                      <a:pt x="60" y="113"/>
                    </a:cubicBezTo>
                    <a:cubicBezTo>
                      <a:pt x="61" y="113"/>
                      <a:pt x="62" y="113"/>
                      <a:pt x="62" y="114"/>
                    </a:cubicBezTo>
                    <a:cubicBezTo>
                      <a:pt x="63" y="114"/>
                      <a:pt x="63" y="113"/>
                      <a:pt x="63" y="113"/>
                    </a:cubicBezTo>
                    <a:cubicBezTo>
                      <a:pt x="63" y="113"/>
                      <a:pt x="63" y="113"/>
                      <a:pt x="64" y="113"/>
                    </a:cubicBezTo>
                    <a:cubicBezTo>
                      <a:pt x="64" y="113"/>
                      <a:pt x="64" y="114"/>
                      <a:pt x="64" y="115"/>
                    </a:cubicBezTo>
                    <a:cubicBezTo>
                      <a:pt x="64" y="115"/>
                      <a:pt x="63" y="116"/>
                      <a:pt x="63" y="115"/>
                    </a:cubicBezTo>
                    <a:cubicBezTo>
                      <a:pt x="62" y="115"/>
                      <a:pt x="61" y="114"/>
                      <a:pt x="61" y="114"/>
                    </a:cubicBezTo>
                    <a:cubicBezTo>
                      <a:pt x="60" y="114"/>
                      <a:pt x="60" y="114"/>
                      <a:pt x="59" y="114"/>
                    </a:cubicBezTo>
                    <a:cubicBezTo>
                      <a:pt x="58" y="114"/>
                      <a:pt x="57" y="113"/>
                      <a:pt x="57" y="114"/>
                    </a:cubicBezTo>
                    <a:cubicBezTo>
                      <a:pt x="57" y="115"/>
                      <a:pt x="57" y="115"/>
                      <a:pt x="57" y="115"/>
                    </a:cubicBezTo>
                    <a:cubicBezTo>
                      <a:pt x="57" y="115"/>
                      <a:pt x="56" y="113"/>
                      <a:pt x="55" y="112"/>
                    </a:cubicBezTo>
                    <a:cubicBezTo>
                      <a:pt x="54" y="112"/>
                      <a:pt x="53" y="111"/>
                      <a:pt x="53" y="111"/>
                    </a:cubicBezTo>
                    <a:cubicBezTo>
                      <a:pt x="52" y="110"/>
                      <a:pt x="52" y="110"/>
                      <a:pt x="52" y="110"/>
                    </a:cubicBezTo>
                    <a:cubicBezTo>
                      <a:pt x="52" y="110"/>
                      <a:pt x="53" y="110"/>
                      <a:pt x="53" y="110"/>
                    </a:cubicBezTo>
                    <a:cubicBezTo>
                      <a:pt x="54" y="111"/>
                      <a:pt x="53" y="111"/>
                      <a:pt x="54" y="111"/>
                    </a:cubicBezTo>
                    <a:cubicBezTo>
                      <a:pt x="55" y="111"/>
                      <a:pt x="53" y="109"/>
                      <a:pt x="55" y="109"/>
                    </a:cubicBezTo>
                    <a:cubicBezTo>
                      <a:pt x="56" y="109"/>
                      <a:pt x="56" y="109"/>
                      <a:pt x="56" y="109"/>
                    </a:cubicBezTo>
                    <a:cubicBezTo>
                      <a:pt x="57" y="109"/>
                      <a:pt x="58" y="108"/>
                      <a:pt x="56" y="108"/>
                    </a:cubicBezTo>
                    <a:cubicBezTo>
                      <a:pt x="55" y="107"/>
                      <a:pt x="55" y="107"/>
                      <a:pt x="54" y="107"/>
                    </a:cubicBezTo>
                    <a:cubicBezTo>
                      <a:pt x="54" y="107"/>
                      <a:pt x="54" y="107"/>
                      <a:pt x="54" y="106"/>
                    </a:cubicBezTo>
                    <a:cubicBezTo>
                      <a:pt x="53" y="105"/>
                      <a:pt x="53" y="104"/>
                      <a:pt x="52" y="104"/>
                    </a:cubicBezTo>
                    <a:cubicBezTo>
                      <a:pt x="52" y="104"/>
                      <a:pt x="50" y="104"/>
                      <a:pt x="50" y="104"/>
                    </a:cubicBezTo>
                    <a:cubicBezTo>
                      <a:pt x="50" y="104"/>
                      <a:pt x="49" y="104"/>
                      <a:pt x="48" y="104"/>
                    </a:cubicBezTo>
                    <a:cubicBezTo>
                      <a:pt x="47" y="103"/>
                      <a:pt x="46" y="102"/>
                      <a:pt x="46" y="102"/>
                    </a:cubicBezTo>
                    <a:cubicBezTo>
                      <a:pt x="45" y="102"/>
                      <a:pt x="43" y="101"/>
                      <a:pt x="43" y="100"/>
                    </a:cubicBezTo>
                    <a:cubicBezTo>
                      <a:pt x="43" y="100"/>
                      <a:pt x="42" y="99"/>
                      <a:pt x="41" y="99"/>
                    </a:cubicBezTo>
                    <a:cubicBezTo>
                      <a:pt x="40" y="99"/>
                      <a:pt x="40" y="100"/>
                      <a:pt x="39" y="100"/>
                    </a:cubicBezTo>
                    <a:cubicBezTo>
                      <a:pt x="39" y="99"/>
                      <a:pt x="38" y="98"/>
                      <a:pt x="38" y="98"/>
                    </a:cubicBezTo>
                    <a:cubicBezTo>
                      <a:pt x="37" y="98"/>
                      <a:pt x="37" y="97"/>
                      <a:pt x="37" y="97"/>
                    </a:cubicBezTo>
                    <a:cubicBezTo>
                      <a:pt x="37" y="98"/>
                      <a:pt x="36" y="98"/>
                      <a:pt x="38" y="99"/>
                    </a:cubicBezTo>
                    <a:cubicBezTo>
                      <a:pt x="39" y="99"/>
                      <a:pt x="40" y="100"/>
                      <a:pt x="40" y="100"/>
                    </a:cubicBezTo>
                    <a:cubicBezTo>
                      <a:pt x="40" y="100"/>
                      <a:pt x="40" y="100"/>
                      <a:pt x="40" y="101"/>
                    </a:cubicBezTo>
                    <a:cubicBezTo>
                      <a:pt x="40" y="101"/>
                      <a:pt x="41" y="101"/>
                      <a:pt x="41" y="101"/>
                    </a:cubicBezTo>
                    <a:cubicBezTo>
                      <a:pt x="42" y="101"/>
                      <a:pt x="43" y="101"/>
                      <a:pt x="43" y="102"/>
                    </a:cubicBezTo>
                    <a:cubicBezTo>
                      <a:pt x="43" y="102"/>
                      <a:pt x="45" y="102"/>
                      <a:pt x="45" y="103"/>
                    </a:cubicBezTo>
                    <a:cubicBezTo>
                      <a:pt x="45" y="104"/>
                      <a:pt x="46" y="104"/>
                      <a:pt x="45" y="104"/>
                    </a:cubicBezTo>
                    <a:cubicBezTo>
                      <a:pt x="45" y="104"/>
                      <a:pt x="44" y="105"/>
                      <a:pt x="45" y="105"/>
                    </a:cubicBezTo>
                    <a:cubicBezTo>
                      <a:pt x="45" y="106"/>
                      <a:pt x="46" y="106"/>
                      <a:pt x="46" y="106"/>
                    </a:cubicBezTo>
                    <a:cubicBezTo>
                      <a:pt x="47" y="106"/>
                      <a:pt x="47" y="106"/>
                      <a:pt x="48" y="107"/>
                    </a:cubicBezTo>
                    <a:cubicBezTo>
                      <a:pt x="50" y="107"/>
                      <a:pt x="50" y="108"/>
                      <a:pt x="50" y="109"/>
                    </a:cubicBezTo>
                    <a:cubicBezTo>
                      <a:pt x="50" y="109"/>
                      <a:pt x="52" y="110"/>
                      <a:pt x="52" y="110"/>
                    </a:cubicBezTo>
                    <a:cubicBezTo>
                      <a:pt x="52" y="110"/>
                      <a:pt x="51" y="110"/>
                      <a:pt x="51" y="111"/>
                    </a:cubicBezTo>
                    <a:cubicBezTo>
                      <a:pt x="51" y="111"/>
                      <a:pt x="51" y="111"/>
                      <a:pt x="52" y="112"/>
                    </a:cubicBezTo>
                    <a:cubicBezTo>
                      <a:pt x="53" y="112"/>
                      <a:pt x="53" y="112"/>
                      <a:pt x="53" y="112"/>
                    </a:cubicBezTo>
                    <a:cubicBezTo>
                      <a:pt x="53" y="112"/>
                      <a:pt x="53" y="113"/>
                      <a:pt x="53" y="113"/>
                    </a:cubicBezTo>
                    <a:cubicBezTo>
                      <a:pt x="53" y="114"/>
                      <a:pt x="52" y="114"/>
                      <a:pt x="54" y="115"/>
                    </a:cubicBezTo>
                    <a:cubicBezTo>
                      <a:pt x="56" y="115"/>
                      <a:pt x="56" y="115"/>
                      <a:pt x="56" y="115"/>
                    </a:cubicBezTo>
                    <a:cubicBezTo>
                      <a:pt x="56" y="116"/>
                      <a:pt x="56" y="116"/>
                      <a:pt x="56" y="116"/>
                    </a:cubicBezTo>
                    <a:cubicBezTo>
                      <a:pt x="56" y="116"/>
                      <a:pt x="55" y="116"/>
                      <a:pt x="56" y="117"/>
                    </a:cubicBezTo>
                    <a:cubicBezTo>
                      <a:pt x="57" y="118"/>
                      <a:pt x="59" y="118"/>
                      <a:pt x="59" y="118"/>
                    </a:cubicBezTo>
                    <a:cubicBezTo>
                      <a:pt x="60" y="117"/>
                      <a:pt x="60" y="117"/>
                      <a:pt x="60" y="117"/>
                    </a:cubicBezTo>
                    <a:cubicBezTo>
                      <a:pt x="60" y="117"/>
                      <a:pt x="61" y="118"/>
                      <a:pt x="61" y="118"/>
                    </a:cubicBezTo>
                    <a:cubicBezTo>
                      <a:pt x="60" y="119"/>
                      <a:pt x="60" y="119"/>
                      <a:pt x="60" y="119"/>
                    </a:cubicBezTo>
                    <a:cubicBezTo>
                      <a:pt x="60" y="119"/>
                      <a:pt x="60" y="120"/>
                      <a:pt x="60" y="120"/>
                    </a:cubicBezTo>
                    <a:cubicBezTo>
                      <a:pt x="61" y="121"/>
                      <a:pt x="62" y="121"/>
                      <a:pt x="62" y="121"/>
                    </a:cubicBezTo>
                    <a:cubicBezTo>
                      <a:pt x="62" y="121"/>
                      <a:pt x="63" y="121"/>
                      <a:pt x="63" y="122"/>
                    </a:cubicBezTo>
                    <a:cubicBezTo>
                      <a:pt x="63" y="122"/>
                      <a:pt x="63" y="123"/>
                      <a:pt x="64" y="123"/>
                    </a:cubicBezTo>
                    <a:cubicBezTo>
                      <a:pt x="64" y="123"/>
                      <a:pt x="65" y="123"/>
                      <a:pt x="65" y="123"/>
                    </a:cubicBezTo>
                    <a:cubicBezTo>
                      <a:pt x="66" y="124"/>
                      <a:pt x="66" y="124"/>
                      <a:pt x="67" y="124"/>
                    </a:cubicBezTo>
                    <a:cubicBezTo>
                      <a:pt x="67" y="123"/>
                      <a:pt x="67" y="123"/>
                      <a:pt x="67" y="122"/>
                    </a:cubicBezTo>
                    <a:cubicBezTo>
                      <a:pt x="66" y="122"/>
                      <a:pt x="65" y="121"/>
                      <a:pt x="64" y="121"/>
                    </a:cubicBezTo>
                    <a:cubicBezTo>
                      <a:pt x="64" y="121"/>
                      <a:pt x="63" y="121"/>
                      <a:pt x="63" y="121"/>
                    </a:cubicBezTo>
                    <a:cubicBezTo>
                      <a:pt x="63" y="120"/>
                      <a:pt x="63" y="121"/>
                      <a:pt x="63" y="120"/>
                    </a:cubicBezTo>
                    <a:cubicBezTo>
                      <a:pt x="63" y="119"/>
                      <a:pt x="62" y="118"/>
                      <a:pt x="62" y="118"/>
                    </a:cubicBezTo>
                    <a:cubicBezTo>
                      <a:pt x="62" y="118"/>
                      <a:pt x="62" y="117"/>
                      <a:pt x="62" y="117"/>
                    </a:cubicBezTo>
                    <a:cubicBezTo>
                      <a:pt x="61" y="117"/>
                      <a:pt x="61" y="117"/>
                      <a:pt x="60" y="116"/>
                    </a:cubicBezTo>
                    <a:cubicBezTo>
                      <a:pt x="60" y="116"/>
                      <a:pt x="60" y="116"/>
                      <a:pt x="59" y="116"/>
                    </a:cubicBezTo>
                    <a:cubicBezTo>
                      <a:pt x="59" y="116"/>
                      <a:pt x="58" y="116"/>
                      <a:pt x="58" y="115"/>
                    </a:cubicBezTo>
                    <a:cubicBezTo>
                      <a:pt x="58" y="115"/>
                      <a:pt x="58" y="115"/>
                      <a:pt x="59" y="115"/>
                    </a:cubicBezTo>
                    <a:cubicBezTo>
                      <a:pt x="59" y="115"/>
                      <a:pt x="60" y="115"/>
                      <a:pt x="60" y="115"/>
                    </a:cubicBezTo>
                    <a:cubicBezTo>
                      <a:pt x="61" y="115"/>
                      <a:pt x="61" y="115"/>
                      <a:pt x="62" y="115"/>
                    </a:cubicBezTo>
                    <a:cubicBezTo>
                      <a:pt x="63" y="116"/>
                      <a:pt x="62" y="116"/>
                      <a:pt x="63" y="116"/>
                    </a:cubicBezTo>
                    <a:cubicBezTo>
                      <a:pt x="64" y="116"/>
                      <a:pt x="64" y="116"/>
                      <a:pt x="64" y="116"/>
                    </a:cubicBezTo>
                    <a:cubicBezTo>
                      <a:pt x="66" y="115"/>
                      <a:pt x="66" y="115"/>
                      <a:pt x="66" y="115"/>
                    </a:cubicBezTo>
                    <a:cubicBezTo>
                      <a:pt x="66" y="115"/>
                      <a:pt x="66" y="115"/>
                      <a:pt x="66" y="115"/>
                    </a:cubicBezTo>
                    <a:cubicBezTo>
                      <a:pt x="67" y="116"/>
                      <a:pt x="66" y="116"/>
                      <a:pt x="68" y="116"/>
                    </a:cubicBezTo>
                    <a:cubicBezTo>
                      <a:pt x="70" y="116"/>
                      <a:pt x="70" y="116"/>
                      <a:pt x="70" y="117"/>
                    </a:cubicBezTo>
                    <a:cubicBezTo>
                      <a:pt x="70" y="117"/>
                      <a:pt x="70" y="118"/>
                      <a:pt x="70" y="118"/>
                    </a:cubicBezTo>
                    <a:cubicBezTo>
                      <a:pt x="70" y="118"/>
                      <a:pt x="70" y="119"/>
                      <a:pt x="70" y="119"/>
                    </a:cubicBezTo>
                    <a:cubicBezTo>
                      <a:pt x="71" y="119"/>
                      <a:pt x="72" y="119"/>
                      <a:pt x="72" y="119"/>
                    </a:cubicBezTo>
                    <a:cubicBezTo>
                      <a:pt x="72" y="119"/>
                      <a:pt x="74" y="119"/>
                      <a:pt x="74" y="120"/>
                    </a:cubicBezTo>
                    <a:cubicBezTo>
                      <a:pt x="74" y="120"/>
                      <a:pt x="72" y="121"/>
                      <a:pt x="72" y="121"/>
                    </a:cubicBezTo>
                    <a:cubicBezTo>
                      <a:pt x="72" y="121"/>
                      <a:pt x="71" y="121"/>
                      <a:pt x="71" y="121"/>
                    </a:cubicBezTo>
                    <a:cubicBezTo>
                      <a:pt x="71" y="122"/>
                      <a:pt x="70" y="123"/>
                      <a:pt x="71" y="123"/>
                    </a:cubicBezTo>
                    <a:cubicBezTo>
                      <a:pt x="71" y="123"/>
                      <a:pt x="71" y="123"/>
                      <a:pt x="70" y="123"/>
                    </a:cubicBezTo>
                    <a:cubicBezTo>
                      <a:pt x="70" y="123"/>
                      <a:pt x="69" y="122"/>
                      <a:pt x="70" y="123"/>
                    </a:cubicBezTo>
                    <a:cubicBezTo>
                      <a:pt x="70" y="125"/>
                      <a:pt x="71" y="125"/>
                      <a:pt x="71" y="125"/>
                    </a:cubicBezTo>
                    <a:cubicBezTo>
                      <a:pt x="72" y="125"/>
                      <a:pt x="73" y="125"/>
                      <a:pt x="74" y="125"/>
                    </a:cubicBezTo>
                    <a:cubicBezTo>
                      <a:pt x="74" y="125"/>
                      <a:pt x="74" y="125"/>
                      <a:pt x="74" y="125"/>
                    </a:cubicBezTo>
                    <a:cubicBezTo>
                      <a:pt x="73" y="125"/>
                      <a:pt x="73" y="124"/>
                      <a:pt x="73" y="124"/>
                    </a:cubicBezTo>
                    <a:cubicBezTo>
                      <a:pt x="73" y="124"/>
                      <a:pt x="72" y="124"/>
                      <a:pt x="72" y="124"/>
                    </a:cubicBezTo>
                    <a:cubicBezTo>
                      <a:pt x="72" y="124"/>
                      <a:pt x="73" y="124"/>
                      <a:pt x="73" y="123"/>
                    </a:cubicBezTo>
                    <a:cubicBezTo>
                      <a:pt x="73" y="123"/>
                      <a:pt x="74" y="122"/>
                      <a:pt x="74" y="122"/>
                    </a:cubicBezTo>
                    <a:cubicBezTo>
                      <a:pt x="74" y="122"/>
                      <a:pt x="75" y="120"/>
                      <a:pt x="75" y="121"/>
                    </a:cubicBezTo>
                    <a:cubicBezTo>
                      <a:pt x="76" y="122"/>
                      <a:pt x="75" y="122"/>
                      <a:pt x="76" y="122"/>
                    </a:cubicBezTo>
                    <a:cubicBezTo>
                      <a:pt x="77" y="122"/>
                      <a:pt x="79" y="120"/>
                      <a:pt x="79" y="120"/>
                    </a:cubicBezTo>
                    <a:cubicBezTo>
                      <a:pt x="79" y="120"/>
                      <a:pt x="80" y="120"/>
                      <a:pt x="79" y="121"/>
                    </a:cubicBezTo>
                    <a:cubicBezTo>
                      <a:pt x="79" y="121"/>
                      <a:pt x="78" y="122"/>
                      <a:pt x="78" y="123"/>
                    </a:cubicBezTo>
                    <a:cubicBezTo>
                      <a:pt x="79" y="124"/>
                      <a:pt x="79" y="123"/>
                      <a:pt x="79" y="124"/>
                    </a:cubicBezTo>
                    <a:cubicBezTo>
                      <a:pt x="79" y="125"/>
                      <a:pt x="79" y="125"/>
                      <a:pt x="79" y="125"/>
                    </a:cubicBezTo>
                    <a:cubicBezTo>
                      <a:pt x="80" y="126"/>
                      <a:pt x="80" y="126"/>
                      <a:pt x="80" y="126"/>
                    </a:cubicBezTo>
                    <a:cubicBezTo>
                      <a:pt x="80" y="127"/>
                      <a:pt x="81" y="128"/>
                      <a:pt x="81" y="128"/>
                    </a:cubicBezTo>
                    <a:cubicBezTo>
                      <a:pt x="81" y="129"/>
                      <a:pt x="81" y="129"/>
                      <a:pt x="81" y="130"/>
                    </a:cubicBezTo>
                    <a:cubicBezTo>
                      <a:pt x="82" y="130"/>
                      <a:pt x="84" y="131"/>
                      <a:pt x="84" y="131"/>
                    </a:cubicBezTo>
                    <a:cubicBezTo>
                      <a:pt x="84" y="130"/>
                      <a:pt x="84" y="130"/>
                      <a:pt x="84" y="130"/>
                    </a:cubicBezTo>
                    <a:cubicBezTo>
                      <a:pt x="84" y="130"/>
                      <a:pt x="84" y="131"/>
                      <a:pt x="85" y="130"/>
                    </a:cubicBezTo>
                    <a:cubicBezTo>
                      <a:pt x="85" y="129"/>
                      <a:pt x="86" y="129"/>
                      <a:pt x="86" y="129"/>
                    </a:cubicBezTo>
                    <a:cubicBezTo>
                      <a:pt x="87" y="129"/>
                      <a:pt x="86" y="129"/>
                      <a:pt x="88" y="129"/>
                    </a:cubicBezTo>
                    <a:cubicBezTo>
                      <a:pt x="89" y="129"/>
                      <a:pt x="90" y="130"/>
                      <a:pt x="90" y="129"/>
                    </a:cubicBezTo>
                    <a:cubicBezTo>
                      <a:pt x="91" y="129"/>
                      <a:pt x="90" y="129"/>
                      <a:pt x="92" y="129"/>
                    </a:cubicBezTo>
                    <a:cubicBezTo>
                      <a:pt x="93" y="129"/>
                      <a:pt x="95" y="128"/>
                      <a:pt x="95" y="127"/>
                    </a:cubicBezTo>
                    <a:cubicBezTo>
                      <a:pt x="95" y="127"/>
                      <a:pt x="98" y="128"/>
                      <a:pt x="98" y="128"/>
                    </a:cubicBezTo>
                    <a:cubicBezTo>
                      <a:pt x="99" y="129"/>
                      <a:pt x="99" y="129"/>
                      <a:pt x="99" y="129"/>
                    </a:cubicBezTo>
                    <a:cubicBezTo>
                      <a:pt x="99" y="129"/>
                      <a:pt x="100" y="129"/>
                      <a:pt x="100" y="129"/>
                    </a:cubicBezTo>
                    <a:cubicBezTo>
                      <a:pt x="101" y="129"/>
                      <a:pt x="102" y="129"/>
                      <a:pt x="102" y="129"/>
                    </a:cubicBezTo>
                    <a:cubicBezTo>
                      <a:pt x="102" y="129"/>
                      <a:pt x="106" y="130"/>
                      <a:pt x="106" y="130"/>
                    </a:cubicBezTo>
                    <a:cubicBezTo>
                      <a:pt x="108" y="131"/>
                      <a:pt x="108" y="131"/>
                      <a:pt x="108" y="131"/>
                    </a:cubicBezTo>
                    <a:cubicBezTo>
                      <a:pt x="110" y="132"/>
                      <a:pt x="110" y="132"/>
                      <a:pt x="110" y="132"/>
                    </a:cubicBezTo>
                    <a:cubicBezTo>
                      <a:pt x="114" y="134"/>
                      <a:pt x="114" y="134"/>
                      <a:pt x="114" y="134"/>
                    </a:cubicBezTo>
                    <a:cubicBezTo>
                      <a:pt x="117" y="138"/>
                      <a:pt x="117" y="138"/>
                      <a:pt x="117" y="138"/>
                    </a:cubicBezTo>
                    <a:cubicBezTo>
                      <a:pt x="120" y="139"/>
                      <a:pt x="120" y="139"/>
                      <a:pt x="120" y="139"/>
                    </a:cubicBezTo>
                    <a:cubicBezTo>
                      <a:pt x="123" y="140"/>
                      <a:pt x="123" y="140"/>
                      <a:pt x="123" y="140"/>
                    </a:cubicBezTo>
                    <a:cubicBezTo>
                      <a:pt x="125" y="142"/>
                      <a:pt x="125" y="142"/>
                      <a:pt x="125" y="142"/>
                    </a:cubicBezTo>
                    <a:cubicBezTo>
                      <a:pt x="125" y="142"/>
                      <a:pt x="127" y="144"/>
                      <a:pt x="127" y="144"/>
                    </a:cubicBezTo>
                    <a:cubicBezTo>
                      <a:pt x="128" y="144"/>
                      <a:pt x="130" y="146"/>
                      <a:pt x="130" y="146"/>
                    </a:cubicBezTo>
                    <a:cubicBezTo>
                      <a:pt x="133" y="147"/>
                      <a:pt x="133" y="147"/>
                      <a:pt x="133" y="147"/>
                    </a:cubicBezTo>
                    <a:cubicBezTo>
                      <a:pt x="133" y="147"/>
                      <a:pt x="134" y="149"/>
                      <a:pt x="134" y="149"/>
                    </a:cubicBezTo>
                    <a:cubicBezTo>
                      <a:pt x="133" y="149"/>
                      <a:pt x="132" y="149"/>
                      <a:pt x="132" y="149"/>
                    </a:cubicBezTo>
                    <a:cubicBezTo>
                      <a:pt x="131" y="149"/>
                      <a:pt x="128" y="148"/>
                      <a:pt x="128" y="148"/>
                    </a:cubicBezTo>
                    <a:cubicBezTo>
                      <a:pt x="126" y="146"/>
                      <a:pt x="126" y="146"/>
                      <a:pt x="126" y="146"/>
                    </a:cubicBezTo>
                    <a:cubicBezTo>
                      <a:pt x="124" y="146"/>
                      <a:pt x="124" y="146"/>
                      <a:pt x="124" y="146"/>
                    </a:cubicBezTo>
                    <a:cubicBezTo>
                      <a:pt x="122" y="146"/>
                      <a:pt x="122" y="146"/>
                      <a:pt x="122" y="146"/>
                    </a:cubicBezTo>
                    <a:cubicBezTo>
                      <a:pt x="119" y="146"/>
                      <a:pt x="119" y="146"/>
                      <a:pt x="119" y="146"/>
                    </a:cubicBezTo>
                    <a:cubicBezTo>
                      <a:pt x="117" y="145"/>
                      <a:pt x="117" y="145"/>
                      <a:pt x="117" y="145"/>
                    </a:cubicBezTo>
                    <a:cubicBezTo>
                      <a:pt x="117" y="145"/>
                      <a:pt x="116" y="146"/>
                      <a:pt x="116" y="146"/>
                    </a:cubicBezTo>
                    <a:cubicBezTo>
                      <a:pt x="116" y="146"/>
                      <a:pt x="116" y="147"/>
                      <a:pt x="116" y="147"/>
                    </a:cubicBezTo>
                    <a:cubicBezTo>
                      <a:pt x="115" y="148"/>
                      <a:pt x="115" y="148"/>
                      <a:pt x="115" y="148"/>
                    </a:cubicBezTo>
                    <a:cubicBezTo>
                      <a:pt x="111" y="149"/>
                      <a:pt x="111" y="149"/>
                      <a:pt x="111" y="149"/>
                    </a:cubicBezTo>
                    <a:cubicBezTo>
                      <a:pt x="108" y="149"/>
                      <a:pt x="108" y="149"/>
                      <a:pt x="108" y="149"/>
                    </a:cubicBezTo>
                    <a:cubicBezTo>
                      <a:pt x="105" y="149"/>
                      <a:pt x="105" y="149"/>
                      <a:pt x="105" y="149"/>
                    </a:cubicBezTo>
                    <a:cubicBezTo>
                      <a:pt x="105" y="151"/>
                      <a:pt x="105" y="151"/>
                      <a:pt x="105" y="151"/>
                    </a:cubicBezTo>
                    <a:cubicBezTo>
                      <a:pt x="105" y="151"/>
                      <a:pt x="102" y="151"/>
                      <a:pt x="105" y="152"/>
                    </a:cubicBezTo>
                    <a:cubicBezTo>
                      <a:pt x="108" y="152"/>
                      <a:pt x="110" y="152"/>
                      <a:pt x="110" y="151"/>
                    </a:cubicBezTo>
                    <a:cubicBezTo>
                      <a:pt x="111" y="151"/>
                      <a:pt x="111" y="150"/>
                      <a:pt x="111" y="150"/>
                    </a:cubicBezTo>
                    <a:cubicBezTo>
                      <a:pt x="112" y="150"/>
                      <a:pt x="114" y="150"/>
                      <a:pt x="115" y="150"/>
                    </a:cubicBezTo>
                    <a:cubicBezTo>
                      <a:pt x="115" y="150"/>
                      <a:pt x="116" y="150"/>
                      <a:pt x="117" y="150"/>
                    </a:cubicBezTo>
                    <a:cubicBezTo>
                      <a:pt x="119" y="150"/>
                      <a:pt x="119" y="149"/>
                      <a:pt x="120" y="150"/>
                    </a:cubicBezTo>
                    <a:cubicBezTo>
                      <a:pt x="121" y="150"/>
                      <a:pt x="121" y="148"/>
                      <a:pt x="121" y="148"/>
                    </a:cubicBezTo>
                    <a:cubicBezTo>
                      <a:pt x="121" y="148"/>
                      <a:pt x="120" y="147"/>
                      <a:pt x="122" y="147"/>
                    </a:cubicBezTo>
                    <a:cubicBezTo>
                      <a:pt x="123" y="148"/>
                      <a:pt x="123" y="148"/>
                      <a:pt x="123" y="148"/>
                    </a:cubicBezTo>
                    <a:cubicBezTo>
                      <a:pt x="124" y="148"/>
                      <a:pt x="125" y="149"/>
                      <a:pt x="126" y="149"/>
                    </a:cubicBezTo>
                    <a:cubicBezTo>
                      <a:pt x="126" y="149"/>
                      <a:pt x="129" y="149"/>
                      <a:pt x="129" y="149"/>
                    </a:cubicBezTo>
                    <a:cubicBezTo>
                      <a:pt x="129" y="149"/>
                      <a:pt x="130" y="152"/>
                      <a:pt x="130" y="152"/>
                    </a:cubicBezTo>
                    <a:cubicBezTo>
                      <a:pt x="131" y="152"/>
                      <a:pt x="133" y="152"/>
                      <a:pt x="134" y="152"/>
                    </a:cubicBezTo>
                    <a:cubicBezTo>
                      <a:pt x="135" y="152"/>
                      <a:pt x="137" y="152"/>
                      <a:pt x="137" y="152"/>
                    </a:cubicBezTo>
                    <a:cubicBezTo>
                      <a:pt x="138" y="153"/>
                      <a:pt x="139" y="153"/>
                      <a:pt x="139" y="153"/>
                    </a:cubicBezTo>
                    <a:cubicBezTo>
                      <a:pt x="139" y="153"/>
                      <a:pt x="140" y="154"/>
                      <a:pt x="140" y="155"/>
                    </a:cubicBezTo>
                    <a:cubicBezTo>
                      <a:pt x="141" y="155"/>
                      <a:pt x="143" y="157"/>
                      <a:pt x="143" y="157"/>
                    </a:cubicBezTo>
                    <a:cubicBezTo>
                      <a:pt x="143" y="157"/>
                      <a:pt x="147" y="158"/>
                      <a:pt x="147" y="158"/>
                    </a:cubicBezTo>
                    <a:cubicBezTo>
                      <a:pt x="148" y="158"/>
                      <a:pt x="148" y="158"/>
                      <a:pt x="148" y="157"/>
                    </a:cubicBezTo>
                    <a:cubicBezTo>
                      <a:pt x="148" y="157"/>
                      <a:pt x="148" y="156"/>
                      <a:pt x="148" y="156"/>
                    </a:cubicBezTo>
                    <a:cubicBezTo>
                      <a:pt x="147" y="155"/>
                      <a:pt x="144" y="154"/>
                      <a:pt x="144" y="154"/>
                    </a:cubicBezTo>
                    <a:cubicBezTo>
                      <a:pt x="144" y="154"/>
                      <a:pt x="142" y="154"/>
                      <a:pt x="142" y="153"/>
                    </a:cubicBezTo>
                    <a:cubicBezTo>
                      <a:pt x="141" y="150"/>
                      <a:pt x="142" y="153"/>
                      <a:pt x="140" y="152"/>
                    </a:cubicBezTo>
                    <a:cubicBezTo>
                      <a:pt x="140" y="152"/>
                      <a:pt x="140" y="152"/>
                      <a:pt x="140" y="152"/>
                    </a:cubicBezTo>
                    <a:cubicBezTo>
                      <a:pt x="139" y="152"/>
                      <a:pt x="139" y="152"/>
                      <a:pt x="139" y="152"/>
                    </a:cubicBezTo>
                    <a:cubicBezTo>
                      <a:pt x="139" y="153"/>
                      <a:pt x="139" y="152"/>
                      <a:pt x="139" y="152"/>
                    </a:cubicBezTo>
                    <a:cubicBezTo>
                      <a:pt x="138" y="151"/>
                      <a:pt x="138" y="151"/>
                      <a:pt x="138" y="151"/>
                    </a:cubicBezTo>
                    <a:cubicBezTo>
                      <a:pt x="138" y="150"/>
                      <a:pt x="138" y="150"/>
                      <a:pt x="138" y="150"/>
                    </a:cubicBezTo>
                    <a:cubicBezTo>
                      <a:pt x="138" y="150"/>
                      <a:pt x="136" y="149"/>
                      <a:pt x="137" y="148"/>
                    </a:cubicBezTo>
                    <a:cubicBezTo>
                      <a:pt x="138" y="148"/>
                      <a:pt x="137" y="152"/>
                      <a:pt x="140" y="147"/>
                    </a:cubicBezTo>
                    <a:cubicBezTo>
                      <a:pt x="140" y="147"/>
                      <a:pt x="140" y="146"/>
                      <a:pt x="140" y="146"/>
                    </a:cubicBezTo>
                    <a:cubicBezTo>
                      <a:pt x="139" y="146"/>
                      <a:pt x="139" y="146"/>
                      <a:pt x="139" y="146"/>
                    </a:cubicBezTo>
                    <a:cubicBezTo>
                      <a:pt x="137" y="146"/>
                      <a:pt x="137" y="146"/>
                      <a:pt x="137" y="146"/>
                    </a:cubicBezTo>
                    <a:cubicBezTo>
                      <a:pt x="137" y="146"/>
                      <a:pt x="136" y="147"/>
                      <a:pt x="136" y="148"/>
                    </a:cubicBezTo>
                    <a:cubicBezTo>
                      <a:pt x="135" y="149"/>
                      <a:pt x="135" y="148"/>
                      <a:pt x="135" y="148"/>
                    </a:cubicBezTo>
                    <a:cubicBezTo>
                      <a:pt x="135" y="147"/>
                      <a:pt x="135" y="147"/>
                      <a:pt x="135" y="147"/>
                    </a:cubicBezTo>
                    <a:cubicBezTo>
                      <a:pt x="136" y="146"/>
                      <a:pt x="136" y="146"/>
                      <a:pt x="136" y="146"/>
                    </a:cubicBezTo>
                    <a:cubicBezTo>
                      <a:pt x="136" y="146"/>
                      <a:pt x="136" y="144"/>
                      <a:pt x="136" y="143"/>
                    </a:cubicBezTo>
                    <a:cubicBezTo>
                      <a:pt x="136" y="143"/>
                      <a:pt x="136" y="143"/>
                      <a:pt x="136" y="143"/>
                    </a:cubicBezTo>
                    <a:cubicBezTo>
                      <a:pt x="133" y="141"/>
                      <a:pt x="133" y="141"/>
                      <a:pt x="133" y="141"/>
                    </a:cubicBezTo>
                    <a:cubicBezTo>
                      <a:pt x="132" y="140"/>
                      <a:pt x="132" y="140"/>
                      <a:pt x="132" y="140"/>
                    </a:cubicBezTo>
                    <a:cubicBezTo>
                      <a:pt x="130" y="138"/>
                      <a:pt x="130" y="138"/>
                      <a:pt x="130" y="138"/>
                    </a:cubicBezTo>
                    <a:cubicBezTo>
                      <a:pt x="126" y="135"/>
                      <a:pt x="126" y="135"/>
                      <a:pt x="126" y="135"/>
                    </a:cubicBezTo>
                    <a:cubicBezTo>
                      <a:pt x="124" y="134"/>
                      <a:pt x="124" y="134"/>
                      <a:pt x="124" y="134"/>
                    </a:cubicBezTo>
                    <a:cubicBezTo>
                      <a:pt x="123" y="132"/>
                      <a:pt x="123" y="132"/>
                      <a:pt x="123" y="132"/>
                    </a:cubicBezTo>
                    <a:cubicBezTo>
                      <a:pt x="123" y="131"/>
                      <a:pt x="123" y="131"/>
                      <a:pt x="123" y="131"/>
                    </a:cubicBezTo>
                    <a:cubicBezTo>
                      <a:pt x="122" y="128"/>
                      <a:pt x="122" y="128"/>
                      <a:pt x="122" y="128"/>
                    </a:cubicBezTo>
                    <a:cubicBezTo>
                      <a:pt x="122" y="128"/>
                      <a:pt x="122" y="128"/>
                      <a:pt x="122" y="128"/>
                    </a:cubicBezTo>
                    <a:cubicBezTo>
                      <a:pt x="122" y="128"/>
                      <a:pt x="119" y="127"/>
                      <a:pt x="118" y="126"/>
                    </a:cubicBezTo>
                    <a:cubicBezTo>
                      <a:pt x="116" y="125"/>
                      <a:pt x="116" y="125"/>
                      <a:pt x="116" y="125"/>
                    </a:cubicBezTo>
                    <a:cubicBezTo>
                      <a:pt x="114" y="123"/>
                      <a:pt x="114" y="123"/>
                      <a:pt x="114" y="123"/>
                    </a:cubicBezTo>
                    <a:cubicBezTo>
                      <a:pt x="113" y="122"/>
                      <a:pt x="113" y="122"/>
                      <a:pt x="113" y="122"/>
                    </a:cubicBezTo>
                    <a:cubicBezTo>
                      <a:pt x="111" y="120"/>
                      <a:pt x="111" y="120"/>
                      <a:pt x="111" y="120"/>
                    </a:cubicBezTo>
                    <a:cubicBezTo>
                      <a:pt x="111" y="119"/>
                      <a:pt x="111" y="119"/>
                      <a:pt x="111" y="119"/>
                    </a:cubicBezTo>
                    <a:cubicBezTo>
                      <a:pt x="106" y="118"/>
                      <a:pt x="106" y="118"/>
                      <a:pt x="106" y="118"/>
                    </a:cubicBezTo>
                    <a:cubicBezTo>
                      <a:pt x="105" y="116"/>
                      <a:pt x="105" y="116"/>
                      <a:pt x="105" y="116"/>
                    </a:cubicBezTo>
                    <a:cubicBezTo>
                      <a:pt x="104" y="116"/>
                      <a:pt x="104" y="116"/>
                      <a:pt x="104" y="116"/>
                    </a:cubicBezTo>
                    <a:cubicBezTo>
                      <a:pt x="103" y="114"/>
                      <a:pt x="103" y="114"/>
                      <a:pt x="103" y="114"/>
                    </a:cubicBezTo>
                    <a:cubicBezTo>
                      <a:pt x="101" y="113"/>
                      <a:pt x="101" y="113"/>
                      <a:pt x="101" y="113"/>
                    </a:cubicBezTo>
                    <a:cubicBezTo>
                      <a:pt x="100" y="112"/>
                      <a:pt x="100" y="112"/>
                      <a:pt x="100" y="112"/>
                    </a:cubicBezTo>
                    <a:cubicBezTo>
                      <a:pt x="99" y="111"/>
                      <a:pt x="99" y="111"/>
                      <a:pt x="99" y="111"/>
                    </a:cubicBezTo>
                    <a:cubicBezTo>
                      <a:pt x="97" y="108"/>
                      <a:pt x="97" y="108"/>
                      <a:pt x="97" y="108"/>
                    </a:cubicBezTo>
                    <a:cubicBezTo>
                      <a:pt x="94" y="106"/>
                      <a:pt x="94" y="106"/>
                      <a:pt x="94" y="106"/>
                    </a:cubicBezTo>
                    <a:cubicBezTo>
                      <a:pt x="93" y="105"/>
                      <a:pt x="93" y="105"/>
                      <a:pt x="93" y="105"/>
                    </a:cubicBezTo>
                    <a:cubicBezTo>
                      <a:pt x="92" y="105"/>
                      <a:pt x="92" y="105"/>
                      <a:pt x="92" y="105"/>
                    </a:cubicBezTo>
                    <a:cubicBezTo>
                      <a:pt x="91" y="102"/>
                      <a:pt x="91" y="102"/>
                      <a:pt x="91" y="102"/>
                    </a:cubicBezTo>
                    <a:cubicBezTo>
                      <a:pt x="88" y="99"/>
                      <a:pt x="88" y="99"/>
                      <a:pt x="88" y="99"/>
                    </a:cubicBezTo>
                    <a:cubicBezTo>
                      <a:pt x="87" y="98"/>
                      <a:pt x="87" y="98"/>
                      <a:pt x="87" y="98"/>
                    </a:cubicBezTo>
                    <a:cubicBezTo>
                      <a:pt x="85" y="96"/>
                      <a:pt x="85" y="96"/>
                      <a:pt x="85" y="96"/>
                    </a:cubicBezTo>
                    <a:cubicBezTo>
                      <a:pt x="86" y="94"/>
                      <a:pt x="86" y="94"/>
                      <a:pt x="86" y="94"/>
                    </a:cubicBezTo>
                    <a:cubicBezTo>
                      <a:pt x="86" y="93"/>
                      <a:pt x="85" y="93"/>
                      <a:pt x="85" y="93"/>
                    </a:cubicBezTo>
                    <a:cubicBezTo>
                      <a:pt x="84" y="92"/>
                      <a:pt x="83" y="91"/>
                      <a:pt x="83" y="91"/>
                    </a:cubicBezTo>
                    <a:cubicBezTo>
                      <a:pt x="84" y="90"/>
                      <a:pt x="83" y="89"/>
                      <a:pt x="83" y="87"/>
                    </a:cubicBezTo>
                    <a:cubicBezTo>
                      <a:pt x="83" y="87"/>
                      <a:pt x="83" y="86"/>
                      <a:pt x="82" y="86"/>
                    </a:cubicBezTo>
                    <a:cubicBezTo>
                      <a:pt x="81" y="85"/>
                      <a:pt x="81" y="85"/>
                      <a:pt x="81" y="85"/>
                    </a:cubicBezTo>
                    <a:cubicBezTo>
                      <a:pt x="80" y="85"/>
                      <a:pt x="80" y="85"/>
                      <a:pt x="80" y="85"/>
                    </a:cubicBezTo>
                    <a:cubicBezTo>
                      <a:pt x="79" y="85"/>
                      <a:pt x="79" y="85"/>
                      <a:pt x="79" y="85"/>
                    </a:cubicBezTo>
                    <a:cubicBezTo>
                      <a:pt x="79" y="85"/>
                      <a:pt x="79" y="83"/>
                      <a:pt x="79" y="82"/>
                    </a:cubicBezTo>
                    <a:cubicBezTo>
                      <a:pt x="77" y="81"/>
                      <a:pt x="77" y="81"/>
                      <a:pt x="77" y="81"/>
                    </a:cubicBezTo>
                    <a:cubicBezTo>
                      <a:pt x="77" y="81"/>
                      <a:pt x="76" y="79"/>
                      <a:pt x="75" y="78"/>
                    </a:cubicBezTo>
                    <a:cubicBezTo>
                      <a:pt x="73" y="78"/>
                      <a:pt x="73" y="78"/>
                      <a:pt x="73" y="78"/>
                    </a:cubicBezTo>
                    <a:cubicBezTo>
                      <a:pt x="73" y="79"/>
                      <a:pt x="72" y="79"/>
                      <a:pt x="72" y="79"/>
                    </a:cubicBezTo>
                    <a:cubicBezTo>
                      <a:pt x="69" y="77"/>
                      <a:pt x="69" y="77"/>
                      <a:pt x="69" y="77"/>
                    </a:cubicBezTo>
                    <a:cubicBezTo>
                      <a:pt x="69" y="77"/>
                      <a:pt x="69" y="75"/>
                      <a:pt x="70" y="74"/>
                    </a:cubicBezTo>
                    <a:cubicBezTo>
                      <a:pt x="72" y="72"/>
                      <a:pt x="70" y="72"/>
                      <a:pt x="70" y="72"/>
                    </a:cubicBezTo>
                    <a:cubicBezTo>
                      <a:pt x="69" y="69"/>
                      <a:pt x="69" y="69"/>
                      <a:pt x="69" y="69"/>
                    </a:cubicBezTo>
                    <a:cubicBezTo>
                      <a:pt x="70" y="67"/>
                      <a:pt x="70" y="67"/>
                      <a:pt x="70" y="67"/>
                    </a:cubicBezTo>
                    <a:cubicBezTo>
                      <a:pt x="69" y="66"/>
                      <a:pt x="69" y="66"/>
                      <a:pt x="69" y="66"/>
                    </a:cubicBezTo>
                    <a:cubicBezTo>
                      <a:pt x="69" y="66"/>
                      <a:pt x="69" y="66"/>
                      <a:pt x="69" y="66"/>
                    </a:cubicBezTo>
                    <a:cubicBezTo>
                      <a:pt x="69" y="66"/>
                      <a:pt x="69" y="66"/>
                      <a:pt x="69" y="66"/>
                    </a:cubicBezTo>
                    <a:cubicBezTo>
                      <a:pt x="69" y="66"/>
                      <a:pt x="69" y="66"/>
                      <a:pt x="69" y="66"/>
                    </a:cubicBezTo>
                    <a:cubicBezTo>
                      <a:pt x="70" y="63"/>
                      <a:pt x="70" y="63"/>
                      <a:pt x="70" y="63"/>
                    </a:cubicBezTo>
                    <a:cubicBezTo>
                      <a:pt x="70" y="63"/>
                      <a:pt x="69" y="59"/>
                      <a:pt x="70" y="59"/>
                    </a:cubicBezTo>
                    <a:cubicBezTo>
                      <a:pt x="70" y="59"/>
                      <a:pt x="70" y="58"/>
                      <a:pt x="70" y="58"/>
                    </a:cubicBezTo>
                    <a:cubicBezTo>
                      <a:pt x="70" y="58"/>
                      <a:pt x="70" y="58"/>
                      <a:pt x="70" y="58"/>
                    </a:cubicBezTo>
                    <a:cubicBezTo>
                      <a:pt x="71" y="57"/>
                      <a:pt x="74" y="56"/>
                      <a:pt x="74" y="56"/>
                    </a:cubicBezTo>
                    <a:cubicBezTo>
                      <a:pt x="76" y="56"/>
                      <a:pt x="76" y="56"/>
                      <a:pt x="76" y="56"/>
                    </a:cubicBezTo>
                    <a:cubicBezTo>
                      <a:pt x="80" y="60"/>
                      <a:pt x="80" y="60"/>
                      <a:pt x="80" y="60"/>
                    </a:cubicBezTo>
                    <a:cubicBezTo>
                      <a:pt x="82" y="63"/>
                      <a:pt x="82" y="63"/>
                      <a:pt x="82" y="63"/>
                    </a:cubicBezTo>
                    <a:cubicBezTo>
                      <a:pt x="85" y="64"/>
                      <a:pt x="85" y="64"/>
                      <a:pt x="85" y="64"/>
                    </a:cubicBezTo>
                    <a:cubicBezTo>
                      <a:pt x="85" y="64"/>
                      <a:pt x="86" y="64"/>
                      <a:pt x="87" y="63"/>
                    </a:cubicBezTo>
                    <a:cubicBezTo>
                      <a:pt x="87" y="62"/>
                      <a:pt x="87" y="61"/>
                      <a:pt x="87" y="61"/>
                    </a:cubicBezTo>
                    <a:cubicBezTo>
                      <a:pt x="88" y="59"/>
                      <a:pt x="88" y="59"/>
                      <a:pt x="88" y="59"/>
                    </a:cubicBezTo>
                    <a:cubicBezTo>
                      <a:pt x="89" y="58"/>
                      <a:pt x="89" y="58"/>
                      <a:pt x="89" y="58"/>
                    </a:cubicBezTo>
                    <a:cubicBezTo>
                      <a:pt x="90" y="57"/>
                      <a:pt x="90" y="57"/>
                      <a:pt x="90" y="57"/>
                    </a:cubicBezTo>
                    <a:cubicBezTo>
                      <a:pt x="91" y="55"/>
                      <a:pt x="91" y="55"/>
                      <a:pt x="91" y="55"/>
                    </a:cubicBezTo>
                    <a:cubicBezTo>
                      <a:pt x="94" y="55"/>
                      <a:pt x="94" y="55"/>
                      <a:pt x="94" y="55"/>
                    </a:cubicBezTo>
                    <a:cubicBezTo>
                      <a:pt x="96" y="54"/>
                      <a:pt x="96" y="54"/>
                      <a:pt x="96" y="54"/>
                    </a:cubicBezTo>
                    <a:cubicBezTo>
                      <a:pt x="96" y="54"/>
                      <a:pt x="99" y="54"/>
                      <a:pt x="100" y="54"/>
                    </a:cubicBezTo>
                    <a:cubicBezTo>
                      <a:pt x="100" y="54"/>
                      <a:pt x="100" y="54"/>
                      <a:pt x="101" y="54"/>
                    </a:cubicBezTo>
                    <a:cubicBezTo>
                      <a:pt x="102" y="52"/>
                      <a:pt x="102" y="52"/>
                      <a:pt x="102" y="52"/>
                    </a:cubicBezTo>
                    <a:cubicBezTo>
                      <a:pt x="102" y="52"/>
                      <a:pt x="102" y="52"/>
                      <a:pt x="102" y="52"/>
                    </a:cubicBezTo>
                    <a:cubicBezTo>
                      <a:pt x="103" y="51"/>
                      <a:pt x="103" y="51"/>
                      <a:pt x="103" y="51"/>
                    </a:cubicBezTo>
                    <a:cubicBezTo>
                      <a:pt x="107" y="52"/>
                      <a:pt x="107" y="52"/>
                      <a:pt x="107" y="52"/>
                    </a:cubicBezTo>
                    <a:cubicBezTo>
                      <a:pt x="109" y="54"/>
                      <a:pt x="109" y="54"/>
                      <a:pt x="109" y="54"/>
                    </a:cubicBezTo>
                    <a:cubicBezTo>
                      <a:pt x="112" y="55"/>
                      <a:pt x="112" y="55"/>
                      <a:pt x="112" y="55"/>
                    </a:cubicBezTo>
                    <a:cubicBezTo>
                      <a:pt x="112" y="55"/>
                      <a:pt x="112" y="55"/>
                      <a:pt x="112" y="55"/>
                    </a:cubicBezTo>
                    <a:cubicBezTo>
                      <a:pt x="114" y="54"/>
                      <a:pt x="114" y="54"/>
                      <a:pt x="114" y="54"/>
                    </a:cubicBezTo>
                    <a:cubicBezTo>
                      <a:pt x="114" y="54"/>
                      <a:pt x="114" y="54"/>
                      <a:pt x="114" y="54"/>
                    </a:cubicBezTo>
                    <a:cubicBezTo>
                      <a:pt x="118" y="53"/>
                      <a:pt x="118" y="53"/>
                      <a:pt x="118" y="53"/>
                    </a:cubicBezTo>
                    <a:cubicBezTo>
                      <a:pt x="121" y="55"/>
                      <a:pt x="121" y="55"/>
                      <a:pt x="121" y="55"/>
                    </a:cubicBezTo>
                    <a:cubicBezTo>
                      <a:pt x="124" y="54"/>
                      <a:pt x="124" y="54"/>
                      <a:pt x="124" y="54"/>
                    </a:cubicBezTo>
                    <a:cubicBezTo>
                      <a:pt x="128" y="55"/>
                      <a:pt x="128" y="55"/>
                      <a:pt x="128" y="55"/>
                    </a:cubicBezTo>
                    <a:cubicBezTo>
                      <a:pt x="130" y="55"/>
                      <a:pt x="130" y="55"/>
                      <a:pt x="130" y="55"/>
                    </a:cubicBezTo>
                    <a:cubicBezTo>
                      <a:pt x="132" y="56"/>
                      <a:pt x="132" y="56"/>
                      <a:pt x="132" y="56"/>
                    </a:cubicBezTo>
                    <a:cubicBezTo>
                      <a:pt x="132" y="56"/>
                      <a:pt x="132" y="56"/>
                      <a:pt x="132" y="56"/>
                    </a:cubicBezTo>
                    <a:cubicBezTo>
                      <a:pt x="133" y="55"/>
                      <a:pt x="135" y="55"/>
                      <a:pt x="135" y="55"/>
                    </a:cubicBezTo>
                    <a:cubicBezTo>
                      <a:pt x="136" y="53"/>
                      <a:pt x="136" y="53"/>
                      <a:pt x="136" y="53"/>
                    </a:cubicBezTo>
                    <a:cubicBezTo>
                      <a:pt x="137" y="55"/>
                      <a:pt x="137" y="55"/>
                      <a:pt x="137" y="55"/>
                    </a:cubicBezTo>
                    <a:cubicBezTo>
                      <a:pt x="138" y="54"/>
                      <a:pt x="139" y="54"/>
                      <a:pt x="139" y="54"/>
                    </a:cubicBezTo>
                    <a:cubicBezTo>
                      <a:pt x="140" y="52"/>
                      <a:pt x="140" y="52"/>
                      <a:pt x="140" y="52"/>
                    </a:cubicBezTo>
                    <a:cubicBezTo>
                      <a:pt x="141" y="53"/>
                      <a:pt x="141" y="53"/>
                      <a:pt x="141" y="53"/>
                    </a:cubicBezTo>
                    <a:cubicBezTo>
                      <a:pt x="141" y="53"/>
                      <a:pt x="142" y="53"/>
                      <a:pt x="142" y="53"/>
                    </a:cubicBezTo>
                    <a:cubicBezTo>
                      <a:pt x="143" y="53"/>
                      <a:pt x="144" y="53"/>
                      <a:pt x="144" y="53"/>
                    </a:cubicBezTo>
                    <a:cubicBezTo>
                      <a:pt x="144" y="53"/>
                      <a:pt x="144" y="53"/>
                      <a:pt x="145" y="53"/>
                    </a:cubicBezTo>
                    <a:cubicBezTo>
                      <a:pt x="145" y="53"/>
                      <a:pt x="146" y="52"/>
                      <a:pt x="146" y="52"/>
                    </a:cubicBezTo>
                    <a:cubicBezTo>
                      <a:pt x="148" y="52"/>
                      <a:pt x="149" y="52"/>
                      <a:pt x="149" y="52"/>
                    </a:cubicBezTo>
                    <a:cubicBezTo>
                      <a:pt x="149" y="52"/>
                      <a:pt x="150" y="53"/>
                      <a:pt x="151" y="54"/>
                    </a:cubicBezTo>
                    <a:cubicBezTo>
                      <a:pt x="151" y="54"/>
                      <a:pt x="151" y="54"/>
                      <a:pt x="151" y="54"/>
                    </a:cubicBezTo>
                    <a:cubicBezTo>
                      <a:pt x="153" y="54"/>
                      <a:pt x="153" y="54"/>
                      <a:pt x="153" y="54"/>
                    </a:cubicBezTo>
                    <a:cubicBezTo>
                      <a:pt x="153" y="54"/>
                      <a:pt x="153" y="54"/>
                      <a:pt x="153" y="54"/>
                    </a:cubicBezTo>
                    <a:cubicBezTo>
                      <a:pt x="153" y="53"/>
                      <a:pt x="153" y="53"/>
                      <a:pt x="154" y="53"/>
                    </a:cubicBezTo>
                    <a:cubicBezTo>
                      <a:pt x="156" y="53"/>
                      <a:pt x="157" y="53"/>
                      <a:pt x="158" y="53"/>
                    </a:cubicBezTo>
                    <a:cubicBezTo>
                      <a:pt x="159" y="53"/>
                      <a:pt x="160" y="55"/>
                      <a:pt x="160" y="55"/>
                    </a:cubicBezTo>
                    <a:cubicBezTo>
                      <a:pt x="162" y="57"/>
                      <a:pt x="162" y="57"/>
                      <a:pt x="162" y="57"/>
                    </a:cubicBezTo>
                    <a:cubicBezTo>
                      <a:pt x="162" y="57"/>
                      <a:pt x="163" y="59"/>
                      <a:pt x="163" y="60"/>
                    </a:cubicBezTo>
                    <a:cubicBezTo>
                      <a:pt x="164" y="60"/>
                      <a:pt x="164" y="61"/>
                      <a:pt x="164" y="61"/>
                    </a:cubicBezTo>
                    <a:cubicBezTo>
                      <a:pt x="164" y="61"/>
                      <a:pt x="171" y="63"/>
                      <a:pt x="171" y="63"/>
                    </a:cubicBezTo>
                    <a:cubicBezTo>
                      <a:pt x="171" y="63"/>
                      <a:pt x="172" y="63"/>
                      <a:pt x="172" y="63"/>
                    </a:cubicBezTo>
                    <a:cubicBezTo>
                      <a:pt x="172" y="62"/>
                      <a:pt x="172" y="61"/>
                      <a:pt x="173" y="61"/>
                    </a:cubicBezTo>
                    <a:cubicBezTo>
                      <a:pt x="173" y="60"/>
                      <a:pt x="175" y="62"/>
                      <a:pt x="175" y="60"/>
                    </a:cubicBezTo>
                    <a:cubicBezTo>
                      <a:pt x="175" y="59"/>
                      <a:pt x="175" y="59"/>
                      <a:pt x="175" y="58"/>
                    </a:cubicBezTo>
                    <a:cubicBezTo>
                      <a:pt x="175" y="58"/>
                      <a:pt x="175" y="58"/>
                      <a:pt x="175" y="58"/>
                    </a:cubicBezTo>
                    <a:cubicBezTo>
                      <a:pt x="175" y="58"/>
                      <a:pt x="175" y="58"/>
                      <a:pt x="175" y="58"/>
                    </a:cubicBezTo>
                    <a:cubicBezTo>
                      <a:pt x="175" y="58"/>
                      <a:pt x="174" y="60"/>
                      <a:pt x="174" y="60"/>
                    </a:cubicBezTo>
                    <a:cubicBezTo>
                      <a:pt x="173" y="60"/>
                      <a:pt x="173" y="60"/>
                      <a:pt x="172" y="60"/>
                    </a:cubicBezTo>
                    <a:cubicBezTo>
                      <a:pt x="171" y="60"/>
                      <a:pt x="171" y="59"/>
                      <a:pt x="171" y="59"/>
                    </a:cubicBezTo>
                    <a:cubicBezTo>
                      <a:pt x="173" y="57"/>
                      <a:pt x="173" y="57"/>
                      <a:pt x="173" y="57"/>
                    </a:cubicBezTo>
                    <a:cubicBezTo>
                      <a:pt x="173" y="54"/>
                      <a:pt x="173" y="54"/>
                      <a:pt x="173" y="54"/>
                    </a:cubicBezTo>
                    <a:cubicBezTo>
                      <a:pt x="173" y="54"/>
                      <a:pt x="172" y="53"/>
                      <a:pt x="171" y="52"/>
                    </a:cubicBezTo>
                    <a:cubicBezTo>
                      <a:pt x="171" y="51"/>
                      <a:pt x="170" y="50"/>
                      <a:pt x="170" y="50"/>
                    </a:cubicBezTo>
                    <a:cubicBezTo>
                      <a:pt x="172" y="48"/>
                      <a:pt x="172" y="48"/>
                      <a:pt x="172" y="48"/>
                    </a:cubicBezTo>
                    <a:cubicBezTo>
                      <a:pt x="172" y="48"/>
                      <a:pt x="172" y="48"/>
                      <a:pt x="172" y="48"/>
                    </a:cubicBezTo>
                    <a:cubicBezTo>
                      <a:pt x="173" y="47"/>
                      <a:pt x="173" y="47"/>
                      <a:pt x="173" y="47"/>
                    </a:cubicBezTo>
                    <a:cubicBezTo>
                      <a:pt x="173" y="47"/>
                      <a:pt x="174" y="48"/>
                      <a:pt x="176" y="48"/>
                    </a:cubicBezTo>
                    <a:cubicBezTo>
                      <a:pt x="177" y="48"/>
                      <a:pt x="176" y="48"/>
                      <a:pt x="178" y="48"/>
                    </a:cubicBezTo>
                    <a:cubicBezTo>
                      <a:pt x="179" y="47"/>
                      <a:pt x="181" y="45"/>
                      <a:pt x="181" y="45"/>
                    </a:cubicBezTo>
                    <a:cubicBezTo>
                      <a:pt x="181" y="45"/>
                      <a:pt x="180" y="43"/>
                      <a:pt x="179" y="44"/>
                    </a:cubicBezTo>
                    <a:close/>
                  </a:path>
                </a:pathLst>
              </a:custGeom>
              <a:solidFill>
                <a:srgbClr val="0181C7"/>
              </a:solid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577" name="Freeform 30"/>
              <p:cNvSpPr>
                <a:spLocks/>
              </p:cNvSpPr>
              <p:nvPr/>
            </p:nvSpPr>
            <p:spPr bwMode="auto">
              <a:xfrm>
                <a:off x="2909" y="1795"/>
                <a:ext cx="566" cy="476"/>
              </a:xfrm>
              <a:custGeom>
                <a:avLst/>
                <a:gdLst>
                  <a:gd name="T0" fmla="*/ 263 w 282"/>
                  <a:gd name="T1" fmla="*/ 130 h 237"/>
                  <a:gd name="T2" fmla="*/ 255 w 282"/>
                  <a:gd name="T3" fmla="*/ 112 h 237"/>
                  <a:gd name="T4" fmla="*/ 242 w 282"/>
                  <a:gd name="T5" fmla="*/ 90 h 237"/>
                  <a:gd name="T6" fmla="*/ 256 w 282"/>
                  <a:gd name="T7" fmla="*/ 63 h 237"/>
                  <a:gd name="T8" fmla="*/ 235 w 282"/>
                  <a:gd name="T9" fmla="*/ 20 h 237"/>
                  <a:gd name="T10" fmla="*/ 216 w 282"/>
                  <a:gd name="T11" fmla="*/ 3 h 237"/>
                  <a:gd name="T12" fmla="*/ 155 w 282"/>
                  <a:gd name="T13" fmla="*/ 13 h 237"/>
                  <a:gd name="T14" fmla="*/ 118 w 282"/>
                  <a:gd name="T15" fmla="*/ 20 h 237"/>
                  <a:gd name="T16" fmla="*/ 103 w 282"/>
                  <a:gd name="T17" fmla="*/ 6 h 237"/>
                  <a:gd name="T18" fmla="*/ 76 w 282"/>
                  <a:gd name="T19" fmla="*/ 8 h 237"/>
                  <a:gd name="T20" fmla="*/ 53 w 282"/>
                  <a:gd name="T21" fmla="*/ 23 h 237"/>
                  <a:gd name="T22" fmla="*/ 36 w 282"/>
                  <a:gd name="T23" fmla="*/ 37 h 237"/>
                  <a:gd name="T24" fmla="*/ 1 w 282"/>
                  <a:gd name="T25" fmla="*/ 52 h 237"/>
                  <a:gd name="T26" fmla="*/ 4 w 282"/>
                  <a:gd name="T27" fmla="*/ 59 h 237"/>
                  <a:gd name="T28" fmla="*/ 9 w 282"/>
                  <a:gd name="T29" fmla="*/ 82 h 237"/>
                  <a:gd name="T30" fmla="*/ 15 w 282"/>
                  <a:gd name="T31" fmla="*/ 105 h 237"/>
                  <a:gd name="T32" fmla="*/ 21 w 282"/>
                  <a:gd name="T33" fmla="*/ 131 h 237"/>
                  <a:gd name="T34" fmla="*/ 25 w 282"/>
                  <a:gd name="T35" fmla="*/ 147 h 237"/>
                  <a:gd name="T36" fmla="*/ 30 w 282"/>
                  <a:gd name="T37" fmla="*/ 156 h 237"/>
                  <a:gd name="T38" fmla="*/ 35 w 282"/>
                  <a:gd name="T39" fmla="*/ 166 h 237"/>
                  <a:gd name="T40" fmla="*/ 36 w 282"/>
                  <a:gd name="T41" fmla="*/ 174 h 237"/>
                  <a:gd name="T42" fmla="*/ 42 w 282"/>
                  <a:gd name="T43" fmla="*/ 180 h 237"/>
                  <a:gd name="T44" fmla="*/ 52 w 282"/>
                  <a:gd name="T45" fmla="*/ 184 h 237"/>
                  <a:gd name="T46" fmla="*/ 61 w 282"/>
                  <a:gd name="T47" fmla="*/ 185 h 237"/>
                  <a:gd name="T48" fmla="*/ 73 w 282"/>
                  <a:gd name="T49" fmla="*/ 192 h 237"/>
                  <a:gd name="T50" fmla="*/ 80 w 282"/>
                  <a:gd name="T51" fmla="*/ 207 h 237"/>
                  <a:gd name="T52" fmla="*/ 84 w 282"/>
                  <a:gd name="T53" fmla="*/ 195 h 237"/>
                  <a:gd name="T54" fmla="*/ 95 w 282"/>
                  <a:gd name="T55" fmla="*/ 194 h 237"/>
                  <a:gd name="T56" fmla="*/ 108 w 282"/>
                  <a:gd name="T57" fmla="*/ 195 h 237"/>
                  <a:gd name="T58" fmla="*/ 112 w 282"/>
                  <a:gd name="T59" fmla="*/ 207 h 237"/>
                  <a:gd name="T60" fmla="*/ 125 w 282"/>
                  <a:gd name="T61" fmla="*/ 209 h 237"/>
                  <a:gd name="T62" fmla="*/ 145 w 282"/>
                  <a:gd name="T63" fmla="*/ 222 h 237"/>
                  <a:gd name="T64" fmla="*/ 148 w 282"/>
                  <a:gd name="T65" fmla="*/ 233 h 237"/>
                  <a:gd name="T66" fmla="*/ 158 w 282"/>
                  <a:gd name="T67" fmla="*/ 224 h 237"/>
                  <a:gd name="T68" fmla="*/ 169 w 282"/>
                  <a:gd name="T69" fmla="*/ 230 h 237"/>
                  <a:gd name="T70" fmla="*/ 171 w 282"/>
                  <a:gd name="T71" fmla="*/ 237 h 237"/>
                  <a:gd name="T72" fmla="*/ 178 w 282"/>
                  <a:gd name="T73" fmla="*/ 235 h 237"/>
                  <a:gd name="T74" fmla="*/ 181 w 282"/>
                  <a:gd name="T75" fmla="*/ 233 h 237"/>
                  <a:gd name="T76" fmla="*/ 185 w 282"/>
                  <a:gd name="T77" fmla="*/ 229 h 237"/>
                  <a:gd name="T78" fmla="*/ 190 w 282"/>
                  <a:gd name="T79" fmla="*/ 225 h 237"/>
                  <a:gd name="T80" fmla="*/ 194 w 282"/>
                  <a:gd name="T81" fmla="*/ 224 h 237"/>
                  <a:gd name="T82" fmla="*/ 200 w 282"/>
                  <a:gd name="T83" fmla="*/ 227 h 237"/>
                  <a:gd name="T84" fmla="*/ 205 w 282"/>
                  <a:gd name="T85" fmla="*/ 225 h 237"/>
                  <a:gd name="T86" fmla="*/ 210 w 282"/>
                  <a:gd name="T87" fmla="*/ 221 h 237"/>
                  <a:gd name="T88" fmla="*/ 216 w 282"/>
                  <a:gd name="T89" fmla="*/ 220 h 237"/>
                  <a:gd name="T90" fmla="*/ 225 w 282"/>
                  <a:gd name="T91" fmla="*/ 220 h 237"/>
                  <a:gd name="T92" fmla="*/ 232 w 282"/>
                  <a:gd name="T93" fmla="*/ 220 h 237"/>
                  <a:gd name="T94" fmla="*/ 237 w 282"/>
                  <a:gd name="T95" fmla="*/ 226 h 237"/>
                  <a:gd name="T96" fmla="*/ 243 w 282"/>
                  <a:gd name="T97" fmla="*/ 227 h 237"/>
                  <a:gd name="T98" fmla="*/ 251 w 282"/>
                  <a:gd name="T99" fmla="*/ 229 h 237"/>
                  <a:gd name="T100" fmla="*/ 260 w 282"/>
                  <a:gd name="T101" fmla="*/ 229 h 237"/>
                  <a:gd name="T102" fmla="*/ 255 w 282"/>
                  <a:gd name="T103" fmla="*/ 220 h 237"/>
                  <a:gd name="T104" fmla="*/ 263 w 282"/>
                  <a:gd name="T105" fmla="*/ 189 h 237"/>
                  <a:gd name="T106" fmla="*/ 278 w 282"/>
                  <a:gd name="T107" fmla="*/ 167 h 237"/>
                  <a:gd name="T108" fmla="*/ 277 w 282"/>
                  <a:gd name="T109" fmla="*/ 149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2" h="237">
                    <a:moveTo>
                      <a:pt x="279" y="146"/>
                    </a:moveTo>
                    <a:cubicBezTo>
                      <a:pt x="278" y="145"/>
                      <a:pt x="278" y="142"/>
                      <a:pt x="276" y="142"/>
                    </a:cubicBezTo>
                    <a:cubicBezTo>
                      <a:pt x="274" y="141"/>
                      <a:pt x="272" y="140"/>
                      <a:pt x="271" y="140"/>
                    </a:cubicBezTo>
                    <a:cubicBezTo>
                      <a:pt x="269" y="139"/>
                      <a:pt x="270" y="136"/>
                      <a:pt x="270" y="136"/>
                    </a:cubicBezTo>
                    <a:cubicBezTo>
                      <a:pt x="270" y="136"/>
                      <a:pt x="266" y="134"/>
                      <a:pt x="265" y="132"/>
                    </a:cubicBezTo>
                    <a:cubicBezTo>
                      <a:pt x="265" y="131"/>
                      <a:pt x="265" y="130"/>
                      <a:pt x="263" y="130"/>
                    </a:cubicBezTo>
                    <a:cubicBezTo>
                      <a:pt x="262" y="130"/>
                      <a:pt x="261" y="127"/>
                      <a:pt x="261" y="127"/>
                    </a:cubicBezTo>
                    <a:cubicBezTo>
                      <a:pt x="262" y="124"/>
                      <a:pt x="262" y="124"/>
                      <a:pt x="262" y="124"/>
                    </a:cubicBezTo>
                    <a:cubicBezTo>
                      <a:pt x="260" y="120"/>
                      <a:pt x="260" y="120"/>
                      <a:pt x="260" y="120"/>
                    </a:cubicBezTo>
                    <a:cubicBezTo>
                      <a:pt x="260" y="120"/>
                      <a:pt x="260" y="120"/>
                      <a:pt x="260" y="119"/>
                    </a:cubicBezTo>
                    <a:cubicBezTo>
                      <a:pt x="259" y="119"/>
                      <a:pt x="258" y="117"/>
                      <a:pt x="257" y="116"/>
                    </a:cubicBezTo>
                    <a:cubicBezTo>
                      <a:pt x="256" y="115"/>
                      <a:pt x="255" y="112"/>
                      <a:pt x="255" y="112"/>
                    </a:cubicBezTo>
                    <a:cubicBezTo>
                      <a:pt x="255" y="112"/>
                      <a:pt x="256" y="107"/>
                      <a:pt x="256" y="106"/>
                    </a:cubicBezTo>
                    <a:cubicBezTo>
                      <a:pt x="256" y="106"/>
                      <a:pt x="255" y="100"/>
                      <a:pt x="255" y="100"/>
                    </a:cubicBezTo>
                    <a:cubicBezTo>
                      <a:pt x="255" y="96"/>
                      <a:pt x="255" y="96"/>
                      <a:pt x="255" y="96"/>
                    </a:cubicBezTo>
                    <a:cubicBezTo>
                      <a:pt x="250" y="93"/>
                      <a:pt x="250" y="93"/>
                      <a:pt x="250" y="93"/>
                    </a:cubicBezTo>
                    <a:cubicBezTo>
                      <a:pt x="250" y="93"/>
                      <a:pt x="245" y="92"/>
                      <a:pt x="243" y="92"/>
                    </a:cubicBezTo>
                    <a:cubicBezTo>
                      <a:pt x="242" y="92"/>
                      <a:pt x="242" y="90"/>
                      <a:pt x="242" y="90"/>
                    </a:cubicBezTo>
                    <a:cubicBezTo>
                      <a:pt x="242" y="88"/>
                      <a:pt x="242" y="88"/>
                      <a:pt x="242" y="88"/>
                    </a:cubicBezTo>
                    <a:cubicBezTo>
                      <a:pt x="245" y="80"/>
                      <a:pt x="245" y="80"/>
                      <a:pt x="245" y="80"/>
                    </a:cubicBezTo>
                    <a:cubicBezTo>
                      <a:pt x="249" y="75"/>
                      <a:pt x="249" y="75"/>
                      <a:pt x="249" y="75"/>
                    </a:cubicBezTo>
                    <a:cubicBezTo>
                      <a:pt x="252" y="73"/>
                      <a:pt x="252" y="73"/>
                      <a:pt x="252" y="73"/>
                    </a:cubicBezTo>
                    <a:cubicBezTo>
                      <a:pt x="252" y="73"/>
                      <a:pt x="256" y="68"/>
                      <a:pt x="256" y="67"/>
                    </a:cubicBezTo>
                    <a:cubicBezTo>
                      <a:pt x="257" y="67"/>
                      <a:pt x="256" y="64"/>
                      <a:pt x="256" y="63"/>
                    </a:cubicBezTo>
                    <a:cubicBezTo>
                      <a:pt x="255" y="62"/>
                      <a:pt x="255" y="60"/>
                      <a:pt x="255" y="59"/>
                    </a:cubicBezTo>
                    <a:cubicBezTo>
                      <a:pt x="255" y="58"/>
                      <a:pt x="253" y="55"/>
                      <a:pt x="253" y="55"/>
                    </a:cubicBezTo>
                    <a:cubicBezTo>
                      <a:pt x="252" y="49"/>
                      <a:pt x="252" y="49"/>
                      <a:pt x="252" y="49"/>
                    </a:cubicBezTo>
                    <a:cubicBezTo>
                      <a:pt x="246" y="40"/>
                      <a:pt x="246" y="40"/>
                      <a:pt x="246" y="40"/>
                    </a:cubicBezTo>
                    <a:cubicBezTo>
                      <a:pt x="241" y="31"/>
                      <a:pt x="241" y="31"/>
                      <a:pt x="241" y="31"/>
                    </a:cubicBezTo>
                    <a:cubicBezTo>
                      <a:pt x="241" y="31"/>
                      <a:pt x="236" y="22"/>
                      <a:pt x="235" y="20"/>
                    </a:cubicBezTo>
                    <a:cubicBezTo>
                      <a:pt x="235" y="17"/>
                      <a:pt x="234" y="13"/>
                      <a:pt x="234" y="13"/>
                    </a:cubicBezTo>
                    <a:cubicBezTo>
                      <a:pt x="231" y="11"/>
                      <a:pt x="231" y="11"/>
                      <a:pt x="231" y="11"/>
                    </a:cubicBezTo>
                    <a:cubicBezTo>
                      <a:pt x="231" y="11"/>
                      <a:pt x="230" y="7"/>
                      <a:pt x="230" y="6"/>
                    </a:cubicBezTo>
                    <a:cubicBezTo>
                      <a:pt x="229" y="5"/>
                      <a:pt x="220" y="5"/>
                      <a:pt x="220" y="5"/>
                    </a:cubicBezTo>
                    <a:cubicBezTo>
                      <a:pt x="220" y="5"/>
                      <a:pt x="219" y="3"/>
                      <a:pt x="219" y="2"/>
                    </a:cubicBezTo>
                    <a:cubicBezTo>
                      <a:pt x="218" y="0"/>
                      <a:pt x="216" y="3"/>
                      <a:pt x="216" y="3"/>
                    </a:cubicBezTo>
                    <a:cubicBezTo>
                      <a:pt x="208" y="4"/>
                      <a:pt x="208" y="4"/>
                      <a:pt x="208" y="4"/>
                    </a:cubicBezTo>
                    <a:cubicBezTo>
                      <a:pt x="202" y="9"/>
                      <a:pt x="202" y="9"/>
                      <a:pt x="202" y="9"/>
                    </a:cubicBezTo>
                    <a:cubicBezTo>
                      <a:pt x="202" y="9"/>
                      <a:pt x="187" y="10"/>
                      <a:pt x="186" y="10"/>
                    </a:cubicBezTo>
                    <a:cubicBezTo>
                      <a:pt x="184" y="10"/>
                      <a:pt x="174" y="11"/>
                      <a:pt x="174" y="11"/>
                    </a:cubicBezTo>
                    <a:cubicBezTo>
                      <a:pt x="173" y="11"/>
                      <a:pt x="167" y="12"/>
                      <a:pt x="166" y="12"/>
                    </a:cubicBezTo>
                    <a:cubicBezTo>
                      <a:pt x="164" y="13"/>
                      <a:pt x="157" y="13"/>
                      <a:pt x="155" y="13"/>
                    </a:cubicBezTo>
                    <a:cubicBezTo>
                      <a:pt x="154" y="13"/>
                      <a:pt x="150" y="13"/>
                      <a:pt x="150" y="13"/>
                    </a:cubicBezTo>
                    <a:cubicBezTo>
                      <a:pt x="150" y="13"/>
                      <a:pt x="142" y="15"/>
                      <a:pt x="139" y="15"/>
                    </a:cubicBezTo>
                    <a:cubicBezTo>
                      <a:pt x="137" y="15"/>
                      <a:pt x="133" y="13"/>
                      <a:pt x="133" y="13"/>
                    </a:cubicBezTo>
                    <a:cubicBezTo>
                      <a:pt x="133" y="13"/>
                      <a:pt x="126" y="19"/>
                      <a:pt x="124" y="19"/>
                    </a:cubicBezTo>
                    <a:cubicBezTo>
                      <a:pt x="124" y="19"/>
                      <a:pt x="122" y="20"/>
                      <a:pt x="121" y="20"/>
                    </a:cubicBezTo>
                    <a:cubicBezTo>
                      <a:pt x="120" y="20"/>
                      <a:pt x="118" y="20"/>
                      <a:pt x="118" y="20"/>
                    </a:cubicBezTo>
                    <a:cubicBezTo>
                      <a:pt x="118" y="20"/>
                      <a:pt x="115" y="21"/>
                      <a:pt x="112" y="20"/>
                    </a:cubicBezTo>
                    <a:cubicBezTo>
                      <a:pt x="109" y="18"/>
                      <a:pt x="110" y="18"/>
                      <a:pt x="110" y="18"/>
                    </a:cubicBezTo>
                    <a:cubicBezTo>
                      <a:pt x="110" y="18"/>
                      <a:pt x="108" y="16"/>
                      <a:pt x="107" y="15"/>
                    </a:cubicBezTo>
                    <a:cubicBezTo>
                      <a:pt x="106" y="14"/>
                      <a:pt x="105" y="13"/>
                      <a:pt x="105" y="12"/>
                    </a:cubicBezTo>
                    <a:cubicBezTo>
                      <a:pt x="105" y="12"/>
                      <a:pt x="107" y="10"/>
                      <a:pt x="107" y="10"/>
                    </a:cubicBezTo>
                    <a:cubicBezTo>
                      <a:pt x="107" y="10"/>
                      <a:pt x="103" y="7"/>
                      <a:pt x="103" y="6"/>
                    </a:cubicBezTo>
                    <a:cubicBezTo>
                      <a:pt x="102" y="5"/>
                      <a:pt x="103" y="5"/>
                      <a:pt x="103" y="4"/>
                    </a:cubicBezTo>
                    <a:cubicBezTo>
                      <a:pt x="104" y="3"/>
                      <a:pt x="102" y="2"/>
                      <a:pt x="102" y="2"/>
                    </a:cubicBezTo>
                    <a:cubicBezTo>
                      <a:pt x="102" y="2"/>
                      <a:pt x="97" y="3"/>
                      <a:pt x="97" y="2"/>
                    </a:cubicBezTo>
                    <a:cubicBezTo>
                      <a:pt x="96" y="2"/>
                      <a:pt x="92" y="3"/>
                      <a:pt x="91" y="3"/>
                    </a:cubicBezTo>
                    <a:cubicBezTo>
                      <a:pt x="91" y="2"/>
                      <a:pt x="85" y="5"/>
                      <a:pt x="85" y="5"/>
                    </a:cubicBezTo>
                    <a:cubicBezTo>
                      <a:pt x="85" y="5"/>
                      <a:pt x="77" y="8"/>
                      <a:pt x="76" y="8"/>
                    </a:cubicBezTo>
                    <a:cubicBezTo>
                      <a:pt x="75" y="8"/>
                      <a:pt x="75" y="9"/>
                      <a:pt x="75" y="9"/>
                    </a:cubicBezTo>
                    <a:cubicBezTo>
                      <a:pt x="74" y="9"/>
                      <a:pt x="72" y="10"/>
                      <a:pt x="71" y="10"/>
                    </a:cubicBezTo>
                    <a:cubicBezTo>
                      <a:pt x="71" y="11"/>
                      <a:pt x="69" y="14"/>
                      <a:pt x="69" y="14"/>
                    </a:cubicBezTo>
                    <a:cubicBezTo>
                      <a:pt x="69" y="15"/>
                      <a:pt x="62" y="18"/>
                      <a:pt x="61" y="18"/>
                    </a:cubicBezTo>
                    <a:cubicBezTo>
                      <a:pt x="60" y="19"/>
                      <a:pt x="56" y="20"/>
                      <a:pt x="55" y="20"/>
                    </a:cubicBezTo>
                    <a:cubicBezTo>
                      <a:pt x="55" y="21"/>
                      <a:pt x="54" y="22"/>
                      <a:pt x="53" y="23"/>
                    </a:cubicBezTo>
                    <a:cubicBezTo>
                      <a:pt x="53" y="24"/>
                      <a:pt x="52" y="25"/>
                      <a:pt x="51" y="26"/>
                    </a:cubicBezTo>
                    <a:cubicBezTo>
                      <a:pt x="51" y="27"/>
                      <a:pt x="50" y="29"/>
                      <a:pt x="50" y="30"/>
                    </a:cubicBezTo>
                    <a:cubicBezTo>
                      <a:pt x="49" y="31"/>
                      <a:pt x="48" y="33"/>
                      <a:pt x="48" y="33"/>
                    </a:cubicBezTo>
                    <a:cubicBezTo>
                      <a:pt x="48" y="33"/>
                      <a:pt x="45" y="33"/>
                      <a:pt x="43" y="33"/>
                    </a:cubicBezTo>
                    <a:cubicBezTo>
                      <a:pt x="42" y="33"/>
                      <a:pt x="42" y="34"/>
                      <a:pt x="41" y="34"/>
                    </a:cubicBezTo>
                    <a:cubicBezTo>
                      <a:pt x="40" y="34"/>
                      <a:pt x="36" y="37"/>
                      <a:pt x="36" y="37"/>
                    </a:cubicBezTo>
                    <a:cubicBezTo>
                      <a:pt x="36" y="37"/>
                      <a:pt x="20" y="42"/>
                      <a:pt x="19" y="43"/>
                    </a:cubicBezTo>
                    <a:cubicBezTo>
                      <a:pt x="18" y="44"/>
                      <a:pt x="18" y="44"/>
                      <a:pt x="16" y="46"/>
                    </a:cubicBezTo>
                    <a:cubicBezTo>
                      <a:pt x="13" y="47"/>
                      <a:pt x="11" y="47"/>
                      <a:pt x="10" y="47"/>
                    </a:cubicBezTo>
                    <a:cubicBezTo>
                      <a:pt x="9" y="48"/>
                      <a:pt x="9" y="48"/>
                      <a:pt x="8" y="49"/>
                    </a:cubicBezTo>
                    <a:cubicBezTo>
                      <a:pt x="7" y="50"/>
                      <a:pt x="6" y="51"/>
                      <a:pt x="4" y="51"/>
                    </a:cubicBezTo>
                    <a:cubicBezTo>
                      <a:pt x="3" y="51"/>
                      <a:pt x="2" y="52"/>
                      <a:pt x="1" y="52"/>
                    </a:cubicBezTo>
                    <a:cubicBezTo>
                      <a:pt x="1" y="52"/>
                      <a:pt x="0" y="52"/>
                      <a:pt x="0" y="53"/>
                    </a:cubicBezTo>
                    <a:cubicBezTo>
                      <a:pt x="0" y="54"/>
                      <a:pt x="0" y="54"/>
                      <a:pt x="0" y="54"/>
                    </a:cubicBezTo>
                    <a:cubicBezTo>
                      <a:pt x="0" y="54"/>
                      <a:pt x="1" y="55"/>
                      <a:pt x="1" y="56"/>
                    </a:cubicBezTo>
                    <a:cubicBezTo>
                      <a:pt x="2" y="56"/>
                      <a:pt x="2" y="56"/>
                      <a:pt x="2" y="56"/>
                    </a:cubicBezTo>
                    <a:cubicBezTo>
                      <a:pt x="3" y="57"/>
                      <a:pt x="3" y="57"/>
                      <a:pt x="3" y="57"/>
                    </a:cubicBezTo>
                    <a:cubicBezTo>
                      <a:pt x="3" y="58"/>
                      <a:pt x="4" y="58"/>
                      <a:pt x="4" y="59"/>
                    </a:cubicBezTo>
                    <a:cubicBezTo>
                      <a:pt x="4" y="59"/>
                      <a:pt x="4" y="60"/>
                      <a:pt x="4" y="60"/>
                    </a:cubicBezTo>
                    <a:cubicBezTo>
                      <a:pt x="4" y="60"/>
                      <a:pt x="4" y="61"/>
                      <a:pt x="5" y="62"/>
                    </a:cubicBezTo>
                    <a:cubicBezTo>
                      <a:pt x="5" y="63"/>
                      <a:pt x="5" y="64"/>
                      <a:pt x="5" y="64"/>
                    </a:cubicBezTo>
                    <a:cubicBezTo>
                      <a:pt x="5" y="65"/>
                      <a:pt x="6" y="67"/>
                      <a:pt x="7" y="69"/>
                    </a:cubicBezTo>
                    <a:cubicBezTo>
                      <a:pt x="9" y="72"/>
                      <a:pt x="9" y="74"/>
                      <a:pt x="9" y="75"/>
                    </a:cubicBezTo>
                    <a:cubicBezTo>
                      <a:pt x="9" y="82"/>
                      <a:pt x="9" y="82"/>
                      <a:pt x="9" y="82"/>
                    </a:cubicBezTo>
                    <a:cubicBezTo>
                      <a:pt x="9" y="90"/>
                      <a:pt x="9" y="90"/>
                      <a:pt x="9" y="90"/>
                    </a:cubicBezTo>
                    <a:cubicBezTo>
                      <a:pt x="5" y="93"/>
                      <a:pt x="5" y="93"/>
                      <a:pt x="5" y="93"/>
                    </a:cubicBezTo>
                    <a:cubicBezTo>
                      <a:pt x="4" y="97"/>
                      <a:pt x="4" y="97"/>
                      <a:pt x="4" y="97"/>
                    </a:cubicBezTo>
                    <a:cubicBezTo>
                      <a:pt x="5" y="98"/>
                      <a:pt x="6" y="99"/>
                      <a:pt x="8" y="101"/>
                    </a:cubicBezTo>
                    <a:cubicBezTo>
                      <a:pt x="8" y="102"/>
                      <a:pt x="11" y="103"/>
                      <a:pt x="12" y="104"/>
                    </a:cubicBezTo>
                    <a:cubicBezTo>
                      <a:pt x="15" y="105"/>
                      <a:pt x="15" y="105"/>
                      <a:pt x="15" y="105"/>
                    </a:cubicBezTo>
                    <a:cubicBezTo>
                      <a:pt x="18" y="106"/>
                      <a:pt x="19" y="110"/>
                      <a:pt x="18" y="112"/>
                    </a:cubicBezTo>
                    <a:cubicBezTo>
                      <a:pt x="18" y="113"/>
                      <a:pt x="18" y="113"/>
                      <a:pt x="18" y="113"/>
                    </a:cubicBezTo>
                    <a:cubicBezTo>
                      <a:pt x="16" y="118"/>
                      <a:pt x="16" y="118"/>
                      <a:pt x="16" y="118"/>
                    </a:cubicBezTo>
                    <a:cubicBezTo>
                      <a:pt x="17" y="118"/>
                      <a:pt x="17" y="118"/>
                      <a:pt x="17" y="119"/>
                    </a:cubicBezTo>
                    <a:cubicBezTo>
                      <a:pt x="19" y="119"/>
                      <a:pt x="20" y="121"/>
                      <a:pt x="20" y="125"/>
                    </a:cubicBezTo>
                    <a:cubicBezTo>
                      <a:pt x="21" y="128"/>
                      <a:pt x="21" y="130"/>
                      <a:pt x="21" y="131"/>
                    </a:cubicBezTo>
                    <a:cubicBezTo>
                      <a:pt x="23" y="135"/>
                      <a:pt x="23" y="135"/>
                      <a:pt x="23" y="135"/>
                    </a:cubicBezTo>
                    <a:cubicBezTo>
                      <a:pt x="23" y="135"/>
                      <a:pt x="23" y="135"/>
                      <a:pt x="23" y="135"/>
                    </a:cubicBezTo>
                    <a:cubicBezTo>
                      <a:pt x="23" y="136"/>
                      <a:pt x="21" y="140"/>
                      <a:pt x="21" y="140"/>
                    </a:cubicBezTo>
                    <a:cubicBezTo>
                      <a:pt x="21" y="141"/>
                      <a:pt x="21" y="141"/>
                      <a:pt x="20" y="142"/>
                    </a:cubicBezTo>
                    <a:cubicBezTo>
                      <a:pt x="21" y="143"/>
                      <a:pt x="21" y="143"/>
                      <a:pt x="21" y="143"/>
                    </a:cubicBezTo>
                    <a:cubicBezTo>
                      <a:pt x="25" y="147"/>
                      <a:pt x="25" y="147"/>
                      <a:pt x="25" y="147"/>
                    </a:cubicBezTo>
                    <a:cubicBezTo>
                      <a:pt x="24" y="152"/>
                      <a:pt x="24" y="152"/>
                      <a:pt x="24" y="152"/>
                    </a:cubicBezTo>
                    <a:cubicBezTo>
                      <a:pt x="24" y="153"/>
                      <a:pt x="24" y="153"/>
                      <a:pt x="24" y="153"/>
                    </a:cubicBezTo>
                    <a:cubicBezTo>
                      <a:pt x="25" y="153"/>
                      <a:pt x="25" y="153"/>
                      <a:pt x="26" y="153"/>
                    </a:cubicBezTo>
                    <a:cubicBezTo>
                      <a:pt x="27" y="154"/>
                      <a:pt x="28" y="155"/>
                      <a:pt x="29" y="155"/>
                    </a:cubicBezTo>
                    <a:cubicBezTo>
                      <a:pt x="29" y="155"/>
                      <a:pt x="29" y="155"/>
                      <a:pt x="29" y="155"/>
                    </a:cubicBezTo>
                    <a:cubicBezTo>
                      <a:pt x="30" y="156"/>
                      <a:pt x="30" y="156"/>
                      <a:pt x="30" y="156"/>
                    </a:cubicBezTo>
                    <a:cubicBezTo>
                      <a:pt x="30" y="156"/>
                      <a:pt x="30" y="157"/>
                      <a:pt x="30" y="158"/>
                    </a:cubicBezTo>
                    <a:cubicBezTo>
                      <a:pt x="30" y="158"/>
                      <a:pt x="30" y="158"/>
                      <a:pt x="30" y="159"/>
                    </a:cubicBezTo>
                    <a:cubicBezTo>
                      <a:pt x="30" y="159"/>
                      <a:pt x="32" y="161"/>
                      <a:pt x="32" y="161"/>
                    </a:cubicBezTo>
                    <a:cubicBezTo>
                      <a:pt x="32" y="162"/>
                      <a:pt x="34" y="164"/>
                      <a:pt x="35" y="165"/>
                    </a:cubicBezTo>
                    <a:cubicBezTo>
                      <a:pt x="35" y="165"/>
                      <a:pt x="35" y="165"/>
                      <a:pt x="35" y="165"/>
                    </a:cubicBezTo>
                    <a:cubicBezTo>
                      <a:pt x="35" y="166"/>
                      <a:pt x="35" y="166"/>
                      <a:pt x="35" y="166"/>
                    </a:cubicBezTo>
                    <a:cubicBezTo>
                      <a:pt x="35" y="167"/>
                      <a:pt x="35" y="169"/>
                      <a:pt x="32" y="171"/>
                    </a:cubicBezTo>
                    <a:cubicBezTo>
                      <a:pt x="32" y="172"/>
                      <a:pt x="32" y="172"/>
                      <a:pt x="32" y="172"/>
                    </a:cubicBezTo>
                    <a:cubicBezTo>
                      <a:pt x="32" y="172"/>
                      <a:pt x="32" y="173"/>
                      <a:pt x="32" y="173"/>
                    </a:cubicBezTo>
                    <a:cubicBezTo>
                      <a:pt x="32" y="173"/>
                      <a:pt x="32" y="173"/>
                      <a:pt x="32" y="173"/>
                    </a:cubicBezTo>
                    <a:cubicBezTo>
                      <a:pt x="33" y="173"/>
                      <a:pt x="33" y="173"/>
                      <a:pt x="33" y="173"/>
                    </a:cubicBezTo>
                    <a:cubicBezTo>
                      <a:pt x="34" y="173"/>
                      <a:pt x="35" y="174"/>
                      <a:pt x="36" y="174"/>
                    </a:cubicBezTo>
                    <a:cubicBezTo>
                      <a:pt x="36" y="174"/>
                      <a:pt x="36" y="174"/>
                      <a:pt x="36" y="174"/>
                    </a:cubicBezTo>
                    <a:cubicBezTo>
                      <a:pt x="36" y="174"/>
                      <a:pt x="36" y="174"/>
                      <a:pt x="36" y="174"/>
                    </a:cubicBezTo>
                    <a:cubicBezTo>
                      <a:pt x="37" y="175"/>
                      <a:pt x="37" y="175"/>
                      <a:pt x="38" y="175"/>
                    </a:cubicBezTo>
                    <a:cubicBezTo>
                      <a:pt x="39" y="175"/>
                      <a:pt x="40" y="176"/>
                      <a:pt x="40" y="176"/>
                    </a:cubicBezTo>
                    <a:cubicBezTo>
                      <a:pt x="41" y="177"/>
                      <a:pt x="41" y="178"/>
                      <a:pt x="41" y="179"/>
                    </a:cubicBezTo>
                    <a:cubicBezTo>
                      <a:pt x="41" y="179"/>
                      <a:pt x="42" y="180"/>
                      <a:pt x="42" y="180"/>
                    </a:cubicBezTo>
                    <a:cubicBezTo>
                      <a:pt x="43" y="181"/>
                      <a:pt x="44" y="182"/>
                      <a:pt x="44" y="182"/>
                    </a:cubicBezTo>
                    <a:cubicBezTo>
                      <a:pt x="47" y="181"/>
                      <a:pt x="47" y="181"/>
                      <a:pt x="47" y="181"/>
                    </a:cubicBezTo>
                    <a:cubicBezTo>
                      <a:pt x="48" y="181"/>
                      <a:pt x="48" y="181"/>
                      <a:pt x="48" y="181"/>
                    </a:cubicBezTo>
                    <a:cubicBezTo>
                      <a:pt x="49" y="182"/>
                      <a:pt x="50" y="183"/>
                      <a:pt x="51" y="184"/>
                    </a:cubicBezTo>
                    <a:cubicBezTo>
                      <a:pt x="51" y="184"/>
                      <a:pt x="51" y="184"/>
                      <a:pt x="51" y="184"/>
                    </a:cubicBezTo>
                    <a:cubicBezTo>
                      <a:pt x="51" y="184"/>
                      <a:pt x="52" y="184"/>
                      <a:pt x="52" y="184"/>
                    </a:cubicBezTo>
                    <a:cubicBezTo>
                      <a:pt x="52" y="183"/>
                      <a:pt x="52" y="183"/>
                      <a:pt x="52" y="183"/>
                    </a:cubicBezTo>
                    <a:cubicBezTo>
                      <a:pt x="56" y="185"/>
                      <a:pt x="56" y="185"/>
                      <a:pt x="56" y="185"/>
                    </a:cubicBezTo>
                    <a:cubicBezTo>
                      <a:pt x="57" y="186"/>
                      <a:pt x="57" y="186"/>
                      <a:pt x="57" y="186"/>
                    </a:cubicBezTo>
                    <a:cubicBezTo>
                      <a:pt x="58" y="185"/>
                      <a:pt x="59" y="185"/>
                      <a:pt x="59" y="185"/>
                    </a:cubicBezTo>
                    <a:cubicBezTo>
                      <a:pt x="60" y="185"/>
                      <a:pt x="60" y="185"/>
                      <a:pt x="60" y="185"/>
                    </a:cubicBezTo>
                    <a:cubicBezTo>
                      <a:pt x="61" y="185"/>
                      <a:pt x="61" y="185"/>
                      <a:pt x="61" y="185"/>
                    </a:cubicBezTo>
                    <a:cubicBezTo>
                      <a:pt x="61" y="185"/>
                      <a:pt x="62" y="186"/>
                      <a:pt x="62" y="188"/>
                    </a:cubicBezTo>
                    <a:cubicBezTo>
                      <a:pt x="63" y="188"/>
                      <a:pt x="63" y="188"/>
                      <a:pt x="63" y="188"/>
                    </a:cubicBezTo>
                    <a:cubicBezTo>
                      <a:pt x="68" y="186"/>
                      <a:pt x="68" y="186"/>
                      <a:pt x="68" y="186"/>
                    </a:cubicBezTo>
                    <a:cubicBezTo>
                      <a:pt x="69" y="186"/>
                      <a:pt x="69" y="186"/>
                      <a:pt x="69" y="186"/>
                    </a:cubicBezTo>
                    <a:cubicBezTo>
                      <a:pt x="70" y="186"/>
                      <a:pt x="71" y="186"/>
                      <a:pt x="72" y="187"/>
                    </a:cubicBezTo>
                    <a:cubicBezTo>
                      <a:pt x="73" y="188"/>
                      <a:pt x="73" y="190"/>
                      <a:pt x="73" y="192"/>
                    </a:cubicBezTo>
                    <a:cubicBezTo>
                      <a:pt x="73" y="194"/>
                      <a:pt x="72" y="196"/>
                      <a:pt x="71" y="197"/>
                    </a:cubicBezTo>
                    <a:cubicBezTo>
                      <a:pt x="70" y="197"/>
                      <a:pt x="70" y="197"/>
                      <a:pt x="70" y="197"/>
                    </a:cubicBezTo>
                    <a:cubicBezTo>
                      <a:pt x="72" y="198"/>
                      <a:pt x="73" y="199"/>
                      <a:pt x="73" y="201"/>
                    </a:cubicBezTo>
                    <a:cubicBezTo>
                      <a:pt x="75" y="201"/>
                      <a:pt x="75" y="201"/>
                      <a:pt x="75" y="201"/>
                    </a:cubicBezTo>
                    <a:cubicBezTo>
                      <a:pt x="76" y="202"/>
                      <a:pt x="77" y="203"/>
                      <a:pt x="77" y="203"/>
                    </a:cubicBezTo>
                    <a:cubicBezTo>
                      <a:pt x="79" y="204"/>
                      <a:pt x="80" y="206"/>
                      <a:pt x="80" y="207"/>
                    </a:cubicBezTo>
                    <a:cubicBezTo>
                      <a:pt x="80" y="209"/>
                      <a:pt x="80" y="209"/>
                      <a:pt x="80" y="209"/>
                    </a:cubicBezTo>
                    <a:cubicBezTo>
                      <a:pt x="81" y="208"/>
                      <a:pt x="81" y="208"/>
                      <a:pt x="82" y="208"/>
                    </a:cubicBezTo>
                    <a:cubicBezTo>
                      <a:pt x="83" y="204"/>
                      <a:pt x="83" y="204"/>
                      <a:pt x="83" y="204"/>
                    </a:cubicBezTo>
                    <a:cubicBezTo>
                      <a:pt x="87" y="202"/>
                      <a:pt x="87" y="202"/>
                      <a:pt x="87" y="202"/>
                    </a:cubicBezTo>
                    <a:cubicBezTo>
                      <a:pt x="84" y="196"/>
                      <a:pt x="84" y="196"/>
                      <a:pt x="84" y="196"/>
                    </a:cubicBezTo>
                    <a:cubicBezTo>
                      <a:pt x="84" y="195"/>
                      <a:pt x="84" y="195"/>
                      <a:pt x="84" y="195"/>
                    </a:cubicBezTo>
                    <a:cubicBezTo>
                      <a:pt x="85" y="194"/>
                      <a:pt x="86" y="194"/>
                      <a:pt x="87" y="194"/>
                    </a:cubicBezTo>
                    <a:cubicBezTo>
                      <a:pt x="87" y="194"/>
                      <a:pt x="88" y="194"/>
                      <a:pt x="89" y="194"/>
                    </a:cubicBezTo>
                    <a:cubicBezTo>
                      <a:pt x="89" y="194"/>
                      <a:pt x="90" y="194"/>
                      <a:pt x="90" y="194"/>
                    </a:cubicBezTo>
                    <a:cubicBezTo>
                      <a:pt x="90" y="194"/>
                      <a:pt x="90" y="194"/>
                      <a:pt x="90" y="194"/>
                    </a:cubicBezTo>
                    <a:cubicBezTo>
                      <a:pt x="92" y="194"/>
                      <a:pt x="94" y="194"/>
                      <a:pt x="94" y="194"/>
                    </a:cubicBezTo>
                    <a:cubicBezTo>
                      <a:pt x="95" y="194"/>
                      <a:pt x="95" y="194"/>
                      <a:pt x="95" y="194"/>
                    </a:cubicBezTo>
                    <a:cubicBezTo>
                      <a:pt x="103" y="198"/>
                      <a:pt x="103" y="198"/>
                      <a:pt x="103" y="198"/>
                    </a:cubicBezTo>
                    <a:cubicBezTo>
                      <a:pt x="103" y="198"/>
                      <a:pt x="103" y="198"/>
                      <a:pt x="103" y="198"/>
                    </a:cubicBezTo>
                    <a:cubicBezTo>
                      <a:pt x="104" y="198"/>
                      <a:pt x="105" y="198"/>
                      <a:pt x="106" y="197"/>
                    </a:cubicBezTo>
                    <a:cubicBezTo>
                      <a:pt x="106" y="196"/>
                      <a:pt x="106" y="196"/>
                      <a:pt x="106" y="196"/>
                    </a:cubicBezTo>
                    <a:cubicBezTo>
                      <a:pt x="107" y="195"/>
                      <a:pt x="107" y="195"/>
                      <a:pt x="107" y="195"/>
                    </a:cubicBezTo>
                    <a:cubicBezTo>
                      <a:pt x="108" y="195"/>
                      <a:pt x="108" y="195"/>
                      <a:pt x="108" y="195"/>
                    </a:cubicBezTo>
                    <a:cubicBezTo>
                      <a:pt x="108" y="195"/>
                      <a:pt x="108" y="195"/>
                      <a:pt x="108" y="195"/>
                    </a:cubicBezTo>
                    <a:cubicBezTo>
                      <a:pt x="110" y="195"/>
                      <a:pt x="111" y="197"/>
                      <a:pt x="112" y="199"/>
                    </a:cubicBezTo>
                    <a:cubicBezTo>
                      <a:pt x="113" y="200"/>
                      <a:pt x="113" y="201"/>
                      <a:pt x="113" y="202"/>
                    </a:cubicBezTo>
                    <a:cubicBezTo>
                      <a:pt x="113" y="203"/>
                      <a:pt x="112" y="204"/>
                      <a:pt x="111" y="204"/>
                    </a:cubicBezTo>
                    <a:cubicBezTo>
                      <a:pt x="111" y="204"/>
                      <a:pt x="111" y="204"/>
                      <a:pt x="110" y="205"/>
                    </a:cubicBezTo>
                    <a:cubicBezTo>
                      <a:pt x="112" y="205"/>
                      <a:pt x="112" y="206"/>
                      <a:pt x="112" y="207"/>
                    </a:cubicBezTo>
                    <a:cubicBezTo>
                      <a:pt x="112" y="207"/>
                      <a:pt x="113" y="207"/>
                      <a:pt x="113" y="208"/>
                    </a:cubicBezTo>
                    <a:cubicBezTo>
                      <a:pt x="113" y="208"/>
                      <a:pt x="114" y="208"/>
                      <a:pt x="116" y="209"/>
                    </a:cubicBezTo>
                    <a:cubicBezTo>
                      <a:pt x="117" y="209"/>
                      <a:pt x="117" y="209"/>
                      <a:pt x="117" y="209"/>
                    </a:cubicBezTo>
                    <a:cubicBezTo>
                      <a:pt x="119" y="206"/>
                      <a:pt x="119" y="206"/>
                      <a:pt x="119" y="206"/>
                    </a:cubicBezTo>
                    <a:cubicBezTo>
                      <a:pt x="120" y="206"/>
                      <a:pt x="120" y="206"/>
                      <a:pt x="120" y="206"/>
                    </a:cubicBezTo>
                    <a:cubicBezTo>
                      <a:pt x="121" y="206"/>
                      <a:pt x="124" y="208"/>
                      <a:pt x="125" y="209"/>
                    </a:cubicBezTo>
                    <a:cubicBezTo>
                      <a:pt x="125" y="209"/>
                      <a:pt x="127" y="210"/>
                      <a:pt x="129" y="210"/>
                    </a:cubicBezTo>
                    <a:cubicBezTo>
                      <a:pt x="136" y="208"/>
                      <a:pt x="136" y="208"/>
                      <a:pt x="136" y="208"/>
                    </a:cubicBezTo>
                    <a:cubicBezTo>
                      <a:pt x="138" y="216"/>
                      <a:pt x="138" y="216"/>
                      <a:pt x="138" y="216"/>
                    </a:cubicBezTo>
                    <a:cubicBezTo>
                      <a:pt x="139" y="216"/>
                      <a:pt x="140" y="217"/>
                      <a:pt x="141" y="219"/>
                    </a:cubicBezTo>
                    <a:cubicBezTo>
                      <a:pt x="141" y="219"/>
                      <a:pt x="141" y="219"/>
                      <a:pt x="141" y="219"/>
                    </a:cubicBezTo>
                    <a:cubicBezTo>
                      <a:pt x="142" y="219"/>
                      <a:pt x="145" y="220"/>
                      <a:pt x="145" y="222"/>
                    </a:cubicBezTo>
                    <a:cubicBezTo>
                      <a:pt x="145" y="223"/>
                      <a:pt x="145" y="223"/>
                      <a:pt x="146" y="224"/>
                    </a:cubicBezTo>
                    <a:cubicBezTo>
                      <a:pt x="146" y="224"/>
                      <a:pt x="146" y="224"/>
                      <a:pt x="146" y="224"/>
                    </a:cubicBezTo>
                    <a:cubicBezTo>
                      <a:pt x="148" y="229"/>
                      <a:pt x="148" y="229"/>
                      <a:pt x="148" y="229"/>
                    </a:cubicBezTo>
                    <a:cubicBezTo>
                      <a:pt x="147" y="230"/>
                      <a:pt x="147" y="230"/>
                      <a:pt x="147" y="230"/>
                    </a:cubicBezTo>
                    <a:cubicBezTo>
                      <a:pt x="147" y="230"/>
                      <a:pt x="147" y="230"/>
                      <a:pt x="147" y="231"/>
                    </a:cubicBezTo>
                    <a:cubicBezTo>
                      <a:pt x="147" y="231"/>
                      <a:pt x="148" y="233"/>
                      <a:pt x="148" y="233"/>
                    </a:cubicBezTo>
                    <a:cubicBezTo>
                      <a:pt x="148" y="233"/>
                      <a:pt x="150" y="233"/>
                      <a:pt x="151" y="232"/>
                    </a:cubicBezTo>
                    <a:cubicBezTo>
                      <a:pt x="151" y="231"/>
                      <a:pt x="153" y="230"/>
                      <a:pt x="153" y="230"/>
                    </a:cubicBezTo>
                    <a:cubicBezTo>
                      <a:pt x="153" y="230"/>
                      <a:pt x="155" y="232"/>
                      <a:pt x="155" y="231"/>
                    </a:cubicBezTo>
                    <a:cubicBezTo>
                      <a:pt x="155" y="230"/>
                      <a:pt x="155" y="227"/>
                      <a:pt x="155" y="227"/>
                    </a:cubicBezTo>
                    <a:cubicBezTo>
                      <a:pt x="157" y="225"/>
                      <a:pt x="157" y="225"/>
                      <a:pt x="157" y="225"/>
                    </a:cubicBezTo>
                    <a:cubicBezTo>
                      <a:pt x="157" y="225"/>
                      <a:pt x="158" y="225"/>
                      <a:pt x="158" y="224"/>
                    </a:cubicBezTo>
                    <a:cubicBezTo>
                      <a:pt x="158" y="223"/>
                      <a:pt x="159" y="221"/>
                      <a:pt x="159" y="221"/>
                    </a:cubicBezTo>
                    <a:cubicBezTo>
                      <a:pt x="162" y="222"/>
                      <a:pt x="162" y="222"/>
                      <a:pt x="162" y="222"/>
                    </a:cubicBezTo>
                    <a:cubicBezTo>
                      <a:pt x="164" y="226"/>
                      <a:pt x="164" y="226"/>
                      <a:pt x="164" y="226"/>
                    </a:cubicBezTo>
                    <a:cubicBezTo>
                      <a:pt x="166" y="228"/>
                      <a:pt x="166" y="228"/>
                      <a:pt x="166" y="228"/>
                    </a:cubicBezTo>
                    <a:cubicBezTo>
                      <a:pt x="167" y="229"/>
                      <a:pt x="167" y="229"/>
                      <a:pt x="167" y="229"/>
                    </a:cubicBezTo>
                    <a:cubicBezTo>
                      <a:pt x="169" y="230"/>
                      <a:pt x="169" y="230"/>
                      <a:pt x="169" y="230"/>
                    </a:cubicBezTo>
                    <a:cubicBezTo>
                      <a:pt x="171" y="229"/>
                      <a:pt x="171" y="229"/>
                      <a:pt x="171" y="229"/>
                    </a:cubicBezTo>
                    <a:cubicBezTo>
                      <a:pt x="171" y="231"/>
                      <a:pt x="171" y="231"/>
                      <a:pt x="171" y="231"/>
                    </a:cubicBezTo>
                    <a:cubicBezTo>
                      <a:pt x="172" y="232"/>
                      <a:pt x="172" y="232"/>
                      <a:pt x="172" y="232"/>
                    </a:cubicBezTo>
                    <a:cubicBezTo>
                      <a:pt x="173" y="235"/>
                      <a:pt x="173" y="235"/>
                      <a:pt x="173" y="235"/>
                    </a:cubicBezTo>
                    <a:cubicBezTo>
                      <a:pt x="172" y="236"/>
                      <a:pt x="172" y="236"/>
                      <a:pt x="172" y="236"/>
                    </a:cubicBezTo>
                    <a:cubicBezTo>
                      <a:pt x="171" y="237"/>
                      <a:pt x="171" y="237"/>
                      <a:pt x="171" y="237"/>
                    </a:cubicBezTo>
                    <a:cubicBezTo>
                      <a:pt x="172" y="237"/>
                      <a:pt x="172" y="237"/>
                      <a:pt x="172" y="237"/>
                    </a:cubicBezTo>
                    <a:cubicBezTo>
                      <a:pt x="172" y="237"/>
                      <a:pt x="173" y="237"/>
                      <a:pt x="173" y="237"/>
                    </a:cubicBezTo>
                    <a:cubicBezTo>
                      <a:pt x="174" y="237"/>
                      <a:pt x="175" y="237"/>
                      <a:pt x="175" y="237"/>
                    </a:cubicBezTo>
                    <a:cubicBezTo>
                      <a:pt x="175" y="236"/>
                      <a:pt x="176" y="236"/>
                      <a:pt x="176" y="236"/>
                    </a:cubicBezTo>
                    <a:cubicBezTo>
                      <a:pt x="176" y="236"/>
                      <a:pt x="177" y="235"/>
                      <a:pt x="177" y="235"/>
                    </a:cubicBezTo>
                    <a:cubicBezTo>
                      <a:pt x="177" y="235"/>
                      <a:pt x="178" y="235"/>
                      <a:pt x="178" y="235"/>
                    </a:cubicBezTo>
                    <a:cubicBezTo>
                      <a:pt x="178" y="236"/>
                      <a:pt x="179" y="237"/>
                      <a:pt x="179" y="237"/>
                    </a:cubicBezTo>
                    <a:cubicBezTo>
                      <a:pt x="179" y="237"/>
                      <a:pt x="179" y="236"/>
                      <a:pt x="180" y="237"/>
                    </a:cubicBezTo>
                    <a:cubicBezTo>
                      <a:pt x="180" y="237"/>
                      <a:pt x="180" y="237"/>
                      <a:pt x="180" y="237"/>
                    </a:cubicBezTo>
                    <a:cubicBezTo>
                      <a:pt x="180" y="237"/>
                      <a:pt x="181" y="237"/>
                      <a:pt x="181" y="236"/>
                    </a:cubicBezTo>
                    <a:cubicBezTo>
                      <a:pt x="180" y="235"/>
                      <a:pt x="180" y="234"/>
                      <a:pt x="180" y="234"/>
                    </a:cubicBezTo>
                    <a:cubicBezTo>
                      <a:pt x="180" y="234"/>
                      <a:pt x="180" y="233"/>
                      <a:pt x="181" y="233"/>
                    </a:cubicBezTo>
                    <a:cubicBezTo>
                      <a:pt x="181" y="232"/>
                      <a:pt x="181" y="232"/>
                      <a:pt x="181" y="231"/>
                    </a:cubicBezTo>
                    <a:cubicBezTo>
                      <a:pt x="181" y="231"/>
                      <a:pt x="181" y="231"/>
                      <a:pt x="181" y="231"/>
                    </a:cubicBezTo>
                    <a:cubicBezTo>
                      <a:pt x="182" y="231"/>
                      <a:pt x="183" y="230"/>
                      <a:pt x="183" y="230"/>
                    </a:cubicBezTo>
                    <a:cubicBezTo>
                      <a:pt x="183" y="230"/>
                      <a:pt x="183" y="230"/>
                      <a:pt x="183" y="229"/>
                    </a:cubicBezTo>
                    <a:cubicBezTo>
                      <a:pt x="183" y="229"/>
                      <a:pt x="184" y="229"/>
                      <a:pt x="184" y="229"/>
                    </a:cubicBezTo>
                    <a:cubicBezTo>
                      <a:pt x="185" y="229"/>
                      <a:pt x="184" y="229"/>
                      <a:pt x="185" y="229"/>
                    </a:cubicBezTo>
                    <a:cubicBezTo>
                      <a:pt x="186" y="228"/>
                      <a:pt x="186" y="228"/>
                      <a:pt x="185" y="228"/>
                    </a:cubicBezTo>
                    <a:cubicBezTo>
                      <a:pt x="185" y="227"/>
                      <a:pt x="185" y="227"/>
                      <a:pt x="185" y="227"/>
                    </a:cubicBezTo>
                    <a:cubicBezTo>
                      <a:pt x="186" y="227"/>
                      <a:pt x="185" y="227"/>
                      <a:pt x="187" y="227"/>
                    </a:cubicBezTo>
                    <a:cubicBezTo>
                      <a:pt x="188" y="227"/>
                      <a:pt x="189" y="227"/>
                      <a:pt x="189" y="226"/>
                    </a:cubicBezTo>
                    <a:cubicBezTo>
                      <a:pt x="189" y="226"/>
                      <a:pt x="189" y="225"/>
                      <a:pt x="189" y="225"/>
                    </a:cubicBezTo>
                    <a:cubicBezTo>
                      <a:pt x="190" y="225"/>
                      <a:pt x="190" y="225"/>
                      <a:pt x="190" y="225"/>
                    </a:cubicBezTo>
                    <a:cubicBezTo>
                      <a:pt x="190" y="225"/>
                      <a:pt x="190" y="225"/>
                      <a:pt x="190" y="225"/>
                    </a:cubicBezTo>
                    <a:cubicBezTo>
                      <a:pt x="190" y="225"/>
                      <a:pt x="191" y="226"/>
                      <a:pt x="191" y="226"/>
                    </a:cubicBezTo>
                    <a:cubicBezTo>
                      <a:pt x="192" y="226"/>
                      <a:pt x="192" y="226"/>
                      <a:pt x="192" y="226"/>
                    </a:cubicBezTo>
                    <a:cubicBezTo>
                      <a:pt x="193" y="226"/>
                      <a:pt x="193" y="225"/>
                      <a:pt x="193" y="225"/>
                    </a:cubicBezTo>
                    <a:cubicBezTo>
                      <a:pt x="193" y="225"/>
                      <a:pt x="193" y="225"/>
                      <a:pt x="193" y="225"/>
                    </a:cubicBezTo>
                    <a:cubicBezTo>
                      <a:pt x="193" y="225"/>
                      <a:pt x="193" y="224"/>
                      <a:pt x="194" y="224"/>
                    </a:cubicBezTo>
                    <a:cubicBezTo>
                      <a:pt x="195" y="224"/>
                      <a:pt x="194" y="225"/>
                      <a:pt x="195" y="224"/>
                    </a:cubicBezTo>
                    <a:cubicBezTo>
                      <a:pt x="195" y="224"/>
                      <a:pt x="196" y="223"/>
                      <a:pt x="196" y="223"/>
                    </a:cubicBezTo>
                    <a:cubicBezTo>
                      <a:pt x="196" y="223"/>
                      <a:pt x="196" y="224"/>
                      <a:pt x="197" y="224"/>
                    </a:cubicBezTo>
                    <a:cubicBezTo>
                      <a:pt x="198" y="225"/>
                      <a:pt x="198" y="225"/>
                      <a:pt x="199" y="226"/>
                    </a:cubicBezTo>
                    <a:cubicBezTo>
                      <a:pt x="199" y="226"/>
                      <a:pt x="199" y="226"/>
                      <a:pt x="199" y="226"/>
                    </a:cubicBezTo>
                    <a:cubicBezTo>
                      <a:pt x="199" y="226"/>
                      <a:pt x="200" y="227"/>
                      <a:pt x="200" y="227"/>
                    </a:cubicBezTo>
                    <a:cubicBezTo>
                      <a:pt x="201" y="227"/>
                      <a:pt x="201" y="227"/>
                      <a:pt x="201" y="227"/>
                    </a:cubicBezTo>
                    <a:cubicBezTo>
                      <a:pt x="202" y="227"/>
                      <a:pt x="202" y="227"/>
                      <a:pt x="202" y="227"/>
                    </a:cubicBezTo>
                    <a:cubicBezTo>
                      <a:pt x="202" y="227"/>
                      <a:pt x="201" y="227"/>
                      <a:pt x="202" y="227"/>
                    </a:cubicBezTo>
                    <a:cubicBezTo>
                      <a:pt x="203" y="228"/>
                      <a:pt x="204" y="228"/>
                      <a:pt x="204" y="228"/>
                    </a:cubicBezTo>
                    <a:cubicBezTo>
                      <a:pt x="204" y="228"/>
                      <a:pt x="204" y="227"/>
                      <a:pt x="204" y="226"/>
                    </a:cubicBezTo>
                    <a:cubicBezTo>
                      <a:pt x="205" y="226"/>
                      <a:pt x="205" y="225"/>
                      <a:pt x="205" y="225"/>
                    </a:cubicBezTo>
                    <a:cubicBezTo>
                      <a:pt x="206" y="225"/>
                      <a:pt x="208" y="224"/>
                      <a:pt x="208" y="224"/>
                    </a:cubicBezTo>
                    <a:cubicBezTo>
                      <a:pt x="208" y="224"/>
                      <a:pt x="207" y="223"/>
                      <a:pt x="206" y="222"/>
                    </a:cubicBezTo>
                    <a:cubicBezTo>
                      <a:pt x="206" y="222"/>
                      <a:pt x="205" y="221"/>
                      <a:pt x="207" y="221"/>
                    </a:cubicBezTo>
                    <a:cubicBezTo>
                      <a:pt x="208" y="221"/>
                      <a:pt x="209" y="221"/>
                      <a:pt x="209" y="221"/>
                    </a:cubicBezTo>
                    <a:cubicBezTo>
                      <a:pt x="210" y="222"/>
                      <a:pt x="210" y="222"/>
                      <a:pt x="210" y="222"/>
                    </a:cubicBezTo>
                    <a:cubicBezTo>
                      <a:pt x="210" y="221"/>
                      <a:pt x="210" y="221"/>
                      <a:pt x="210" y="221"/>
                    </a:cubicBezTo>
                    <a:cubicBezTo>
                      <a:pt x="211" y="220"/>
                      <a:pt x="211" y="220"/>
                      <a:pt x="211" y="220"/>
                    </a:cubicBezTo>
                    <a:cubicBezTo>
                      <a:pt x="211" y="220"/>
                      <a:pt x="211" y="219"/>
                      <a:pt x="212" y="219"/>
                    </a:cubicBezTo>
                    <a:cubicBezTo>
                      <a:pt x="212" y="219"/>
                      <a:pt x="213" y="219"/>
                      <a:pt x="213" y="219"/>
                    </a:cubicBezTo>
                    <a:cubicBezTo>
                      <a:pt x="213" y="219"/>
                      <a:pt x="214" y="220"/>
                      <a:pt x="214" y="220"/>
                    </a:cubicBezTo>
                    <a:cubicBezTo>
                      <a:pt x="214" y="220"/>
                      <a:pt x="215" y="220"/>
                      <a:pt x="215" y="220"/>
                    </a:cubicBezTo>
                    <a:cubicBezTo>
                      <a:pt x="215" y="220"/>
                      <a:pt x="216" y="220"/>
                      <a:pt x="216" y="220"/>
                    </a:cubicBezTo>
                    <a:cubicBezTo>
                      <a:pt x="216" y="220"/>
                      <a:pt x="218" y="220"/>
                      <a:pt x="218" y="220"/>
                    </a:cubicBezTo>
                    <a:cubicBezTo>
                      <a:pt x="218" y="220"/>
                      <a:pt x="218" y="219"/>
                      <a:pt x="218" y="219"/>
                    </a:cubicBezTo>
                    <a:cubicBezTo>
                      <a:pt x="218" y="219"/>
                      <a:pt x="221" y="219"/>
                      <a:pt x="221" y="219"/>
                    </a:cubicBezTo>
                    <a:cubicBezTo>
                      <a:pt x="221" y="219"/>
                      <a:pt x="222" y="219"/>
                      <a:pt x="222" y="219"/>
                    </a:cubicBezTo>
                    <a:cubicBezTo>
                      <a:pt x="223" y="219"/>
                      <a:pt x="224" y="219"/>
                      <a:pt x="224" y="219"/>
                    </a:cubicBezTo>
                    <a:cubicBezTo>
                      <a:pt x="224" y="219"/>
                      <a:pt x="225" y="220"/>
                      <a:pt x="225" y="220"/>
                    </a:cubicBezTo>
                    <a:cubicBezTo>
                      <a:pt x="226" y="220"/>
                      <a:pt x="227" y="220"/>
                      <a:pt x="227" y="220"/>
                    </a:cubicBezTo>
                    <a:cubicBezTo>
                      <a:pt x="227" y="220"/>
                      <a:pt x="227" y="219"/>
                      <a:pt x="227" y="219"/>
                    </a:cubicBezTo>
                    <a:cubicBezTo>
                      <a:pt x="228" y="219"/>
                      <a:pt x="228" y="219"/>
                      <a:pt x="228" y="219"/>
                    </a:cubicBezTo>
                    <a:cubicBezTo>
                      <a:pt x="230" y="220"/>
                      <a:pt x="230" y="220"/>
                      <a:pt x="230" y="220"/>
                    </a:cubicBezTo>
                    <a:cubicBezTo>
                      <a:pt x="230" y="220"/>
                      <a:pt x="231" y="220"/>
                      <a:pt x="231" y="220"/>
                    </a:cubicBezTo>
                    <a:cubicBezTo>
                      <a:pt x="231" y="220"/>
                      <a:pt x="232" y="220"/>
                      <a:pt x="232" y="220"/>
                    </a:cubicBezTo>
                    <a:cubicBezTo>
                      <a:pt x="232" y="220"/>
                      <a:pt x="232" y="221"/>
                      <a:pt x="232" y="221"/>
                    </a:cubicBezTo>
                    <a:cubicBezTo>
                      <a:pt x="233" y="222"/>
                      <a:pt x="233" y="222"/>
                      <a:pt x="233" y="223"/>
                    </a:cubicBezTo>
                    <a:cubicBezTo>
                      <a:pt x="234" y="223"/>
                      <a:pt x="234" y="223"/>
                      <a:pt x="234" y="223"/>
                    </a:cubicBezTo>
                    <a:cubicBezTo>
                      <a:pt x="234" y="224"/>
                      <a:pt x="234" y="224"/>
                      <a:pt x="234" y="225"/>
                    </a:cubicBezTo>
                    <a:cubicBezTo>
                      <a:pt x="234" y="225"/>
                      <a:pt x="234" y="225"/>
                      <a:pt x="235" y="225"/>
                    </a:cubicBezTo>
                    <a:cubicBezTo>
                      <a:pt x="235" y="226"/>
                      <a:pt x="237" y="226"/>
                      <a:pt x="237" y="226"/>
                    </a:cubicBezTo>
                    <a:cubicBezTo>
                      <a:pt x="237" y="226"/>
                      <a:pt x="238" y="226"/>
                      <a:pt x="238" y="226"/>
                    </a:cubicBezTo>
                    <a:cubicBezTo>
                      <a:pt x="239" y="226"/>
                      <a:pt x="240" y="226"/>
                      <a:pt x="240" y="226"/>
                    </a:cubicBezTo>
                    <a:cubicBezTo>
                      <a:pt x="240" y="226"/>
                      <a:pt x="241" y="226"/>
                      <a:pt x="241" y="226"/>
                    </a:cubicBezTo>
                    <a:cubicBezTo>
                      <a:pt x="241" y="226"/>
                      <a:pt x="241" y="227"/>
                      <a:pt x="241" y="227"/>
                    </a:cubicBezTo>
                    <a:cubicBezTo>
                      <a:pt x="243" y="227"/>
                      <a:pt x="243" y="227"/>
                      <a:pt x="243" y="227"/>
                    </a:cubicBezTo>
                    <a:cubicBezTo>
                      <a:pt x="243" y="227"/>
                      <a:pt x="243" y="227"/>
                      <a:pt x="243" y="227"/>
                    </a:cubicBezTo>
                    <a:cubicBezTo>
                      <a:pt x="243" y="227"/>
                      <a:pt x="244" y="227"/>
                      <a:pt x="244" y="227"/>
                    </a:cubicBezTo>
                    <a:cubicBezTo>
                      <a:pt x="244" y="227"/>
                      <a:pt x="245" y="227"/>
                      <a:pt x="245" y="227"/>
                    </a:cubicBezTo>
                    <a:cubicBezTo>
                      <a:pt x="245" y="228"/>
                      <a:pt x="246" y="228"/>
                      <a:pt x="246" y="228"/>
                    </a:cubicBezTo>
                    <a:cubicBezTo>
                      <a:pt x="246" y="228"/>
                      <a:pt x="247" y="228"/>
                      <a:pt x="248" y="228"/>
                    </a:cubicBezTo>
                    <a:cubicBezTo>
                      <a:pt x="248" y="228"/>
                      <a:pt x="250" y="228"/>
                      <a:pt x="250" y="228"/>
                    </a:cubicBezTo>
                    <a:cubicBezTo>
                      <a:pt x="250" y="228"/>
                      <a:pt x="251" y="229"/>
                      <a:pt x="251" y="229"/>
                    </a:cubicBezTo>
                    <a:cubicBezTo>
                      <a:pt x="251" y="229"/>
                      <a:pt x="251" y="230"/>
                      <a:pt x="251" y="230"/>
                    </a:cubicBezTo>
                    <a:cubicBezTo>
                      <a:pt x="251" y="230"/>
                      <a:pt x="251" y="230"/>
                      <a:pt x="252" y="230"/>
                    </a:cubicBezTo>
                    <a:cubicBezTo>
                      <a:pt x="252" y="230"/>
                      <a:pt x="252" y="229"/>
                      <a:pt x="253" y="229"/>
                    </a:cubicBezTo>
                    <a:cubicBezTo>
                      <a:pt x="254" y="229"/>
                      <a:pt x="256" y="230"/>
                      <a:pt x="257" y="230"/>
                    </a:cubicBezTo>
                    <a:cubicBezTo>
                      <a:pt x="258" y="231"/>
                      <a:pt x="258" y="230"/>
                      <a:pt x="259" y="230"/>
                    </a:cubicBezTo>
                    <a:cubicBezTo>
                      <a:pt x="260" y="230"/>
                      <a:pt x="260" y="229"/>
                      <a:pt x="260" y="229"/>
                    </a:cubicBezTo>
                    <a:cubicBezTo>
                      <a:pt x="260" y="229"/>
                      <a:pt x="260" y="228"/>
                      <a:pt x="260" y="227"/>
                    </a:cubicBezTo>
                    <a:cubicBezTo>
                      <a:pt x="260" y="227"/>
                      <a:pt x="258" y="226"/>
                      <a:pt x="258" y="226"/>
                    </a:cubicBezTo>
                    <a:cubicBezTo>
                      <a:pt x="258" y="226"/>
                      <a:pt x="257" y="225"/>
                      <a:pt x="256" y="225"/>
                    </a:cubicBezTo>
                    <a:cubicBezTo>
                      <a:pt x="256" y="225"/>
                      <a:pt x="255" y="222"/>
                      <a:pt x="255" y="222"/>
                    </a:cubicBezTo>
                    <a:cubicBezTo>
                      <a:pt x="256" y="220"/>
                      <a:pt x="256" y="220"/>
                      <a:pt x="256" y="220"/>
                    </a:cubicBezTo>
                    <a:cubicBezTo>
                      <a:pt x="256" y="220"/>
                      <a:pt x="256" y="220"/>
                      <a:pt x="255" y="220"/>
                    </a:cubicBezTo>
                    <a:cubicBezTo>
                      <a:pt x="254" y="219"/>
                      <a:pt x="254" y="217"/>
                      <a:pt x="254" y="217"/>
                    </a:cubicBezTo>
                    <a:cubicBezTo>
                      <a:pt x="254" y="214"/>
                      <a:pt x="254" y="214"/>
                      <a:pt x="254" y="214"/>
                    </a:cubicBezTo>
                    <a:cubicBezTo>
                      <a:pt x="251" y="210"/>
                      <a:pt x="251" y="210"/>
                      <a:pt x="251" y="210"/>
                    </a:cubicBezTo>
                    <a:cubicBezTo>
                      <a:pt x="251" y="210"/>
                      <a:pt x="251" y="207"/>
                      <a:pt x="251" y="207"/>
                    </a:cubicBezTo>
                    <a:cubicBezTo>
                      <a:pt x="252" y="206"/>
                      <a:pt x="255" y="199"/>
                      <a:pt x="255" y="199"/>
                    </a:cubicBezTo>
                    <a:cubicBezTo>
                      <a:pt x="263" y="189"/>
                      <a:pt x="263" y="189"/>
                      <a:pt x="263" y="189"/>
                    </a:cubicBezTo>
                    <a:cubicBezTo>
                      <a:pt x="263" y="189"/>
                      <a:pt x="263" y="188"/>
                      <a:pt x="265" y="184"/>
                    </a:cubicBezTo>
                    <a:cubicBezTo>
                      <a:pt x="266" y="179"/>
                      <a:pt x="266" y="181"/>
                      <a:pt x="267" y="180"/>
                    </a:cubicBezTo>
                    <a:cubicBezTo>
                      <a:pt x="267" y="178"/>
                      <a:pt x="269" y="177"/>
                      <a:pt x="270" y="176"/>
                    </a:cubicBezTo>
                    <a:cubicBezTo>
                      <a:pt x="271" y="176"/>
                      <a:pt x="272" y="173"/>
                      <a:pt x="273" y="170"/>
                    </a:cubicBezTo>
                    <a:cubicBezTo>
                      <a:pt x="274" y="168"/>
                      <a:pt x="275" y="170"/>
                      <a:pt x="276" y="170"/>
                    </a:cubicBezTo>
                    <a:cubicBezTo>
                      <a:pt x="277" y="169"/>
                      <a:pt x="277" y="167"/>
                      <a:pt x="278" y="167"/>
                    </a:cubicBezTo>
                    <a:cubicBezTo>
                      <a:pt x="280" y="167"/>
                      <a:pt x="280" y="165"/>
                      <a:pt x="281" y="164"/>
                    </a:cubicBezTo>
                    <a:cubicBezTo>
                      <a:pt x="281" y="163"/>
                      <a:pt x="281" y="161"/>
                      <a:pt x="281" y="161"/>
                    </a:cubicBezTo>
                    <a:cubicBezTo>
                      <a:pt x="281" y="156"/>
                      <a:pt x="281" y="156"/>
                      <a:pt x="281" y="156"/>
                    </a:cubicBezTo>
                    <a:cubicBezTo>
                      <a:pt x="278" y="152"/>
                      <a:pt x="278" y="152"/>
                      <a:pt x="278" y="152"/>
                    </a:cubicBezTo>
                    <a:cubicBezTo>
                      <a:pt x="278" y="152"/>
                      <a:pt x="277" y="152"/>
                      <a:pt x="277" y="151"/>
                    </a:cubicBezTo>
                    <a:cubicBezTo>
                      <a:pt x="277" y="150"/>
                      <a:pt x="277" y="149"/>
                      <a:pt x="277" y="149"/>
                    </a:cubicBezTo>
                    <a:cubicBezTo>
                      <a:pt x="277" y="149"/>
                      <a:pt x="280" y="149"/>
                      <a:pt x="281" y="149"/>
                    </a:cubicBezTo>
                    <a:cubicBezTo>
                      <a:pt x="282" y="148"/>
                      <a:pt x="281" y="147"/>
                      <a:pt x="279" y="146"/>
                    </a:cubicBezTo>
                    <a:close/>
                  </a:path>
                </a:pathLst>
              </a:custGeom>
              <a:solidFill>
                <a:srgbClr val="BFBFBF"/>
              </a:solid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578" name="Freeform 31"/>
              <p:cNvSpPr>
                <a:spLocks/>
              </p:cNvSpPr>
              <p:nvPr/>
            </p:nvSpPr>
            <p:spPr bwMode="auto">
              <a:xfrm>
                <a:off x="2827" y="2148"/>
                <a:ext cx="373" cy="207"/>
              </a:xfrm>
              <a:custGeom>
                <a:avLst/>
                <a:gdLst>
                  <a:gd name="T0" fmla="*/ 180 w 186"/>
                  <a:gd name="T1" fmla="*/ 44 h 103"/>
                  <a:gd name="T2" fmla="*/ 164 w 186"/>
                  <a:gd name="T3" fmla="*/ 35 h 103"/>
                  <a:gd name="T4" fmla="*/ 152 w 186"/>
                  <a:gd name="T5" fmla="*/ 33 h 103"/>
                  <a:gd name="T6" fmla="*/ 151 w 186"/>
                  <a:gd name="T7" fmla="*/ 24 h 103"/>
                  <a:gd name="T8" fmla="*/ 135 w 186"/>
                  <a:gd name="T9" fmla="*/ 21 h 103"/>
                  <a:gd name="T10" fmla="*/ 131 w 186"/>
                  <a:gd name="T11" fmla="*/ 28 h 103"/>
                  <a:gd name="T12" fmla="*/ 119 w 186"/>
                  <a:gd name="T13" fmla="*/ 31 h 103"/>
                  <a:gd name="T14" fmla="*/ 111 w 186"/>
                  <a:gd name="T15" fmla="*/ 23 h 103"/>
                  <a:gd name="T16" fmla="*/ 112 w 186"/>
                  <a:gd name="T17" fmla="*/ 16 h 103"/>
                  <a:gd name="T18" fmla="*/ 102 w 186"/>
                  <a:gd name="T19" fmla="*/ 14 h 103"/>
                  <a:gd name="T20" fmla="*/ 95 w 186"/>
                  <a:gd name="T21" fmla="*/ 10 h 103"/>
                  <a:gd name="T22" fmla="*/ 85 w 186"/>
                  <a:gd name="T23" fmla="*/ 9 h 103"/>
                  <a:gd name="T24" fmla="*/ 79 w 186"/>
                  <a:gd name="T25" fmla="*/ 1 h 103"/>
                  <a:gd name="T26" fmla="*/ 73 w 186"/>
                  <a:gd name="T27" fmla="*/ 0 h 103"/>
                  <a:gd name="T28" fmla="*/ 69 w 186"/>
                  <a:gd name="T29" fmla="*/ 7 h 103"/>
                  <a:gd name="T30" fmla="*/ 59 w 186"/>
                  <a:gd name="T31" fmla="*/ 6 h 103"/>
                  <a:gd name="T32" fmla="*/ 54 w 186"/>
                  <a:gd name="T33" fmla="*/ 1 h 103"/>
                  <a:gd name="T34" fmla="*/ 54 w 186"/>
                  <a:gd name="T35" fmla="*/ 8 h 103"/>
                  <a:gd name="T36" fmla="*/ 34 w 186"/>
                  <a:gd name="T37" fmla="*/ 18 h 103"/>
                  <a:gd name="T38" fmla="*/ 21 w 186"/>
                  <a:gd name="T39" fmla="*/ 26 h 103"/>
                  <a:gd name="T40" fmla="*/ 13 w 186"/>
                  <a:gd name="T41" fmla="*/ 31 h 103"/>
                  <a:gd name="T42" fmla="*/ 6 w 186"/>
                  <a:gd name="T43" fmla="*/ 33 h 103"/>
                  <a:gd name="T44" fmla="*/ 4 w 186"/>
                  <a:gd name="T45" fmla="*/ 44 h 103"/>
                  <a:gd name="T46" fmla="*/ 6 w 186"/>
                  <a:gd name="T47" fmla="*/ 57 h 103"/>
                  <a:gd name="T48" fmla="*/ 11 w 186"/>
                  <a:gd name="T49" fmla="*/ 68 h 103"/>
                  <a:gd name="T50" fmla="*/ 16 w 186"/>
                  <a:gd name="T51" fmla="*/ 73 h 103"/>
                  <a:gd name="T52" fmla="*/ 26 w 186"/>
                  <a:gd name="T53" fmla="*/ 77 h 103"/>
                  <a:gd name="T54" fmla="*/ 30 w 186"/>
                  <a:gd name="T55" fmla="*/ 82 h 103"/>
                  <a:gd name="T56" fmla="*/ 34 w 186"/>
                  <a:gd name="T57" fmla="*/ 88 h 103"/>
                  <a:gd name="T58" fmla="*/ 40 w 186"/>
                  <a:gd name="T59" fmla="*/ 89 h 103"/>
                  <a:gd name="T60" fmla="*/ 45 w 186"/>
                  <a:gd name="T61" fmla="*/ 94 h 103"/>
                  <a:gd name="T62" fmla="*/ 51 w 186"/>
                  <a:gd name="T63" fmla="*/ 98 h 103"/>
                  <a:gd name="T64" fmla="*/ 57 w 186"/>
                  <a:gd name="T65" fmla="*/ 102 h 103"/>
                  <a:gd name="T66" fmla="*/ 68 w 186"/>
                  <a:gd name="T67" fmla="*/ 102 h 103"/>
                  <a:gd name="T68" fmla="*/ 71 w 186"/>
                  <a:gd name="T69" fmla="*/ 97 h 103"/>
                  <a:gd name="T70" fmla="*/ 76 w 186"/>
                  <a:gd name="T71" fmla="*/ 92 h 103"/>
                  <a:gd name="T72" fmla="*/ 79 w 186"/>
                  <a:gd name="T73" fmla="*/ 82 h 103"/>
                  <a:gd name="T74" fmla="*/ 89 w 186"/>
                  <a:gd name="T75" fmla="*/ 84 h 103"/>
                  <a:gd name="T76" fmla="*/ 100 w 186"/>
                  <a:gd name="T77" fmla="*/ 86 h 103"/>
                  <a:gd name="T78" fmla="*/ 118 w 186"/>
                  <a:gd name="T79" fmla="*/ 91 h 103"/>
                  <a:gd name="T80" fmla="*/ 126 w 186"/>
                  <a:gd name="T81" fmla="*/ 89 h 103"/>
                  <a:gd name="T82" fmla="*/ 135 w 186"/>
                  <a:gd name="T83" fmla="*/ 89 h 103"/>
                  <a:gd name="T84" fmla="*/ 139 w 186"/>
                  <a:gd name="T85" fmla="*/ 91 h 103"/>
                  <a:gd name="T86" fmla="*/ 142 w 186"/>
                  <a:gd name="T87" fmla="*/ 86 h 103"/>
                  <a:gd name="T88" fmla="*/ 148 w 186"/>
                  <a:gd name="T89" fmla="*/ 88 h 103"/>
                  <a:gd name="T90" fmla="*/ 152 w 186"/>
                  <a:gd name="T91" fmla="*/ 88 h 103"/>
                  <a:gd name="T92" fmla="*/ 158 w 186"/>
                  <a:gd name="T93" fmla="*/ 84 h 103"/>
                  <a:gd name="T94" fmla="*/ 162 w 186"/>
                  <a:gd name="T95" fmla="*/ 78 h 103"/>
                  <a:gd name="T96" fmla="*/ 167 w 186"/>
                  <a:gd name="T97" fmla="*/ 66 h 103"/>
                  <a:gd name="T98" fmla="*/ 174 w 186"/>
                  <a:gd name="T99" fmla="*/ 58 h 103"/>
                  <a:gd name="T100" fmla="*/ 181 w 186"/>
                  <a:gd name="T101" fmla="*/ 5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6" h="103">
                    <a:moveTo>
                      <a:pt x="185" y="49"/>
                    </a:moveTo>
                    <a:cubicBezTo>
                      <a:pt x="185" y="49"/>
                      <a:pt x="184" y="48"/>
                      <a:pt x="184" y="47"/>
                    </a:cubicBezTo>
                    <a:cubicBezTo>
                      <a:pt x="183" y="46"/>
                      <a:pt x="181" y="44"/>
                      <a:pt x="181" y="44"/>
                    </a:cubicBezTo>
                    <a:cubicBezTo>
                      <a:pt x="181" y="44"/>
                      <a:pt x="181" y="46"/>
                      <a:pt x="180" y="44"/>
                    </a:cubicBezTo>
                    <a:cubicBezTo>
                      <a:pt x="178" y="42"/>
                      <a:pt x="177" y="42"/>
                      <a:pt x="177" y="42"/>
                    </a:cubicBezTo>
                    <a:cubicBezTo>
                      <a:pt x="175" y="35"/>
                      <a:pt x="175" y="35"/>
                      <a:pt x="175" y="35"/>
                    </a:cubicBezTo>
                    <a:cubicBezTo>
                      <a:pt x="169" y="37"/>
                      <a:pt x="169" y="37"/>
                      <a:pt x="169" y="37"/>
                    </a:cubicBezTo>
                    <a:cubicBezTo>
                      <a:pt x="169" y="37"/>
                      <a:pt x="165" y="35"/>
                      <a:pt x="164" y="35"/>
                    </a:cubicBezTo>
                    <a:cubicBezTo>
                      <a:pt x="163" y="34"/>
                      <a:pt x="161" y="32"/>
                      <a:pt x="161" y="32"/>
                    </a:cubicBezTo>
                    <a:cubicBezTo>
                      <a:pt x="159" y="35"/>
                      <a:pt x="159" y="35"/>
                      <a:pt x="159" y="35"/>
                    </a:cubicBezTo>
                    <a:cubicBezTo>
                      <a:pt x="156" y="35"/>
                      <a:pt x="156" y="35"/>
                      <a:pt x="156" y="35"/>
                    </a:cubicBezTo>
                    <a:cubicBezTo>
                      <a:pt x="156" y="35"/>
                      <a:pt x="153" y="34"/>
                      <a:pt x="152" y="33"/>
                    </a:cubicBezTo>
                    <a:cubicBezTo>
                      <a:pt x="151" y="32"/>
                      <a:pt x="151" y="31"/>
                      <a:pt x="150" y="31"/>
                    </a:cubicBezTo>
                    <a:cubicBezTo>
                      <a:pt x="149" y="31"/>
                      <a:pt x="148" y="30"/>
                      <a:pt x="148" y="30"/>
                    </a:cubicBezTo>
                    <a:cubicBezTo>
                      <a:pt x="148" y="30"/>
                      <a:pt x="150" y="27"/>
                      <a:pt x="150" y="26"/>
                    </a:cubicBezTo>
                    <a:cubicBezTo>
                      <a:pt x="151" y="26"/>
                      <a:pt x="153" y="26"/>
                      <a:pt x="151" y="24"/>
                    </a:cubicBezTo>
                    <a:cubicBezTo>
                      <a:pt x="150" y="22"/>
                      <a:pt x="149" y="21"/>
                      <a:pt x="149" y="21"/>
                    </a:cubicBezTo>
                    <a:cubicBezTo>
                      <a:pt x="149" y="21"/>
                      <a:pt x="149" y="23"/>
                      <a:pt x="148" y="23"/>
                    </a:cubicBezTo>
                    <a:cubicBezTo>
                      <a:pt x="146" y="24"/>
                      <a:pt x="143" y="25"/>
                      <a:pt x="143" y="25"/>
                    </a:cubicBezTo>
                    <a:cubicBezTo>
                      <a:pt x="135" y="21"/>
                      <a:pt x="135" y="21"/>
                      <a:pt x="135" y="21"/>
                    </a:cubicBezTo>
                    <a:cubicBezTo>
                      <a:pt x="135" y="21"/>
                      <a:pt x="132" y="20"/>
                      <a:pt x="132" y="20"/>
                    </a:cubicBezTo>
                    <a:cubicBezTo>
                      <a:pt x="131" y="20"/>
                      <a:pt x="127" y="20"/>
                      <a:pt x="127" y="20"/>
                    </a:cubicBezTo>
                    <a:cubicBezTo>
                      <a:pt x="129" y="23"/>
                      <a:pt x="129" y="23"/>
                      <a:pt x="129" y="23"/>
                    </a:cubicBezTo>
                    <a:cubicBezTo>
                      <a:pt x="131" y="28"/>
                      <a:pt x="131" y="28"/>
                      <a:pt x="131" y="28"/>
                    </a:cubicBezTo>
                    <a:cubicBezTo>
                      <a:pt x="126" y="30"/>
                      <a:pt x="126" y="30"/>
                      <a:pt x="126" y="30"/>
                    </a:cubicBezTo>
                    <a:cubicBezTo>
                      <a:pt x="125" y="33"/>
                      <a:pt x="125" y="33"/>
                      <a:pt x="125" y="33"/>
                    </a:cubicBezTo>
                    <a:cubicBezTo>
                      <a:pt x="125" y="33"/>
                      <a:pt x="120" y="36"/>
                      <a:pt x="120" y="35"/>
                    </a:cubicBezTo>
                    <a:cubicBezTo>
                      <a:pt x="120" y="35"/>
                      <a:pt x="119" y="31"/>
                      <a:pt x="119" y="31"/>
                    </a:cubicBezTo>
                    <a:cubicBezTo>
                      <a:pt x="119" y="31"/>
                      <a:pt x="118" y="29"/>
                      <a:pt x="117" y="29"/>
                    </a:cubicBezTo>
                    <a:cubicBezTo>
                      <a:pt x="116" y="28"/>
                      <a:pt x="114" y="27"/>
                      <a:pt x="114" y="27"/>
                    </a:cubicBezTo>
                    <a:cubicBezTo>
                      <a:pt x="112" y="26"/>
                      <a:pt x="112" y="26"/>
                      <a:pt x="112" y="26"/>
                    </a:cubicBezTo>
                    <a:cubicBezTo>
                      <a:pt x="112" y="26"/>
                      <a:pt x="111" y="23"/>
                      <a:pt x="111" y="23"/>
                    </a:cubicBezTo>
                    <a:cubicBezTo>
                      <a:pt x="110" y="23"/>
                      <a:pt x="109" y="23"/>
                      <a:pt x="109" y="23"/>
                    </a:cubicBezTo>
                    <a:cubicBezTo>
                      <a:pt x="109" y="21"/>
                      <a:pt x="109" y="21"/>
                      <a:pt x="109" y="21"/>
                    </a:cubicBezTo>
                    <a:cubicBezTo>
                      <a:pt x="110" y="19"/>
                      <a:pt x="110" y="19"/>
                      <a:pt x="110" y="19"/>
                    </a:cubicBezTo>
                    <a:cubicBezTo>
                      <a:pt x="110" y="19"/>
                      <a:pt x="111" y="19"/>
                      <a:pt x="112" y="16"/>
                    </a:cubicBezTo>
                    <a:cubicBezTo>
                      <a:pt x="112" y="12"/>
                      <a:pt x="110" y="12"/>
                      <a:pt x="110" y="12"/>
                    </a:cubicBezTo>
                    <a:cubicBezTo>
                      <a:pt x="108" y="13"/>
                      <a:pt x="108" y="13"/>
                      <a:pt x="108" y="13"/>
                    </a:cubicBezTo>
                    <a:cubicBezTo>
                      <a:pt x="104" y="14"/>
                      <a:pt x="104" y="14"/>
                      <a:pt x="104" y="14"/>
                    </a:cubicBezTo>
                    <a:cubicBezTo>
                      <a:pt x="102" y="14"/>
                      <a:pt x="102" y="14"/>
                      <a:pt x="102" y="14"/>
                    </a:cubicBezTo>
                    <a:cubicBezTo>
                      <a:pt x="102" y="14"/>
                      <a:pt x="100" y="12"/>
                      <a:pt x="100" y="12"/>
                    </a:cubicBezTo>
                    <a:cubicBezTo>
                      <a:pt x="100" y="12"/>
                      <a:pt x="102" y="10"/>
                      <a:pt x="99" y="12"/>
                    </a:cubicBezTo>
                    <a:cubicBezTo>
                      <a:pt x="97" y="14"/>
                      <a:pt x="96" y="11"/>
                      <a:pt x="96" y="11"/>
                    </a:cubicBezTo>
                    <a:cubicBezTo>
                      <a:pt x="95" y="10"/>
                      <a:pt x="95" y="10"/>
                      <a:pt x="95" y="10"/>
                    </a:cubicBezTo>
                    <a:cubicBezTo>
                      <a:pt x="95" y="10"/>
                      <a:pt x="95" y="10"/>
                      <a:pt x="94" y="10"/>
                    </a:cubicBezTo>
                    <a:cubicBezTo>
                      <a:pt x="93" y="11"/>
                      <a:pt x="90" y="11"/>
                      <a:pt x="90" y="10"/>
                    </a:cubicBezTo>
                    <a:cubicBezTo>
                      <a:pt x="90" y="9"/>
                      <a:pt x="88" y="7"/>
                      <a:pt x="88" y="7"/>
                    </a:cubicBezTo>
                    <a:cubicBezTo>
                      <a:pt x="85" y="9"/>
                      <a:pt x="85" y="9"/>
                      <a:pt x="85" y="9"/>
                    </a:cubicBezTo>
                    <a:cubicBezTo>
                      <a:pt x="85" y="9"/>
                      <a:pt x="84" y="9"/>
                      <a:pt x="84" y="8"/>
                    </a:cubicBezTo>
                    <a:cubicBezTo>
                      <a:pt x="83" y="8"/>
                      <a:pt x="84" y="7"/>
                      <a:pt x="82" y="6"/>
                    </a:cubicBezTo>
                    <a:cubicBezTo>
                      <a:pt x="80" y="5"/>
                      <a:pt x="80" y="3"/>
                      <a:pt x="80" y="3"/>
                    </a:cubicBezTo>
                    <a:cubicBezTo>
                      <a:pt x="80" y="3"/>
                      <a:pt x="80" y="1"/>
                      <a:pt x="79" y="1"/>
                    </a:cubicBezTo>
                    <a:cubicBezTo>
                      <a:pt x="77" y="1"/>
                      <a:pt x="76" y="0"/>
                      <a:pt x="76" y="0"/>
                    </a:cubicBezTo>
                    <a:cubicBezTo>
                      <a:pt x="76" y="0"/>
                      <a:pt x="74" y="0"/>
                      <a:pt x="74" y="0"/>
                    </a:cubicBezTo>
                    <a:cubicBezTo>
                      <a:pt x="73" y="0"/>
                      <a:pt x="73" y="0"/>
                      <a:pt x="73" y="0"/>
                    </a:cubicBezTo>
                    <a:cubicBezTo>
                      <a:pt x="73" y="0"/>
                      <a:pt x="73" y="0"/>
                      <a:pt x="73" y="0"/>
                    </a:cubicBezTo>
                    <a:cubicBezTo>
                      <a:pt x="73" y="1"/>
                      <a:pt x="73" y="2"/>
                      <a:pt x="73" y="3"/>
                    </a:cubicBezTo>
                    <a:cubicBezTo>
                      <a:pt x="73" y="3"/>
                      <a:pt x="73" y="5"/>
                      <a:pt x="73" y="5"/>
                    </a:cubicBezTo>
                    <a:cubicBezTo>
                      <a:pt x="73" y="5"/>
                      <a:pt x="70" y="7"/>
                      <a:pt x="70" y="7"/>
                    </a:cubicBezTo>
                    <a:cubicBezTo>
                      <a:pt x="69" y="7"/>
                      <a:pt x="69" y="7"/>
                      <a:pt x="69" y="7"/>
                    </a:cubicBezTo>
                    <a:cubicBezTo>
                      <a:pt x="66" y="10"/>
                      <a:pt x="66" y="10"/>
                      <a:pt x="66" y="10"/>
                    </a:cubicBezTo>
                    <a:cubicBezTo>
                      <a:pt x="65" y="9"/>
                      <a:pt x="65" y="9"/>
                      <a:pt x="65" y="9"/>
                    </a:cubicBezTo>
                    <a:cubicBezTo>
                      <a:pt x="64" y="9"/>
                      <a:pt x="64" y="9"/>
                      <a:pt x="63" y="9"/>
                    </a:cubicBezTo>
                    <a:cubicBezTo>
                      <a:pt x="61" y="9"/>
                      <a:pt x="60" y="7"/>
                      <a:pt x="59" y="6"/>
                    </a:cubicBezTo>
                    <a:cubicBezTo>
                      <a:pt x="59" y="5"/>
                      <a:pt x="59" y="4"/>
                      <a:pt x="59" y="2"/>
                    </a:cubicBezTo>
                    <a:cubicBezTo>
                      <a:pt x="59" y="2"/>
                      <a:pt x="58" y="1"/>
                      <a:pt x="57" y="1"/>
                    </a:cubicBezTo>
                    <a:cubicBezTo>
                      <a:pt x="57" y="1"/>
                      <a:pt x="56" y="1"/>
                      <a:pt x="56" y="1"/>
                    </a:cubicBezTo>
                    <a:cubicBezTo>
                      <a:pt x="55" y="1"/>
                      <a:pt x="54" y="1"/>
                      <a:pt x="54" y="1"/>
                    </a:cubicBezTo>
                    <a:cubicBezTo>
                      <a:pt x="54" y="1"/>
                      <a:pt x="54" y="1"/>
                      <a:pt x="54" y="1"/>
                    </a:cubicBezTo>
                    <a:cubicBezTo>
                      <a:pt x="56" y="4"/>
                      <a:pt x="56" y="4"/>
                      <a:pt x="56" y="4"/>
                    </a:cubicBezTo>
                    <a:cubicBezTo>
                      <a:pt x="55" y="8"/>
                      <a:pt x="55" y="8"/>
                      <a:pt x="55" y="8"/>
                    </a:cubicBezTo>
                    <a:cubicBezTo>
                      <a:pt x="54" y="8"/>
                      <a:pt x="54" y="8"/>
                      <a:pt x="54" y="8"/>
                    </a:cubicBezTo>
                    <a:cubicBezTo>
                      <a:pt x="53" y="8"/>
                      <a:pt x="46" y="10"/>
                      <a:pt x="43" y="10"/>
                    </a:cubicBezTo>
                    <a:cubicBezTo>
                      <a:pt x="43" y="10"/>
                      <a:pt x="42" y="14"/>
                      <a:pt x="42" y="14"/>
                    </a:cubicBezTo>
                    <a:cubicBezTo>
                      <a:pt x="39" y="16"/>
                      <a:pt x="39" y="16"/>
                      <a:pt x="39" y="16"/>
                    </a:cubicBezTo>
                    <a:cubicBezTo>
                      <a:pt x="34" y="18"/>
                      <a:pt x="34" y="18"/>
                      <a:pt x="34" y="18"/>
                    </a:cubicBezTo>
                    <a:cubicBezTo>
                      <a:pt x="33" y="19"/>
                      <a:pt x="30" y="22"/>
                      <a:pt x="28" y="22"/>
                    </a:cubicBezTo>
                    <a:cubicBezTo>
                      <a:pt x="26" y="24"/>
                      <a:pt x="26" y="24"/>
                      <a:pt x="26" y="24"/>
                    </a:cubicBezTo>
                    <a:cubicBezTo>
                      <a:pt x="25" y="24"/>
                      <a:pt x="24" y="25"/>
                      <a:pt x="22" y="26"/>
                    </a:cubicBezTo>
                    <a:cubicBezTo>
                      <a:pt x="21" y="26"/>
                      <a:pt x="21" y="26"/>
                      <a:pt x="21" y="26"/>
                    </a:cubicBezTo>
                    <a:cubicBezTo>
                      <a:pt x="21" y="27"/>
                      <a:pt x="21" y="27"/>
                      <a:pt x="21" y="28"/>
                    </a:cubicBezTo>
                    <a:cubicBezTo>
                      <a:pt x="20" y="31"/>
                      <a:pt x="19" y="31"/>
                      <a:pt x="17" y="31"/>
                    </a:cubicBezTo>
                    <a:cubicBezTo>
                      <a:pt x="17" y="31"/>
                      <a:pt x="16" y="32"/>
                      <a:pt x="16" y="32"/>
                    </a:cubicBezTo>
                    <a:cubicBezTo>
                      <a:pt x="15" y="32"/>
                      <a:pt x="14" y="31"/>
                      <a:pt x="13" y="31"/>
                    </a:cubicBezTo>
                    <a:cubicBezTo>
                      <a:pt x="13" y="31"/>
                      <a:pt x="12" y="31"/>
                      <a:pt x="12" y="31"/>
                    </a:cubicBezTo>
                    <a:cubicBezTo>
                      <a:pt x="12" y="31"/>
                      <a:pt x="11" y="31"/>
                      <a:pt x="11" y="31"/>
                    </a:cubicBezTo>
                    <a:cubicBezTo>
                      <a:pt x="10" y="32"/>
                      <a:pt x="8" y="33"/>
                      <a:pt x="7" y="33"/>
                    </a:cubicBezTo>
                    <a:cubicBezTo>
                      <a:pt x="6" y="33"/>
                      <a:pt x="6" y="33"/>
                      <a:pt x="6" y="33"/>
                    </a:cubicBezTo>
                    <a:cubicBezTo>
                      <a:pt x="3" y="35"/>
                      <a:pt x="3" y="35"/>
                      <a:pt x="3" y="35"/>
                    </a:cubicBezTo>
                    <a:cubicBezTo>
                      <a:pt x="0" y="42"/>
                      <a:pt x="0" y="42"/>
                      <a:pt x="0" y="42"/>
                    </a:cubicBezTo>
                    <a:cubicBezTo>
                      <a:pt x="1" y="42"/>
                      <a:pt x="1" y="42"/>
                      <a:pt x="1" y="42"/>
                    </a:cubicBezTo>
                    <a:cubicBezTo>
                      <a:pt x="2" y="43"/>
                      <a:pt x="3" y="43"/>
                      <a:pt x="4" y="44"/>
                    </a:cubicBezTo>
                    <a:cubicBezTo>
                      <a:pt x="6" y="45"/>
                      <a:pt x="6" y="45"/>
                      <a:pt x="6" y="45"/>
                    </a:cubicBezTo>
                    <a:cubicBezTo>
                      <a:pt x="9" y="47"/>
                      <a:pt x="9" y="50"/>
                      <a:pt x="8" y="51"/>
                    </a:cubicBezTo>
                    <a:cubicBezTo>
                      <a:pt x="8" y="53"/>
                      <a:pt x="8" y="54"/>
                      <a:pt x="6" y="56"/>
                    </a:cubicBezTo>
                    <a:cubicBezTo>
                      <a:pt x="6" y="56"/>
                      <a:pt x="6" y="57"/>
                      <a:pt x="6" y="57"/>
                    </a:cubicBezTo>
                    <a:cubicBezTo>
                      <a:pt x="6" y="57"/>
                      <a:pt x="7" y="58"/>
                      <a:pt x="9" y="60"/>
                    </a:cubicBezTo>
                    <a:cubicBezTo>
                      <a:pt x="10" y="62"/>
                      <a:pt x="10" y="63"/>
                      <a:pt x="10" y="65"/>
                    </a:cubicBezTo>
                    <a:cubicBezTo>
                      <a:pt x="10" y="65"/>
                      <a:pt x="10" y="66"/>
                      <a:pt x="10" y="66"/>
                    </a:cubicBezTo>
                    <a:cubicBezTo>
                      <a:pt x="11" y="67"/>
                      <a:pt x="11" y="67"/>
                      <a:pt x="11" y="68"/>
                    </a:cubicBezTo>
                    <a:cubicBezTo>
                      <a:pt x="11" y="68"/>
                      <a:pt x="11" y="68"/>
                      <a:pt x="12" y="69"/>
                    </a:cubicBezTo>
                    <a:cubicBezTo>
                      <a:pt x="12" y="69"/>
                      <a:pt x="13" y="70"/>
                      <a:pt x="13" y="70"/>
                    </a:cubicBezTo>
                    <a:cubicBezTo>
                      <a:pt x="13" y="70"/>
                      <a:pt x="13" y="70"/>
                      <a:pt x="14" y="71"/>
                    </a:cubicBezTo>
                    <a:cubicBezTo>
                      <a:pt x="15" y="72"/>
                      <a:pt x="15" y="72"/>
                      <a:pt x="16" y="73"/>
                    </a:cubicBezTo>
                    <a:cubicBezTo>
                      <a:pt x="17" y="72"/>
                      <a:pt x="19" y="72"/>
                      <a:pt x="19" y="72"/>
                    </a:cubicBezTo>
                    <a:cubicBezTo>
                      <a:pt x="20" y="72"/>
                      <a:pt x="21" y="73"/>
                      <a:pt x="22" y="73"/>
                    </a:cubicBezTo>
                    <a:cubicBezTo>
                      <a:pt x="23" y="74"/>
                      <a:pt x="24" y="75"/>
                      <a:pt x="24" y="75"/>
                    </a:cubicBezTo>
                    <a:cubicBezTo>
                      <a:pt x="24" y="76"/>
                      <a:pt x="25" y="76"/>
                      <a:pt x="26" y="77"/>
                    </a:cubicBezTo>
                    <a:cubicBezTo>
                      <a:pt x="27" y="79"/>
                      <a:pt x="28" y="80"/>
                      <a:pt x="28" y="81"/>
                    </a:cubicBezTo>
                    <a:cubicBezTo>
                      <a:pt x="28" y="81"/>
                      <a:pt x="28" y="81"/>
                      <a:pt x="28" y="82"/>
                    </a:cubicBezTo>
                    <a:cubicBezTo>
                      <a:pt x="28" y="82"/>
                      <a:pt x="28" y="82"/>
                      <a:pt x="28" y="82"/>
                    </a:cubicBezTo>
                    <a:cubicBezTo>
                      <a:pt x="29" y="82"/>
                      <a:pt x="29" y="82"/>
                      <a:pt x="30" y="82"/>
                    </a:cubicBezTo>
                    <a:cubicBezTo>
                      <a:pt x="33" y="82"/>
                      <a:pt x="33" y="85"/>
                      <a:pt x="33" y="86"/>
                    </a:cubicBezTo>
                    <a:cubicBezTo>
                      <a:pt x="33" y="86"/>
                      <a:pt x="33" y="87"/>
                      <a:pt x="33" y="87"/>
                    </a:cubicBezTo>
                    <a:cubicBezTo>
                      <a:pt x="34" y="88"/>
                      <a:pt x="34" y="88"/>
                      <a:pt x="34" y="88"/>
                    </a:cubicBezTo>
                    <a:cubicBezTo>
                      <a:pt x="34" y="88"/>
                      <a:pt x="34" y="88"/>
                      <a:pt x="34" y="88"/>
                    </a:cubicBezTo>
                    <a:cubicBezTo>
                      <a:pt x="35" y="88"/>
                      <a:pt x="35" y="88"/>
                      <a:pt x="35" y="88"/>
                    </a:cubicBezTo>
                    <a:cubicBezTo>
                      <a:pt x="35" y="88"/>
                      <a:pt x="36" y="88"/>
                      <a:pt x="37" y="88"/>
                    </a:cubicBezTo>
                    <a:cubicBezTo>
                      <a:pt x="37" y="88"/>
                      <a:pt x="37" y="88"/>
                      <a:pt x="37" y="88"/>
                    </a:cubicBezTo>
                    <a:cubicBezTo>
                      <a:pt x="38" y="88"/>
                      <a:pt x="39" y="88"/>
                      <a:pt x="40" y="89"/>
                    </a:cubicBezTo>
                    <a:cubicBezTo>
                      <a:pt x="40" y="89"/>
                      <a:pt x="40" y="90"/>
                      <a:pt x="40" y="91"/>
                    </a:cubicBezTo>
                    <a:cubicBezTo>
                      <a:pt x="41" y="91"/>
                      <a:pt x="41" y="91"/>
                      <a:pt x="42" y="91"/>
                    </a:cubicBezTo>
                    <a:cubicBezTo>
                      <a:pt x="43" y="92"/>
                      <a:pt x="43" y="92"/>
                      <a:pt x="43" y="92"/>
                    </a:cubicBezTo>
                    <a:cubicBezTo>
                      <a:pt x="44" y="92"/>
                      <a:pt x="44" y="93"/>
                      <a:pt x="45" y="94"/>
                    </a:cubicBezTo>
                    <a:cubicBezTo>
                      <a:pt x="45" y="94"/>
                      <a:pt x="45" y="94"/>
                      <a:pt x="46" y="95"/>
                    </a:cubicBezTo>
                    <a:cubicBezTo>
                      <a:pt x="46" y="95"/>
                      <a:pt x="46" y="95"/>
                      <a:pt x="46" y="95"/>
                    </a:cubicBezTo>
                    <a:cubicBezTo>
                      <a:pt x="46" y="95"/>
                      <a:pt x="46" y="95"/>
                      <a:pt x="46" y="95"/>
                    </a:cubicBezTo>
                    <a:cubicBezTo>
                      <a:pt x="47" y="96"/>
                      <a:pt x="50" y="98"/>
                      <a:pt x="51" y="98"/>
                    </a:cubicBezTo>
                    <a:cubicBezTo>
                      <a:pt x="51" y="99"/>
                      <a:pt x="53" y="101"/>
                      <a:pt x="54" y="101"/>
                    </a:cubicBezTo>
                    <a:cubicBezTo>
                      <a:pt x="54" y="101"/>
                      <a:pt x="54" y="101"/>
                      <a:pt x="54" y="101"/>
                    </a:cubicBezTo>
                    <a:cubicBezTo>
                      <a:pt x="55" y="102"/>
                      <a:pt x="57" y="102"/>
                      <a:pt x="57" y="102"/>
                    </a:cubicBezTo>
                    <a:cubicBezTo>
                      <a:pt x="57" y="102"/>
                      <a:pt x="57" y="102"/>
                      <a:pt x="57" y="102"/>
                    </a:cubicBezTo>
                    <a:cubicBezTo>
                      <a:pt x="58" y="102"/>
                      <a:pt x="58" y="102"/>
                      <a:pt x="60" y="103"/>
                    </a:cubicBezTo>
                    <a:cubicBezTo>
                      <a:pt x="60" y="102"/>
                      <a:pt x="60" y="102"/>
                      <a:pt x="60" y="102"/>
                    </a:cubicBezTo>
                    <a:cubicBezTo>
                      <a:pt x="64" y="99"/>
                      <a:pt x="64" y="99"/>
                      <a:pt x="64" y="99"/>
                    </a:cubicBezTo>
                    <a:cubicBezTo>
                      <a:pt x="68" y="102"/>
                      <a:pt x="68" y="102"/>
                      <a:pt x="68" y="102"/>
                    </a:cubicBezTo>
                    <a:cubicBezTo>
                      <a:pt x="69" y="102"/>
                      <a:pt x="69" y="102"/>
                      <a:pt x="69" y="102"/>
                    </a:cubicBezTo>
                    <a:cubicBezTo>
                      <a:pt x="69" y="100"/>
                      <a:pt x="69" y="98"/>
                      <a:pt x="70" y="97"/>
                    </a:cubicBezTo>
                    <a:cubicBezTo>
                      <a:pt x="70" y="97"/>
                      <a:pt x="70" y="97"/>
                      <a:pt x="70" y="97"/>
                    </a:cubicBezTo>
                    <a:cubicBezTo>
                      <a:pt x="71" y="97"/>
                      <a:pt x="71" y="97"/>
                      <a:pt x="71" y="97"/>
                    </a:cubicBezTo>
                    <a:cubicBezTo>
                      <a:pt x="71" y="97"/>
                      <a:pt x="72" y="96"/>
                      <a:pt x="73" y="95"/>
                    </a:cubicBezTo>
                    <a:cubicBezTo>
                      <a:pt x="73" y="94"/>
                      <a:pt x="73" y="94"/>
                      <a:pt x="73" y="94"/>
                    </a:cubicBezTo>
                    <a:cubicBezTo>
                      <a:pt x="75" y="93"/>
                      <a:pt x="75" y="93"/>
                      <a:pt x="75" y="93"/>
                    </a:cubicBezTo>
                    <a:cubicBezTo>
                      <a:pt x="76" y="93"/>
                      <a:pt x="76" y="92"/>
                      <a:pt x="76" y="92"/>
                    </a:cubicBezTo>
                    <a:cubicBezTo>
                      <a:pt x="76" y="91"/>
                      <a:pt x="76" y="88"/>
                      <a:pt x="76" y="88"/>
                    </a:cubicBezTo>
                    <a:cubicBezTo>
                      <a:pt x="76" y="87"/>
                      <a:pt x="75" y="85"/>
                      <a:pt x="76" y="84"/>
                    </a:cubicBezTo>
                    <a:cubicBezTo>
                      <a:pt x="77" y="83"/>
                      <a:pt x="77" y="83"/>
                      <a:pt x="78" y="82"/>
                    </a:cubicBezTo>
                    <a:cubicBezTo>
                      <a:pt x="79" y="82"/>
                      <a:pt x="79" y="82"/>
                      <a:pt x="79" y="82"/>
                    </a:cubicBezTo>
                    <a:cubicBezTo>
                      <a:pt x="79" y="82"/>
                      <a:pt x="79" y="82"/>
                      <a:pt x="79" y="82"/>
                    </a:cubicBezTo>
                    <a:cubicBezTo>
                      <a:pt x="81" y="82"/>
                      <a:pt x="83" y="83"/>
                      <a:pt x="84" y="84"/>
                    </a:cubicBezTo>
                    <a:cubicBezTo>
                      <a:pt x="86" y="84"/>
                      <a:pt x="86" y="84"/>
                      <a:pt x="86" y="84"/>
                    </a:cubicBezTo>
                    <a:cubicBezTo>
                      <a:pt x="87" y="84"/>
                      <a:pt x="88" y="84"/>
                      <a:pt x="89" y="84"/>
                    </a:cubicBezTo>
                    <a:cubicBezTo>
                      <a:pt x="89" y="84"/>
                      <a:pt x="89" y="84"/>
                      <a:pt x="89" y="84"/>
                    </a:cubicBezTo>
                    <a:cubicBezTo>
                      <a:pt x="90" y="84"/>
                      <a:pt x="92" y="85"/>
                      <a:pt x="93" y="85"/>
                    </a:cubicBezTo>
                    <a:cubicBezTo>
                      <a:pt x="96" y="86"/>
                      <a:pt x="97" y="86"/>
                      <a:pt x="97" y="86"/>
                    </a:cubicBezTo>
                    <a:cubicBezTo>
                      <a:pt x="98" y="86"/>
                      <a:pt x="100" y="86"/>
                      <a:pt x="100" y="86"/>
                    </a:cubicBezTo>
                    <a:cubicBezTo>
                      <a:pt x="101" y="86"/>
                      <a:pt x="101" y="86"/>
                      <a:pt x="101" y="86"/>
                    </a:cubicBezTo>
                    <a:cubicBezTo>
                      <a:pt x="103" y="86"/>
                      <a:pt x="103" y="86"/>
                      <a:pt x="103" y="86"/>
                    </a:cubicBezTo>
                    <a:cubicBezTo>
                      <a:pt x="112" y="90"/>
                      <a:pt x="112" y="90"/>
                      <a:pt x="112" y="90"/>
                    </a:cubicBezTo>
                    <a:cubicBezTo>
                      <a:pt x="118" y="91"/>
                      <a:pt x="118" y="91"/>
                      <a:pt x="118" y="91"/>
                    </a:cubicBezTo>
                    <a:cubicBezTo>
                      <a:pt x="119" y="89"/>
                      <a:pt x="119" y="89"/>
                      <a:pt x="119" y="89"/>
                    </a:cubicBezTo>
                    <a:cubicBezTo>
                      <a:pt x="119" y="89"/>
                      <a:pt x="119" y="89"/>
                      <a:pt x="119" y="89"/>
                    </a:cubicBezTo>
                    <a:cubicBezTo>
                      <a:pt x="120" y="88"/>
                      <a:pt x="123" y="88"/>
                      <a:pt x="123" y="88"/>
                    </a:cubicBezTo>
                    <a:cubicBezTo>
                      <a:pt x="124" y="88"/>
                      <a:pt x="125" y="88"/>
                      <a:pt x="126" y="89"/>
                    </a:cubicBezTo>
                    <a:cubicBezTo>
                      <a:pt x="126" y="89"/>
                      <a:pt x="128" y="90"/>
                      <a:pt x="130" y="90"/>
                    </a:cubicBezTo>
                    <a:cubicBezTo>
                      <a:pt x="130" y="90"/>
                      <a:pt x="130" y="90"/>
                      <a:pt x="130" y="90"/>
                    </a:cubicBezTo>
                    <a:cubicBezTo>
                      <a:pt x="132" y="90"/>
                      <a:pt x="133" y="90"/>
                      <a:pt x="133" y="90"/>
                    </a:cubicBezTo>
                    <a:cubicBezTo>
                      <a:pt x="135" y="89"/>
                      <a:pt x="135" y="89"/>
                      <a:pt x="135" y="89"/>
                    </a:cubicBezTo>
                    <a:cubicBezTo>
                      <a:pt x="137" y="95"/>
                      <a:pt x="137" y="95"/>
                      <a:pt x="137" y="95"/>
                    </a:cubicBezTo>
                    <a:cubicBezTo>
                      <a:pt x="137" y="95"/>
                      <a:pt x="137" y="95"/>
                      <a:pt x="137" y="94"/>
                    </a:cubicBezTo>
                    <a:cubicBezTo>
                      <a:pt x="138" y="94"/>
                      <a:pt x="138" y="92"/>
                      <a:pt x="138" y="92"/>
                    </a:cubicBezTo>
                    <a:cubicBezTo>
                      <a:pt x="138" y="92"/>
                      <a:pt x="138" y="91"/>
                      <a:pt x="139" y="91"/>
                    </a:cubicBezTo>
                    <a:cubicBezTo>
                      <a:pt x="139" y="90"/>
                      <a:pt x="140" y="90"/>
                      <a:pt x="140" y="89"/>
                    </a:cubicBezTo>
                    <a:cubicBezTo>
                      <a:pt x="140" y="89"/>
                      <a:pt x="140" y="88"/>
                      <a:pt x="140" y="88"/>
                    </a:cubicBezTo>
                    <a:cubicBezTo>
                      <a:pt x="141" y="88"/>
                      <a:pt x="141" y="88"/>
                      <a:pt x="141" y="88"/>
                    </a:cubicBezTo>
                    <a:cubicBezTo>
                      <a:pt x="141" y="88"/>
                      <a:pt x="142" y="86"/>
                      <a:pt x="142" y="86"/>
                    </a:cubicBezTo>
                    <a:cubicBezTo>
                      <a:pt x="142" y="86"/>
                      <a:pt x="143" y="86"/>
                      <a:pt x="143" y="86"/>
                    </a:cubicBezTo>
                    <a:cubicBezTo>
                      <a:pt x="144" y="86"/>
                      <a:pt x="144" y="87"/>
                      <a:pt x="145" y="87"/>
                    </a:cubicBezTo>
                    <a:cubicBezTo>
                      <a:pt x="145" y="87"/>
                      <a:pt x="145" y="87"/>
                      <a:pt x="146" y="87"/>
                    </a:cubicBezTo>
                    <a:cubicBezTo>
                      <a:pt x="147" y="87"/>
                      <a:pt x="147" y="88"/>
                      <a:pt x="148" y="88"/>
                    </a:cubicBezTo>
                    <a:cubicBezTo>
                      <a:pt x="148" y="88"/>
                      <a:pt x="148" y="88"/>
                      <a:pt x="149" y="87"/>
                    </a:cubicBezTo>
                    <a:cubicBezTo>
                      <a:pt x="149" y="87"/>
                      <a:pt x="149" y="87"/>
                      <a:pt x="149" y="86"/>
                    </a:cubicBezTo>
                    <a:cubicBezTo>
                      <a:pt x="150" y="86"/>
                      <a:pt x="151" y="87"/>
                      <a:pt x="151" y="87"/>
                    </a:cubicBezTo>
                    <a:cubicBezTo>
                      <a:pt x="151" y="87"/>
                      <a:pt x="152" y="88"/>
                      <a:pt x="152" y="88"/>
                    </a:cubicBezTo>
                    <a:cubicBezTo>
                      <a:pt x="153" y="87"/>
                      <a:pt x="154" y="86"/>
                      <a:pt x="154" y="86"/>
                    </a:cubicBezTo>
                    <a:cubicBezTo>
                      <a:pt x="155" y="86"/>
                      <a:pt x="155" y="86"/>
                      <a:pt x="155" y="86"/>
                    </a:cubicBezTo>
                    <a:cubicBezTo>
                      <a:pt x="156" y="86"/>
                      <a:pt x="156" y="86"/>
                      <a:pt x="156" y="86"/>
                    </a:cubicBezTo>
                    <a:cubicBezTo>
                      <a:pt x="158" y="84"/>
                      <a:pt x="158" y="84"/>
                      <a:pt x="158" y="84"/>
                    </a:cubicBezTo>
                    <a:cubicBezTo>
                      <a:pt x="158" y="84"/>
                      <a:pt x="158" y="82"/>
                      <a:pt x="159" y="82"/>
                    </a:cubicBezTo>
                    <a:cubicBezTo>
                      <a:pt x="159" y="82"/>
                      <a:pt x="161" y="82"/>
                      <a:pt x="161" y="82"/>
                    </a:cubicBezTo>
                    <a:cubicBezTo>
                      <a:pt x="161" y="80"/>
                      <a:pt x="161" y="80"/>
                      <a:pt x="161" y="80"/>
                    </a:cubicBezTo>
                    <a:cubicBezTo>
                      <a:pt x="162" y="78"/>
                      <a:pt x="162" y="78"/>
                      <a:pt x="162" y="78"/>
                    </a:cubicBezTo>
                    <a:cubicBezTo>
                      <a:pt x="166" y="76"/>
                      <a:pt x="166" y="76"/>
                      <a:pt x="166" y="76"/>
                    </a:cubicBezTo>
                    <a:cubicBezTo>
                      <a:pt x="167" y="72"/>
                      <a:pt x="167" y="72"/>
                      <a:pt x="167" y="72"/>
                    </a:cubicBezTo>
                    <a:cubicBezTo>
                      <a:pt x="166" y="70"/>
                      <a:pt x="166" y="70"/>
                      <a:pt x="166" y="70"/>
                    </a:cubicBezTo>
                    <a:cubicBezTo>
                      <a:pt x="166" y="70"/>
                      <a:pt x="166" y="67"/>
                      <a:pt x="167" y="66"/>
                    </a:cubicBezTo>
                    <a:cubicBezTo>
                      <a:pt x="167" y="66"/>
                      <a:pt x="170" y="65"/>
                      <a:pt x="170" y="65"/>
                    </a:cubicBezTo>
                    <a:cubicBezTo>
                      <a:pt x="172" y="63"/>
                      <a:pt x="172" y="63"/>
                      <a:pt x="172" y="63"/>
                    </a:cubicBezTo>
                    <a:cubicBezTo>
                      <a:pt x="173" y="60"/>
                      <a:pt x="173" y="60"/>
                      <a:pt x="173" y="60"/>
                    </a:cubicBezTo>
                    <a:cubicBezTo>
                      <a:pt x="174" y="58"/>
                      <a:pt x="174" y="58"/>
                      <a:pt x="174" y="58"/>
                    </a:cubicBezTo>
                    <a:cubicBezTo>
                      <a:pt x="176" y="56"/>
                      <a:pt x="176" y="56"/>
                      <a:pt x="176" y="56"/>
                    </a:cubicBezTo>
                    <a:cubicBezTo>
                      <a:pt x="177" y="54"/>
                      <a:pt x="177" y="54"/>
                      <a:pt x="177" y="54"/>
                    </a:cubicBezTo>
                    <a:cubicBezTo>
                      <a:pt x="179" y="54"/>
                      <a:pt x="179" y="54"/>
                      <a:pt x="179" y="54"/>
                    </a:cubicBezTo>
                    <a:cubicBezTo>
                      <a:pt x="179" y="54"/>
                      <a:pt x="180" y="53"/>
                      <a:pt x="181" y="54"/>
                    </a:cubicBezTo>
                    <a:cubicBezTo>
                      <a:pt x="182" y="54"/>
                      <a:pt x="183" y="53"/>
                      <a:pt x="183" y="53"/>
                    </a:cubicBezTo>
                    <a:cubicBezTo>
                      <a:pt x="184" y="53"/>
                      <a:pt x="186" y="52"/>
                      <a:pt x="186" y="52"/>
                    </a:cubicBezTo>
                    <a:lnTo>
                      <a:pt x="185" y="49"/>
                    </a:lnTo>
                    <a:close/>
                  </a:path>
                </a:pathLst>
              </a:custGeom>
              <a:solidFill>
                <a:srgbClr val="0181C7"/>
              </a:solid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579" name="Freeform 32"/>
              <p:cNvSpPr>
                <a:spLocks/>
              </p:cNvSpPr>
              <p:nvPr/>
            </p:nvSpPr>
            <p:spPr bwMode="auto">
              <a:xfrm>
                <a:off x="2746" y="1795"/>
                <a:ext cx="4" cy="4"/>
              </a:xfrm>
              <a:custGeom>
                <a:avLst/>
                <a:gdLst>
                  <a:gd name="T0" fmla="*/ 2 w 2"/>
                  <a:gd name="T1" fmla="*/ 1 h 2"/>
                  <a:gd name="T2" fmla="*/ 1 w 2"/>
                  <a:gd name="T3" fmla="*/ 0 h 2"/>
                  <a:gd name="T4" fmla="*/ 0 w 2"/>
                  <a:gd name="T5" fmla="*/ 1 h 2"/>
                  <a:gd name="T6" fmla="*/ 0 w 2"/>
                  <a:gd name="T7" fmla="*/ 2 h 2"/>
                  <a:gd name="T8" fmla="*/ 1 w 2"/>
                  <a:gd name="T9" fmla="*/ 2 h 2"/>
                  <a:gd name="T10" fmla="*/ 2 w 2"/>
                  <a:gd name="T11" fmla="*/ 1 h 2"/>
                </a:gdLst>
                <a:ahLst/>
                <a:cxnLst>
                  <a:cxn ang="0">
                    <a:pos x="T0" y="T1"/>
                  </a:cxn>
                  <a:cxn ang="0">
                    <a:pos x="T2" y="T3"/>
                  </a:cxn>
                  <a:cxn ang="0">
                    <a:pos x="T4" y="T5"/>
                  </a:cxn>
                  <a:cxn ang="0">
                    <a:pos x="T6" y="T7"/>
                  </a:cxn>
                  <a:cxn ang="0">
                    <a:pos x="T8" y="T9"/>
                  </a:cxn>
                  <a:cxn ang="0">
                    <a:pos x="T10" y="T11"/>
                  </a:cxn>
                </a:cxnLst>
                <a:rect l="0" t="0" r="r" b="b"/>
                <a:pathLst>
                  <a:path w="2" h="2">
                    <a:moveTo>
                      <a:pt x="2" y="1"/>
                    </a:moveTo>
                    <a:cubicBezTo>
                      <a:pt x="1" y="0"/>
                      <a:pt x="1" y="0"/>
                      <a:pt x="1" y="0"/>
                    </a:cubicBezTo>
                    <a:cubicBezTo>
                      <a:pt x="0" y="1"/>
                      <a:pt x="0" y="1"/>
                      <a:pt x="0" y="1"/>
                    </a:cubicBezTo>
                    <a:cubicBezTo>
                      <a:pt x="0" y="2"/>
                      <a:pt x="0" y="2"/>
                      <a:pt x="0" y="2"/>
                    </a:cubicBezTo>
                    <a:cubicBezTo>
                      <a:pt x="0" y="2"/>
                      <a:pt x="1" y="2"/>
                      <a:pt x="1" y="2"/>
                    </a:cubicBezTo>
                    <a:cubicBezTo>
                      <a:pt x="1" y="2"/>
                      <a:pt x="2" y="1"/>
                      <a:pt x="2" y="1"/>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581" name="Freeform 33"/>
              <p:cNvSpPr>
                <a:spLocks/>
              </p:cNvSpPr>
              <p:nvPr/>
            </p:nvSpPr>
            <p:spPr bwMode="auto">
              <a:xfrm>
                <a:off x="2765" y="1819"/>
                <a:ext cx="2" cy="2"/>
              </a:xfrm>
              <a:custGeom>
                <a:avLst/>
                <a:gdLst>
                  <a:gd name="T0" fmla="*/ 0 w 2"/>
                  <a:gd name="T1" fmla="*/ 2 h 2"/>
                  <a:gd name="T2" fmla="*/ 0 w 2"/>
                  <a:gd name="T3" fmla="*/ 2 h 2"/>
                  <a:gd name="T4" fmla="*/ 2 w 2"/>
                  <a:gd name="T5" fmla="*/ 2 h 2"/>
                  <a:gd name="T6" fmla="*/ 2 w 2"/>
                  <a:gd name="T7" fmla="*/ 0 h 2"/>
                  <a:gd name="T8" fmla="*/ 0 w 2"/>
                  <a:gd name="T9" fmla="*/ 0 h 2"/>
                  <a:gd name="T10" fmla="*/ 0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0" y="2"/>
                    </a:moveTo>
                    <a:lnTo>
                      <a:pt x="0" y="2"/>
                    </a:lnTo>
                    <a:lnTo>
                      <a:pt x="2" y="2"/>
                    </a:lnTo>
                    <a:lnTo>
                      <a:pt x="2" y="0"/>
                    </a:lnTo>
                    <a:lnTo>
                      <a:pt x="0" y="0"/>
                    </a:lnTo>
                    <a:lnTo>
                      <a:pt x="0" y="2"/>
                    </a:lnTo>
                    <a:close/>
                  </a:path>
                </a:pathLst>
              </a:custGeom>
              <a:solidFill>
                <a:srgbClr val="BFBFBF"/>
              </a:solid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582" name="Freeform 34"/>
              <p:cNvSpPr>
                <a:spLocks/>
              </p:cNvSpPr>
              <p:nvPr/>
            </p:nvSpPr>
            <p:spPr bwMode="auto">
              <a:xfrm>
                <a:off x="2767" y="1811"/>
                <a:ext cx="2" cy="4"/>
              </a:xfrm>
              <a:custGeom>
                <a:avLst/>
                <a:gdLst>
                  <a:gd name="T0" fmla="*/ 1 w 1"/>
                  <a:gd name="T1" fmla="*/ 2 h 2"/>
                  <a:gd name="T2" fmla="*/ 1 w 1"/>
                  <a:gd name="T3" fmla="*/ 1 h 2"/>
                  <a:gd name="T4" fmla="*/ 1 w 1"/>
                  <a:gd name="T5" fmla="*/ 0 h 2"/>
                  <a:gd name="T6" fmla="*/ 0 w 1"/>
                  <a:gd name="T7" fmla="*/ 1 h 2"/>
                  <a:gd name="T8" fmla="*/ 0 w 1"/>
                  <a:gd name="T9" fmla="*/ 2 h 2"/>
                  <a:gd name="T10" fmla="*/ 1 w 1"/>
                  <a:gd name="T11" fmla="*/ 2 h 2"/>
                </a:gdLst>
                <a:ahLst/>
                <a:cxnLst>
                  <a:cxn ang="0">
                    <a:pos x="T0" y="T1"/>
                  </a:cxn>
                  <a:cxn ang="0">
                    <a:pos x="T2" y="T3"/>
                  </a:cxn>
                  <a:cxn ang="0">
                    <a:pos x="T4" y="T5"/>
                  </a:cxn>
                  <a:cxn ang="0">
                    <a:pos x="T6" y="T7"/>
                  </a:cxn>
                  <a:cxn ang="0">
                    <a:pos x="T8" y="T9"/>
                  </a:cxn>
                  <a:cxn ang="0">
                    <a:pos x="T10" y="T11"/>
                  </a:cxn>
                </a:cxnLst>
                <a:rect l="0" t="0" r="r" b="b"/>
                <a:pathLst>
                  <a:path w="1" h="2">
                    <a:moveTo>
                      <a:pt x="1" y="2"/>
                    </a:moveTo>
                    <a:cubicBezTo>
                      <a:pt x="1" y="2"/>
                      <a:pt x="1" y="1"/>
                      <a:pt x="1" y="1"/>
                    </a:cubicBezTo>
                    <a:cubicBezTo>
                      <a:pt x="1" y="0"/>
                      <a:pt x="1" y="0"/>
                      <a:pt x="1" y="0"/>
                    </a:cubicBezTo>
                    <a:cubicBezTo>
                      <a:pt x="0" y="1"/>
                      <a:pt x="0" y="1"/>
                      <a:pt x="0" y="1"/>
                    </a:cubicBezTo>
                    <a:cubicBezTo>
                      <a:pt x="0" y="2"/>
                      <a:pt x="0" y="2"/>
                      <a:pt x="0" y="2"/>
                    </a:cubicBezTo>
                    <a:lnTo>
                      <a:pt x="1" y="2"/>
                    </a:ln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583" name="Freeform 35"/>
              <p:cNvSpPr>
                <a:spLocks/>
              </p:cNvSpPr>
              <p:nvPr/>
            </p:nvSpPr>
            <p:spPr bwMode="auto">
              <a:xfrm>
                <a:off x="2759" y="1813"/>
                <a:ext cx="6" cy="4"/>
              </a:xfrm>
              <a:custGeom>
                <a:avLst/>
                <a:gdLst>
                  <a:gd name="T0" fmla="*/ 2 w 3"/>
                  <a:gd name="T1" fmla="*/ 0 h 2"/>
                  <a:gd name="T2" fmla="*/ 2 w 3"/>
                  <a:gd name="T3" fmla="*/ 0 h 2"/>
                  <a:gd name="T4" fmla="*/ 0 w 3"/>
                  <a:gd name="T5" fmla="*/ 1 h 2"/>
                  <a:gd name="T6" fmla="*/ 1 w 3"/>
                  <a:gd name="T7" fmla="*/ 1 h 2"/>
                  <a:gd name="T8" fmla="*/ 2 w 3"/>
                  <a:gd name="T9" fmla="*/ 2 h 2"/>
                  <a:gd name="T10" fmla="*/ 3 w 3"/>
                  <a:gd name="T11" fmla="*/ 2 h 2"/>
                  <a:gd name="T12" fmla="*/ 3 w 3"/>
                  <a:gd name="T13" fmla="*/ 1 h 2"/>
                  <a:gd name="T14" fmla="*/ 2 w 3"/>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2">
                    <a:moveTo>
                      <a:pt x="2" y="0"/>
                    </a:moveTo>
                    <a:cubicBezTo>
                      <a:pt x="2" y="0"/>
                      <a:pt x="2" y="0"/>
                      <a:pt x="2" y="0"/>
                    </a:cubicBezTo>
                    <a:cubicBezTo>
                      <a:pt x="0" y="1"/>
                      <a:pt x="0" y="1"/>
                      <a:pt x="0" y="1"/>
                    </a:cubicBezTo>
                    <a:cubicBezTo>
                      <a:pt x="1" y="1"/>
                      <a:pt x="1" y="1"/>
                      <a:pt x="1" y="1"/>
                    </a:cubicBezTo>
                    <a:cubicBezTo>
                      <a:pt x="1" y="1"/>
                      <a:pt x="2" y="2"/>
                      <a:pt x="2" y="2"/>
                    </a:cubicBezTo>
                    <a:cubicBezTo>
                      <a:pt x="2" y="2"/>
                      <a:pt x="3" y="2"/>
                      <a:pt x="3" y="2"/>
                    </a:cubicBezTo>
                    <a:cubicBezTo>
                      <a:pt x="3" y="2"/>
                      <a:pt x="3" y="1"/>
                      <a:pt x="3" y="1"/>
                    </a:cubicBezTo>
                    <a:cubicBezTo>
                      <a:pt x="3" y="1"/>
                      <a:pt x="3" y="0"/>
                      <a:pt x="2" y="0"/>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586" name="Freeform 36"/>
              <p:cNvSpPr>
                <a:spLocks/>
              </p:cNvSpPr>
              <p:nvPr/>
            </p:nvSpPr>
            <p:spPr bwMode="auto">
              <a:xfrm>
                <a:off x="2797" y="1805"/>
                <a:ext cx="22" cy="14"/>
              </a:xfrm>
              <a:custGeom>
                <a:avLst/>
                <a:gdLst>
                  <a:gd name="T0" fmla="*/ 0 w 11"/>
                  <a:gd name="T1" fmla="*/ 6 h 7"/>
                  <a:gd name="T2" fmla="*/ 1 w 11"/>
                  <a:gd name="T3" fmla="*/ 6 h 7"/>
                  <a:gd name="T4" fmla="*/ 3 w 11"/>
                  <a:gd name="T5" fmla="*/ 7 h 7"/>
                  <a:gd name="T6" fmla="*/ 4 w 11"/>
                  <a:gd name="T7" fmla="*/ 7 h 7"/>
                  <a:gd name="T8" fmla="*/ 4 w 11"/>
                  <a:gd name="T9" fmla="*/ 6 h 7"/>
                  <a:gd name="T10" fmla="*/ 5 w 11"/>
                  <a:gd name="T11" fmla="*/ 4 h 7"/>
                  <a:gd name="T12" fmla="*/ 7 w 11"/>
                  <a:gd name="T13" fmla="*/ 3 h 7"/>
                  <a:gd name="T14" fmla="*/ 10 w 11"/>
                  <a:gd name="T15" fmla="*/ 4 h 7"/>
                  <a:gd name="T16" fmla="*/ 11 w 11"/>
                  <a:gd name="T17" fmla="*/ 3 h 7"/>
                  <a:gd name="T18" fmla="*/ 11 w 11"/>
                  <a:gd name="T19" fmla="*/ 2 h 7"/>
                  <a:gd name="T20" fmla="*/ 9 w 11"/>
                  <a:gd name="T21" fmla="*/ 1 h 7"/>
                  <a:gd name="T22" fmla="*/ 8 w 11"/>
                  <a:gd name="T23" fmla="*/ 1 h 7"/>
                  <a:gd name="T24" fmla="*/ 5 w 11"/>
                  <a:gd name="T25" fmla="*/ 0 h 7"/>
                  <a:gd name="T26" fmla="*/ 4 w 11"/>
                  <a:gd name="T27" fmla="*/ 0 h 7"/>
                  <a:gd name="T28" fmla="*/ 4 w 11"/>
                  <a:gd name="T29" fmla="*/ 2 h 7"/>
                  <a:gd name="T30" fmla="*/ 3 w 11"/>
                  <a:gd name="T31" fmla="*/ 3 h 7"/>
                  <a:gd name="T32" fmla="*/ 2 w 11"/>
                  <a:gd name="T33" fmla="*/ 3 h 7"/>
                  <a:gd name="T34" fmla="*/ 1 w 11"/>
                  <a:gd name="T35" fmla="*/ 5 h 7"/>
                  <a:gd name="T36" fmla="*/ 0 w 11"/>
                  <a:gd name="T3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 h="7">
                    <a:moveTo>
                      <a:pt x="0" y="6"/>
                    </a:moveTo>
                    <a:cubicBezTo>
                      <a:pt x="1" y="6"/>
                      <a:pt x="1" y="6"/>
                      <a:pt x="1" y="6"/>
                    </a:cubicBezTo>
                    <a:cubicBezTo>
                      <a:pt x="1" y="6"/>
                      <a:pt x="2" y="7"/>
                      <a:pt x="3" y="7"/>
                    </a:cubicBezTo>
                    <a:cubicBezTo>
                      <a:pt x="3" y="7"/>
                      <a:pt x="4" y="7"/>
                      <a:pt x="4" y="7"/>
                    </a:cubicBezTo>
                    <a:cubicBezTo>
                      <a:pt x="4" y="6"/>
                      <a:pt x="4" y="6"/>
                      <a:pt x="4" y="6"/>
                    </a:cubicBezTo>
                    <a:cubicBezTo>
                      <a:pt x="5" y="4"/>
                      <a:pt x="5" y="4"/>
                      <a:pt x="5" y="4"/>
                    </a:cubicBezTo>
                    <a:cubicBezTo>
                      <a:pt x="7" y="3"/>
                      <a:pt x="7" y="3"/>
                      <a:pt x="7" y="3"/>
                    </a:cubicBezTo>
                    <a:cubicBezTo>
                      <a:pt x="7" y="3"/>
                      <a:pt x="10" y="4"/>
                      <a:pt x="10" y="4"/>
                    </a:cubicBezTo>
                    <a:cubicBezTo>
                      <a:pt x="10" y="4"/>
                      <a:pt x="11" y="3"/>
                      <a:pt x="11" y="3"/>
                    </a:cubicBezTo>
                    <a:cubicBezTo>
                      <a:pt x="11" y="2"/>
                      <a:pt x="11" y="2"/>
                      <a:pt x="11" y="2"/>
                    </a:cubicBezTo>
                    <a:cubicBezTo>
                      <a:pt x="9" y="1"/>
                      <a:pt x="9" y="1"/>
                      <a:pt x="9" y="1"/>
                    </a:cubicBezTo>
                    <a:cubicBezTo>
                      <a:pt x="8" y="1"/>
                      <a:pt x="8" y="1"/>
                      <a:pt x="8" y="1"/>
                    </a:cubicBezTo>
                    <a:cubicBezTo>
                      <a:pt x="8" y="1"/>
                      <a:pt x="6" y="0"/>
                      <a:pt x="5" y="0"/>
                    </a:cubicBezTo>
                    <a:cubicBezTo>
                      <a:pt x="5" y="0"/>
                      <a:pt x="4" y="0"/>
                      <a:pt x="4" y="0"/>
                    </a:cubicBezTo>
                    <a:cubicBezTo>
                      <a:pt x="4" y="0"/>
                      <a:pt x="4" y="1"/>
                      <a:pt x="4" y="2"/>
                    </a:cubicBezTo>
                    <a:cubicBezTo>
                      <a:pt x="4" y="3"/>
                      <a:pt x="3" y="3"/>
                      <a:pt x="3" y="3"/>
                    </a:cubicBezTo>
                    <a:cubicBezTo>
                      <a:pt x="2" y="3"/>
                      <a:pt x="2" y="3"/>
                      <a:pt x="2" y="3"/>
                    </a:cubicBezTo>
                    <a:cubicBezTo>
                      <a:pt x="1" y="5"/>
                      <a:pt x="1" y="5"/>
                      <a:pt x="1" y="5"/>
                    </a:cubicBezTo>
                    <a:lnTo>
                      <a:pt x="0" y="6"/>
                    </a:ln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588" name="Freeform 37"/>
              <p:cNvSpPr>
                <a:spLocks/>
              </p:cNvSpPr>
              <p:nvPr/>
            </p:nvSpPr>
            <p:spPr bwMode="auto">
              <a:xfrm>
                <a:off x="2700" y="1745"/>
                <a:ext cx="4" cy="10"/>
              </a:xfrm>
              <a:custGeom>
                <a:avLst/>
                <a:gdLst>
                  <a:gd name="T0" fmla="*/ 0 w 2"/>
                  <a:gd name="T1" fmla="*/ 3 h 5"/>
                  <a:gd name="T2" fmla="*/ 1 w 2"/>
                  <a:gd name="T3" fmla="*/ 4 h 5"/>
                  <a:gd name="T4" fmla="*/ 2 w 2"/>
                  <a:gd name="T5" fmla="*/ 5 h 5"/>
                  <a:gd name="T6" fmla="*/ 2 w 2"/>
                  <a:gd name="T7" fmla="*/ 4 h 5"/>
                  <a:gd name="T8" fmla="*/ 2 w 2"/>
                  <a:gd name="T9" fmla="*/ 2 h 5"/>
                  <a:gd name="T10" fmla="*/ 2 w 2"/>
                  <a:gd name="T11" fmla="*/ 1 h 5"/>
                  <a:gd name="T12" fmla="*/ 2 w 2"/>
                  <a:gd name="T13" fmla="*/ 0 h 5"/>
                  <a:gd name="T14" fmla="*/ 1 w 2"/>
                  <a:gd name="T15" fmla="*/ 1 h 5"/>
                  <a:gd name="T16" fmla="*/ 1 w 2"/>
                  <a:gd name="T17" fmla="*/ 1 h 5"/>
                  <a:gd name="T18" fmla="*/ 1 w 2"/>
                  <a:gd name="T19" fmla="*/ 2 h 5"/>
                  <a:gd name="T20" fmla="*/ 0 w 2"/>
                  <a:gd name="T2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3"/>
                    </a:moveTo>
                    <a:cubicBezTo>
                      <a:pt x="1" y="3"/>
                      <a:pt x="1" y="4"/>
                      <a:pt x="1" y="4"/>
                    </a:cubicBezTo>
                    <a:cubicBezTo>
                      <a:pt x="2" y="5"/>
                      <a:pt x="2" y="5"/>
                      <a:pt x="2" y="5"/>
                    </a:cubicBezTo>
                    <a:cubicBezTo>
                      <a:pt x="2" y="5"/>
                      <a:pt x="2" y="4"/>
                      <a:pt x="2" y="4"/>
                    </a:cubicBezTo>
                    <a:cubicBezTo>
                      <a:pt x="2" y="3"/>
                      <a:pt x="2" y="2"/>
                      <a:pt x="2" y="2"/>
                    </a:cubicBezTo>
                    <a:cubicBezTo>
                      <a:pt x="2" y="2"/>
                      <a:pt x="2" y="1"/>
                      <a:pt x="2" y="1"/>
                    </a:cubicBezTo>
                    <a:cubicBezTo>
                      <a:pt x="2" y="1"/>
                      <a:pt x="2" y="0"/>
                      <a:pt x="2" y="0"/>
                    </a:cubicBezTo>
                    <a:cubicBezTo>
                      <a:pt x="2" y="0"/>
                      <a:pt x="1" y="1"/>
                      <a:pt x="1" y="1"/>
                    </a:cubicBezTo>
                    <a:cubicBezTo>
                      <a:pt x="1" y="1"/>
                      <a:pt x="1" y="1"/>
                      <a:pt x="1" y="1"/>
                    </a:cubicBezTo>
                    <a:cubicBezTo>
                      <a:pt x="1" y="1"/>
                      <a:pt x="1" y="2"/>
                      <a:pt x="1" y="2"/>
                    </a:cubicBezTo>
                    <a:cubicBezTo>
                      <a:pt x="1" y="3"/>
                      <a:pt x="0" y="3"/>
                      <a:pt x="0" y="3"/>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589" name="Freeform 38"/>
              <p:cNvSpPr>
                <a:spLocks/>
              </p:cNvSpPr>
              <p:nvPr/>
            </p:nvSpPr>
            <p:spPr bwMode="auto">
              <a:xfrm>
                <a:off x="2674" y="1753"/>
                <a:ext cx="60" cy="56"/>
              </a:xfrm>
              <a:custGeom>
                <a:avLst/>
                <a:gdLst>
                  <a:gd name="T0" fmla="*/ 13 w 30"/>
                  <a:gd name="T1" fmla="*/ 4 h 28"/>
                  <a:gd name="T2" fmla="*/ 11 w 30"/>
                  <a:gd name="T3" fmla="*/ 5 h 28"/>
                  <a:gd name="T4" fmla="*/ 8 w 30"/>
                  <a:gd name="T5" fmla="*/ 6 h 28"/>
                  <a:gd name="T6" fmla="*/ 6 w 30"/>
                  <a:gd name="T7" fmla="*/ 7 h 28"/>
                  <a:gd name="T8" fmla="*/ 2 w 30"/>
                  <a:gd name="T9" fmla="*/ 7 h 28"/>
                  <a:gd name="T10" fmla="*/ 0 w 30"/>
                  <a:gd name="T11" fmla="*/ 8 h 28"/>
                  <a:gd name="T12" fmla="*/ 0 w 30"/>
                  <a:gd name="T13" fmla="*/ 9 h 28"/>
                  <a:gd name="T14" fmla="*/ 1 w 30"/>
                  <a:gd name="T15" fmla="*/ 10 h 28"/>
                  <a:gd name="T16" fmla="*/ 2 w 30"/>
                  <a:gd name="T17" fmla="*/ 11 h 28"/>
                  <a:gd name="T18" fmla="*/ 3 w 30"/>
                  <a:gd name="T19" fmla="*/ 11 h 28"/>
                  <a:gd name="T20" fmla="*/ 3 w 30"/>
                  <a:gd name="T21" fmla="*/ 13 h 28"/>
                  <a:gd name="T22" fmla="*/ 3 w 30"/>
                  <a:gd name="T23" fmla="*/ 14 h 28"/>
                  <a:gd name="T24" fmla="*/ 5 w 30"/>
                  <a:gd name="T25" fmla="*/ 17 h 28"/>
                  <a:gd name="T26" fmla="*/ 5 w 30"/>
                  <a:gd name="T27" fmla="*/ 19 h 28"/>
                  <a:gd name="T28" fmla="*/ 7 w 30"/>
                  <a:gd name="T29" fmla="*/ 21 h 28"/>
                  <a:gd name="T30" fmla="*/ 9 w 30"/>
                  <a:gd name="T31" fmla="*/ 22 h 28"/>
                  <a:gd name="T32" fmla="*/ 10 w 30"/>
                  <a:gd name="T33" fmla="*/ 23 h 28"/>
                  <a:gd name="T34" fmla="*/ 11 w 30"/>
                  <a:gd name="T35" fmla="*/ 24 h 28"/>
                  <a:gd name="T36" fmla="*/ 10 w 30"/>
                  <a:gd name="T37" fmla="*/ 25 h 28"/>
                  <a:gd name="T38" fmla="*/ 11 w 30"/>
                  <a:gd name="T39" fmla="*/ 27 h 28"/>
                  <a:gd name="T40" fmla="*/ 13 w 30"/>
                  <a:gd name="T41" fmla="*/ 27 h 28"/>
                  <a:gd name="T42" fmla="*/ 13 w 30"/>
                  <a:gd name="T43" fmla="*/ 25 h 28"/>
                  <a:gd name="T44" fmla="*/ 17 w 30"/>
                  <a:gd name="T45" fmla="*/ 27 h 28"/>
                  <a:gd name="T46" fmla="*/ 21 w 30"/>
                  <a:gd name="T47" fmla="*/ 28 h 28"/>
                  <a:gd name="T48" fmla="*/ 23 w 30"/>
                  <a:gd name="T49" fmla="*/ 27 h 28"/>
                  <a:gd name="T50" fmla="*/ 26 w 30"/>
                  <a:gd name="T51" fmla="*/ 26 h 28"/>
                  <a:gd name="T52" fmla="*/ 27 w 30"/>
                  <a:gd name="T53" fmla="*/ 25 h 28"/>
                  <a:gd name="T54" fmla="*/ 27 w 30"/>
                  <a:gd name="T55" fmla="*/ 23 h 28"/>
                  <a:gd name="T56" fmla="*/ 28 w 30"/>
                  <a:gd name="T57" fmla="*/ 22 h 28"/>
                  <a:gd name="T58" fmla="*/ 28 w 30"/>
                  <a:gd name="T59" fmla="*/ 20 h 28"/>
                  <a:gd name="T60" fmla="*/ 28 w 30"/>
                  <a:gd name="T61" fmla="*/ 18 h 28"/>
                  <a:gd name="T62" fmla="*/ 28 w 30"/>
                  <a:gd name="T63" fmla="*/ 15 h 28"/>
                  <a:gd name="T64" fmla="*/ 26 w 30"/>
                  <a:gd name="T65" fmla="*/ 13 h 28"/>
                  <a:gd name="T66" fmla="*/ 26 w 30"/>
                  <a:gd name="T67" fmla="*/ 12 h 28"/>
                  <a:gd name="T68" fmla="*/ 26 w 30"/>
                  <a:gd name="T69" fmla="*/ 11 h 28"/>
                  <a:gd name="T70" fmla="*/ 26 w 30"/>
                  <a:gd name="T71" fmla="*/ 10 h 28"/>
                  <a:gd name="T72" fmla="*/ 27 w 30"/>
                  <a:gd name="T73" fmla="*/ 10 h 28"/>
                  <a:gd name="T74" fmla="*/ 28 w 30"/>
                  <a:gd name="T75" fmla="*/ 7 h 28"/>
                  <a:gd name="T76" fmla="*/ 30 w 30"/>
                  <a:gd name="T77" fmla="*/ 5 h 28"/>
                  <a:gd name="T78" fmla="*/ 30 w 30"/>
                  <a:gd name="T79" fmla="*/ 3 h 28"/>
                  <a:gd name="T80" fmla="*/ 26 w 30"/>
                  <a:gd name="T81" fmla="*/ 2 h 28"/>
                  <a:gd name="T82" fmla="*/ 26 w 30"/>
                  <a:gd name="T83" fmla="*/ 2 h 28"/>
                  <a:gd name="T84" fmla="*/ 25 w 30"/>
                  <a:gd name="T85" fmla="*/ 1 h 28"/>
                  <a:gd name="T86" fmla="*/ 23 w 30"/>
                  <a:gd name="T87" fmla="*/ 1 h 28"/>
                  <a:gd name="T88" fmla="*/ 22 w 30"/>
                  <a:gd name="T89" fmla="*/ 0 h 28"/>
                  <a:gd name="T90" fmla="*/ 21 w 30"/>
                  <a:gd name="T91" fmla="*/ 1 h 28"/>
                  <a:gd name="T92" fmla="*/ 19 w 30"/>
                  <a:gd name="T93" fmla="*/ 1 h 28"/>
                  <a:gd name="T94" fmla="*/ 18 w 30"/>
                  <a:gd name="T95" fmla="*/ 2 h 28"/>
                  <a:gd name="T96" fmla="*/ 19 w 30"/>
                  <a:gd name="T97" fmla="*/ 3 h 28"/>
                  <a:gd name="T98" fmla="*/ 20 w 30"/>
                  <a:gd name="T99" fmla="*/ 6 h 28"/>
                  <a:gd name="T100" fmla="*/ 21 w 30"/>
                  <a:gd name="T101" fmla="*/ 7 h 28"/>
                  <a:gd name="T102" fmla="*/ 22 w 30"/>
                  <a:gd name="T103" fmla="*/ 8 h 28"/>
                  <a:gd name="T104" fmla="*/ 20 w 30"/>
                  <a:gd name="T105" fmla="*/ 7 h 28"/>
                  <a:gd name="T106" fmla="*/ 19 w 30"/>
                  <a:gd name="T107" fmla="*/ 5 h 28"/>
                  <a:gd name="T108" fmla="*/ 16 w 30"/>
                  <a:gd name="T109" fmla="*/ 4 h 28"/>
                  <a:gd name="T110" fmla="*/ 15 w 30"/>
                  <a:gd name="T111" fmla="*/ 1 h 28"/>
                  <a:gd name="T112" fmla="*/ 15 w 30"/>
                  <a:gd name="T113" fmla="*/ 1 h 28"/>
                  <a:gd name="T114" fmla="*/ 14 w 30"/>
                  <a:gd name="T115" fmla="*/ 4 h 28"/>
                  <a:gd name="T116" fmla="*/ 13 w 30"/>
                  <a:gd name="T117"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 h="28">
                    <a:moveTo>
                      <a:pt x="13" y="4"/>
                    </a:moveTo>
                    <a:cubicBezTo>
                      <a:pt x="11" y="5"/>
                      <a:pt x="11" y="5"/>
                      <a:pt x="11" y="5"/>
                    </a:cubicBezTo>
                    <a:cubicBezTo>
                      <a:pt x="11" y="5"/>
                      <a:pt x="8" y="6"/>
                      <a:pt x="8" y="6"/>
                    </a:cubicBezTo>
                    <a:cubicBezTo>
                      <a:pt x="7" y="6"/>
                      <a:pt x="6" y="7"/>
                      <a:pt x="6" y="7"/>
                    </a:cubicBezTo>
                    <a:cubicBezTo>
                      <a:pt x="2" y="7"/>
                      <a:pt x="2" y="7"/>
                      <a:pt x="2" y="7"/>
                    </a:cubicBezTo>
                    <a:cubicBezTo>
                      <a:pt x="0" y="8"/>
                      <a:pt x="0" y="8"/>
                      <a:pt x="0" y="8"/>
                    </a:cubicBezTo>
                    <a:cubicBezTo>
                      <a:pt x="0" y="9"/>
                      <a:pt x="0" y="9"/>
                      <a:pt x="0" y="9"/>
                    </a:cubicBezTo>
                    <a:cubicBezTo>
                      <a:pt x="1" y="10"/>
                      <a:pt x="1" y="10"/>
                      <a:pt x="1" y="10"/>
                    </a:cubicBezTo>
                    <a:cubicBezTo>
                      <a:pt x="2" y="11"/>
                      <a:pt x="2" y="11"/>
                      <a:pt x="2" y="11"/>
                    </a:cubicBezTo>
                    <a:cubicBezTo>
                      <a:pt x="3" y="11"/>
                      <a:pt x="3" y="11"/>
                      <a:pt x="3" y="11"/>
                    </a:cubicBezTo>
                    <a:cubicBezTo>
                      <a:pt x="3" y="13"/>
                      <a:pt x="3" y="13"/>
                      <a:pt x="3" y="13"/>
                    </a:cubicBezTo>
                    <a:cubicBezTo>
                      <a:pt x="3" y="14"/>
                      <a:pt x="3" y="14"/>
                      <a:pt x="3" y="14"/>
                    </a:cubicBezTo>
                    <a:cubicBezTo>
                      <a:pt x="3" y="14"/>
                      <a:pt x="4" y="15"/>
                      <a:pt x="5" y="17"/>
                    </a:cubicBezTo>
                    <a:cubicBezTo>
                      <a:pt x="5" y="18"/>
                      <a:pt x="5" y="19"/>
                      <a:pt x="5" y="19"/>
                    </a:cubicBezTo>
                    <a:cubicBezTo>
                      <a:pt x="7" y="21"/>
                      <a:pt x="7" y="21"/>
                      <a:pt x="7" y="21"/>
                    </a:cubicBezTo>
                    <a:cubicBezTo>
                      <a:pt x="9" y="22"/>
                      <a:pt x="9" y="22"/>
                      <a:pt x="9" y="22"/>
                    </a:cubicBezTo>
                    <a:cubicBezTo>
                      <a:pt x="9" y="22"/>
                      <a:pt x="10" y="23"/>
                      <a:pt x="10" y="23"/>
                    </a:cubicBezTo>
                    <a:cubicBezTo>
                      <a:pt x="11" y="23"/>
                      <a:pt x="11" y="24"/>
                      <a:pt x="11" y="24"/>
                    </a:cubicBezTo>
                    <a:cubicBezTo>
                      <a:pt x="10" y="25"/>
                      <a:pt x="10" y="25"/>
                      <a:pt x="10" y="25"/>
                    </a:cubicBezTo>
                    <a:cubicBezTo>
                      <a:pt x="11" y="27"/>
                      <a:pt x="11" y="27"/>
                      <a:pt x="11" y="27"/>
                    </a:cubicBezTo>
                    <a:cubicBezTo>
                      <a:pt x="13" y="27"/>
                      <a:pt x="13" y="27"/>
                      <a:pt x="13" y="27"/>
                    </a:cubicBezTo>
                    <a:cubicBezTo>
                      <a:pt x="13" y="25"/>
                      <a:pt x="13" y="25"/>
                      <a:pt x="13" y="25"/>
                    </a:cubicBezTo>
                    <a:cubicBezTo>
                      <a:pt x="17" y="27"/>
                      <a:pt x="17" y="27"/>
                      <a:pt x="17" y="27"/>
                    </a:cubicBezTo>
                    <a:cubicBezTo>
                      <a:pt x="17" y="27"/>
                      <a:pt x="21" y="28"/>
                      <a:pt x="21" y="28"/>
                    </a:cubicBezTo>
                    <a:cubicBezTo>
                      <a:pt x="21" y="28"/>
                      <a:pt x="23" y="27"/>
                      <a:pt x="23" y="27"/>
                    </a:cubicBezTo>
                    <a:cubicBezTo>
                      <a:pt x="23" y="27"/>
                      <a:pt x="26" y="27"/>
                      <a:pt x="26" y="26"/>
                    </a:cubicBezTo>
                    <a:cubicBezTo>
                      <a:pt x="26" y="26"/>
                      <a:pt x="27" y="26"/>
                      <a:pt x="27" y="25"/>
                    </a:cubicBezTo>
                    <a:cubicBezTo>
                      <a:pt x="27" y="25"/>
                      <a:pt x="27" y="24"/>
                      <a:pt x="27" y="23"/>
                    </a:cubicBezTo>
                    <a:cubicBezTo>
                      <a:pt x="27" y="23"/>
                      <a:pt x="28" y="22"/>
                      <a:pt x="28" y="22"/>
                    </a:cubicBezTo>
                    <a:cubicBezTo>
                      <a:pt x="28" y="20"/>
                      <a:pt x="28" y="20"/>
                      <a:pt x="28" y="20"/>
                    </a:cubicBezTo>
                    <a:cubicBezTo>
                      <a:pt x="28" y="18"/>
                      <a:pt x="28" y="18"/>
                      <a:pt x="28" y="18"/>
                    </a:cubicBezTo>
                    <a:cubicBezTo>
                      <a:pt x="28" y="15"/>
                      <a:pt x="28" y="15"/>
                      <a:pt x="28" y="15"/>
                    </a:cubicBezTo>
                    <a:cubicBezTo>
                      <a:pt x="26" y="13"/>
                      <a:pt x="26" y="13"/>
                      <a:pt x="26" y="13"/>
                    </a:cubicBezTo>
                    <a:cubicBezTo>
                      <a:pt x="26" y="12"/>
                      <a:pt x="26" y="12"/>
                      <a:pt x="26" y="12"/>
                    </a:cubicBezTo>
                    <a:cubicBezTo>
                      <a:pt x="26" y="11"/>
                      <a:pt x="26" y="11"/>
                      <a:pt x="26" y="11"/>
                    </a:cubicBezTo>
                    <a:cubicBezTo>
                      <a:pt x="26" y="10"/>
                      <a:pt x="26" y="10"/>
                      <a:pt x="26" y="10"/>
                    </a:cubicBezTo>
                    <a:cubicBezTo>
                      <a:pt x="27" y="10"/>
                      <a:pt x="27" y="10"/>
                      <a:pt x="27" y="10"/>
                    </a:cubicBezTo>
                    <a:cubicBezTo>
                      <a:pt x="28" y="7"/>
                      <a:pt x="28" y="7"/>
                      <a:pt x="28" y="7"/>
                    </a:cubicBezTo>
                    <a:cubicBezTo>
                      <a:pt x="30" y="5"/>
                      <a:pt x="30" y="5"/>
                      <a:pt x="30" y="5"/>
                    </a:cubicBezTo>
                    <a:cubicBezTo>
                      <a:pt x="30" y="3"/>
                      <a:pt x="30" y="3"/>
                      <a:pt x="30" y="3"/>
                    </a:cubicBezTo>
                    <a:cubicBezTo>
                      <a:pt x="30" y="3"/>
                      <a:pt x="28" y="2"/>
                      <a:pt x="26" y="2"/>
                    </a:cubicBezTo>
                    <a:cubicBezTo>
                      <a:pt x="25" y="2"/>
                      <a:pt x="26" y="2"/>
                      <a:pt x="26" y="2"/>
                    </a:cubicBezTo>
                    <a:cubicBezTo>
                      <a:pt x="26" y="1"/>
                      <a:pt x="25" y="1"/>
                      <a:pt x="25" y="1"/>
                    </a:cubicBezTo>
                    <a:cubicBezTo>
                      <a:pt x="25" y="1"/>
                      <a:pt x="23" y="2"/>
                      <a:pt x="23" y="1"/>
                    </a:cubicBezTo>
                    <a:cubicBezTo>
                      <a:pt x="23" y="1"/>
                      <a:pt x="22" y="0"/>
                      <a:pt x="22" y="0"/>
                    </a:cubicBezTo>
                    <a:cubicBezTo>
                      <a:pt x="22" y="0"/>
                      <a:pt x="21" y="1"/>
                      <a:pt x="21" y="1"/>
                    </a:cubicBezTo>
                    <a:cubicBezTo>
                      <a:pt x="20" y="1"/>
                      <a:pt x="19" y="1"/>
                      <a:pt x="19" y="1"/>
                    </a:cubicBezTo>
                    <a:cubicBezTo>
                      <a:pt x="19" y="1"/>
                      <a:pt x="19" y="1"/>
                      <a:pt x="18" y="2"/>
                    </a:cubicBezTo>
                    <a:cubicBezTo>
                      <a:pt x="18" y="2"/>
                      <a:pt x="19" y="3"/>
                      <a:pt x="19" y="3"/>
                    </a:cubicBezTo>
                    <a:cubicBezTo>
                      <a:pt x="19" y="4"/>
                      <a:pt x="20" y="6"/>
                      <a:pt x="20" y="6"/>
                    </a:cubicBezTo>
                    <a:cubicBezTo>
                      <a:pt x="21" y="7"/>
                      <a:pt x="21" y="7"/>
                      <a:pt x="21" y="7"/>
                    </a:cubicBezTo>
                    <a:cubicBezTo>
                      <a:pt x="22" y="8"/>
                      <a:pt x="22" y="8"/>
                      <a:pt x="22" y="8"/>
                    </a:cubicBezTo>
                    <a:cubicBezTo>
                      <a:pt x="20" y="7"/>
                      <a:pt x="20" y="7"/>
                      <a:pt x="20" y="7"/>
                    </a:cubicBezTo>
                    <a:cubicBezTo>
                      <a:pt x="19" y="5"/>
                      <a:pt x="19" y="5"/>
                      <a:pt x="19" y="5"/>
                    </a:cubicBezTo>
                    <a:cubicBezTo>
                      <a:pt x="16" y="4"/>
                      <a:pt x="16" y="4"/>
                      <a:pt x="16" y="4"/>
                    </a:cubicBezTo>
                    <a:cubicBezTo>
                      <a:pt x="16" y="4"/>
                      <a:pt x="15" y="2"/>
                      <a:pt x="15" y="1"/>
                    </a:cubicBezTo>
                    <a:cubicBezTo>
                      <a:pt x="15" y="1"/>
                      <a:pt x="15" y="1"/>
                      <a:pt x="15" y="1"/>
                    </a:cubicBezTo>
                    <a:cubicBezTo>
                      <a:pt x="15" y="1"/>
                      <a:pt x="15" y="3"/>
                      <a:pt x="14" y="4"/>
                    </a:cubicBezTo>
                    <a:cubicBezTo>
                      <a:pt x="13" y="4"/>
                      <a:pt x="13" y="4"/>
                      <a:pt x="13" y="4"/>
                    </a:cubicBezTo>
                    <a:close/>
                  </a:path>
                </a:pathLst>
              </a:custGeom>
              <a:solidFill>
                <a:srgbClr val="0181C7"/>
              </a:solid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590" name="Freeform 39"/>
              <p:cNvSpPr>
                <a:spLocks/>
              </p:cNvSpPr>
              <p:nvPr/>
            </p:nvSpPr>
            <p:spPr bwMode="auto">
              <a:xfrm>
                <a:off x="2740" y="1815"/>
                <a:ext cx="45" cy="28"/>
              </a:xfrm>
              <a:custGeom>
                <a:avLst/>
                <a:gdLst>
                  <a:gd name="T0" fmla="*/ 0 w 22"/>
                  <a:gd name="T1" fmla="*/ 6 h 14"/>
                  <a:gd name="T2" fmla="*/ 1 w 22"/>
                  <a:gd name="T3" fmla="*/ 7 h 14"/>
                  <a:gd name="T4" fmla="*/ 1 w 22"/>
                  <a:gd name="T5" fmla="*/ 9 h 14"/>
                  <a:gd name="T6" fmla="*/ 3 w 22"/>
                  <a:gd name="T7" fmla="*/ 10 h 14"/>
                  <a:gd name="T8" fmla="*/ 7 w 22"/>
                  <a:gd name="T9" fmla="*/ 10 h 14"/>
                  <a:gd name="T10" fmla="*/ 7 w 22"/>
                  <a:gd name="T11" fmla="*/ 11 h 14"/>
                  <a:gd name="T12" fmla="*/ 10 w 22"/>
                  <a:gd name="T13" fmla="*/ 12 h 14"/>
                  <a:gd name="T14" fmla="*/ 12 w 22"/>
                  <a:gd name="T15" fmla="*/ 14 h 14"/>
                  <a:gd name="T16" fmla="*/ 14 w 22"/>
                  <a:gd name="T17" fmla="*/ 14 h 14"/>
                  <a:gd name="T18" fmla="*/ 14 w 22"/>
                  <a:gd name="T19" fmla="*/ 13 h 14"/>
                  <a:gd name="T20" fmla="*/ 17 w 22"/>
                  <a:gd name="T21" fmla="*/ 13 h 14"/>
                  <a:gd name="T22" fmla="*/ 19 w 22"/>
                  <a:gd name="T23" fmla="*/ 13 h 14"/>
                  <a:gd name="T24" fmla="*/ 21 w 22"/>
                  <a:gd name="T25" fmla="*/ 13 h 14"/>
                  <a:gd name="T26" fmla="*/ 22 w 22"/>
                  <a:gd name="T27" fmla="*/ 13 h 14"/>
                  <a:gd name="T28" fmla="*/ 22 w 22"/>
                  <a:gd name="T29" fmla="*/ 11 h 14"/>
                  <a:gd name="T30" fmla="*/ 22 w 22"/>
                  <a:gd name="T31" fmla="*/ 11 h 14"/>
                  <a:gd name="T32" fmla="*/ 20 w 22"/>
                  <a:gd name="T33" fmla="*/ 10 h 14"/>
                  <a:gd name="T34" fmla="*/ 21 w 22"/>
                  <a:gd name="T35" fmla="*/ 10 h 14"/>
                  <a:gd name="T36" fmla="*/ 22 w 22"/>
                  <a:gd name="T37" fmla="*/ 9 h 14"/>
                  <a:gd name="T38" fmla="*/ 21 w 22"/>
                  <a:gd name="T39" fmla="*/ 8 h 14"/>
                  <a:gd name="T40" fmla="*/ 20 w 22"/>
                  <a:gd name="T41" fmla="*/ 7 h 14"/>
                  <a:gd name="T42" fmla="*/ 19 w 22"/>
                  <a:gd name="T43" fmla="*/ 4 h 14"/>
                  <a:gd name="T44" fmla="*/ 18 w 22"/>
                  <a:gd name="T45" fmla="*/ 2 h 14"/>
                  <a:gd name="T46" fmla="*/ 17 w 22"/>
                  <a:gd name="T47" fmla="*/ 2 h 14"/>
                  <a:gd name="T48" fmla="*/ 16 w 22"/>
                  <a:gd name="T49" fmla="*/ 3 h 14"/>
                  <a:gd name="T50" fmla="*/ 15 w 22"/>
                  <a:gd name="T51" fmla="*/ 4 h 14"/>
                  <a:gd name="T52" fmla="*/ 14 w 22"/>
                  <a:gd name="T53" fmla="*/ 5 h 14"/>
                  <a:gd name="T54" fmla="*/ 11 w 22"/>
                  <a:gd name="T55" fmla="*/ 3 h 14"/>
                  <a:gd name="T56" fmla="*/ 10 w 22"/>
                  <a:gd name="T57" fmla="*/ 3 h 14"/>
                  <a:gd name="T58" fmla="*/ 8 w 22"/>
                  <a:gd name="T59" fmla="*/ 2 h 14"/>
                  <a:gd name="T60" fmla="*/ 8 w 22"/>
                  <a:gd name="T61" fmla="*/ 1 h 14"/>
                  <a:gd name="T62" fmla="*/ 7 w 22"/>
                  <a:gd name="T63" fmla="*/ 0 h 14"/>
                  <a:gd name="T64" fmla="*/ 4 w 22"/>
                  <a:gd name="T65" fmla="*/ 0 h 14"/>
                  <a:gd name="T66" fmla="*/ 3 w 22"/>
                  <a:gd name="T67" fmla="*/ 1 h 14"/>
                  <a:gd name="T68" fmla="*/ 1 w 22"/>
                  <a:gd name="T69" fmla="*/ 1 h 14"/>
                  <a:gd name="T70" fmla="*/ 1 w 22"/>
                  <a:gd name="T71" fmla="*/ 4 h 14"/>
                  <a:gd name="T72" fmla="*/ 2 w 22"/>
                  <a:gd name="T73" fmla="*/ 5 h 14"/>
                  <a:gd name="T74" fmla="*/ 2 w 22"/>
                  <a:gd name="T75" fmla="*/ 6 h 14"/>
                  <a:gd name="T76" fmla="*/ 1 w 22"/>
                  <a:gd name="T77" fmla="*/ 6 h 14"/>
                  <a:gd name="T78" fmla="*/ 0 w 22"/>
                  <a:gd name="T79" fmla="*/ 6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 h="14">
                    <a:moveTo>
                      <a:pt x="0" y="6"/>
                    </a:moveTo>
                    <a:cubicBezTo>
                      <a:pt x="1" y="7"/>
                      <a:pt x="1" y="7"/>
                      <a:pt x="1" y="7"/>
                    </a:cubicBezTo>
                    <a:cubicBezTo>
                      <a:pt x="1" y="7"/>
                      <a:pt x="1" y="8"/>
                      <a:pt x="1" y="9"/>
                    </a:cubicBezTo>
                    <a:cubicBezTo>
                      <a:pt x="2" y="9"/>
                      <a:pt x="3" y="10"/>
                      <a:pt x="3" y="10"/>
                    </a:cubicBezTo>
                    <a:cubicBezTo>
                      <a:pt x="3" y="10"/>
                      <a:pt x="6" y="10"/>
                      <a:pt x="7" y="10"/>
                    </a:cubicBezTo>
                    <a:cubicBezTo>
                      <a:pt x="7" y="10"/>
                      <a:pt x="7" y="11"/>
                      <a:pt x="7" y="11"/>
                    </a:cubicBezTo>
                    <a:cubicBezTo>
                      <a:pt x="7" y="11"/>
                      <a:pt x="9" y="11"/>
                      <a:pt x="10" y="12"/>
                    </a:cubicBezTo>
                    <a:cubicBezTo>
                      <a:pt x="11" y="13"/>
                      <a:pt x="12" y="13"/>
                      <a:pt x="12" y="14"/>
                    </a:cubicBezTo>
                    <a:cubicBezTo>
                      <a:pt x="12" y="14"/>
                      <a:pt x="14" y="14"/>
                      <a:pt x="14" y="14"/>
                    </a:cubicBezTo>
                    <a:cubicBezTo>
                      <a:pt x="14" y="13"/>
                      <a:pt x="14" y="13"/>
                      <a:pt x="14" y="13"/>
                    </a:cubicBezTo>
                    <a:cubicBezTo>
                      <a:pt x="17" y="13"/>
                      <a:pt x="17" y="13"/>
                      <a:pt x="17" y="13"/>
                    </a:cubicBezTo>
                    <a:cubicBezTo>
                      <a:pt x="19" y="13"/>
                      <a:pt x="19" y="13"/>
                      <a:pt x="19" y="13"/>
                    </a:cubicBezTo>
                    <a:cubicBezTo>
                      <a:pt x="21" y="13"/>
                      <a:pt x="21" y="13"/>
                      <a:pt x="21" y="13"/>
                    </a:cubicBezTo>
                    <a:cubicBezTo>
                      <a:pt x="22" y="13"/>
                      <a:pt x="22" y="13"/>
                      <a:pt x="22" y="13"/>
                    </a:cubicBezTo>
                    <a:cubicBezTo>
                      <a:pt x="22" y="11"/>
                      <a:pt x="22" y="11"/>
                      <a:pt x="22" y="11"/>
                    </a:cubicBezTo>
                    <a:cubicBezTo>
                      <a:pt x="22" y="11"/>
                      <a:pt x="22" y="11"/>
                      <a:pt x="22" y="11"/>
                    </a:cubicBezTo>
                    <a:cubicBezTo>
                      <a:pt x="20" y="10"/>
                      <a:pt x="20" y="10"/>
                      <a:pt x="20" y="10"/>
                    </a:cubicBezTo>
                    <a:cubicBezTo>
                      <a:pt x="21" y="10"/>
                      <a:pt x="21" y="10"/>
                      <a:pt x="21" y="10"/>
                    </a:cubicBezTo>
                    <a:cubicBezTo>
                      <a:pt x="22" y="9"/>
                      <a:pt x="22" y="9"/>
                      <a:pt x="22" y="9"/>
                    </a:cubicBezTo>
                    <a:cubicBezTo>
                      <a:pt x="21" y="8"/>
                      <a:pt x="21" y="8"/>
                      <a:pt x="21" y="8"/>
                    </a:cubicBezTo>
                    <a:cubicBezTo>
                      <a:pt x="20" y="7"/>
                      <a:pt x="20" y="7"/>
                      <a:pt x="20" y="7"/>
                    </a:cubicBezTo>
                    <a:cubicBezTo>
                      <a:pt x="19" y="4"/>
                      <a:pt x="19" y="4"/>
                      <a:pt x="19" y="4"/>
                    </a:cubicBezTo>
                    <a:cubicBezTo>
                      <a:pt x="18" y="2"/>
                      <a:pt x="18" y="2"/>
                      <a:pt x="18" y="2"/>
                    </a:cubicBezTo>
                    <a:cubicBezTo>
                      <a:pt x="17" y="2"/>
                      <a:pt x="17" y="2"/>
                      <a:pt x="17" y="2"/>
                    </a:cubicBezTo>
                    <a:cubicBezTo>
                      <a:pt x="16" y="3"/>
                      <a:pt x="16" y="3"/>
                      <a:pt x="16" y="3"/>
                    </a:cubicBezTo>
                    <a:cubicBezTo>
                      <a:pt x="15" y="4"/>
                      <a:pt x="15" y="4"/>
                      <a:pt x="15" y="4"/>
                    </a:cubicBezTo>
                    <a:cubicBezTo>
                      <a:pt x="14" y="5"/>
                      <a:pt x="14" y="5"/>
                      <a:pt x="14" y="5"/>
                    </a:cubicBezTo>
                    <a:cubicBezTo>
                      <a:pt x="14" y="5"/>
                      <a:pt x="12" y="4"/>
                      <a:pt x="11" y="3"/>
                    </a:cubicBezTo>
                    <a:cubicBezTo>
                      <a:pt x="10" y="3"/>
                      <a:pt x="10" y="3"/>
                      <a:pt x="10" y="3"/>
                    </a:cubicBezTo>
                    <a:cubicBezTo>
                      <a:pt x="10" y="3"/>
                      <a:pt x="9" y="2"/>
                      <a:pt x="8" y="2"/>
                    </a:cubicBezTo>
                    <a:cubicBezTo>
                      <a:pt x="8" y="2"/>
                      <a:pt x="8" y="1"/>
                      <a:pt x="8" y="1"/>
                    </a:cubicBezTo>
                    <a:cubicBezTo>
                      <a:pt x="8" y="1"/>
                      <a:pt x="7" y="0"/>
                      <a:pt x="7" y="0"/>
                    </a:cubicBezTo>
                    <a:cubicBezTo>
                      <a:pt x="6" y="0"/>
                      <a:pt x="6" y="0"/>
                      <a:pt x="4" y="0"/>
                    </a:cubicBezTo>
                    <a:cubicBezTo>
                      <a:pt x="3" y="0"/>
                      <a:pt x="3" y="0"/>
                      <a:pt x="3" y="1"/>
                    </a:cubicBezTo>
                    <a:cubicBezTo>
                      <a:pt x="2" y="1"/>
                      <a:pt x="2" y="1"/>
                      <a:pt x="1" y="1"/>
                    </a:cubicBezTo>
                    <a:cubicBezTo>
                      <a:pt x="1" y="2"/>
                      <a:pt x="1" y="4"/>
                      <a:pt x="1" y="4"/>
                    </a:cubicBezTo>
                    <a:cubicBezTo>
                      <a:pt x="2" y="5"/>
                      <a:pt x="2" y="5"/>
                      <a:pt x="2" y="5"/>
                    </a:cubicBezTo>
                    <a:cubicBezTo>
                      <a:pt x="2" y="6"/>
                      <a:pt x="2" y="6"/>
                      <a:pt x="2" y="6"/>
                    </a:cubicBezTo>
                    <a:cubicBezTo>
                      <a:pt x="1" y="6"/>
                      <a:pt x="1" y="6"/>
                      <a:pt x="1" y="6"/>
                    </a:cubicBezTo>
                    <a:lnTo>
                      <a:pt x="0" y="6"/>
                    </a:lnTo>
                    <a:close/>
                  </a:path>
                </a:pathLst>
              </a:custGeom>
              <a:solidFill>
                <a:srgbClr val="BFBFBF"/>
              </a:solid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592" name="Freeform 40"/>
              <p:cNvSpPr>
                <a:spLocks/>
              </p:cNvSpPr>
              <p:nvPr/>
            </p:nvSpPr>
            <p:spPr bwMode="auto">
              <a:xfrm>
                <a:off x="2712" y="1725"/>
                <a:ext cx="8" cy="22"/>
              </a:xfrm>
              <a:custGeom>
                <a:avLst/>
                <a:gdLst>
                  <a:gd name="T0" fmla="*/ 4 w 4"/>
                  <a:gd name="T1" fmla="*/ 5 h 11"/>
                  <a:gd name="T2" fmla="*/ 3 w 4"/>
                  <a:gd name="T3" fmla="*/ 3 h 11"/>
                  <a:gd name="T4" fmla="*/ 2 w 4"/>
                  <a:gd name="T5" fmla="*/ 0 h 11"/>
                  <a:gd name="T6" fmla="*/ 0 w 4"/>
                  <a:gd name="T7" fmla="*/ 0 h 11"/>
                  <a:gd name="T8" fmla="*/ 0 w 4"/>
                  <a:gd name="T9" fmla="*/ 2 h 11"/>
                  <a:gd name="T10" fmla="*/ 1 w 4"/>
                  <a:gd name="T11" fmla="*/ 3 h 11"/>
                  <a:gd name="T12" fmla="*/ 2 w 4"/>
                  <a:gd name="T13" fmla="*/ 4 h 11"/>
                  <a:gd name="T14" fmla="*/ 2 w 4"/>
                  <a:gd name="T15" fmla="*/ 5 h 11"/>
                  <a:gd name="T16" fmla="*/ 1 w 4"/>
                  <a:gd name="T17" fmla="*/ 6 h 11"/>
                  <a:gd name="T18" fmla="*/ 1 w 4"/>
                  <a:gd name="T19" fmla="*/ 8 h 11"/>
                  <a:gd name="T20" fmla="*/ 1 w 4"/>
                  <a:gd name="T21" fmla="*/ 9 h 11"/>
                  <a:gd name="T22" fmla="*/ 1 w 4"/>
                  <a:gd name="T23" fmla="*/ 11 h 11"/>
                  <a:gd name="T24" fmla="*/ 3 w 4"/>
                  <a:gd name="T25" fmla="*/ 11 h 11"/>
                  <a:gd name="T26" fmla="*/ 4 w 4"/>
                  <a:gd name="T27" fmla="*/ 9 h 11"/>
                  <a:gd name="T28" fmla="*/ 4 w 4"/>
                  <a:gd name="T29" fmla="*/ 8 h 11"/>
                  <a:gd name="T30" fmla="*/ 4 w 4"/>
                  <a:gd name="T31" fmla="*/ 7 h 11"/>
                  <a:gd name="T32" fmla="*/ 4 w 4"/>
                  <a:gd name="T33" fmla="*/ 5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 h="11">
                    <a:moveTo>
                      <a:pt x="4" y="5"/>
                    </a:moveTo>
                    <a:cubicBezTo>
                      <a:pt x="3" y="3"/>
                      <a:pt x="3" y="3"/>
                      <a:pt x="3" y="3"/>
                    </a:cubicBezTo>
                    <a:cubicBezTo>
                      <a:pt x="2" y="0"/>
                      <a:pt x="2" y="0"/>
                      <a:pt x="2" y="0"/>
                    </a:cubicBezTo>
                    <a:cubicBezTo>
                      <a:pt x="0" y="0"/>
                      <a:pt x="0" y="0"/>
                      <a:pt x="0" y="0"/>
                    </a:cubicBezTo>
                    <a:cubicBezTo>
                      <a:pt x="0" y="0"/>
                      <a:pt x="0" y="2"/>
                      <a:pt x="0" y="2"/>
                    </a:cubicBezTo>
                    <a:cubicBezTo>
                      <a:pt x="1" y="2"/>
                      <a:pt x="1" y="3"/>
                      <a:pt x="1" y="3"/>
                    </a:cubicBezTo>
                    <a:cubicBezTo>
                      <a:pt x="2" y="4"/>
                      <a:pt x="2" y="4"/>
                      <a:pt x="2" y="4"/>
                    </a:cubicBezTo>
                    <a:cubicBezTo>
                      <a:pt x="2" y="5"/>
                      <a:pt x="2" y="5"/>
                      <a:pt x="2" y="5"/>
                    </a:cubicBezTo>
                    <a:cubicBezTo>
                      <a:pt x="1" y="6"/>
                      <a:pt x="1" y="6"/>
                      <a:pt x="1" y="6"/>
                    </a:cubicBezTo>
                    <a:cubicBezTo>
                      <a:pt x="1" y="8"/>
                      <a:pt x="1" y="8"/>
                      <a:pt x="1" y="8"/>
                    </a:cubicBezTo>
                    <a:cubicBezTo>
                      <a:pt x="1" y="9"/>
                      <a:pt x="1" y="9"/>
                      <a:pt x="1" y="9"/>
                    </a:cubicBezTo>
                    <a:cubicBezTo>
                      <a:pt x="1" y="11"/>
                      <a:pt x="1" y="11"/>
                      <a:pt x="1" y="11"/>
                    </a:cubicBezTo>
                    <a:cubicBezTo>
                      <a:pt x="3" y="11"/>
                      <a:pt x="3" y="11"/>
                      <a:pt x="3" y="11"/>
                    </a:cubicBezTo>
                    <a:cubicBezTo>
                      <a:pt x="4" y="9"/>
                      <a:pt x="4" y="9"/>
                      <a:pt x="4" y="9"/>
                    </a:cubicBezTo>
                    <a:cubicBezTo>
                      <a:pt x="4" y="9"/>
                      <a:pt x="4" y="8"/>
                      <a:pt x="4" y="8"/>
                    </a:cubicBezTo>
                    <a:cubicBezTo>
                      <a:pt x="4" y="7"/>
                      <a:pt x="4" y="7"/>
                      <a:pt x="4" y="7"/>
                    </a:cubicBezTo>
                    <a:cubicBezTo>
                      <a:pt x="4" y="5"/>
                      <a:pt x="4" y="5"/>
                      <a:pt x="4" y="5"/>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593" name="Freeform 41"/>
              <p:cNvSpPr>
                <a:spLocks/>
              </p:cNvSpPr>
              <p:nvPr/>
            </p:nvSpPr>
            <p:spPr bwMode="auto">
              <a:xfrm>
                <a:off x="2674" y="1805"/>
                <a:ext cx="20" cy="18"/>
              </a:xfrm>
              <a:custGeom>
                <a:avLst/>
                <a:gdLst>
                  <a:gd name="T0" fmla="*/ 0 w 10"/>
                  <a:gd name="T1" fmla="*/ 3 h 9"/>
                  <a:gd name="T2" fmla="*/ 1 w 10"/>
                  <a:gd name="T3" fmla="*/ 3 h 9"/>
                  <a:gd name="T4" fmla="*/ 3 w 10"/>
                  <a:gd name="T5" fmla="*/ 4 h 9"/>
                  <a:gd name="T6" fmla="*/ 4 w 10"/>
                  <a:gd name="T7" fmla="*/ 5 h 9"/>
                  <a:gd name="T8" fmla="*/ 3 w 10"/>
                  <a:gd name="T9" fmla="*/ 6 h 9"/>
                  <a:gd name="T10" fmla="*/ 5 w 10"/>
                  <a:gd name="T11" fmla="*/ 8 h 9"/>
                  <a:gd name="T12" fmla="*/ 5 w 10"/>
                  <a:gd name="T13" fmla="*/ 8 h 9"/>
                  <a:gd name="T14" fmla="*/ 7 w 10"/>
                  <a:gd name="T15" fmla="*/ 9 h 9"/>
                  <a:gd name="T16" fmla="*/ 9 w 10"/>
                  <a:gd name="T17" fmla="*/ 9 h 9"/>
                  <a:gd name="T18" fmla="*/ 10 w 10"/>
                  <a:gd name="T19" fmla="*/ 8 h 9"/>
                  <a:gd name="T20" fmla="*/ 10 w 10"/>
                  <a:gd name="T21" fmla="*/ 7 h 9"/>
                  <a:gd name="T22" fmla="*/ 9 w 10"/>
                  <a:gd name="T23" fmla="*/ 5 h 9"/>
                  <a:gd name="T24" fmla="*/ 8 w 10"/>
                  <a:gd name="T25" fmla="*/ 3 h 9"/>
                  <a:gd name="T26" fmla="*/ 5 w 10"/>
                  <a:gd name="T27" fmla="*/ 3 h 9"/>
                  <a:gd name="T28" fmla="*/ 3 w 10"/>
                  <a:gd name="T29" fmla="*/ 1 h 9"/>
                  <a:gd name="T30" fmla="*/ 1 w 10"/>
                  <a:gd name="T31" fmla="*/ 0 h 9"/>
                  <a:gd name="T32" fmla="*/ 0 w 10"/>
                  <a:gd name="T33" fmla="*/ 1 h 9"/>
                  <a:gd name="T34" fmla="*/ 0 w 10"/>
                  <a:gd name="T35"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9">
                    <a:moveTo>
                      <a:pt x="0" y="3"/>
                    </a:moveTo>
                    <a:cubicBezTo>
                      <a:pt x="1" y="3"/>
                      <a:pt x="1" y="3"/>
                      <a:pt x="1" y="3"/>
                    </a:cubicBezTo>
                    <a:cubicBezTo>
                      <a:pt x="3" y="4"/>
                      <a:pt x="3" y="4"/>
                      <a:pt x="3" y="4"/>
                    </a:cubicBezTo>
                    <a:cubicBezTo>
                      <a:pt x="4" y="5"/>
                      <a:pt x="4" y="5"/>
                      <a:pt x="4" y="5"/>
                    </a:cubicBezTo>
                    <a:cubicBezTo>
                      <a:pt x="3" y="6"/>
                      <a:pt x="3" y="6"/>
                      <a:pt x="3" y="6"/>
                    </a:cubicBezTo>
                    <a:cubicBezTo>
                      <a:pt x="5" y="8"/>
                      <a:pt x="5" y="8"/>
                      <a:pt x="5" y="8"/>
                    </a:cubicBezTo>
                    <a:cubicBezTo>
                      <a:pt x="5" y="8"/>
                      <a:pt x="5" y="8"/>
                      <a:pt x="5" y="8"/>
                    </a:cubicBezTo>
                    <a:cubicBezTo>
                      <a:pt x="5" y="8"/>
                      <a:pt x="6" y="8"/>
                      <a:pt x="7" y="9"/>
                    </a:cubicBezTo>
                    <a:cubicBezTo>
                      <a:pt x="7" y="9"/>
                      <a:pt x="8" y="9"/>
                      <a:pt x="9" y="9"/>
                    </a:cubicBezTo>
                    <a:cubicBezTo>
                      <a:pt x="10" y="9"/>
                      <a:pt x="10" y="9"/>
                      <a:pt x="10" y="8"/>
                    </a:cubicBezTo>
                    <a:cubicBezTo>
                      <a:pt x="10" y="8"/>
                      <a:pt x="10" y="7"/>
                      <a:pt x="10" y="7"/>
                    </a:cubicBezTo>
                    <a:cubicBezTo>
                      <a:pt x="9" y="5"/>
                      <a:pt x="9" y="5"/>
                      <a:pt x="9" y="5"/>
                    </a:cubicBezTo>
                    <a:cubicBezTo>
                      <a:pt x="8" y="3"/>
                      <a:pt x="8" y="3"/>
                      <a:pt x="8" y="3"/>
                    </a:cubicBezTo>
                    <a:cubicBezTo>
                      <a:pt x="5" y="3"/>
                      <a:pt x="5" y="3"/>
                      <a:pt x="5" y="3"/>
                    </a:cubicBezTo>
                    <a:cubicBezTo>
                      <a:pt x="3" y="1"/>
                      <a:pt x="3" y="1"/>
                      <a:pt x="3" y="1"/>
                    </a:cubicBezTo>
                    <a:cubicBezTo>
                      <a:pt x="1" y="0"/>
                      <a:pt x="1" y="0"/>
                      <a:pt x="1" y="0"/>
                    </a:cubicBezTo>
                    <a:cubicBezTo>
                      <a:pt x="0" y="1"/>
                      <a:pt x="0" y="1"/>
                      <a:pt x="0" y="1"/>
                    </a:cubicBezTo>
                    <a:lnTo>
                      <a:pt x="0" y="3"/>
                    </a:ln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594" name="Freeform 42"/>
              <p:cNvSpPr>
                <a:spLocks/>
              </p:cNvSpPr>
              <p:nvPr/>
            </p:nvSpPr>
            <p:spPr bwMode="auto">
              <a:xfrm>
                <a:off x="2606" y="1795"/>
                <a:ext cx="14" cy="18"/>
              </a:xfrm>
              <a:custGeom>
                <a:avLst/>
                <a:gdLst>
                  <a:gd name="T0" fmla="*/ 7 w 7"/>
                  <a:gd name="T1" fmla="*/ 6 h 9"/>
                  <a:gd name="T2" fmla="*/ 7 w 7"/>
                  <a:gd name="T3" fmla="*/ 4 h 9"/>
                  <a:gd name="T4" fmla="*/ 7 w 7"/>
                  <a:gd name="T5" fmla="*/ 3 h 9"/>
                  <a:gd name="T6" fmla="*/ 7 w 7"/>
                  <a:gd name="T7" fmla="*/ 1 h 9"/>
                  <a:gd name="T8" fmla="*/ 5 w 7"/>
                  <a:gd name="T9" fmla="*/ 1 h 9"/>
                  <a:gd name="T10" fmla="*/ 4 w 7"/>
                  <a:gd name="T11" fmla="*/ 2 h 9"/>
                  <a:gd name="T12" fmla="*/ 4 w 7"/>
                  <a:gd name="T13" fmla="*/ 4 h 9"/>
                  <a:gd name="T14" fmla="*/ 3 w 7"/>
                  <a:gd name="T15" fmla="*/ 5 h 9"/>
                  <a:gd name="T16" fmla="*/ 2 w 7"/>
                  <a:gd name="T17" fmla="*/ 7 h 9"/>
                  <a:gd name="T18" fmla="*/ 1 w 7"/>
                  <a:gd name="T19" fmla="*/ 8 h 9"/>
                  <a:gd name="T20" fmla="*/ 1 w 7"/>
                  <a:gd name="T21" fmla="*/ 9 h 9"/>
                  <a:gd name="T22" fmla="*/ 3 w 7"/>
                  <a:gd name="T23" fmla="*/ 8 h 9"/>
                  <a:gd name="T24" fmla="*/ 4 w 7"/>
                  <a:gd name="T25" fmla="*/ 7 h 9"/>
                  <a:gd name="T26" fmla="*/ 5 w 7"/>
                  <a:gd name="T27" fmla="*/ 6 h 9"/>
                  <a:gd name="T28" fmla="*/ 7 w 7"/>
                  <a:gd name="T29"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9">
                    <a:moveTo>
                      <a:pt x="7" y="6"/>
                    </a:moveTo>
                    <a:cubicBezTo>
                      <a:pt x="7" y="5"/>
                      <a:pt x="7" y="4"/>
                      <a:pt x="7" y="4"/>
                    </a:cubicBezTo>
                    <a:cubicBezTo>
                      <a:pt x="7" y="3"/>
                      <a:pt x="7" y="3"/>
                      <a:pt x="7" y="3"/>
                    </a:cubicBezTo>
                    <a:cubicBezTo>
                      <a:pt x="7" y="1"/>
                      <a:pt x="7" y="1"/>
                      <a:pt x="7" y="1"/>
                    </a:cubicBezTo>
                    <a:cubicBezTo>
                      <a:pt x="7" y="1"/>
                      <a:pt x="5" y="0"/>
                      <a:pt x="5" y="1"/>
                    </a:cubicBezTo>
                    <a:cubicBezTo>
                      <a:pt x="5" y="1"/>
                      <a:pt x="4" y="2"/>
                      <a:pt x="4" y="2"/>
                    </a:cubicBezTo>
                    <a:cubicBezTo>
                      <a:pt x="4" y="4"/>
                      <a:pt x="4" y="4"/>
                      <a:pt x="4" y="4"/>
                    </a:cubicBezTo>
                    <a:cubicBezTo>
                      <a:pt x="3" y="5"/>
                      <a:pt x="3" y="5"/>
                      <a:pt x="3" y="5"/>
                    </a:cubicBezTo>
                    <a:cubicBezTo>
                      <a:pt x="2" y="7"/>
                      <a:pt x="2" y="7"/>
                      <a:pt x="2" y="7"/>
                    </a:cubicBezTo>
                    <a:cubicBezTo>
                      <a:pt x="1" y="8"/>
                      <a:pt x="1" y="8"/>
                      <a:pt x="1" y="8"/>
                    </a:cubicBezTo>
                    <a:cubicBezTo>
                      <a:pt x="1" y="8"/>
                      <a:pt x="0" y="8"/>
                      <a:pt x="1" y="9"/>
                    </a:cubicBezTo>
                    <a:cubicBezTo>
                      <a:pt x="2" y="9"/>
                      <a:pt x="3" y="9"/>
                      <a:pt x="3" y="8"/>
                    </a:cubicBezTo>
                    <a:cubicBezTo>
                      <a:pt x="3" y="8"/>
                      <a:pt x="4" y="7"/>
                      <a:pt x="4" y="7"/>
                    </a:cubicBezTo>
                    <a:cubicBezTo>
                      <a:pt x="4" y="7"/>
                      <a:pt x="4" y="6"/>
                      <a:pt x="5" y="6"/>
                    </a:cubicBezTo>
                    <a:cubicBezTo>
                      <a:pt x="5" y="6"/>
                      <a:pt x="6" y="6"/>
                      <a:pt x="7" y="6"/>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595" name="Freeform 43"/>
              <p:cNvSpPr>
                <a:spLocks/>
              </p:cNvSpPr>
              <p:nvPr/>
            </p:nvSpPr>
            <p:spPr bwMode="auto">
              <a:xfrm>
                <a:off x="2801" y="1803"/>
                <a:ext cx="4" cy="4"/>
              </a:xfrm>
              <a:custGeom>
                <a:avLst/>
                <a:gdLst>
                  <a:gd name="T0" fmla="*/ 2 w 2"/>
                  <a:gd name="T1" fmla="*/ 0 h 2"/>
                  <a:gd name="T2" fmla="*/ 1 w 2"/>
                  <a:gd name="T3" fmla="*/ 0 h 2"/>
                  <a:gd name="T4" fmla="*/ 0 w 2"/>
                  <a:gd name="T5" fmla="*/ 1 h 2"/>
                  <a:gd name="T6" fmla="*/ 1 w 2"/>
                  <a:gd name="T7" fmla="*/ 2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cubicBezTo>
                      <a:pt x="2" y="0"/>
                      <a:pt x="1" y="0"/>
                      <a:pt x="1" y="0"/>
                    </a:cubicBezTo>
                    <a:cubicBezTo>
                      <a:pt x="1" y="0"/>
                      <a:pt x="0" y="1"/>
                      <a:pt x="0" y="1"/>
                    </a:cubicBezTo>
                    <a:cubicBezTo>
                      <a:pt x="1" y="2"/>
                      <a:pt x="1" y="2"/>
                      <a:pt x="1" y="2"/>
                    </a:cubicBezTo>
                    <a:lnTo>
                      <a:pt x="2" y="0"/>
                    </a:ln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598" name="Freeform 44"/>
              <p:cNvSpPr>
                <a:spLocks/>
              </p:cNvSpPr>
              <p:nvPr/>
            </p:nvSpPr>
            <p:spPr bwMode="auto">
              <a:xfrm>
                <a:off x="2726" y="1608"/>
                <a:ext cx="18" cy="10"/>
              </a:xfrm>
              <a:custGeom>
                <a:avLst/>
                <a:gdLst>
                  <a:gd name="T0" fmla="*/ 2 w 9"/>
                  <a:gd name="T1" fmla="*/ 4 h 5"/>
                  <a:gd name="T2" fmla="*/ 4 w 9"/>
                  <a:gd name="T3" fmla="*/ 5 h 5"/>
                  <a:gd name="T4" fmla="*/ 5 w 9"/>
                  <a:gd name="T5" fmla="*/ 5 h 5"/>
                  <a:gd name="T6" fmla="*/ 6 w 9"/>
                  <a:gd name="T7" fmla="*/ 3 h 5"/>
                  <a:gd name="T8" fmla="*/ 6 w 9"/>
                  <a:gd name="T9" fmla="*/ 2 h 5"/>
                  <a:gd name="T10" fmla="*/ 9 w 9"/>
                  <a:gd name="T11" fmla="*/ 0 h 5"/>
                  <a:gd name="T12" fmla="*/ 7 w 9"/>
                  <a:gd name="T13" fmla="*/ 0 h 5"/>
                  <a:gd name="T14" fmla="*/ 5 w 9"/>
                  <a:gd name="T15" fmla="*/ 0 h 5"/>
                  <a:gd name="T16" fmla="*/ 2 w 9"/>
                  <a:gd name="T17" fmla="*/ 1 h 5"/>
                  <a:gd name="T18" fmla="*/ 1 w 9"/>
                  <a:gd name="T19" fmla="*/ 3 h 5"/>
                  <a:gd name="T20" fmla="*/ 0 w 9"/>
                  <a:gd name="T21" fmla="*/ 3 h 5"/>
                  <a:gd name="T22" fmla="*/ 2 w 9"/>
                  <a:gd name="T23" fmla="*/ 4 h 5"/>
                  <a:gd name="T24" fmla="*/ 2 w 9"/>
                  <a:gd name="T25"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5">
                    <a:moveTo>
                      <a:pt x="2" y="4"/>
                    </a:moveTo>
                    <a:cubicBezTo>
                      <a:pt x="2" y="4"/>
                      <a:pt x="4" y="4"/>
                      <a:pt x="4" y="5"/>
                    </a:cubicBezTo>
                    <a:cubicBezTo>
                      <a:pt x="4" y="5"/>
                      <a:pt x="5" y="5"/>
                      <a:pt x="5" y="5"/>
                    </a:cubicBezTo>
                    <a:cubicBezTo>
                      <a:pt x="5" y="5"/>
                      <a:pt x="6" y="3"/>
                      <a:pt x="6" y="3"/>
                    </a:cubicBezTo>
                    <a:cubicBezTo>
                      <a:pt x="6" y="2"/>
                      <a:pt x="6" y="2"/>
                      <a:pt x="6" y="2"/>
                    </a:cubicBezTo>
                    <a:cubicBezTo>
                      <a:pt x="7" y="2"/>
                      <a:pt x="9" y="0"/>
                      <a:pt x="9" y="0"/>
                    </a:cubicBezTo>
                    <a:cubicBezTo>
                      <a:pt x="9" y="0"/>
                      <a:pt x="7" y="0"/>
                      <a:pt x="7" y="0"/>
                    </a:cubicBezTo>
                    <a:cubicBezTo>
                      <a:pt x="7" y="0"/>
                      <a:pt x="5" y="0"/>
                      <a:pt x="5" y="0"/>
                    </a:cubicBezTo>
                    <a:cubicBezTo>
                      <a:pt x="4" y="0"/>
                      <a:pt x="2" y="1"/>
                      <a:pt x="2" y="1"/>
                    </a:cubicBezTo>
                    <a:cubicBezTo>
                      <a:pt x="1" y="3"/>
                      <a:pt x="1" y="3"/>
                      <a:pt x="1" y="3"/>
                    </a:cubicBezTo>
                    <a:cubicBezTo>
                      <a:pt x="0" y="3"/>
                      <a:pt x="0" y="3"/>
                      <a:pt x="0" y="3"/>
                    </a:cubicBezTo>
                    <a:cubicBezTo>
                      <a:pt x="0" y="3"/>
                      <a:pt x="1" y="4"/>
                      <a:pt x="2" y="4"/>
                    </a:cubicBezTo>
                    <a:cubicBezTo>
                      <a:pt x="2" y="4"/>
                      <a:pt x="2" y="4"/>
                      <a:pt x="2" y="4"/>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00" name="Freeform 45"/>
              <p:cNvSpPr>
                <a:spLocks/>
              </p:cNvSpPr>
              <p:nvPr/>
            </p:nvSpPr>
            <p:spPr bwMode="auto">
              <a:xfrm>
                <a:off x="2594" y="1574"/>
                <a:ext cx="140" cy="249"/>
              </a:xfrm>
              <a:custGeom>
                <a:avLst/>
                <a:gdLst>
                  <a:gd name="T0" fmla="*/ 3 w 70"/>
                  <a:gd name="T1" fmla="*/ 95 h 124"/>
                  <a:gd name="T2" fmla="*/ 12 w 70"/>
                  <a:gd name="T3" fmla="*/ 100 h 124"/>
                  <a:gd name="T4" fmla="*/ 14 w 70"/>
                  <a:gd name="T5" fmla="*/ 113 h 124"/>
                  <a:gd name="T6" fmla="*/ 13 w 70"/>
                  <a:gd name="T7" fmla="*/ 121 h 124"/>
                  <a:gd name="T8" fmla="*/ 26 w 70"/>
                  <a:gd name="T9" fmla="*/ 122 h 124"/>
                  <a:gd name="T10" fmla="*/ 36 w 70"/>
                  <a:gd name="T11" fmla="*/ 122 h 124"/>
                  <a:gd name="T12" fmla="*/ 39 w 70"/>
                  <a:gd name="T13" fmla="*/ 118 h 124"/>
                  <a:gd name="T14" fmla="*/ 35 w 70"/>
                  <a:gd name="T15" fmla="*/ 113 h 124"/>
                  <a:gd name="T16" fmla="*/ 40 w 70"/>
                  <a:gd name="T17" fmla="*/ 107 h 124"/>
                  <a:gd name="T18" fmla="*/ 38 w 70"/>
                  <a:gd name="T19" fmla="*/ 98 h 124"/>
                  <a:gd name="T20" fmla="*/ 39 w 70"/>
                  <a:gd name="T21" fmla="*/ 96 h 124"/>
                  <a:gd name="T22" fmla="*/ 40 w 70"/>
                  <a:gd name="T23" fmla="*/ 91 h 124"/>
                  <a:gd name="T24" fmla="*/ 42 w 70"/>
                  <a:gd name="T25" fmla="*/ 89 h 124"/>
                  <a:gd name="T26" fmla="*/ 48 w 70"/>
                  <a:gd name="T27" fmla="*/ 85 h 124"/>
                  <a:gd name="T28" fmla="*/ 48 w 70"/>
                  <a:gd name="T29" fmla="*/ 81 h 124"/>
                  <a:gd name="T30" fmla="*/ 53 w 70"/>
                  <a:gd name="T31" fmla="*/ 78 h 124"/>
                  <a:gd name="T32" fmla="*/ 53 w 70"/>
                  <a:gd name="T33" fmla="*/ 68 h 124"/>
                  <a:gd name="T34" fmla="*/ 59 w 70"/>
                  <a:gd name="T35" fmla="*/ 68 h 124"/>
                  <a:gd name="T36" fmla="*/ 62 w 70"/>
                  <a:gd name="T37" fmla="*/ 65 h 124"/>
                  <a:gd name="T38" fmla="*/ 65 w 70"/>
                  <a:gd name="T39" fmla="*/ 65 h 124"/>
                  <a:gd name="T40" fmla="*/ 68 w 70"/>
                  <a:gd name="T41" fmla="*/ 52 h 124"/>
                  <a:gd name="T42" fmla="*/ 55 w 70"/>
                  <a:gd name="T43" fmla="*/ 48 h 124"/>
                  <a:gd name="T44" fmla="*/ 53 w 70"/>
                  <a:gd name="T45" fmla="*/ 33 h 124"/>
                  <a:gd name="T46" fmla="*/ 58 w 70"/>
                  <a:gd name="T47" fmla="*/ 15 h 124"/>
                  <a:gd name="T48" fmla="*/ 57 w 70"/>
                  <a:gd name="T49" fmla="*/ 4 h 124"/>
                  <a:gd name="T50" fmla="*/ 44 w 70"/>
                  <a:gd name="T51" fmla="*/ 7 h 124"/>
                  <a:gd name="T52" fmla="*/ 30 w 70"/>
                  <a:gd name="T53" fmla="*/ 27 h 124"/>
                  <a:gd name="T54" fmla="*/ 19 w 70"/>
                  <a:gd name="T55" fmla="*/ 26 h 124"/>
                  <a:gd name="T56" fmla="*/ 11 w 70"/>
                  <a:gd name="T57" fmla="*/ 31 h 124"/>
                  <a:gd name="T58" fmla="*/ 4 w 70"/>
                  <a:gd name="T59" fmla="*/ 40 h 124"/>
                  <a:gd name="T60" fmla="*/ 7 w 70"/>
                  <a:gd name="T61" fmla="*/ 47 h 124"/>
                  <a:gd name="T62" fmla="*/ 11 w 70"/>
                  <a:gd name="T63" fmla="*/ 50 h 124"/>
                  <a:gd name="T64" fmla="*/ 11 w 70"/>
                  <a:gd name="T65" fmla="*/ 45 h 124"/>
                  <a:gd name="T66" fmla="*/ 12 w 70"/>
                  <a:gd name="T67" fmla="*/ 40 h 124"/>
                  <a:gd name="T68" fmla="*/ 16 w 70"/>
                  <a:gd name="T69" fmla="*/ 34 h 124"/>
                  <a:gd name="T70" fmla="*/ 22 w 70"/>
                  <a:gd name="T71" fmla="*/ 32 h 124"/>
                  <a:gd name="T72" fmla="*/ 29 w 70"/>
                  <a:gd name="T73" fmla="*/ 32 h 124"/>
                  <a:gd name="T74" fmla="*/ 38 w 70"/>
                  <a:gd name="T75" fmla="*/ 29 h 124"/>
                  <a:gd name="T76" fmla="*/ 38 w 70"/>
                  <a:gd name="T77" fmla="*/ 32 h 124"/>
                  <a:gd name="T78" fmla="*/ 29 w 70"/>
                  <a:gd name="T79" fmla="*/ 32 h 124"/>
                  <a:gd name="T80" fmla="*/ 27 w 70"/>
                  <a:gd name="T81" fmla="*/ 42 h 124"/>
                  <a:gd name="T82" fmla="*/ 31 w 70"/>
                  <a:gd name="T83" fmla="*/ 51 h 124"/>
                  <a:gd name="T84" fmla="*/ 29 w 70"/>
                  <a:gd name="T85" fmla="*/ 48 h 124"/>
                  <a:gd name="T86" fmla="*/ 24 w 70"/>
                  <a:gd name="T87" fmla="*/ 49 h 124"/>
                  <a:gd name="T88" fmla="*/ 26 w 70"/>
                  <a:gd name="T89" fmla="*/ 42 h 124"/>
                  <a:gd name="T90" fmla="*/ 21 w 70"/>
                  <a:gd name="T91" fmla="*/ 46 h 124"/>
                  <a:gd name="T92" fmla="*/ 19 w 70"/>
                  <a:gd name="T93" fmla="*/ 41 h 124"/>
                  <a:gd name="T94" fmla="*/ 18 w 70"/>
                  <a:gd name="T95" fmla="*/ 36 h 124"/>
                  <a:gd name="T96" fmla="*/ 13 w 70"/>
                  <a:gd name="T97" fmla="*/ 45 h 124"/>
                  <a:gd name="T98" fmla="*/ 15 w 70"/>
                  <a:gd name="T99" fmla="*/ 50 h 124"/>
                  <a:gd name="T100" fmla="*/ 14 w 70"/>
                  <a:gd name="T101" fmla="*/ 55 h 124"/>
                  <a:gd name="T102" fmla="*/ 5 w 70"/>
                  <a:gd name="T103" fmla="*/ 49 h 124"/>
                  <a:gd name="T104" fmla="*/ 2 w 70"/>
                  <a:gd name="T105" fmla="*/ 54 h 124"/>
                  <a:gd name="T106" fmla="*/ 2 w 70"/>
                  <a:gd name="T107" fmla="*/ 71 h 124"/>
                  <a:gd name="T108" fmla="*/ 7 w 70"/>
                  <a:gd name="T109" fmla="*/ 81 h 124"/>
                  <a:gd name="T110" fmla="*/ 2 w 70"/>
                  <a:gd name="T111" fmla="*/ 9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0" h="124">
                    <a:moveTo>
                      <a:pt x="2" y="90"/>
                    </a:moveTo>
                    <a:cubicBezTo>
                      <a:pt x="1" y="91"/>
                      <a:pt x="0" y="92"/>
                      <a:pt x="0" y="92"/>
                    </a:cubicBezTo>
                    <a:cubicBezTo>
                      <a:pt x="0" y="93"/>
                      <a:pt x="2" y="95"/>
                      <a:pt x="2" y="95"/>
                    </a:cubicBezTo>
                    <a:cubicBezTo>
                      <a:pt x="3" y="96"/>
                      <a:pt x="3" y="96"/>
                      <a:pt x="3" y="96"/>
                    </a:cubicBezTo>
                    <a:cubicBezTo>
                      <a:pt x="3" y="96"/>
                      <a:pt x="3" y="96"/>
                      <a:pt x="3" y="95"/>
                    </a:cubicBezTo>
                    <a:cubicBezTo>
                      <a:pt x="3" y="95"/>
                      <a:pt x="5" y="95"/>
                      <a:pt x="5" y="95"/>
                    </a:cubicBezTo>
                    <a:cubicBezTo>
                      <a:pt x="6" y="96"/>
                      <a:pt x="6" y="96"/>
                      <a:pt x="6" y="96"/>
                    </a:cubicBezTo>
                    <a:cubicBezTo>
                      <a:pt x="5" y="97"/>
                      <a:pt x="5" y="97"/>
                      <a:pt x="5" y="97"/>
                    </a:cubicBezTo>
                    <a:cubicBezTo>
                      <a:pt x="5" y="97"/>
                      <a:pt x="8" y="99"/>
                      <a:pt x="10" y="100"/>
                    </a:cubicBezTo>
                    <a:cubicBezTo>
                      <a:pt x="11" y="100"/>
                      <a:pt x="12" y="100"/>
                      <a:pt x="12" y="100"/>
                    </a:cubicBezTo>
                    <a:cubicBezTo>
                      <a:pt x="13" y="103"/>
                      <a:pt x="13" y="103"/>
                      <a:pt x="13" y="103"/>
                    </a:cubicBezTo>
                    <a:cubicBezTo>
                      <a:pt x="13" y="103"/>
                      <a:pt x="14" y="104"/>
                      <a:pt x="14" y="105"/>
                    </a:cubicBezTo>
                    <a:cubicBezTo>
                      <a:pt x="14" y="106"/>
                      <a:pt x="14" y="109"/>
                      <a:pt x="14" y="109"/>
                    </a:cubicBezTo>
                    <a:cubicBezTo>
                      <a:pt x="14" y="109"/>
                      <a:pt x="14" y="110"/>
                      <a:pt x="14" y="110"/>
                    </a:cubicBezTo>
                    <a:cubicBezTo>
                      <a:pt x="14" y="111"/>
                      <a:pt x="14" y="113"/>
                      <a:pt x="14" y="113"/>
                    </a:cubicBezTo>
                    <a:cubicBezTo>
                      <a:pt x="14" y="115"/>
                      <a:pt x="14" y="115"/>
                      <a:pt x="14" y="115"/>
                    </a:cubicBezTo>
                    <a:cubicBezTo>
                      <a:pt x="14" y="115"/>
                      <a:pt x="13" y="116"/>
                      <a:pt x="13" y="116"/>
                    </a:cubicBezTo>
                    <a:cubicBezTo>
                      <a:pt x="13" y="116"/>
                      <a:pt x="11" y="117"/>
                      <a:pt x="10" y="118"/>
                    </a:cubicBezTo>
                    <a:cubicBezTo>
                      <a:pt x="10" y="118"/>
                      <a:pt x="11" y="120"/>
                      <a:pt x="11" y="120"/>
                    </a:cubicBezTo>
                    <a:cubicBezTo>
                      <a:pt x="13" y="121"/>
                      <a:pt x="13" y="121"/>
                      <a:pt x="13" y="121"/>
                    </a:cubicBezTo>
                    <a:cubicBezTo>
                      <a:pt x="16" y="120"/>
                      <a:pt x="16" y="120"/>
                      <a:pt x="16" y="120"/>
                    </a:cubicBezTo>
                    <a:cubicBezTo>
                      <a:pt x="19" y="120"/>
                      <a:pt x="19" y="120"/>
                      <a:pt x="19" y="120"/>
                    </a:cubicBezTo>
                    <a:cubicBezTo>
                      <a:pt x="19" y="120"/>
                      <a:pt x="19" y="120"/>
                      <a:pt x="19" y="120"/>
                    </a:cubicBezTo>
                    <a:cubicBezTo>
                      <a:pt x="20" y="120"/>
                      <a:pt x="23" y="121"/>
                      <a:pt x="23" y="121"/>
                    </a:cubicBezTo>
                    <a:cubicBezTo>
                      <a:pt x="24" y="122"/>
                      <a:pt x="26" y="122"/>
                      <a:pt x="26" y="122"/>
                    </a:cubicBezTo>
                    <a:cubicBezTo>
                      <a:pt x="26" y="122"/>
                      <a:pt x="26" y="122"/>
                      <a:pt x="26" y="122"/>
                    </a:cubicBezTo>
                    <a:cubicBezTo>
                      <a:pt x="31" y="124"/>
                      <a:pt x="31" y="124"/>
                      <a:pt x="31" y="124"/>
                    </a:cubicBezTo>
                    <a:cubicBezTo>
                      <a:pt x="32" y="124"/>
                      <a:pt x="32" y="124"/>
                      <a:pt x="32" y="124"/>
                    </a:cubicBezTo>
                    <a:cubicBezTo>
                      <a:pt x="32" y="124"/>
                      <a:pt x="33" y="124"/>
                      <a:pt x="34" y="124"/>
                    </a:cubicBezTo>
                    <a:cubicBezTo>
                      <a:pt x="34" y="123"/>
                      <a:pt x="36" y="122"/>
                      <a:pt x="36" y="122"/>
                    </a:cubicBezTo>
                    <a:cubicBezTo>
                      <a:pt x="37" y="121"/>
                      <a:pt x="38" y="121"/>
                      <a:pt x="39" y="121"/>
                    </a:cubicBezTo>
                    <a:cubicBezTo>
                      <a:pt x="40" y="121"/>
                      <a:pt x="40" y="121"/>
                      <a:pt x="40" y="121"/>
                    </a:cubicBezTo>
                    <a:cubicBezTo>
                      <a:pt x="40" y="122"/>
                      <a:pt x="40" y="122"/>
                      <a:pt x="40" y="122"/>
                    </a:cubicBezTo>
                    <a:cubicBezTo>
                      <a:pt x="41" y="120"/>
                      <a:pt x="41" y="120"/>
                      <a:pt x="41" y="120"/>
                    </a:cubicBezTo>
                    <a:cubicBezTo>
                      <a:pt x="39" y="118"/>
                      <a:pt x="39" y="118"/>
                      <a:pt x="39" y="118"/>
                    </a:cubicBezTo>
                    <a:cubicBezTo>
                      <a:pt x="37" y="117"/>
                      <a:pt x="37" y="117"/>
                      <a:pt x="37" y="117"/>
                    </a:cubicBezTo>
                    <a:cubicBezTo>
                      <a:pt x="35" y="117"/>
                      <a:pt x="35" y="117"/>
                      <a:pt x="35" y="117"/>
                    </a:cubicBezTo>
                    <a:cubicBezTo>
                      <a:pt x="35" y="117"/>
                      <a:pt x="36" y="116"/>
                      <a:pt x="36" y="116"/>
                    </a:cubicBezTo>
                    <a:cubicBezTo>
                      <a:pt x="36" y="115"/>
                      <a:pt x="36" y="113"/>
                      <a:pt x="36" y="113"/>
                    </a:cubicBezTo>
                    <a:cubicBezTo>
                      <a:pt x="35" y="113"/>
                      <a:pt x="35" y="113"/>
                      <a:pt x="35" y="113"/>
                    </a:cubicBezTo>
                    <a:cubicBezTo>
                      <a:pt x="35" y="111"/>
                      <a:pt x="35" y="111"/>
                      <a:pt x="35" y="111"/>
                    </a:cubicBezTo>
                    <a:cubicBezTo>
                      <a:pt x="35" y="111"/>
                      <a:pt x="38" y="111"/>
                      <a:pt x="39" y="111"/>
                    </a:cubicBezTo>
                    <a:cubicBezTo>
                      <a:pt x="39" y="111"/>
                      <a:pt x="40" y="110"/>
                      <a:pt x="40" y="110"/>
                    </a:cubicBezTo>
                    <a:cubicBezTo>
                      <a:pt x="40" y="108"/>
                      <a:pt x="40" y="108"/>
                      <a:pt x="40" y="108"/>
                    </a:cubicBezTo>
                    <a:cubicBezTo>
                      <a:pt x="40" y="108"/>
                      <a:pt x="40" y="107"/>
                      <a:pt x="40" y="107"/>
                    </a:cubicBezTo>
                    <a:cubicBezTo>
                      <a:pt x="40" y="107"/>
                      <a:pt x="40" y="107"/>
                      <a:pt x="40" y="107"/>
                    </a:cubicBezTo>
                    <a:cubicBezTo>
                      <a:pt x="40" y="105"/>
                      <a:pt x="40" y="105"/>
                      <a:pt x="40" y="105"/>
                    </a:cubicBezTo>
                    <a:cubicBezTo>
                      <a:pt x="38" y="103"/>
                      <a:pt x="38" y="103"/>
                      <a:pt x="38" y="103"/>
                    </a:cubicBezTo>
                    <a:cubicBezTo>
                      <a:pt x="38" y="103"/>
                      <a:pt x="38" y="101"/>
                      <a:pt x="38" y="100"/>
                    </a:cubicBezTo>
                    <a:cubicBezTo>
                      <a:pt x="38" y="98"/>
                      <a:pt x="38" y="99"/>
                      <a:pt x="38" y="98"/>
                    </a:cubicBezTo>
                    <a:cubicBezTo>
                      <a:pt x="38" y="98"/>
                      <a:pt x="38" y="98"/>
                      <a:pt x="38" y="98"/>
                    </a:cubicBezTo>
                    <a:cubicBezTo>
                      <a:pt x="36" y="98"/>
                      <a:pt x="36" y="98"/>
                      <a:pt x="36" y="98"/>
                    </a:cubicBezTo>
                    <a:cubicBezTo>
                      <a:pt x="36" y="97"/>
                      <a:pt x="36" y="97"/>
                      <a:pt x="36" y="97"/>
                    </a:cubicBezTo>
                    <a:cubicBezTo>
                      <a:pt x="36" y="97"/>
                      <a:pt x="37" y="97"/>
                      <a:pt x="38" y="97"/>
                    </a:cubicBezTo>
                    <a:cubicBezTo>
                      <a:pt x="38" y="97"/>
                      <a:pt x="39" y="96"/>
                      <a:pt x="39" y="96"/>
                    </a:cubicBezTo>
                    <a:cubicBezTo>
                      <a:pt x="41" y="95"/>
                      <a:pt x="41" y="95"/>
                      <a:pt x="41" y="95"/>
                    </a:cubicBezTo>
                    <a:cubicBezTo>
                      <a:pt x="42" y="94"/>
                      <a:pt x="42" y="94"/>
                      <a:pt x="42" y="94"/>
                    </a:cubicBezTo>
                    <a:cubicBezTo>
                      <a:pt x="43" y="93"/>
                      <a:pt x="43" y="93"/>
                      <a:pt x="43" y="93"/>
                    </a:cubicBezTo>
                    <a:cubicBezTo>
                      <a:pt x="41" y="92"/>
                      <a:pt x="41" y="92"/>
                      <a:pt x="41" y="92"/>
                    </a:cubicBezTo>
                    <a:cubicBezTo>
                      <a:pt x="40" y="91"/>
                      <a:pt x="40" y="91"/>
                      <a:pt x="40" y="91"/>
                    </a:cubicBezTo>
                    <a:cubicBezTo>
                      <a:pt x="38" y="89"/>
                      <a:pt x="38" y="89"/>
                      <a:pt x="38" y="89"/>
                    </a:cubicBezTo>
                    <a:cubicBezTo>
                      <a:pt x="39" y="89"/>
                      <a:pt x="39" y="89"/>
                      <a:pt x="39" y="89"/>
                    </a:cubicBezTo>
                    <a:cubicBezTo>
                      <a:pt x="43" y="92"/>
                      <a:pt x="43" y="92"/>
                      <a:pt x="43" y="92"/>
                    </a:cubicBezTo>
                    <a:cubicBezTo>
                      <a:pt x="43" y="92"/>
                      <a:pt x="41" y="90"/>
                      <a:pt x="41" y="90"/>
                    </a:cubicBezTo>
                    <a:cubicBezTo>
                      <a:pt x="41" y="90"/>
                      <a:pt x="42" y="89"/>
                      <a:pt x="42" y="89"/>
                    </a:cubicBezTo>
                    <a:cubicBezTo>
                      <a:pt x="43" y="89"/>
                      <a:pt x="44" y="90"/>
                      <a:pt x="44" y="90"/>
                    </a:cubicBezTo>
                    <a:cubicBezTo>
                      <a:pt x="45" y="89"/>
                      <a:pt x="45" y="89"/>
                      <a:pt x="45" y="89"/>
                    </a:cubicBezTo>
                    <a:cubicBezTo>
                      <a:pt x="47" y="88"/>
                      <a:pt x="47" y="88"/>
                      <a:pt x="47" y="88"/>
                    </a:cubicBezTo>
                    <a:cubicBezTo>
                      <a:pt x="47" y="88"/>
                      <a:pt x="48" y="87"/>
                      <a:pt x="49" y="86"/>
                    </a:cubicBezTo>
                    <a:cubicBezTo>
                      <a:pt x="49" y="85"/>
                      <a:pt x="48" y="85"/>
                      <a:pt x="48" y="85"/>
                    </a:cubicBezTo>
                    <a:cubicBezTo>
                      <a:pt x="48" y="83"/>
                      <a:pt x="48" y="83"/>
                      <a:pt x="48" y="83"/>
                    </a:cubicBezTo>
                    <a:cubicBezTo>
                      <a:pt x="47" y="83"/>
                      <a:pt x="47" y="83"/>
                      <a:pt x="47" y="83"/>
                    </a:cubicBezTo>
                    <a:cubicBezTo>
                      <a:pt x="46" y="82"/>
                      <a:pt x="46" y="82"/>
                      <a:pt x="46" y="82"/>
                    </a:cubicBezTo>
                    <a:cubicBezTo>
                      <a:pt x="46" y="82"/>
                      <a:pt x="46" y="82"/>
                      <a:pt x="47" y="82"/>
                    </a:cubicBezTo>
                    <a:cubicBezTo>
                      <a:pt x="47" y="81"/>
                      <a:pt x="47" y="81"/>
                      <a:pt x="48" y="81"/>
                    </a:cubicBezTo>
                    <a:cubicBezTo>
                      <a:pt x="49" y="81"/>
                      <a:pt x="50" y="82"/>
                      <a:pt x="50" y="82"/>
                    </a:cubicBezTo>
                    <a:cubicBezTo>
                      <a:pt x="50" y="82"/>
                      <a:pt x="51" y="82"/>
                      <a:pt x="51" y="82"/>
                    </a:cubicBezTo>
                    <a:cubicBezTo>
                      <a:pt x="51" y="82"/>
                      <a:pt x="53" y="81"/>
                      <a:pt x="53" y="81"/>
                    </a:cubicBezTo>
                    <a:cubicBezTo>
                      <a:pt x="53" y="80"/>
                      <a:pt x="53" y="80"/>
                      <a:pt x="53" y="79"/>
                    </a:cubicBezTo>
                    <a:cubicBezTo>
                      <a:pt x="54" y="79"/>
                      <a:pt x="53" y="79"/>
                      <a:pt x="53" y="78"/>
                    </a:cubicBezTo>
                    <a:cubicBezTo>
                      <a:pt x="53" y="78"/>
                      <a:pt x="53" y="76"/>
                      <a:pt x="53" y="76"/>
                    </a:cubicBezTo>
                    <a:cubicBezTo>
                      <a:pt x="53" y="75"/>
                      <a:pt x="53" y="75"/>
                      <a:pt x="53" y="74"/>
                    </a:cubicBezTo>
                    <a:cubicBezTo>
                      <a:pt x="53" y="74"/>
                      <a:pt x="54" y="73"/>
                      <a:pt x="54" y="73"/>
                    </a:cubicBezTo>
                    <a:cubicBezTo>
                      <a:pt x="54" y="72"/>
                      <a:pt x="53" y="71"/>
                      <a:pt x="53" y="71"/>
                    </a:cubicBezTo>
                    <a:cubicBezTo>
                      <a:pt x="53" y="68"/>
                      <a:pt x="53" y="68"/>
                      <a:pt x="53" y="68"/>
                    </a:cubicBezTo>
                    <a:cubicBezTo>
                      <a:pt x="53" y="68"/>
                      <a:pt x="54" y="65"/>
                      <a:pt x="55" y="64"/>
                    </a:cubicBezTo>
                    <a:cubicBezTo>
                      <a:pt x="55" y="63"/>
                      <a:pt x="56" y="63"/>
                      <a:pt x="56" y="63"/>
                    </a:cubicBezTo>
                    <a:cubicBezTo>
                      <a:pt x="57" y="64"/>
                      <a:pt x="57" y="64"/>
                      <a:pt x="57" y="64"/>
                    </a:cubicBezTo>
                    <a:cubicBezTo>
                      <a:pt x="56" y="67"/>
                      <a:pt x="56" y="67"/>
                      <a:pt x="56" y="67"/>
                    </a:cubicBezTo>
                    <a:cubicBezTo>
                      <a:pt x="59" y="68"/>
                      <a:pt x="59" y="68"/>
                      <a:pt x="59" y="68"/>
                    </a:cubicBezTo>
                    <a:cubicBezTo>
                      <a:pt x="60" y="71"/>
                      <a:pt x="60" y="71"/>
                      <a:pt x="60" y="71"/>
                    </a:cubicBezTo>
                    <a:cubicBezTo>
                      <a:pt x="60" y="71"/>
                      <a:pt x="60" y="71"/>
                      <a:pt x="61" y="71"/>
                    </a:cubicBezTo>
                    <a:cubicBezTo>
                      <a:pt x="62" y="71"/>
                      <a:pt x="61" y="69"/>
                      <a:pt x="61" y="69"/>
                    </a:cubicBezTo>
                    <a:cubicBezTo>
                      <a:pt x="61" y="67"/>
                      <a:pt x="61" y="67"/>
                      <a:pt x="61" y="67"/>
                    </a:cubicBezTo>
                    <a:cubicBezTo>
                      <a:pt x="61" y="67"/>
                      <a:pt x="61" y="66"/>
                      <a:pt x="62" y="65"/>
                    </a:cubicBezTo>
                    <a:cubicBezTo>
                      <a:pt x="62" y="65"/>
                      <a:pt x="63" y="67"/>
                      <a:pt x="63" y="67"/>
                    </a:cubicBezTo>
                    <a:cubicBezTo>
                      <a:pt x="64" y="69"/>
                      <a:pt x="64" y="69"/>
                      <a:pt x="64" y="69"/>
                    </a:cubicBezTo>
                    <a:cubicBezTo>
                      <a:pt x="65" y="69"/>
                      <a:pt x="65" y="69"/>
                      <a:pt x="65" y="69"/>
                    </a:cubicBezTo>
                    <a:cubicBezTo>
                      <a:pt x="65" y="67"/>
                      <a:pt x="65" y="67"/>
                      <a:pt x="65" y="67"/>
                    </a:cubicBezTo>
                    <a:cubicBezTo>
                      <a:pt x="65" y="65"/>
                      <a:pt x="65" y="65"/>
                      <a:pt x="65" y="65"/>
                    </a:cubicBezTo>
                    <a:cubicBezTo>
                      <a:pt x="68" y="63"/>
                      <a:pt x="68" y="63"/>
                      <a:pt x="68" y="63"/>
                    </a:cubicBezTo>
                    <a:cubicBezTo>
                      <a:pt x="68" y="63"/>
                      <a:pt x="69" y="62"/>
                      <a:pt x="69" y="61"/>
                    </a:cubicBezTo>
                    <a:cubicBezTo>
                      <a:pt x="69" y="60"/>
                      <a:pt x="70" y="58"/>
                      <a:pt x="70" y="58"/>
                    </a:cubicBezTo>
                    <a:cubicBezTo>
                      <a:pt x="70" y="56"/>
                      <a:pt x="70" y="56"/>
                      <a:pt x="70" y="56"/>
                    </a:cubicBezTo>
                    <a:cubicBezTo>
                      <a:pt x="68" y="52"/>
                      <a:pt x="68" y="52"/>
                      <a:pt x="68" y="52"/>
                    </a:cubicBezTo>
                    <a:cubicBezTo>
                      <a:pt x="68" y="52"/>
                      <a:pt x="66" y="52"/>
                      <a:pt x="65" y="52"/>
                    </a:cubicBezTo>
                    <a:cubicBezTo>
                      <a:pt x="64" y="52"/>
                      <a:pt x="62" y="52"/>
                      <a:pt x="61" y="53"/>
                    </a:cubicBezTo>
                    <a:cubicBezTo>
                      <a:pt x="60" y="53"/>
                      <a:pt x="58" y="52"/>
                      <a:pt x="58" y="52"/>
                    </a:cubicBezTo>
                    <a:cubicBezTo>
                      <a:pt x="56" y="51"/>
                      <a:pt x="56" y="51"/>
                      <a:pt x="56" y="51"/>
                    </a:cubicBezTo>
                    <a:cubicBezTo>
                      <a:pt x="55" y="48"/>
                      <a:pt x="55" y="48"/>
                      <a:pt x="55" y="48"/>
                    </a:cubicBezTo>
                    <a:cubicBezTo>
                      <a:pt x="56" y="47"/>
                      <a:pt x="56" y="47"/>
                      <a:pt x="56" y="47"/>
                    </a:cubicBezTo>
                    <a:cubicBezTo>
                      <a:pt x="54" y="44"/>
                      <a:pt x="54" y="44"/>
                      <a:pt x="54" y="44"/>
                    </a:cubicBezTo>
                    <a:cubicBezTo>
                      <a:pt x="54" y="41"/>
                      <a:pt x="54" y="41"/>
                      <a:pt x="54" y="41"/>
                    </a:cubicBezTo>
                    <a:cubicBezTo>
                      <a:pt x="54" y="37"/>
                      <a:pt x="54" y="37"/>
                      <a:pt x="54" y="37"/>
                    </a:cubicBezTo>
                    <a:cubicBezTo>
                      <a:pt x="53" y="33"/>
                      <a:pt x="53" y="33"/>
                      <a:pt x="53" y="33"/>
                    </a:cubicBezTo>
                    <a:cubicBezTo>
                      <a:pt x="56" y="28"/>
                      <a:pt x="56" y="28"/>
                      <a:pt x="56" y="28"/>
                    </a:cubicBezTo>
                    <a:cubicBezTo>
                      <a:pt x="57" y="24"/>
                      <a:pt x="57" y="24"/>
                      <a:pt x="57" y="24"/>
                    </a:cubicBezTo>
                    <a:cubicBezTo>
                      <a:pt x="57" y="24"/>
                      <a:pt x="59" y="22"/>
                      <a:pt x="60" y="21"/>
                    </a:cubicBezTo>
                    <a:cubicBezTo>
                      <a:pt x="61" y="20"/>
                      <a:pt x="59" y="18"/>
                      <a:pt x="59" y="18"/>
                    </a:cubicBezTo>
                    <a:cubicBezTo>
                      <a:pt x="58" y="15"/>
                      <a:pt x="58" y="15"/>
                      <a:pt x="58" y="15"/>
                    </a:cubicBezTo>
                    <a:cubicBezTo>
                      <a:pt x="58" y="11"/>
                      <a:pt x="58" y="11"/>
                      <a:pt x="58" y="11"/>
                    </a:cubicBezTo>
                    <a:cubicBezTo>
                      <a:pt x="58" y="11"/>
                      <a:pt x="58" y="11"/>
                      <a:pt x="58" y="11"/>
                    </a:cubicBezTo>
                    <a:cubicBezTo>
                      <a:pt x="57" y="7"/>
                      <a:pt x="57" y="7"/>
                      <a:pt x="57" y="7"/>
                    </a:cubicBezTo>
                    <a:cubicBezTo>
                      <a:pt x="57" y="6"/>
                      <a:pt x="57" y="6"/>
                      <a:pt x="57" y="6"/>
                    </a:cubicBezTo>
                    <a:cubicBezTo>
                      <a:pt x="57" y="4"/>
                      <a:pt x="57" y="4"/>
                      <a:pt x="57" y="4"/>
                    </a:cubicBezTo>
                    <a:cubicBezTo>
                      <a:pt x="59" y="0"/>
                      <a:pt x="59" y="0"/>
                      <a:pt x="59" y="0"/>
                    </a:cubicBezTo>
                    <a:cubicBezTo>
                      <a:pt x="58" y="0"/>
                      <a:pt x="58" y="0"/>
                      <a:pt x="58" y="0"/>
                    </a:cubicBezTo>
                    <a:cubicBezTo>
                      <a:pt x="58" y="0"/>
                      <a:pt x="54" y="4"/>
                      <a:pt x="53" y="4"/>
                    </a:cubicBezTo>
                    <a:cubicBezTo>
                      <a:pt x="52" y="5"/>
                      <a:pt x="49" y="5"/>
                      <a:pt x="49" y="5"/>
                    </a:cubicBezTo>
                    <a:cubicBezTo>
                      <a:pt x="44" y="7"/>
                      <a:pt x="44" y="7"/>
                      <a:pt x="44" y="7"/>
                    </a:cubicBezTo>
                    <a:cubicBezTo>
                      <a:pt x="42" y="11"/>
                      <a:pt x="42" y="11"/>
                      <a:pt x="42" y="11"/>
                    </a:cubicBezTo>
                    <a:cubicBezTo>
                      <a:pt x="41" y="14"/>
                      <a:pt x="41" y="14"/>
                      <a:pt x="41" y="14"/>
                    </a:cubicBezTo>
                    <a:cubicBezTo>
                      <a:pt x="38" y="19"/>
                      <a:pt x="38" y="19"/>
                      <a:pt x="38" y="19"/>
                    </a:cubicBezTo>
                    <a:cubicBezTo>
                      <a:pt x="35" y="24"/>
                      <a:pt x="35" y="24"/>
                      <a:pt x="35" y="24"/>
                    </a:cubicBezTo>
                    <a:cubicBezTo>
                      <a:pt x="30" y="27"/>
                      <a:pt x="30" y="27"/>
                      <a:pt x="30" y="27"/>
                    </a:cubicBezTo>
                    <a:cubicBezTo>
                      <a:pt x="28" y="26"/>
                      <a:pt x="28" y="26"/>
                      <a:pt x="28" y="26"/>
                    </a:cubicBezTo>
                    <a:cubicBezTo>
                      <a:pt x="26" y="26"/>
                      <a:pt x="26" y="26"/>
                      <a:pt x="26" y="26"/>
                    </a:cubicBezTo>
                    <a:cubicBezTo>
                      <a:pt x="24" y="26"/>
                      <a:pt x="24" y="26"/>
                      <a:pt x="24" y="26"/>
                    </a:cubicBezTo>
                    <a:cubicBezTo>
                      <a:pt x="22" y="26"/>
                      <a:pt x="22" y="26"/>
                      <a:pt x="22" y="26"/>
                    </a:cubicBezTo>
                    <a:cubicBezTo>
                      <a:pt x="19" y="26"/>
                      <a:pt x="19" y="26"/>
                      <a:pt x="19" y="26"/>
                    </a:cubicBezTo>
                    <a:cubicBezTo>
                      <a:pt x="19" y="26"/>
                      <a:pt x="18" y="27"/>
                      <a:pt x="18" y="27"/>
                    </a:cubicBezTo>
                    <a:cubicBezTo>
                      <a:pt x="17" y="28"/>
                      <a:pt x="16" y="27"/>
                      <a:pt x="16" y="27"/>
                    </a:cubicBezTo>
                    <a:cubicBezTo>
                      <a:pt x="13" y="27"/>
                      <a:pt x="13" y="27"/>
                      <a:pt x="13" y="27"/>
                    </a:cubicBezTo>
                    <a:cubicBezTo>
                      <a:pt x="12" y="29"/>
                      <a:pt x="12" y="29"/>
                      <a:pt x="12" y="29"/>
                    </a:cubicBezTo>
                    <a:cubicBezTo>
                      <a:pt x="11" y="31"/>
                      <a:pt x="11" y="31"/>
                      <a:pt x="11" y="31"/>
                    </a:cubicBezTo>
                    <a:cubicBezTo>
                      <a:pt x="9" y="33"/>
                      <a:pt x="9" y="33"/>
                      <a:pt x="9" y="33"/>
                    </a:cubicBezTo>
                    <a:cubicBezTo>
                      <a:pt x="8" y="34"/>
                      <a:pt x="8" y="34"/>
                      <a:pt x="8" y="34"/>
                    </a:cubicBezTo>
                    <a:cubicBezTo>
                      <a:pt x="7" y="36"/>
                      <a:pt x="7" y="36"/>
                      <a:pt x="7" y="36"/>
                    </a:cubicBezTo>
                    <a:cubicBezTo>
                      <a:pt x="7" y="36"/>
                      <a:pt x="6" y="39"/>
                      <a:pt x="5" y="39"/>
                    </a:cubicBezTo>
                    <a:cubicBezTo>
                      <a:pt x="5" y="40"/>
                      <a:pt x="5" y="40"/>
                      <a:pt x="4" y="40"/>
                    </a:cubicBezTo>
                    <a:cubicBezTo>
                      <a:pt x="4" y="41"/>
                      <a:pt x="4" y="41"/>
                      <a:pt x="4" y="41"/>
                    </a:cubicBezTo>
                    <a:cubicBezTo>
                      <a:pt x="6" y="43"/>
                      <a:pt x="6" y="43"/>
                      <a:pt x="6" y="43"/>
                    </a:cubicBezTo>
                    <a:cubicBezTo>
                      <a:pt x="6" y="43"/>
                      <a:pt x="6" y="44"/>
                      <a:pt x="6" y="45"/>
                    </a:cubicBezTo>
                    <a:cubicBezTo>
                      <a:pt x="7" y="45"/>
                      <a:pt x="7" y="46"/>
                      <a:pt x="7" y="46"/>
                    </a:cubicBezTo>
                    <a:cubicBezTo>
                      <a:pt x="7" y="47"/>
                      <a:pt x="7" y="47"/>
                      <a:pt x="7" y="47"/>
                    </a:cubicBezTo>
                    <a:cubicBezTo>
                      <a:pt x="9" y="46"/>
                      <a:pt x="9" y="46"/>
                      <a:pt x="9" y="46"/>
                    </a:cubicBezTo>
                    <a:cubicBezTo>
                      <a:pt x="10" y="46"/>
                      <a:pt x="10" y="46"/>
                      <a:pt x="10" y="46"/>
                    </a:cubicBezTo>
                    <a:cubicBezTo>
                      <a:pt x="9" y="47"/>
                      <a:pt x="9" y="47"/>
                      <a:pt x="9" y="47"/>
                    </a:cubicBezTo>
                    <a:cubicBezTo>
                      <a:pt x="10" y="49"/>
                      <a:pt x="10" y="49"/>
                      <a:pt x="10" y="49"/>
                    </a:cubicBezTo>
                    <a:cubicBezTo>
                      <a:pt x="10" y="49"/>
                      <a:pt x="11" y="50"/>
                      <a:pt x="11" y="50"/>
                    </a:cubicBezTo>
                    <a:cubicBezTo>
                      <a:pt x="12" y="50"/>
                      <a:pt x="13" y="49"/>
                      <a:pt x="13" y="49"/>
                    </a:cubicBezTo>
                    <a:cubicBezTo>
                      <a:pt x="14" y="47"/>
                      <a:pt x="14" y="47"/>
                      <a:pt x="14" y="47"/>
                    </a:cubicBezTo>
                    <a:cubicBezTo>
                      <a:pt x="13" y="46"/>
                      <a:pt x="13" y="46"/>
                      <a:pt x="13" y="46"/>
                    </a:cubicBezTo>
                    <a:cubicBezTo>
                      <a:pt x="11" y="46"/>
                      <a:pt x="11" y="46"/>
                      <a:pt x="11" y="46"/>
                    </a:cubicBezTo>
                    <a:cubicBezTo>
                      <a:pt x="11" y="45"/>
                      <a:pt x="11" y="45"/>
                      <a:pt x="11" y="45"/>
                    </a:cubicBezTo>
                    <a:cubicBezTo>
                      <a:pt x="11" y="44"/>
                      <a:pt x="11" y="44"/>
                      <a:pt x="11" y="44"/>
                    </a:cubicBezTo>
                    <a:cubicBezTo>
                      <a:pt x="11" y="44"/>
                      <a:pt x="11" y="43"/>
                      <a:pt x="11" y="43"/>
                    </a:cubicBezTo>
                    <a:cubicBezTo>
                      <a:pt x="11" y="42"/>
                      <a:pt x="10" y="42"/>
                      <a:pt x="10" y="42"/>
                    </a:cubicBezTo>
                    <a:cubicBezTo>
                      <a:pt x="11" y="41"/>
                      <a:pt x="11" y="41"/>
                      <a:pt x="11" y="41"/>
                    </a:cubicBezTo>
                    <a:cubicBezTo>
                      <a:pt x="12" y="40"/>
                      <a:pt x="12" y="40"/>
                      <a:pt x="12" y="40"/>
                    </a:cubicBezTo>
                    <a:cubicBezTo>
                      <a:pt x="13" y="39"/>
                      <a:pt x="13" y="39"/>
                      <a:pt x="13" y="39"/>
                    </a:cubicBezTo>
                    <a:cubicBezTo>
                      <a:pt x="13" y="37"/>
                      <a:pt x="13" y="37"/>
                      <a:pt x="13" y="37"/>
                    </a:cubicBezTo>
                    <a:cubicBezTo>
                      <a:pt x="14" y="36"/>
                      <a:pt x="14" y="36"/>
                      <a:pt x="14" y="36"/>
                    </a:cubicBezTo>
                    <a:cubicBezTo>
                      <a:pt x="15" y="35"/>
                      <a:pt x="15" y="35"/>
                      <a:pt x="15" y="35"/>
                    </a:cubicBezTo>
                    <a:cubicBezTo>
                      <a:pt x="15" y="35"/>
                      <a:pt x="16" y="35"/>
                      <a:pt x="16" y="34"/>
                    </a:cubicBezTo>
                    <a:cubicBezTo>
                      <a:pt x="16" y="34"/>
                      <a:pt x="17" y="34"/>
                      <a:pt x="18" y="34"/>
                    </a:cubicBezTo>
                    <a:cubicBezTo>
                      <a:pt x="19" y="33"/>
                      <a:pt x="19" y="33"/>
                      <a:pt x="19" y="33"/>
                    </a:cubicBezTo>
                    <a:cubicBezTo>
                      <a:pt x="19" y="32"/>
                      <a:pt x="19" y="32"/>
                      <a:pt x="19" y="32"/>
                    </a:cubicBezTo>
                    <a:cubicBezTo>
                      <a:pt x="19" y="32"/>
                      <a:pt x="21" y="32"/>
                      <a:pt x="21" y="32"/>
                    </a:cubicBezTo>
                    <a:cubicBezTo>
                      <a:pt x="22" y="32"/>
                      <a:pt x="22" y="32"/>
                      <a:pt x="22" y="32"/>
                    </a:cubicBezTo>
                    <a:cubicBezTo>
                      <a:pt x="24" y="32"/>
                      <a:pt x="24" y="32"/>
                      <a:pt x="24" y="32"/>
                    </a:cubicBezTo>
                    <a:cubicBezTo>
                      <a:pt x="24" y="32"/>
                      <a:pt x="25" y="31"/>
                      <a:pt x="26" y="31"/>
                    </a:cubicBezTo>
                    <a:cubicBezTo>
                      <a:pt x="26" y="31"/>
                      <a:pt x="27" y="31"/>
                      <a:pt x="27" y="31"/>
                    </a:cubicBezTo>
                    <a:cubicBezTo>
                      <a:pt x="27" y="31"/>
                      <a:pt x="27" y="32"/>
                      <a:pt x="27" y="32"/>
                    </a:cubicBezTo>
                    <a:cubicBezTo>
                      <a:pt x="28" y="32"/>
                      <a:pt x="29" y="32"/>
                      <a:pt x="29" y="32"/>
                    </a:cubicBezTo>
                    <a:cubicBezTo>
                      <a:pt x="30" y="32"/>
                      <a:pt x="30" y="32"/>
                      <a:pt x="30" y="32"/>
                    </a:cubicBezTo>
                    <a:cubicBezTo>
                      <a:pt x="30" y="32"/>
                      <a:pt x="31" y="32"/>
                      <a:pt x="31" y="31"/>
                    </a:cubicBezTo>
                    <a:cubicBezTo>
                      <a:pt x="32" y="30"/>
                      <a:pt x="32" y="30"/>
                      <a:pt x="34" y="30"/>
                    </a:cubicBezTo>
                    <a:cubicBezTo>
                      <a:pt x="36" y="30"/>
                      <a:pt x="35" y="30"/>
                      <a:pt x="36" y="30"/>
                    </a:cubicBezTo>
                    <a:cubicBezTo>
                      <a:pt x="37" y="29"/>
                      <a:pt x="37" y="30"/>
                      <a:pt x="38" y="29"/>
                    </a:cubicBezTo>
                    <a:cubicBezTo>
                      <a:pt x="38" y="29"/>
                      <a:pt x="40" y="28"/>
                      <a:pt x="40" y="28"/>
                    </a:cubicBezTo>
                    <a:cubicBezTo>
                      <a:pt x="41" y="28"/>
                      <a:pt x="42" y="29"/>
                      <a:pt x="42" y="30"/>
                    </a:cubicBezTo>
                    <a:cubicBezTo>
                      <a:pt x="41" y="30"/>
                      <a:pt x="40" y="30"/>
                      <a:pt x="40" y="30"/>
                    </a:cubicBezTo>
                    <a:cubicBezTo>
                      <a:pt x="40" y="30"/>
                      <a:pt x="40" y="31"/>
                      <a:pt x="39" y="32"/>
                    </a:cubicBezTo>
                    <a:cubicBezTo>
                      <a:pt x="38" y="32"/>
                      <a:pt x="39" y="32"/>
                      <a:pt x="38" y="32"/>
                    </a:cubicBezTo>
                    <a:cubicBezTo>
                      <a:pt x="37" y="31"/>
                      <a:pt x="37" y="33"/>
                      <a:pt x="37" y="33"/>
                    </a:cubicBezTo>
                    <a:cubicBezTo>
                      <a:pt x="37" y="33"/>
                      <a:pt x="37" y="33"/>
                      <a:pt x="37" y="33"/>
                    </a:cubicBezTo>
                    <a:cubicBezTo>
                      <a:pt x="37" y="33"/>
                      <a:pt x="35" y="32"/>
                      <a:pt x="34" y="32"/>
                    </a:cubicBezTo>
                    <a:cubicBezTo>
                      <a:pt x="34" y="32"/>
                      <a:pt x="32" y="32"/>
                      <a:pt x="31" y="32"/>
                    </a:cubicBezTo>
                    <a:cubicBezTo>
                      <a:pt x="30" y="32"/>
                      <a:pt x="30" y="32"/>
                      <a:pt x="29" y="32"/>
                    </a:cubicBezTo>
                    <a:cubicBezTo>
                      <a:pt x="28" y="33"/>
                      <a:pt x="29" y="33"/>
                      <a:pt x="28" y="34"/>
                    </a:cubicBezTo>
                    <a:cubicBezTo>
                      <a:pt x="27" y="34"/>
                      <a:pt x="27" y="36"/>
                      <a:pt x="27" y="36"/>
                    </a:cubicBezTo>
                    <a:cubicBezTo>
                      <a:pt x="27" y="36"/>
                      <a:pt x="26" y="37"/>
                      <a:pt x="26" y="38"/>
                    </a:cubicBezTo>
                    <a:cubicBezTo>
                      <a:pt x="26" y="38"/>
                      <a:pt x="27" y="39"/>
                      <a:pt x="27" y="40"/>
                    </a:cubicBezTo>
                    <a:cubicBezTo>
                      <a:pt x="27" y="42"/>
                      <a:pt x="27" y="42"/>
                      <a:pt x="27" y="42"/>
                    </a:cubicBezTo>
                    <a:cubicBezTo>
                      <a:pt x="27" y="42"/>
                      <a:pt x="28" y="45"/>
                      <a:pt x="29" y="45"/>
                    </a:cubicBezTo>
                    <a:cubicBezTo>
                      <a:pt x="29" y="45"/>
                      <a:pt x="30" y="45"/>
                      <a:pt x="30" y="46"/>
                    </a:cubicBezTo>
                    <a:cubicBezTo>
                      <a:pt x="31" y="47"/>
                      <a:pt x="30" y="47"/>
                      <a:pt x="30" y="47"/>
                    </a:cubicBezTo>
                    <a:cubicBezTo>
                      <a:pt x="30" y="48"/>
                      <a:pt x="30" y="48"/>
                      <a:pt x="30" y="48"/>
                    </a:cubicBezTo>
                    <a:cubicBezTo>
                      <a:pt x="30" y="48"/>
                      <a:pt x="31" y="49"/>
                      <a:pt x="31" y="51"/>
                    </a:cubicBezTo>
                    <a:cubicBezTo>
                      <a:pt x="32" y="52"/>
                      <a:pt x="31" y="51"/>
                      <a:pt x="31" y="52"/>
                    </a:cubicBezTo>
                    <a:cubicBezTo>
                      <a:pt x="32" y="53"/>
                      <a:pt x="30" y="51"/>
                      <a:pt x="30" y="51"/>
                    </a:cubicBezTo>
                    <a:cubicBezTo>
                      <a:pt x="30" y="51"/>
                      <a:pt x="30" y="50"/>
                      <a:pt x="30" y="50"/>
                    </a:cubicBezTo>
                    <a:cubicBezTo>
                      <a:pt x="30" y="50"/>
                      <a:pt x="30" y="49"/>
                      <a:pt x="30" y="49"/>
                    </a:cubicBezTo>
                    <a:cubicBezTo>
                      <a:pt x="30" y="49"/>
                      <a:pt x="29" y="48"/>
                      <a:pt x="29" y="48"/>
                    </a:cubicBezTo>
                    <a:cubicBezTo>
                      <a:pt x="28" y="48"/>
                      <a:pt x="28" y="48"/>
                      <a:pt x="28" y="48"/>
                    </a:cubicBezTo>
                    <a:cubicBezTo>
                      <a:pt x="27" y="48"/>
                      <a:pt x="27" y="48"/>
                      <a:pt x="27" y="48"/>
                    </a:cubicBezTo>
                    <a:cubicBezTo>
                      <a:pt x="27" y="48"/>
                      <a:pt x="27" y="50"/>
                      <a:pt x="27" y="50"/>
                    </a:cubicBezTo>
                    <a:cubicBezTo>
                      <a:pt x="27" y="50"/>
                      <a:pt x="27" y="51"/>
                      <a:pt x="25" y="50"/>
                    </a:cubicBezTo>
                    <a:cubicBezTo>
                      <a:pt x="23" y="50"/>
                      <a:pt x="24" y="49"/>
                      <a:pt x="24" y="49"/>
                    </a:cubicBezTo>
                    <a:cubicBezTo>
                      <a:pt x="24" y="49"/>
                      <a:pt x="25" y="48"/>
                      <a:pt x="25" y="48"/>
                    </a:cubicBezTo>
                    <a:cubicBezTo>
                      <a:pt x="25" y="47"/>
                      <a:pt x="26" y="47"/>
                      <a:pt x="26" y="47"/>
                    </a:cubicBezTo>
                    <a:cubicBezTo>
                      <a:pt x="25" y="44"/>
                      <a:pt x="25" y="44"/>
                      <a:pt x="25" y="44"/>
                    </a:cubicBezTo>
                    <a:cubicBezTo>
                      <a:pt x="25" y="44"/>
                      <a:pt x="25" y="44"/>
                      <a:pt x="26" y="43"/>
                    </a:cubicBezTo>
                    <a:cubicBezTo>
                      <a:pt x="26" y="43"/>
                      <a:pt x="26" y="42"/>
                      <a:pt x="26" y="42"/>
                    </a:cubicBezTo>
                    <a:cubicBezTo>
                      <a:pt x="26" y="42"/>
                      <a:pt x="24" y="40"/>
                      <a:pt x="23" y="40"/>
                    </a:cubicBezTo>
                    <a:cubicBezTo>
                      <a:pt x="22" y="40"/>
                      <a:pt x="22" y="41"/>
                      <a:pt x="21" y="41"/>
                    </a:cubicBezTo>
                    <a:cubicBezTo>
                      <a:pt x="21" y="42"/>
                      <a:pt x="20" y="42"/>
                      <a:pt x="20" y="43"/>
                    </a:cubicBezTo>
                    <a:cubicBezTo>
                      <a:pt x="19" y="44"/>
                      <a:pt x="20" y="44"/>
                      <a:pt x="20" y="45"/>
                    </a:cubicBezTo>
                    <a:cubicBezTo>
                      <a:pt x="20" y="45"/>
                      <a:pt x="21" y="46"/>
                      <a:pt x="21" y="46"/>
                    </a:cubicBezTo>
                    <a:cubicBezTo>
                      <a:pt x="19" y="47"/>
                      <a:pt x="19" y="47"/>
                      <a:pt x="19" y="47"/>
                    </a:cubicBezTo>
                    <a:cubicBezTo>
                      <a:pt x="19" y="47"/>
                      <a:pt x="19" y="46"/>
                      <a:pt x="19" y="45"/>
                    </a:cubicBezTo>
                    <a:cubicBezTo>
                      <a:pt x="19" y="45"/>
                      <a:pt x="17" y="44"/>
                      <a:pt x="17" y="44"/>
                    </a:cubicBezTo>
                    <a:cubicBezTo>
                      <a:pt x="19" y="42"/>
                      <a:pt x="19" y="42"/>
                      <a:pt x="19" y="42"/>
                    </a:cubicBezTo>
                    <a:cubicBezTo>
                      <a:pt x="19" y="42"/>
                      <a:pt x="19" y="41"/>
                      <a:pt x="19" y="41"/>
                    </a:cubicBezTo>
                    <a:cubicBezTo>
                      <a:pt x="19" y="40"/>
                      <a:pt x="19" y="39"/>
                      <a:pt x="19" y="39"/>
                    </a:cubicBezTo>
                    <a:cubicBezTo>
                      <a:pt x="20" y="37"/>
                      <a:pt x="20" y="37"/>
                      <a:pt x="20" y="37"/>
                    </a:cubicBezTo>
                    <a:cubicBezTo>
                      <a:pt x="20" y="37"/>
                      <a:pt x="21" y="35"/>
                      <a:pt x="20" y="35"/>
                    </a:cubicBezTo>
                    <a:cubicBezTo>
                      <a:pt x="20" y="34"/>
                      <a:pt x="19" y="35"/>
                      <a:pt x="19" y="35"/>
                    </a:cubicBezTo>
                    <a:cubicBezTo>
                      <a:pt x="19" y="35"/>
                      <a:pt x="18" y="36"/>
                      <a:pt x="18" y="36"/>
                    </a:cubicBezTo>
                    <a:cubicBezTo>
                      <a:pt x="18" y="36"/>
                      <a:pt x="16" y="36"/>
                      <a:pt x="15" y="36"/>
                    </a:cubicBezTo>
                    <a:cubicBezTo>
                      <a:pt x="14" y="37"/>
                      <a:pt x="14" y="38"/>
                      <a:pt x="14" y="38"/>
                    </a:cubicBezTo>
                    <a:cubicBezTo>
                      <a:pt x="14" y="38"/>
                      <a:pt x="14" y="41"/>
                      <a:pt x="13" y="41"/>
                    </a:cubicBezTo>
                    <a:cubicBezTo>
                      <a:pt x="13" y="41"/>
                      <a:pt x="12" y="43"/>
                      <a:pt x="12" y="43"/>
                    </a:cubicBezTo>
                    <a:cubicBezTo>
                      <a:pt x="12" y="43"/>
                      <a:pt x="13" y="44"/>
                      <a:pt x="13" y="45"/>
                    </a:cubicBezTo>
                    <a:cubicBezTo>
                      <a:pt x="13" y="45"/>
                      <a:pt x="14" y="46"/>
                      <a:pt x="14" y="46"/>
                    </a:cubicBezTo>
                    <a:cubicBezTo>
                      <a:pt x="14" y="46"/>
                      <a:pt x="16" y="45"/>
                      <a:pt x="17" y="45"/>
                    </a:cubicBezTo>
                    <a:cubicBezTo>
                      <a:pt x="18" y="45"/>
                      <a:pt x="17" y="46"/>
                      <a:pt x="17" y="46"/>
                    </a:cubicBezTo>
                    <a:cubicBezTo>
                      <a:pt x="16" y="48"/>
                      <a:pt x="16" y="48"/>
                      <a:pt x="16" y="48"/>
                    </a:cubicBezTo>
                    <a:cubicBezTo>
                      <a:pt x="15" y="50"/>
                      <a:pt x="15" y="50"/>
                      <a:pt x="15" y="50"/>
                    </a:cubicBezTo>
                    <a:cubicBezTo>
                      <a:pt x="15" y="50"/>
                      <a:pt x="15" y="51"/>
                      <a:pt x="15" y="51"/>
                    </a:cubicBezTo>
                    <a:cubicBezTo>
                      <a:pt x="15" y="51"/>
                      <a:pt x="16" y="52"/>
                      <a:pt x="16" y="53"/>
                    </a:cubicBezTo>
                    <a:cubicBezTo>
                      <a:pt x="16" y="53"/>
                      <a:pt x="16" y="53"/>
                      <a:pt x="16" y="53"/>
                    </a:cubicBezTo>
                    <a:cubicBezTo>
                      <a:pt x="15" y="55"/>
                      <a:pt x="15" y="55"/>
                      <a:pt x="15" y="55"/>
                    </a:cubicBezTo>
                    <a:cubicBezTo>
                      <a:pt x="14" y="55"/>
                      <a:pt x="14" y="55"/>
                      <a:pt x="14" y="55"/>
                    </a:cubicBezTo>
                    <a:cubicBezTo>
                      <a:pt x="12" y="54"/>
                      <a:pt x="12" y="54"/>
                      <a:pt x="12" y="54"/>
                    </a:cubicBezTo>
                    <a:cubicBezTo>
                      <a:pt x="10" y="52"/>
                      <a:pt x="10" y="52"/>
                      <a:pt x="10" y="52"/>
                    </a:cubicBezTo>
                    <a:cubicBezTo>
                      <a:pt x="8" y="51"/>
                      <a:pt x="8" y="51"/>
                      <a:pt x="8" y="51"/>
                    </a:cubicBezTo>
                    <a:cubicBezTo>
                      <a:pt x="8" y="51"/>
                      <a:pt x="7" y="50"/>
                      <a:pt x="7" y="50"/>
                    </a:cubicBezTo>
                    <a:cubicBezTo>
                      <a:pt x="6" y="50"/>
                      <a:pt x="6" y="50"/>
                      <a:pt x="5" y="49"/>
                    </a:cubicBezTo>
                    <a:cubicBezTo>
                      <a:pt x="4" y="49"/>
                      <a:pt x="5" y="48"/>
                      <a:pt x="5" y="48"/>
                    </a:cubicBezTo>
                    <a:cubicBezTo>
                      <a:pt x="4" y="46"/>
                      <a:pt x="4" y="46"/>
                      <a:pt x="4" y="46"/>
                    </a:cubicBezTo>
                    <a:cubicBezTo>
                      <a:pt x="3" y="47"/>
                      <a:pt x="3" y="47"/>
                      <a:pt x="3" y="47"/>
                    </a:cubicBezTo>
                    <a:cubicBezTo>
                      <a:pt x="3" y="47"/>
                      <a:pt x="2" y="50"/>
                      <a:pt x="1" y="50"/>
                    </a:cubicBezTo>
                    <a:cubicBezTo>
                      <a:pt x="1" y="51"/>
                      <a:pt x="2" y="54"/>
                      <a:pt x="2" y="54"/>
                    </a:cubicBezTo>
                    <a:cubicBezTo>
                      <a:pt x="1" y="58"/>
                      <a:pt x="1" y="58"/>
                      <a:pt x="1" y="58"/>
                    </a:cubicBezTo>
                    <a:cubicBezTo>
                      <a:pt x="2" y="64"/>
                      <a:pt x="2" y="64"/>
                      <a:pt x="2" y="64"/>
                    </a:cubicBezTo>
                    <a:cubicBezTo>
                      <a:pt x="2" y="67"/>
                      <a:pt x="2" y="67"/>
                      <a:pt x="2" y="67"/>
                    </a:cubicBezTo>
                    <a:cubicBezTo>
                      <a:pt x="2" y="67"/>
                      <a:pt x="1" y="69"/>
                      <a:pt x="1" y="70"/>
                    </a:cubicBezTo>
                    <a:cubicBezTo>
                      <a:pt x="1" y="70"/>
                      <a:pt x="2" y="71"/>
                      <a:pt x="2" y="71"/>
                    </a:cubicBezTo>
                    <a:cubicBezTo>
                      <a:pt x="3" y="71"/>
                      <a:pt x="3" y="71"/>
                      <a:pt x="3" y="71"/>
                    </a:cubicBezTo>
                    <a:cubicBezTo>
                      <a:pt x="3" y="71"/>
                      <a:pt x="6" y="75"/>
                      <a:pt x="6" y="76"/>
                    </a:cubicBezTo>
                    <a:cubicBezTo>
                      <a:pt x="6" y="77"/>
                      <a:pt x="6" y="77"/>
                      <a:pt x="6" y="77"/>
                    </a:cubicBezTo>
                    <a:cubicBezTo>
                      <a:pt x="7" y="78"/>
                      <a:pt x="7" y="80"/>
                      <a:pt x="7" y="80"/>
                    </a:cubicBezTo>
                    <a:cubicBezTo>
                      <a:pt x="7" y="81"/>
                      <a:pt x="7" y="81"/>
                      <a:pt x="7" y="81"/>
                    </a:cubicBezTo>
                    <a:cubicBezTo>
                      <a:pt x="7" y="81"/>
                      <a:pt x="5" y="83"/>
                      <a:pt x="4" y="83"/>
                    </a:cubicBezTo>
                    <a:cubicBezTo>
                      <a:pt x="3" y="83"/>
                      <a:pt x="4" y="83"/>
                      <a:pt x="3" y="83"/>
                    </a:cubicBezTo>
                    <a:cubicBezTo>
                      <a:pt x="3" y="83"/>
                      <a:pt x="3" y="84"/>
                      <a:pt x="3" y="84"/>
                    </a:cubicBezTo>
                    <a:cubicBezTo>
                      <a:pt x="3" y="84"/>
                      <a:pt x="3" y="87"/>
                      <a:pt x="3" y="87"/>
                    </a:cubicBezTo>
                    <a:cubicBezTo>
                      <a:pt x="3" y="88"/>
                      <a:pt x="2" y="90"/>
                      <a:pt x="2" y="90"/>
                    </a:cubicBezTo>
                    <a:close/>
                  </a:path>
                </a:pathLst>
              </a:custGeom>
              <a:solidFill>
                <a:srgbClr val="0181C7"/>
              </a:solid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01" name="Freeform 46"/>
              <p:cNvSpPr>
                <a:spLocks/>
              </p:cNvSpPr>
              <p:nvPr/>
            </p:nvSpPr>
            <p:spPr bwMode="auto">
              <a:xfrm>
                <a:off x="2734" y="1711"/>
                <a:ext cx="87" cy="102"/>
              </a:xfrm>
              <a:custGeom>
                <a:avLst/>
                <a:gdLst>
                  <a:gd name="T0" fmla="*/ 2 w 43"/>
                  <a:gd name="T1" fmla="*/ 21 h 51"/>
                  <a:gd name="T2" fmla="*/ 5 w 43"/>
                  <a:gd name="T3" fmla="*/ 24 h 51"/>
                  <a:gd name="T4" fmla="*/ 6 w 43"/>
                  <a:gd name="T5" fmla="*/ 29 h 51"/>
                  <a:gd name="T6" fmla="*/ 7 w 43"/>
                  <a:gd name="T7" fmla="*/ 33 h 51"/>
                  <a:gd name="T8" fmla="*/ 6 w 43"/>
                  <a:gd name="T9" fmla="*/ 36 h 51"/>
                  <a:gd name="T10" fmla="*/ 8 w 43"/>
                  <a:gd name="T11" fmla="*/ 41 h 51"/>
                  <a:gd name="T12" fmla="*/ 15 w 43"/>
                  <a:gd name="T13" fmla="*/ 41 h 51"/>
                  <a:gd name="T14" fmla="*/ 22 w 43"/>
                  <a:gd name="T15" fmla="*/ 43 h 51"/>
                  <a:gd name="T16" fmla="*/ 23 w 43"/>
                  <a:gd name="T17" fmla="*/ 47 h 51"/>
                  <a:gd name="T18" fmla="*/ 26 w 43"/>
                  <a:gd name="T19" fmla="*/ 50 h 51"/>
                  <a:gd name="T20" fmla="*/ 29 w 43"/>
                  <a:gd name="T21" fmla="*/ 51 h 51"/>
                  <a:gd name="T22" fmla="*/ 32 w 43"/>
                  <a:gd name="T23" fmla="*/ 48 h 51"/>
                  <a:gd name="T24" fmla="*/ 32 w 43"/>
                  <a:gd name="T25" fmla="*/ 45 h 51"/>
                  <a:gd name="T26" fmla="*/ 31 w 43"/>
                  <a:gd name="T27" fmla="*/ 43 h 51"/>
                  <a:gd name="T28" fmla="*/ 29 w 43"/>
                  <a:gd name="T29" fmla="*/ 42 h 51"/>
                  <a:gd name="T30" fmla="*/ 34 w 43"/>
                  <a:gd name="T31" fmla="*/ 39 h 51"/>
                  <a:gd name="T32" fmla="*/ 39 w 43"/>
                  <a:gd name="T33" fmla="*/ 36 h 51"/>
                  <a:gd name="T34" fmla="*/ 36 w 43"/>
                  <a:gd name="T35" fmla="*/ 31 h 51"/>
                  <a:gd name="T36" fmla="*/ 33 w 43"/>
                  <a:gd name="T37" fmla="*/ 26 h 51"/>
                  <a:gd name="T38" fmla="*/ 40 w 43"/>
                  <a:gd name="T39" fmla="*/ 24 h 51"/>
                  <a:gd name="T40" fmla="*/ 43 w 43"/>
                  <a:gd name="T41" fmla="*/ 22 h 51"/>
                  <a:gd name="T42" fmla="*/ 41 w 43"/>
                  <a:gd name="T43" fmla="*/ 19 h 51"/>
                  <a:gd name="T44" fmla="*/ 41 w 43"/>
                  <a:gd name="T45" fmla="*/ 13 h 51"/>
                  <a:gd name="T46" fmla="*/ 39 w 43"/>
                  <a:gd name="T47" fmla="*/ 8 h 51"/>
                  <a:gd name="T48" fmla="*/ 40 w 43"/>
                  <a:gd name="T49" fmla="*/ 2 h 51"/>
                  <a:gd name="T50" fmla="*/ 35 w 43"/>
                  <a:gd name="T51" fmla="*/ 0 h 51"/>
                  <a:gd name="T52" fmla="*/ 27 w 43"/>
                  <a:gd name="T53" fmla="*/ 4 h 51"/>
                  <a:gd name="T54" fmla="*/ 23 w 43"/>
                  <a:gd name="T55" fmla="*/ 9 h 51"/>
                  <a:gd name="T56" fmla="*/ 26 w 43"/>
                  <a:gd name="T57" fmla="*/ 9 h 51"/>
                  <a:gd name="T58" fmla="*/ 25 w 43"/>
                  <a:gd name="T59" fmla="*/ 13 h 51"/>
                  <a:gd name="T60" fmla="*/ 22 w 43"/>
                  <a:gd name="T61" fmla="*/ 16 h 51"/>
                  <a:gd name="T62" fmla="*/ 22 w 43"/>
                  <a:gd name="T63" fmla="*/ 19 h 51"/>
                  <a:gd name="T64" fmla="*/ 19 w 43"/>
                  <a:gd name="T65" fmla="*/ 18 h 51"/>
                  <a:gd name="T66" fmla="*/ 21 w 43"/>
                  <a:gd name="T67" fmla="*/ 15 h 51"/>
                  <a:gd name="T68" fmla="*/ 18 w 43"/>
                  <a:gd name="T69" fmla="*/ 15 h 51"/>
                  <a:gd name="T70" fmla="*/ 20 w 43"/>
                  <a:gd name="T71" fmla="*/ 10 h 51"/>
                  <a:gd name="T72" fmla="*/ 19 w 43"/>
                  <a:gd name="T73" fmla="*/ 7 h 51"/>
                  <a:gd name="T74" fmla="*/ 14 w 43"/>
                  <a:gd name="T75" fmla="*/ 9 h 51"/>
                  <a:gd name="T76" fmla="*/ 11 w 43"/>
                  <a:gd name="T77" fmla="*/ 9 h 51"/>
                  <a:gd name="T78" fmla="*/ 15 w 43"/>
                  <a:gd name="T79" fmla="*/ 11 h 51"/>
                  <a:gd name="T80" fmla="*/ 10 w 43"/>
                  <a:gd name="T81" fmla="*/ 14 h 51"/>
                  <a:gd name="T82" fmla="*/ 9 w 43"/>
                  <a:gd name="T83" fmla="*/ 17 h 51"/>
                  <a:gd name="T84" fmla="*/ 5 w 43"/>
                  <a:gd name="T85" fmla="*/ 1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3" h="51">
                    <a:moveTo>
                      <a:pt x="1" y="18"/>
                    </a:moveTo>
                    <a:cubicBezTo>
                      <a:pt x="0" y="18"/>
                      <a:pt x="1" y="20"/>
                      <a:pt x="1" y="20"/>
                    </a:cubicBezTo>
                    <a:cubicBezTo>
                      <a:pt x="2" y="21"/>
                      <a:pt x="2" y="21"/>
                      <a:pt x="2" y="21"/>
                    </a:cubicBezTo>
                    <a:cubicBezTo>
                      <a:pt x="1" y="22"/>
                      <a:pt x="1" y="22"/>
                      <a:pt x="1" y="22"/>
                    </a:cubicBezTo>
                    <a:cubicBezTo>
                      <a:pt x="3" y="23"/>
                      <a:pt x="3" y="23"/>
                      <a:pt x="3" y="23"/>
                    </a:cubicBezTo>
                    <a:cubicBezTo>
                      <a:pt x="5" y="24"/>
                      <a:pt x="5" y="24"/>
                      <a:pt x="5" y="24"/>
                    </a:cubicBezTo>
                    <a:cubicBezTo>
                      <a:pt x="6" y="26"/>
                      <a:pt x="6" y="26"/>
                      <a:pt x="6" y="26"/>
                    </a:cubicBezTo>
                    <a:cubicBezTo>
                      <a:pt x="5" y="28"/>
                      <a:pt x="5" y="28"/>
                      <a:pt x="5" y="28"/>
                    </a:cubicBezTo>
                    <a:cubicBezTo>
                      <a:pt x="6" y="29"/>
                      <a:pt x="6" y="29"/>
                      <a:pt x="6" y="29"/>
                    </a:cubicBezTo>
                    <a:cubicBezTo>
                      <a:pt x="6" y="29"/>
                      <a:pt x="7" y="30"/>
                      <a:pt x="7" y="30"/>
                    </a:cubicBezTo>
                    <a:cubicBezTo>
                      <a:pt x="7" y="31"/>
                      <a:pt x="7" y="32"/>
                      <a:pt x="7" y="32"/>
                    </a:cubicBezTo>
                    <a:cubicBezTo>
                      <a:pt x="7" y="33"/>
                      <a:pt x="7" y="33"/>
                      <a:pt x="7" y="33"/>
                    </a:cubicBezTo>
                    <a:cubicBezTo>
                      <a:pt x="7" y="34"/>
                      <a:pt x="7" y="34"/>
                      <a:pt x="7" y="34"/>
                    </a:cubicBezTo>
                    <a:cubicBezTo>
                      <a:pt x="7" y="34"/>
                      <a:pt x="6" y="35"/>
                      <a:pt x="6" y="36"/>
                    </a:cubicBezTo>
                    <a:cubicBezTo>
                      <a:pt x="6" y="36"/>
                      <a:pt x="6" y="36"/>
                      <a:pt x="6" y="36"/>
                    </a:cubicBezTo>
                    <a:cubicBezTo>
                      <a:pt x="8" y="38"/>
                      <a:pt x="8" y="38"/>
                      <a:pt x="8" y="38"/>
                    </a:cubicBezTo>
                    <a:cubicBezTo>
                      <a:pt x="9" y="39"/>
                      <a:pt x="9" y="39"/>
                      <a:pt x="9" y="39"/>
                    </a:cubicBezTo>
                    <a:cubicBezTo>
                      <a:pt x="9" y="39"/>
                      <a:pt x="8" y="41"/>
                      <a:pt x="8" y="41"/>
                    </a:cubicBezTo>
                    <a:cubicBezTo>
                      <a:pt x="8" y="41"/>
                      <a:pt x="9" y="42"/>
                      <a:pt x="9" y="42"/>
                    </a:cubicBezTo>
                    <a:cubicBezTo>
                      <a:pt x="13" y="42"/>
                      <a:pt x="13" y="42"/>
                      <a:pt x="13" y="42"/>
                    </a:cubicBezTo>
                    <a:cubicBezTo>
                      <a:pt x="15" y="41"/>
                      <a:pt x="15" y="41"/>
                      <a:pt x="15" y="41"/>
                    </a:cubicBezTo>
                    <a:cubicBezTo>
                      <a:pt x="15" y="41"/>
                      <a:pt x="17" y="42"/>
                      <a:pt x="17" y="42"/>
                    </a:cubicBezTo>
                    <a:cubicBezTo>
                      <a:pt x="18" y="42"/>
                      <a:pt x="20" y="41"/>
                      <a:pt x="20" y="41"/>
                    </a:cubicBezTo>
                    <a:cubicBezTo>
                      <a:pt x="20" y="41"/>
                      <a:pt x="21" y="42"/>
                      <a:pt x="22" y="43"/>
                    </a:cubicBezTo>
                    <a:cubicBezTo>
                      <a:pt x="23" y="43"/>
                      <a:pt x="23" y="44"/>
                      <a:pt x="23" y="44"/>
                    </a:cubicBezTo>
                    <a:cubicBezTo>
                      <a:pt x="23" y="45"/>
                      <a:pt x="22" y="45"/>
                      <a:pt x="22" y="45"/>
                    </a:cubicBezTo>
                    <a:cubicBezTo>
                      <a:pt x="22" y="45"/>
                      <a:pt x="22" y="47"/>
                      <a:pt x="23" y="47"/>
                    </a:cubicBezTo>
                    <a:cubicBezTo>
                      <a:pt x="23" y="48"/>
                      <a:pt x="23" y="47"/>
                      <a:pt x="23" y="47"/>
                    </a:cubicBezTo>
                    <a:cubicBezTo>
                      <a:pt x="23" y="47"/>
                      <a:pt x="24" y="48"/>
                      <a:pt x="24" y="49"/>
                    </a:cubicBezTo>
                    <a:cubicBezTo>
                      <a:pt x="25" y="50"/>
                      <a:pt x="26" y="50"/>
                      <a:pt x="26" y="50"/>
                    </a:cubicBezTo>
                    <a:cubicBezTo>
                      <a:pt x="27" y="49"/>
                      <a:pt x="27" y="49"/>
                      <a:pt x="27" y="49"/>
                    </a:cubicBezTo>
                    <a:cubicBezTo>
                      <a:pt x="27" y="49"/>
                      <a:pt x="27" y="50"/>
                      <a:pt x="27" y="51"/>
                    </a:cubicBezTo>
                    <a:cubicBezTo>
                      <a:pt x="28" y="51"/>
                      <a:pt x="28" y="51"/>
                      <a:pt x="29" y="51"/>
                    </a:cubicBezTo>
                    <a:cubicBezTo>
                      <a:pt x="30" y="51"/>
                      <a:pt x="30" y="50"/>
                      <a:pt x="30" y="50"/>
                    </a:cubicBezTo>
                    <a:cubicBezTo>
                      <a:pt x="31" y="50"/>
                      <a:pt x="31" y="50"/>
                      <a:pt x="32" y="49"/>
                    </a:cubicBezTo>
                    <a:cubicBezTo>
                      <a:pt x="32" y="49"/>
                      <a:pt x="32" y="48"/>
                      <a:pt x="32" y="48"/>
                    </a:cubicBezTo>
                    <a:cubicBezTo>
                      <a:pt x="32" y="48"/>
                      <a:pt x="32" y="48"/>
                      <a:pt x="32" y="48"/>
                    </a:cubicBezTo>
                    <a:cubicBezTo>
                      <a:pt x="32" y="46"/>
                      <a:pt x="32" y="46"/>
                      <a:pt x="32" y="46"/>
                    </a:cubicBezTo>
                    <a:cubicBezTo>
                      <a:pt x="32" y="45"/>
                      <a:pt x="32" y="45"/>
                      <a:pt x="32" y="45"/>
                    </a:cubicBezTo>
                    <a:cubicBezTo>
                      <a:pt x="32" y="44"/>
                      <a:pt x="32" y="44"/>
                      <a:pt x="32" y="44"/>
                    </a:cubicBezTo>
                    <a:cubicBezTo>
                      <a:pt x="31" y="44"/>
                      <a:pt x="31" y="44"/>
                      <a:pt x="31" y="44"/>
                    </a:cubicBezTo>
                    <a:cubicBezTo>
                      <a:pt x="31" y="44"/>
                      <a:pt x="31" y="43"/>
                      <a:pt x="31" y="43"/>
                    </a:cubicBezTo>
                    <a:cubicBezTo>
                      <a:pt x="31" y="42"/>
                      <a:pt x="30" y="43"/>
                      <a:pt x="30" y="43"/>
                    </a:cubicBezTo>
                    <a:cubicBezTo>
                      <a:pt x="30" y="43"/>
                      <a:pt x="29" y="43"/>
                      <a:pt x="29" y="43"/>
                    </a:cubicBezTo>
                    <a:cubicBezTo>
                      <a:pt x="29" y="43"/>
                      <a:pt x="29" y="42"/>
                      <a:pt x="29" y="42"/>
                    </a:cubicBezTo>
                    <a:cubicBezTo>
                      <a:pt x="30" y="42"/>
                      <a:pt x="30" y="42"/>
                      <a:pt x="30" y="41"/>
                    </a:cubicBezTo>
                    <a:cubicBezTo>
                      <a:pt x="31" y="41"/>
                      <a:pt x="31" y="41"/>
                      <a:pt x="31" y="41"/>
                    </a:cubicBezTo>
                    <a:cubicBezTo>
                      <a:pt x="31" y="41"/>
                      <a:pt x="33" y="39"/>
                      <a:pt x="34" y="39"/>
                    </a:cubicBezTo>
                    <a:cubicBezTo>
                      <a:pt x="36" y="38"/>
                      <a:pt x="36" y="38"/>
                      <a:pt x="36" y="38"/>
                    </a:cubicBezTo>
                    <a:cubicBezTo>
                      <a:pt x="38" y="37"/>
                      <a:pt x="38" y="37"/>
                      <a:pt x="38" y="37"/>
                    </a:cubicBezTo>
                    <a:cubicBezTo>
                      <a:pt x="38" y="37"/>
                      <a:pt x="38" y="36"/>
                      <a:pt x="39" y="36"/>
                    </a:cubicBezTo>
                    <a:cubicBezTo>
                      <a:pt x="39" y="36"/>
                      <a:pt x="39" y="35"/>
                      <a:pt x="39" y="35"/>
                    </a:cubicBezTo>
                    <a:cubicBezTo>
                      <a:pt x="38" y="33"/>
                      <a:pt x="38" y="33"/>
                      <a:pt x="38" y="33"/>
                    </a:cubicBezTo>
                    <a:cubicBezTo>
                      <a:pt x="38" y="33"/>
                      <a:pt x="36" y="32"/>
                      <a:pt x="36" y="31"/>
                    </a:cubicBezTo>
                    <a:cubicBezTo>
                      <a:pt x="36" y="31"/>
                      <a:pt x="33" y="30"/>
                      <a:pt x="33" y="30"/>
                    </a:cubicBezTo>
                    <a:cubicBezTo>
                      <a:pt x="33" y="30"/>
                      <a:pt x="32" y="28"/>
                      <a:pt x="32" y="28"/>
                    </a:cubicBezTo>
                    <a:cubicBezTo>
                      <a:pt x="32" y="28"/>
                      <a:pt x="33" y="26"/>
                      <a:pt x="33" y="26"/>
                    </a:cubicBezTo>
                    <a:cubicBezTo>
                      <a:pt x="33" y="26"/>
                      <a:pt x="35" y="24"/>
                      <a:pt x="36" y="23"/>
                    </a:cubicBezTo>
                    <a:cubicBezTo>
                      <a:pt x="37" y="22"/>
                      <a:pt x="37" y="23"/>
                      <a:pt x="38" y="23"/>
                    </a:cubicBezTo>
                    <a:cubicBezTo>
                      <a:pt x="38" y="23"/>
                      <a:pt x="39" y="24"/>
                      <a:pt x="40" y="24"/>
                    </a:cubicBezTo>
                    <a:cubicBezTo>
                      <a:pt x="40" y="24"/>
                      <a:pt x="41" y="24"/>
                      <a:pt x="41" y="24"/>
                    </a:cubicBezTo>
                    <a:cubicBezTo>
                      <a:pt x="42" y="24"/>
                      <a:pt x="43" y="24"/>
                      <a:pt x="43" y="24"/>
                    </a:cubicBezTo>
                    <a:cubicBezTo>
                      <a:pt x="43" y="24"/>
                      <a:pt x="43" y="23"/>
                      <a:pt x="43" y="22"/>
                    </a:cubicBezTo>
                    <a:cubicBezTo>
                      <a:pt x="43" y="21"/>
                      <a:pt x="43" y="21"/>
                      <a:pt x="43" y="21"/>
                    </a:cubicBezTo>
                    <a:cubicBezTo>
                      <a:pt x="42" y="21"/>
                      <a:pt x="42" y="20"/>
                      <a:pt x="42" y="20"/>
                    </a:cubicBezTo>
                    <a:cubicBezTo>
                      <a:pt x="42" y="20"/>
                      <a:pt x="41" y="19"/>
                      <a:pt x="41" y="19"/>
                    </a:cubicBezTo>
                    <a:cubicBezTo>
                      <a:pt x="41" y="19"/>
                      <a:pt x="42" y="18"/>
                      <a:pt x="42" y="18"/>
                    </a:cubicBezTo>
                    <a:cubicBezTo>
                      <a:pt x="42" y="18"/>
                      <a:pt x="42" y="15"/>
                      <a:pt x="42" y="15"/>
                    </a:cubicBezTo>
                    <a:cubicBezTo>
                      <a:pt x="41" y="15"/>
                      <a:pt x="41" y="13"/>
                      <a:pt x="41" y="13"/>
                    </a:cubicBezTo>
                    <a:cubicBezTo>
                      <a:pt x="41" y="12"/>
                      <a:pt x="40" y="11"/>
                      <a:pt x="40" y="11"/>
                    </a:cubicBezTo>
                    <a:cubicBezTo>
                      <a:pt x="39" y="10"/>
                      <a:pt x="39" y="10"/>
                      <a:pt x="39" y="10"/>
                    </a:cubicBezTo>
                    <a:cubicBezTo>
                      <a:pt x="39" y="10"/>
                      <a:pt x="39" y="10"/>
                      <a:pt x="39" y="8"/>
                    </a:cubicBezTo>
                    <a:cubicBezTo>
                      <a:pt x="39" y="7"/>
                      <a:pt x="40" y="6"/>
                      <a:pt x="40" y="5"/>
                    </a:cubicBezTo>
                    <a:cubicBezTo>
                      <a:pt x="41" y="5"/>
                      <a:pt x="41" y="4"/>
                      <a:pt x="41" y="4"/>
                    </a:cubicBezTo>
                    <a:cubicBezTo>
                      <a:pt x="40" y="2"/>
                      <a:pt x="40" y="2"/>
                      <a:pt x="40" y="2"/>
                    </a:cubicBezTo>
                    <a:cubicBezTo>
                      <a:pt x="40" y="2"/>
                      <a:pt x="37" y="2"/>
                      <a:pt x="37" y="2"/>
                    </a:cubicBezTo>
                    <a:cubicBezTo>
                      <a:pt x="37" y="2"/>
                      <a:pt x="36" y="1"/>
                      <a:pt x="36" y="0"/>
                    </a:cubicBezTo>
                    <a:cubicBezTo>
                      <a:pt x="36" y="0"/>
                      <a:pt x="35" y="0"/>
                      <a:pt x="35" y="0"/>
                    </a:cubicBezTo>
                    <a:cubicBezTo>
                      <a:pt x="35" y="0"/>
                      <a:pt x="32" y="1"/>
                      <a:pt x="32" y="1"/>
                    </a:cubicBezTo>
                    <a:cubicBezTo>
                      <a:pt x="32" y="1"/>
                      <a:pt x="31" y="1"/>
                      <a:pt x="30" y="2"/>
                    </a:cubicBezTo>
                    <a:cubicBezTo>
                      <a:pt x="28" y="3"/>
                      <a:pt x="28" y="3"/>
                      <a:pt x="27" y="4"/>
                    </a:cubicBezTo>
                    <a:cubicBezTo>
                      <a:pt x="26" y="4"/>
                      <a:pt x="25" y="5"/>
                      <a:pt x="25" y="5"/>
                    </a:cubicBezTo>
                    <a:cubicBezTo>
                      <a:pt x="24" y="6"/>
                      <a:pt x="23" y="7"/>
                      <a:pt x="23" y="7"/>
                    </a:cubicBezTo>
                    <a:cubicBezTo>
                      <a:pt x="22" y="8"/>
                      <a:pt x="23" y="8"/>
                      <a:pt x="23" y="9"/>
                    </a:cubicBezTo>
                    <a:cubicBezTo>
                      <a:pt x="23" y="10"/>
                      <a:pt x="24" y="9"/>
                      <a:pt x="24" y="9"/>
                    </a:cubicBezTo>
                    <a:cubicBezTo>
                      <a:pt x="24" y="9"/>
                      <a:pt x="25" y="9"/>
                      <a:pt x="26" y="9"/>
                    </a:cubicBezTo>
                    <a:cubicBezTo>
                      <a:pt x="26" y="9"/>
                      <a:pt x="26" y="9"/>
                      <a:pt x="26" y="9"/>
                    </a:cubicBezTo>
                    <a:cubicBezTo>
                      <a:pt x="26" y="9"/>
                      <a:pt x="26" y="10"/>
                      <a:pt x="26" y="10"/>
                    </a:cubicBezTo>
                    <a:cubicBezTo>
                      <a:pt x="26" y="10"/>
                      <a:pt x="25" y="11"/>
                      <a:pt x="25" y="11"/>
                    </a:cubicBezTo>
                    <a:cubicBezTo>
                      <a:pt x="25" y="11"/>
                      <a:pt x="25" y="12"/>
                      <a:pt x="25" y="13"/>
                    </a:cubicBezTo>
                    <a:cubicBezTo>
                      <a:pt x="25" y="13"/>
                      <a:pt x="24" y="14"/>
                      <a:pt x="24" y="14"/>
                    </a:cubicBezTo>
                    <a:cubicBezTo>
                      <a:pt x="23" y="14"/>
                      <a:pt x="23" y="14"/>
                      <a:pt x="22" y="15"/>
                    </a:cubicBezTo>
                    <a:cubicBezTo>
                      <a:pt x="21" y="15"/>
                      <a:pt x="22" y="16"/>
                      <a:pt x="22" y="16"/>
                    </a:cubicBezTo>
                    <a:cubicBezTo>
                      <a:pt x="22" y="17"/>
                      <a:pt x="22" y="17"/>
                      <a:pt x="22" y="17"/>
                    </a:cubicBezTo>
                    <a:cubicBezTo>
                      <a:pt x="23" y="18"/>
                      <a:pt x="23" y="18"/>
                      <a:pt x="23" y="19"/>
                    </a:cubicBezTo>
                    <a:cubicBezTo>
                      <a:pt x="23" y="19"/>
                      <a:pt x="22" y="20"/>
                      <a:pt x="22" y="19"/>
                    </a:cubicBezTo>
                    <a:cubicBezTo>
                      <a:pt x="21" y="19"/>
                      <a:pt x="21" y="19"/>
                      <a:pt x="21" y="19"/>
                    </a:cubicBezTo>
                    <a:cubicBezTo>
                      <a:pt x="19" y="18"/>
                      <a:pt x="19" y="18"/>
                      <a:pt x="19" y="18"/>
                    </a:cubicBezTo>
                    <a:cubicBezTo>
                      <a:pt x="19" y="18"/>
                      <a:pt x="19" y="18"/>
                      <a:pt x="19" y="18"/>
                    </a:cubicBezTo>
                    <a:cubicBezTo>
                      <a:pt x="18" y="18"/>
                      <a:pt x="20" y="17"/>
                      <a:pt x="20" y="17"/>
                    </a:cubicBezTo>
                    <a:cubicBezTo>
                      <a:pt x="21" y="16"/>
                      <a:pt x="21" y="16"/>
                      <a:pt x="21" y="16"/>
                    </a:cubicBezTo>
                    <a:cubicBezTo>
                      <a:pt x="21" y="15"/>
                      <a:pt x="21" y="15"/>
                      <a:pt x="21" y="15"/>
                    </a:cubicBezTo>
                    <a:cubicBezTo>
                      <a:pt x="19" y="15"/>
                      <a:pt x="19" y="15"/>
                      <a:pt x="19" y="15"/>
                    </a:cubicBezTo>
                    <a:cubicBezTo>
                      <a:pt x="18" y="15"/>
                      <a:pt x="18" y="15"/>
                      <a:pt x="18" y="15"/>
                    </a:cubicBezTo>
                    <a:cubicBezTo>
                      <a:pt x="18" y="15"/>
                      <a:pt x="18" y="15"/>
                      <a:pt x="18" y="15"/>
                    </a:cubicBezTo>
                    <a:cubicBezTo>
                      <a:pt x="18" y="13"/>
                      <a:pt x="18" y="13"/>
                      <a:pt x="18" y="13"/>
                    </a:cubicBezTo>
                    <a:cubicBezTo>
                      <a:pt x="19" y="11"/>
                      <a:pt x="19" y="11"/>
                      <a:pt x="19" y="11"/>
                    </a:cubicBezTo>
                    <a:cubicBezTo>
                      <a:pt x="19" y="11"/>
                      <a:pt x="19" y="10"/>
                      <a:pt x="20" y="10"/>
                    </a:cubicBezTo>
                    <a:cubicBezTo>
                      <a:pt x="20" y="10"/>
                      <a:pt x="21" y="9"/>
                      <a:pt x="21" y="8"/>
                    </a:cubicBezTo>
                    <a:cubicBezTo>
                      <a:pt x="22" y="8"/>
                      <a:pt x="21" y="7"/>
                      <a:pt x="21" y="7"/>
                    </a:cubicBezTo>
                    <a:cubicBezTo>
                      <a:pt x="19" y="7"/>
                      <a:pt x="19" y="7"/>
                      <a:pt x="19" y="7"/>
                    </a:cubicBezTo>
                    <a:cubicBezTo>
                      <a:pt x="17" y="8"/>
                      <a:pt x="17" y="8"/>
                      <a:pt x="17" y="8"/>
                    </a:cubicBezTo>
                    <a:cubicBezTo>
                      <a:pt x="17" y="8"/>
                      <a:pt x="15" y="9"/>
                      <a:pt x="15" y="9"/>
                    </a:cubicBezTo>
                    <a:cubicBezTo>
                      <a:pt x="14" y="9"/>
                      <a:pt x="14" y="9"/>
                      <a:pt x="14" y="9"/>
                    </a:cubicBezTo>
                    <a:cubicBezTo>
                      <a:pt x="13" y="8"/>
                      <a:pt x="13" y="8"/>
                      <a:pt x="13" y="8"/>
                    </a:cubicBezTo>
                    <a:cubicBezTo>
                      <a:pt x="13" y="8"/>
                      <a:pt x="11" y="8"/>
                      <a:pt x="11" y="8"/>
                    </a:cubicBezTo>
                    <a:cubicBezTo>
                      <a:pt x="11" y="8"/>
                      <a:pt x="11" y="9"/>
                      <a:pt x="11" y="9"/>
                    </a:cubicBezTo>
                    <a:cubicBezTo>
                      <a:pt x="11" y="9"/>
                      <a:pt x="13" y="10"/>
                      <a:pt x="13" y="10"/>
                    </a:cubicBezTo>
                    <a:cubicBezTo>
                      <a:pt x="14" y="10"/>
                      <a:pt x="14" y="11"/>
                      <a:pt x="14" y="11"/>
                    </a:cubicBezTo>
                    <a:cubicBezTo>
                      <a:pt x="15" y="11"/>
                      <a:pt x="15" y="11"/>
                      <a:pt x="15" y="11"/>
                    </a:cubicBezTo>
                    <a:cubicBezTo>
                      <a:pt x="15" y="11"/>
                      <a:pt x="13" y="13"/>
                      <a:pt x="13" y="13"/>
                    </a:cubicBezTo>
                    <a:cubicBezTo>
                      <a:pt x="12" y="13"/>
                      <a:pt x="12" y="14"/>
                      <a:pt x="12" y="14"/>
                    </a:cubicBezTo>
                    <a:cubicBezTo>
                      <a:pt x="10" y="14"/>
                      <a:pt x="10" y="14"/>
                      <a:pt x="10" y="14"/>
                    </a:cubicBezTo>
                    <a:cubicBezTo>
                      <a:pt x="10" y="14"/>
                      <a:pt x="11" y="16"/>
                      <a:pt x="11" y="16"/>
                    </a:cubicBezTo>
                    <a:cubicBezTo>
                      <a:pt x="11" y="16"/>
                      <a:pt x="11" y="17"/>
                      <a:pt x="11" y="17"/>
                    </a:cubicBezTo>
                    <a:cubicBezTo>
                      <a:pt x="9" y="17"/>
                      <a:pt x="9" y="17"/>
                      <a:pt x="9" y="17"/>
                    </a:cubicBezTo>
                    <a:cubicBezTo>
                      <a:pt x="7" y="18"/>
                      <a:pt x="7" y="18"/>
                      <a:pt x="7" y="18"/>
                    </a:cubicBezTo>
                    <a:cubicBezTo>
                      <a:pt x="7" y="18"/>
                      <a:pt x="6" y="18"/>
                      <a:pt x="6" y="18"/>
                    </a:cubicBezTo>
                    <a:cubicBezTo>
                      <a:pt x="6" y="18"/>
                      <a:pt x="5" y="18"/>
                      <a:pt x="5" y="18"/>
                    </a:cubicBezTo>
                    <a:cubicBezTo>
                      <a:pt x="4" y="19"/>
                      <a:pt x="4" y="19"/>
                      <a:pt x="4" y="19"/>
                    </a:cubicBezTo>
                    <a:cubicBezTo>
                      <a:pt x="4" y="19"/>
                      <a:pt x="2" y="18"/>
                      <a:pt x="1" y="18"/>
                    </a:cubicBezTo>
                    <a:close/>
                  </a:path>
                </a:pathLst>
              </a:custGeom>
              <a:solidFill>
                <a:srgbClr val="0181C7"/>
              </a:solid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02" name="Freeform 47"/>
              <p:cNvSpPr>
                <a:spLocks/>
              </p:cNvSpPr>
              <p:nvPr/>
            </p:nvSpPr>
            <p:spPr bwMode="auto">
              <a:xfrm>
                <a:off x="2714" y="1807"/>
                <a:ext cx="12" cy="12"/>
              </a:xfrm>
              <a:custGeom>
                <a:avLst/>
                <a:gdLst>
                  <a:gd name="T0" fmla="*/ 3 w 6"/>
                  <a:gd name="T1" fmla="*/ 1 h 6"/>
                  <a:gd name="T2" fmla="*/ 2 w 6"/>
                  <a:gd name="T3" fmla="*/ 2 h 6"/>
                  <a:gd name="T4" fmla="*/ 0 w 6"/>
                  <a:gd name="T5" fmla="*/ 2 h 6"/>
                  <a:gd name="T6" fmla="*/ 1 w 6"/>
                  <a:gd name="T7" fmla="*/ 4 h 6"/>
                  <a:gd name="T8" fmla="*/ 2 w 6"/>
                  <a:gd name="T9" fmla="*/ 6 h 6"/>
                  <a:gd name="T10" fmla="*/ 5 w 6"/>
                  <a:gd name="T11" fmla="*/ 3 h 6"/>
                  <a:gd name="T12" fmla="*/ 5 w 6"/>
                  <a:gd name="T13" fmla="*/ 2 h 6"/>
                  <a:gd name="T14" fmla="*/ 6 w 6"/>
                  <a:gd name="T15" fmla="*/ 0 h 6"/>
                  <a:gd name="T16" fmla="*/ 3 w 6"/>
                  <a:gd name="T17"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3" y="1"/>
                    </a:moveTo>
                    <a:cubicBezTo>
                      <a:pt x="2" y="2"/>
                      <a:pt x="2" y="2"/>
                      <a:pt x="2" y="2"/>
                    </a:cubicBezTo>
                    <a:cubicBezTo>
                      <a:pt x="0" y="2"/>
                      <a:pt x="0" y="2"/>
                      <a:pt x="0" y="2"/>
                    </a:cubicBezTo>
                    <a:cubicBezTo>
                      <a:pt x="1" y="4"/>
                      <a:pt x="1" y="4"/>
                      <a:pt x="1" y="4"/>
                    </a:cubicBezTo>
                    <a:cubicBezTo>
                      <a:pt x="1" y="4"/>
                      <a:pt x="2" y="6"/>
                      <a:pt x="2" y="6"/>
                    </a:cubicBezTo>
                    <a:cubicBezTo>
                      <a:pt x="3" y="6"/>
                      <a:pt x="5" y="3"/>
                      <a:pt x="5" y="3"/>
                    </a:cubicBezTo>
                    <a:cubicBezTo>
                      <a:pt x="5" y="2"/>
                      <a:pt x="5" y="2"/>
                      <a:pt x="5" y="2"/>
                    </a:cubicBezTo>
                    <a:cubicBezTo>
                      <a:pt x="6" y="0"/>
                      <a:pt x="6" y="0"/>
                      <a:pt x="6" y="0"/>
                    </a:cubicBezTo>
                    <a:lnTo>
                      <a:pt x="3" y="1"/>
                    </a:ln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03" name="Freeform 48"/>
              <p:cNvSpPr>
                <a:spLocks/>
              </p:cNvSpPr>
              <p:nvPr/>
            </p:nvSpPr>
            <p:spPr bwMode="auto">
              <a:xfrm>
                <a:off x="2722" y="1799"/>
                <a:ext cx="16" cy="36"/>
              </a:xfrm>
              <a:custGeom>
                <a:avLst/>
                <a:gdLst>
                  <a:gd name="T0" fmla="*/ 6 w 8"/>
                  <a:gd name="T1" fmla="*/ 1 h 18"/>
                  <a:gd name="T2" fmla="*/ 6 w 8"/>
                  <a:gd name="T3" fmla="*/ 3 h 18"/>
                  <a:gd name="T4" fmla="*/ 4 w 8"/>
                  <a:gd name="T5" fmla="*/ 6 h 18"/>
                  <a:gd name="T6" fmla="*/ 3 w 8"/>
                  <a:gd name="T7" fmla="*/ 8 h 18"/>
                  <a:gd name="T8" fmla="*/ 2 w 8"/>
                  <a:gd name="T9" fmla="*/ 9 h 18"/>
                  <a:gd name="T10" fmla="*/ 2 w 8"/>
                  <a:gd name="T11" fmla="*/ 10 h 18"/>
                  <a:gd name="T12" fmla="*/ 2 w 8"/>
                  <a:gd name="T13" fmla="*/ 11 h 18"/>
                  <a:gd name="T14" fmla="*/ 1 w 8"/>
                  <a:gd name="T15" fmla="*/ 12 h 18"/>
                  <a:gd name="T16" fmla="*/ 1 w 8"/>
                  <a:gd name="T17" fmla="*/ 13 h 18"/>
                  <a:gd name="T18" fmla="*/ 0 w 8"/>
                  <a:gd name="T19" fmla="*/ 14 h 18"/>
                  <a:gd name="T20" fmla="*/ 1 w 8"/>
                  <a:gd name="T21" fmla="*/ 17 h 18"/>
                  <a:gd name="T22" fmla="*/ 2 w 8"/>
                  <a:gd name="T23" fmla="*/ 18 h 18"/>
                  <a:gd name="T24" fmla="*/ 3 w 8"/>
                  <a:gd name="T25" fmla="*/ 18 h 18"/>
                  <a:gd name="T26" fmla="*/ 3 w 8"/>
                  <a:gd name="T27" fmla="*/ 16 h 18"/>
                  <a:gd name="T28" fmla="*/ 4 w 8"/>
                  <a:gd name="T29" fmla="*/ 12 h 18"/>
                  <a:gd name="T30" fmla="*/ 5 w 8"/>
                  <a:gd name="T31" fmla="*/ 10 h 18"/>
                  <a:gd name="T32" fmla="*/ 7 w 8"/>
                  <a:gd name="T33" fmla="*/ 7 h 18"/>
                  <a:gd name="T34" fmla="*/ 7 w 8"/>
                  <a:gd name="T35" fmla="*/ 4 h 18"/>
                  <a:gd name="T36" fmla="*/ 8 w 8"/>
                  <a:gd name="T37" fmla="*/ 2 h 18"/>
                  <a:gd name="T38" fmla="*/ 7 w 8"/>
                  <a:gd name="T39" fmla="*/ 0 h 18"/>
                  <a:gd name="T40" fmla="*/ 6 w 8"/>
                  <a:gd name="T41"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 h="18">
                    <a:moveTo>
                      <a:pt x="6" y="1"/>
                    </a:moveTo>
                    <a:cubicBezTo>
                      <a:pt x="6" y="3"/>
                      <a:pt x="6" y="3"/>
                      <a:pt x="6" y="3"/>
                    </a:cubicBezTo>
                    <a:cubicBezTo>
                      <a:pt x="4" y="6"/>
                      <a:pt x="4" y="6"/>
                      <a:pt x="4" y="6"/>
                    </a:cubicBezTo>
                    <a:cubicBezTo>
                      <a:pt x="3" y="8"/>
                      <a:pt x="3" y="8"/>
                      <a:pt x="3" y="8"/>
                    </a:cubicBezTo>
                    <a:cubicBezTo>
                      <a:pt x="2" y="9"/>
                      <a:pt x="2" y="9"/>
                      <a:pt x="2" y="9"/>
                    </a:cubicBezTo>
                    <a:cubicBezTo>
                      <a:pt x="2" y="10"/>
                      <a:pt x="2" y="10"/>
                      <a:pt x="2" y="10"/>
                    </a:cubicBezTo>
                    <a:cubicBezTo>
                      <a:pt x="2" y="11"/>
                      <a:pt x="2" y="11"/>
                      <a:pt x="2" y="11"/>
                    </a:cubicBezTo>
                    <a:cubicBezTo>
                      <a:pt x="1" y="12"/>
                      <a:pt x="1" y="12"/>
                      <a:pt x="1" y="12"/>
                    </a:cubicBezTo>
                    <a:cubicBezTo>
                      <a:pt x="1" y="13"/>
                      <a:pt x="1" y="13"/>
                      <a:pt x="1" y="13"/>
                    </a:cubicBezTo>
                    <a:cubicBezTo>
                      <a:pt x="0" y="14"/>
                      <a:pt x="0" y="14"/>
                      <a:pt x="0" y="14"/>
                    </a:cubicBezTo>
                    <a:cubicBezTo>
                      <a:pt x="1" y="17"/>
                      <a:pt x="1" y="17"/>
                      <a:pt x="1" y="17"/>
                    </a:cubicBezTo>
                    <a:cubicBezTo>
                      <a:pt x="2" y="18"/>
                      <a:pt x="2" y="18"/>
                      <a:pt x="2" y="18"/>
                    </a:cubicBezTo>
                    <a:cubicBezTo>
                      <a:pt x="2" y="18"/>
                      <a:pt x="3" y="18"/>
                      <a:pt x="3" y="18"/>
                    </a:cubicBezTo>
                    <a:cubicBezTo>
                      <a:pt x="3" y="17"/>
                      <a:pt x="3" y="16"/>
                      <a:pt x="3" y="16"/>
                    </a:cubicBezTo>
                    <a:cubicBezTo>
                      <a:pt x="3" y="15"/>
                      <a:pt x="4" y="13"/>
                      <a:pt x="4" y="12"/>
                    </a:cubicBezTo>
                    <a:cubicBezTo>
                      <a:pt x="4" y="12"/>
                      <a:pt x="5" y="10"/>
                      <a:pt x="5" y="10"/>
                    </a:cubicBezTo>
                    <a:cubicBezTo>
                      <a:pt x="6" y="9"/>
                      <a:pt x="7" y="8"/>
                      <a:pt x="7" y="7"/>
                    </a:cubicBezTo>
                    <a:cubicBezTo>
                      <a:pt x="7" y="6"/>
                      <a:pt x="7" y="5"/>
                      <a:pt x="7" y="4"/>
                    </a:cubicBezTo>
                    <a:cubicBezTo>
                      <a:pt x="7" y="4"/>
                      <a:pt x="8" y="2"/>
                      <a:pt x="8" y="2"/>
                    </a:cubicBezTo>
                    <a:cubicBezTo>
                      <a:pt x="8" y="1"/>
                      <a:pt x="7" y="0"/>
                      <a:pt x="7" y="0"/>
                    </a:cubicBezTo>
                    <a:lnTo>
                      <a:pt x="6" y="1"/>
                    </a:ln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04" name="Freeform 49"/>
              <p:cNvSpPr>
                <a:spLocks/>
              </p:cNvSpPr>
              <p:nvPr/>
            </p:nvSpPr>
            <p:spPr bwMode="auto">
              <a:xfrm>
                <a:off x="2700" y="1815"/>
                <a:ext cx="14" cy="12"/>
              </a:xfrm>
              <a:custGeom>
                <a:avLst/>
                <a:gdLst>
                  <a:gd name="T0" fmla="*/ 4 w 7"/>
                  <a:gd name="T1" fmla="*/ 2 h 6"/>
                  <a:gd name="T2" fmla="*/ 3 w 7"/>
                  <a:gd name="T3" fmla="*/ 2 h 6"/>
                  <a:gd name="T4" fmla="*/ 1 w 7"/>
                  <a:gd name="T5" fmla="*/ 0 h 6"/>
                  <a:gd name="T6" fmla="*/ 0 w 7"/>
                  <a:gd name="T7" fmla="*/ 0 h 6"/>
                  <a:gd name="T8" fmla="*/ 1 w 7"/>
                  <a:gd name="T9" fmla="*/ 3 h 6"/>
                  <a:gd name="T10" fmla="*/ 2 w 7"/>
                  <a:gd name="T11" fmla="*/ 4 h 6"/>
                  <a:gd name="T12" fmla="*/ 4 w 7"/>
                  <a:gd name="T13" fmla="*/ 5 h 6"/>
                  <a:gd name="T14" fmla="*/ 4 w 7"/>
                  <a:gd name="T15" fmla="*/ 6 h 6"/>
                  <a:gd name="T16" fmla="*/ 6 w 7"/>
                  <a:gd name="T17" fmla="*/ 5 h 6"/>
                  <a:gd name="T18" fmla="*/ 7 w 7"/>
                  <a:gd name="T19" fmla="*/ 4 h 6"/>
                  <a:gd name="T20" fmla="*/ 5 w 7"/>
                  <a:gd name="T21" fmla="*/ 3 h 6"/>
                  <a:gd name="T22" fmla="*/ 4 w 7"/>
                  <a:gd name="T23"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6">
                    <a:moveTo>
                      <a:pt x="4" y="2"/>
                    </a:moveTo>
                    <a:cubicBezTo>
                      <a:pt x="4" y="2"/>
                      <a:pt x="3" y="2"/>
                      <a:pt x="3" y="2"/>
                    </a:cubicBezTo>
                    <a:cubicBezTo>
                      <a:pt x="2" y="1"/>
                      <a:pt x="1" y="0"/>
                      <a:pt x="1" y="0"/>
                    </a:cubicBezTo>
                    <a:cubicBezTo>
                      <a:pt x="0" y="0"/>
                      <a:pt x="0" y="0"/>
                      <a:pt x="0" y="0"/>
                    </a:cubicBezTo>
                    <a:cubicBezTo>
                      <a:pt x="0" y="0"/>
                      <a:pt x="1" y="2"/>
                      <a:pt x="1" y="3"/>
                    </a:cubicBezTo>
                    <a:cubicBezTo>
                      <a:pt x="1" y="3"/>
                      <a:pt x="2" y="4"/>
                      <a:pt x="2" y="4"/>
                    </a:cubicBezTo>
                    <a:cubicBezTo>
                      <a:pt x="4" y="5"/>
                      <a:pt x="4" y="5"/>
                      <a:pt x="4" y="5"/>
                    </a:cubicBezTo>
                    <a:cubicBezTo>
                      <a:pt x="4" y="5"/>
                      <a:pt x="4" y="6"/>
                      <a:pt x="4" y="6"/>
                    </a:cubicBezTo>
                    <a:cubicBezTo>
                      <a:pt x="5" y="6"/>
                      <a:pt x="6" y="5"/>
                      <a:pt x="6" y="5"/>
                    </a:cubicBezTo>
                    <a:cubicBezTo>
                      <a:pt x="7" y="4"/>
                      <a:pt x="7" y="4"/>
                      <a:pt x="7" y="4"/>
                    </a:cubicBezTo>
                    <a:cubicBezTo>
                      <a:pt x="7" y="4"/>
                      <a:pt x="6" y="3"/>
                      <a:pt x="5" y="3"/>
                    </a:cubicBezTo>
                    <a:cubicBezTo>
                      <a:pt x="5" y="3"/>
                      <a:pt x="4" y="2"/>
                      <a:pt x="4" y="2"/>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05" name="Freeform 50"/>
              <p:cNvSpPr>
                <a:spLocks/>
              </p:cNvSpPr>
              <p:nvPr/>
            </p:nvSpPr>
            <p:spPr bwMode="auto">
              <a:xfrm>
                <a:off x="2470" y="1940"/>
                <a:ext cx="16" cy="4"/>
              </a:xfrm>
              <a:custGeom>
                <a:avLst/>
                <a:gdLst>
                  <a:gd name="T0" fmla="*/ 0 w 8"/>
                  <a:gd name="T1" fmla="*/ 2 h 2"/>
                  <a:gd name="T2" fmla="*/ 2 w 8"/>
                  <a:gd name="T3" fmla="*/ 2 h 2"/>
                  <a:gd name="T4" fmla="*/ 3 w 8"/>
                  <a:gd name="T5" fmla="*/ 2 h 2"/>
                  <a:gd name="T6" fmla="*/ 4 w 8"/>
                  <a:gd name="T7" fmla="*/ 2 h 2"/>
                  <a:gd name="T8" fmla="*/ 4 w 8"/>
                  <a:gd name="T9" fmla="*/ 2 h 2"/>
                  <a:gd name="T10" fmla="*/ 6 w 8"/>
                  <a:gd name="T11" fmla="*/ 2 h 2"/>
                  <a:gd name="T12" fmla="*/ 7 w 8"/>
                  <a:gd name="T13" fmla="*/ 2 h 2"/>
                  <a:gd name="T14" fmla="*/ 8 w 8"/>
                  <a:gd name="T15" fmla="*/ 2 h 2"/>
                  <a:gd name="T16" fmla="*/ 8 w 8"/>
                  <a:gd name="T17" fmla="*/ 1 h 2"/>
                  <a:gd name="T18" fmla="*/ 6 w 8"/>
                  <a:gd name="T19" fmla="*/ 1 h 2"/>
                  <a:gd name="T20" fmla="*/ 5 w 8"/>
                  <a:gd name="T21" fmla="*/ 1 h 2"/>
                  <a:gd name="T22" fmla="*/ 4 w 8"/>
                  <a:gd name="T23" fmla="*/ 1 h 2"/>
                  <a:gd name="T24" fmla="*/ 3 w 8"/>
                  <a:gd name="T25" fmla="*/ 1 h 2"/>
                  <a:gd name="T26" fmla="*/ 1 w 8"/>
                  <a:gd name="T27" fmla="*/ 0 h 2"/>
                  <a:gd name="T28" fmla="*/ 1 w 8"/>
                  <a:gd name="T29" fmla="*/ 0 h 2"/>
                  <a:gd name="T30" fmla="*/ 0 w 8"/>
                  <a:gd name="T31" fmla="*/ 1 h 2"/>
                  <a:gd name="T32" fmla="*/ 0 w 8"/>
                  <a:gd name="T33" fmla="*/ 2 h 2"/>
                  <a:gd name="T34" fmla="*/ 0 w 8"/>
                  <a:gd name="T35"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 h="2">
                    <a:moveTo>
                      <a:pt x="0" y="2"/>
                    </a:moveTo>
                    <a:cubicBezTo>
                      <a:pt x="0" y="2"/>
                      <a:pt x="0" y="2"/>
                      <a:pt x="2" y="2"/>
                    </a:cubicBezTo>
                    <a:cubicBezTo>
                      <a:pt x="4" y="1"/>
                      <a:pt x="3" y="2"/>
                      <a:pt x="3" y="2"/>
                    </a:cubicBezTo>
                    <a:cubicBezTo>
                      <a:pt x="4" y="2"/>
                      <a:pt x="3" y="2"/>
                      <a:pt x="4" y="2"/>
                    </a:cubicBezTo>
                    <a:cubicBezTo>
                      <a:pt x="4" y="2"/>
                      <a:pt x="4" y="2"/>
                      <a:pt x="4" y="2"/>
                    </a:cubicBezTo>
                    <a:cubicBezTo>
                      <a:pt x="5" y="2"/>
                      <a:pt x="5" y="2"/>
                      <a:pt x="6" y="2"/>
                    </a:cubicBezTo>
                    <a:cubicBezTo>
                      <a:pt x="7" y="2"/>
                      <a:pt x="6" y="2"/>
                      <a:pt x="7" y="2"/>
                    </a:cubicBezTo>
                    <a:cubicBezTo>
                      <a:pt x="7" y="2"/>
                      <a:pt x="7" y="2"/>
                      <a:pt x="8" y="2"/>
                    </a:cubicBezTo>
                    <a:cubicBezTo>
                      <a:pt x="8" y="2"/>
                      <a:pt x="8" y="1"/>
                      <a:pt x="8" y="1"/>
                    </a:cubicBezTo>
                    <a:cubicBezTo>
                      <a:pt x="8" y="1"/>
                      <a:pt x="7" y="1"/>
                      <a:pt x="6" y="1"/>
                    </a:cubicBezTo>
                    <a:cubicBezTo>
                      <a:pt x="5" y="1"/>
                      <a:pt x="6" y="1"/>
                      <a:pt x="5" y="1"/>
                    </a:cubicBezTo>
                    <a:cubicBezTo>
                      <a:pt x="4" y="0"/>
                      <a:pt x="4" y="1"/>
                      <a:pt x="4" y="1"/>
                    </a:cubicBezTo>
                    <a:cubicBezTo>
                      <a:pt x="3" y="1"/>
                      <a:pt x="3" y="1"/>
                      <a:pt x="3" y="1"/>
                    </a:cubicBezTo>
                    <a:cubicBezTo>
                      <a:pt x="2" y="1"/>
                      <a:pt x="2" y="1"/>
                      <a:pt x="1" y="0"/>
                    </a:cubicBezTo>
                    <a:cubicBezTo>
                      <a:pt x="1" y="0"/>
                      <a:pt x="1" y="0"/>
                      <a:pt x="1" y="0"/>
                    </a:cubicBezTo>
                    <a:cubicBezTo>
                      <a:pt x="0" y="0"/>
                      <a:pt x="0" y="1"/>
                      <a:pt x="0" y="1"/>
                    </a:cubicBezTo>
                    <a:cubicBezTo>
                      <a:pt x="0" y="1"/>
                      <a:pt x="0" y="2"/>
                      <a:pt x="0" y="2"/>
                    </a:cubicBezTo>
                    <a:cubicBezTo>
                      <a:pt x="0" y="2"/>
                      <a:pt x="0" y="2"/>
                      <a:pt x="0" y="2"/>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06" name="Freeform 51"/>
              <p:cNvSpPr>
                <a:spLocks/>
              </p:cNvSpPr>
              <p:nvPr/>
            </p:nvSpPr>
            <p:spPr bwMode="auto">
              <a:xfrm>
                <a:off x="2490" y="1940"/>
                <a:ext cx="4" cy="4"/>
              </a:xfrm>
              <a:custGeom>
                <a:avLst/>
                <a:gdLst>
                  <a:gd name="T0" fmla="*/ 1 w 2"/>
                  <a:gd name="T1" fmla="*/ 2 h 2"/>
                  <a:gd name="T2" fmla="*/ 1 w 2"/>
                  <a:gd name="T3" fmla="*/ 1 h 2"/>
                  <a:gd name="T4" fmla="*/ 0 w 2"/>
                  <a:gd name="T5" fmla="*/ 1 h 2"/>
                  <a:gd name="T6" fmla="*/ 0 w 2"/>
                  <a:gd name="T7" fmla="*/ 1 h 2"/>
                  <a:gd name="T8" fmla="*/ 1 w 2"/>
                  <a:gd name="T9" fmla="*/ 2 h 2"/>
                </a:gdLst>
                <a:ahLst/>
                <a:cxnLst>
                  <a:cxn ang="0">
                    <a:pos x="T0" y="T1"/>
                  </a:cxn>
                  <a:cxn ang="0">
                    <a:pos x="T2" y="T3"/>
                  </a:cxn>
                  <a:cxn ang="0">
                    <a:pos x="T4" y="T5"/>
                  </a:cxn>
                  <a:cxn ang="0">
                    <a:pos x="T6" y="T7"/>
                  </a:cxn>
                  <a:cxn ang="0">
                    <a:pos x="T8" y="T9"/>
                  </a:cxn>
                </a:cxnLst>
                <a:rect l="0" t="0" r="r" b="b"/>
                <a:pathLst>
                  <a:path w="2" h="2">
                    <a:moveTo>
                      <a:pt x="1" y="2"/>
                    </a:moveTo>
                    <a:cubicBezTo>
                      <a:pt x="2" y="2"/>
                      <a:pt x="1" y="2"/>
                      <a:pt x="1" y="1"/>
                    </a:cubicBezTo>
                    <a:cubicBezTo>
                      <a:pt x="0" y="0"/>
                      <a:pt x="1" y="1"/>
                      <a:pt x="0" y="1"/>
                    </a:cubicBezTo>
                    <a:cubicBezTo>
                      <a:pt x="0" y="0"/>
                      <a:pt x="0" y="1"/>
                      <a:pt x="0" y="1"/>
                    </a:cubicBezTo>
                    <a:cubicBezTo>
                      <a:pt x="0" y="1"/>
                      <a:pt x="0" y="2"/>
                      <a:pt x="1" y="2"/>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07" name="Freeform 52"/>
              <p:cNvSpPr>
                <a:spLocks/>
              </p:cNvSpPr>
              <p:nvPr/>
            </p:nvSpPr>
            <p:spPr bwMode="auto">
              <a:xfrm>
                <a:off x="2494" y="1938"/>
                <a:ext cx="12" cy="6"/>
              </a:xfrm>
              <a:custGeom>
                <a:avLst/>
                <a:gdLst>
                  <a:gd name="T0" fmla="*/ 1 w 6"/>
                  <a:gd name="T1" fmla="*/ 2 h 3"/>
                  <a:gd name="T2" fmla="*/ 2 w 6"/>
                  <a:gd name="T3" fmla="*/ 2 h 3"/>
                  <a:gd name="T4" fmla="*/ 4 w 6"/>
                  <a:gd name="T5" fmla="*/ 2 h 3"/>
                  <a:gd name="T6" fmla="*/ 5 w 6"/>
                  <a:gd name="T7" fmla="*/ 1 h 3"/>
                  <a:gd name="T8" fmla="*/ 6 w 6"/>
                  <a:gd name="T9" fmla="*/ 1 h 3"/>
                  <a:gd name="T10" fmla="*/ 5 w 6"/>
                  <a:gd name="T11" fmla="*/ 0 h 3"/>
                  <a:gd name="T12" fmla="*/ 5 w 6"/>
                  <a:gd name="T13" fmla="*/ 1 h 3"/>
                  <a:gd name="T14" fmla="*/ 3 w 6"/>
                  <a:gd name="T15" fmla="*/ 0 h 3"/>
                  <a:gd name="T16" fmla="*/ 1 w 6"/>
                  <a:gd name="T17" fmla="*/ 1 h 3"/>
                  <a:gd name="T18" fmla="*/ 0 w 6"/>
                  <a:gd name="T19" fmla="*/ 1 h 3"/>
                  <a:gd name="T20" fmla="*/ 0 w 6"/>
                  <a:gd name="T21" fmla="*/ 2 h 3"/>
                  <a:gd name="T22" fmla="*/ 1 w 6"/>
                  <a:gd name="T23"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3">
                    <a:moveTo>
                      <a:pt x="1" y="2"/>
                    </a:moveTo>
                    <a:cubicBezTo>
                      <a:pt x="2" y="2"/>
                      <a:pt x="2" y="2"/>
                      <a:pt x="2" y="2"/>
                    </a:cubicBezTo>
                    <a:cubicBezTo>
                      <a:pt x="2" y="1"/>
                      <a:pt x="3" y="2"/>
                      <a:pt x="4" y="2"/>
                    </a:cubicBezTo>
                    <a:cubicBezTo>
                      <a:pt x="4" y="2"/>
                      <a:pt x="5" y="2"/>
                      <a:pt x="5" y="1"/>
                    </a:cubicBezTo>
                    <a:cubicBezTo>
                      <a:pt x="5" y="1"/>
                      <a:pt x="6" y="1"/>
                      <a:pt x="6" y="1"/>
                    </a:cubicBezTo>
                    <a:cubicBezTo>
                      <a:pt x="6" y="1"/>
                      <a:pt x="6" y="1"/>
                      <a:pt x="5" y="0"/>
                    </a:cubicBezTo>
                    <a:cubicBezTo>
                      <a:pt x="5" y="0"/>
                      <a:pt x="5" y="1"/>
                      <a:pt x="5" y="1"/>
                    </a:cubicBezTo>
                    <a:cubicBezTo>
                      <a:pt x="5" y="1"/>
                      <a:pt x="4" y="1"/>
                      <a:pt x="3" y="0"/>
                    </a:cubicBezTo>
                    <a:cubicBezTo>
                      <a:pt x="2" y="0"/>
                      <a:pt x="2" y="1"/>
                      <a:pt x="1" y="1"/>
                    </a:cubicBezTo>
                    <a:cubicBezTo>
                      <a:pt x="0" y="1"/>
                      <a:pt x="0" y="1"/>
                      <a:pt x="0" y="1"/>
                    </a:cubicBezTo>
                    <a:cubicBezTo>
                      <a:pt x="0" y="1"/>
                      <a:pt x="0" y="2"/>
                      <a:pt x="0" y="2"/>
                    </a:cubicBezTo>
                    <a:cubicBezTo>
                      <a:pt x="1" y="3"/>
                      <a:pt x="1" y="2"/>
                      <a:pt x="1" y="2"/>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08" name="Freeform 53"/>
              <p:cNvSpPr>
                <a:spLocks/>
              </p:cNvSpPr>
              <p:nvPr/>
            </p:nvSpPr>
            <p:spPr bwMode="auto">
              <a:xfrm>
                <a:off x="2510" y="1936"/>
                <a:ext cx="4" cy="4"/>
              </a:xfrm>
              <a:custGeom>
                <a:avLst/>
                <a:gdLst>
                  <a:gd name="T0" fmla="*/ 2 w 2"/>
                  <a:gd name="T1" fmla="*/ 2 h 2"/>
                  <a:gd name="T2" fmla="*/ 2 w 2"/>
                  <a:gd name="T3" fmla="*/ 1 h 2"/>
                  <a:gd name="T4" fmla="*/ 1 w 2"/>
                  <a:gd name="T5" fmla="*/ 0 h 2"/>
                  <a:gd name="T6" fmla="*/ 1 w 2"/>
                  <a:gd name="T7" fmla="*/ 0 h 2"/>
                  <a:gd name="T8" fmla="*/ 0 w 2"/>
                  <a:gd name="T9" fmla="*/ 1 h 2"/>
                  <a:gd name="T10" fmla="*/ 1 w 2"/>
                  <a:gd name="T11" fmla="*/ 1 h 2"/>
                  <a:gd name="T12" fmla="*/ 2 w 2"/>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2"/>
                    </a:moveTo>
                    <a:cubicBezTo>
                      <a:pt x="2" y="1"/>
                      <a:pt x="2" y="1"/>
                      <a:pt x="2" y="1"/>
                    </a:cubicBezTo>
                    <a:cubicBezTo>
                      <a:pt x="2" y="1"/>
                      <a:pt x="1" y="0"/>
                      <a:pt x="1" y="0"/>
                    </a:cubicBezTo>
                    <a:cubicBezTo>
                      <a:pt x="1" y="0"/>
                      <a:pt x="1" y="0"/>
                      <a:pt x="1" y="0"/>
                    </a:cubicBezTo>
                    <a:cubicBezTo>
                      <a:pt x="0" y="0"/>
                      <a:pt x="0" y="1"/>
                      <a:pt x="0" y="1"/>
                    </a:cubicBezTo>
                    <a:cubicBezTo>
                      <a:pt x="0" y="1"/>
                      <a:pt x="1" y="1"/>
                      <a:pt x="1" y="1"/>
                    </a:cubicBezTo>
                    <a:cubicBezTo>
                      <a:pt x="1" y="1"/>
                      <a:pt x="2" y="2"/>
                      <a:pt x="2" y="2"/>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09" name="Freeform 54"/>
              <p:cNvSpPr>
                <a:spLocks/>
              </p:cNvSpPr>
              <p:nvPr/>
            </p:nvSpPr>
            <p:spPr bwMode="auto">
              <a:xfrm>
                <a:off x="2528" y="1928"/>
                <a:ext cx="4" cy="4"/>
              </a:xfrm>
              <a:custGeom>
                <a:avLst/>
                <a:gdLst>
                  <a:gd name="T0" fmla="*/ 1 w 2"/>
                  <a:gd name="T1" fmla="*/ 2 h 2"/>
                  <a:gd name="T2" fmla="*/ 2 w 2"/>
                  <a:gd name="T3" fmla="*/ 2 h 2"/>
                  <a:gd name="T4" fmla="*/ 2 w 2"/>
                  <a:gd name="T5" fmla="*/ 0 h 2"/>
                  <a:gd name="T6" fmla="*/ 1 w 2"/>
                  <a:gd name="T7" fmla="*/ 0 h 2"/>
                  <a:gd name="T8" fmla="*/ 0 w 2"/>
                  <a:gd name="T9" fmla="*/ 1 h 2"/>
                  <a:gd name="T10" fmla="*/ 1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1" y="2"/>
                    </a:moveTo>
                    <a:cubicBezTo>
                      <a:pt x="2" y="2"/>
                      <a:pt x="2" y="2"/>
                      <a:pt x="2" y="2"/>
                    </a:cubicBezTo>
                    <a:cubicBezTo>
                      <a:pt x="2" y="2"/>
                      <a:pt x="2" y="1"/>
                      <a:pt x="2" y="0"/>
                    </a:cubicBezTo>
                    <a:cubicBezTo>
                      <a:pt x="2" y="0"/>
                      <a:pt x="2" y="0"/>
                      <a:pt x="1" y="0"/>
                    </a:cubicBezTo>
                    <a:cubicBezTo>
                      <a:pt x="1" y="0"/>
                      <a:pt x="0" y="1"/>
                      <a:pt x="0" y="1"/>
                    </a:cubicBezTo>
                    <a:cubicBezTo>
                      <a:pt x="0" y="1"/>
                      <a:pt x="1" y="2"/>
                      <a:pt x="1" y="2"/>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10" name="Freeform 55"/>
              <p:cNvSpPr>
                <a:spLocks/>
              </p:cNvSpPr>
              <p:nvPr/>
            </p:nvSpPr>
            <p:spPr bwMode="auto">
              <a:xfrm>
                <a:off x="2446" y="1940"/>
                <a:ext cx="22" cy="8"/>
              </a:xfrm>
              <a:custGeom>
                <a:avLst/>
                <a:gdLst>
                  <a:gd name="T0" fmla="*/ 2 w 11"/>
                  <a:gd name="T1" fmla="*/ 4 h 4"/>
                  <a:gd name="T2" fmla="*/ 3 w 11"/>
                  <a:gd name="T3" fmla="*/ 3 h 4"/>
                  <a:gd name="T4" fmla="*/ 4 w 11"/>
                  <a:gd name="T5" fmla="*/ 3 h 4"/>
                  <a:gd name="T6" fmla="*/ 5 w 11"/>
                  <a:gd name="T7" fmla="*/ 2 h 4"/>
                  <a:gd name="T8" fmla="*/ 7 w 11"/>
                  <a:gd name="T9" fmla="*/ 2 h 4"/>
                  <a:gd name="T10" fmla="*/ 8 w 11"/>
                  <a:gd name="T11" fmla="*/ 1 h 4"/>
                  <a:gd name="T12" fmla="*/ 10 w 11"/>
                  <a:gd name="T13" fmla="*/ 1 h 4"/>
                  <a:gd name="T14" fmla="*/ 11 w 11"/>
                  <a:gd name="T15" fmla="*/ 1 h 4"/>
                  <a:gd name="T16" fmla="*/ 9 w 11"/>
                  <a:gd name="T17" fmla="*/ 0 h 4"/>
                  <a:gd name="T18" fmla="*/ 6 w 11"/>
                  <a:gd name="T19" fmla="*/ 1 h 4"/>
                  <a:gd name="T20" fmla="*/ 2 w 11"/>
                  <a:gd name="T21" fmla="*/ 1 h 4"/>
                  <a:gd name="T22" fmla="*/ 1 w 11"/>
                  <a:gd name="T23" fmla="*/ 2 h 4"/>
                  <a:gd name="T24" fmla="*/ 0 w 11"/>
                  <a:gd name="T25" fmla="*/ 2 h 4"/>
                  <a:gd name="T26" fmla="*/ 1 w 11"/>
                  <a:gd name="T27" fmla="*/ 4 h 4"/>
                  <a:gd name="T28" fmla="*/ 2 w 11"/>
                  <a:gd name="T2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4">
                    <a:moveTo>
                      <a:pt x="2" y="4"/>
                    </a:moveTo>
                    <a:cubicBezTo>
                      <a:pt x="3" y="3"/>
                      <a:pt x="3" y="3"/>
                      <a:pt x="3" y="3"/>
                    </a:cubicBezTo>
                    <a:cubicBezTo>
                      <a:pt x="3" y="3"/>
                      <a:pt x="4" y="3"/>
                      <a:pt x="4" y="3"/>
                    </a:cubicBezTo>
                    <a:cubicBezTo>
                      <a:pt x="5" y="3"/>
                      <a:pt x="5" y="2"/>
                      <a:pt x="5" y="2"/>
                    </a:cubicBezTo>
                    <a:cubicBezTo>
                      <a:pt x="5" y="2"/>
                      <a:pt x="6" y="2"/>
                      <a:pt x="7" y="2"/>
                    </a:cubicBezTo>
                    <a:cubicBezTo>
                      <a:pt x="7" y="2"/>
                      <a:pt x="8" y="1"/>
                      <a:pt x="8" y="1"/>
                    </a:cubicBezTo>
                    <a:cubicBezTo>
                      <a:pt x="8" y="1"/>
                      <a:pt x="9" y="1"/>
                      <a:pt x="10" y="1"/>
                    </a:cubicBezTo>
                    <a:cubicBezTo>
                      <a:pt x="10" y="2"/>
                      <a:pt x="11" y="1"/>
                      <a:pt x="11" y="1"/>
                    </a:cubicBezTo>
                    <a:cubicBezTo>
                      <a:pt x="9" y="0"/>
                      <a:pt x="9" y="0"/>
                      <a:pt x="9" y="0"/>
                    </a:cubicBezTo>
                    <a:cubicBezTo>
                      <a:pt x="6" y="1"/>
                      <a:pt x="6" y="1"/>
                      <a:pt x="6" y="1"/>
                    </a:cubicBezTo>
                    <a:cubicBezTo>
                      <a:pt x="6" y="1"/>
                      <a:pt x="4" y="2"/>
                      <a:pt x="2" y="1"/>
                    </a:cubicBezTo>
                    <a:cubicBezTo>
                      <a:pt x="1" y="1"/>
                      <a:pt x="1" y="2"/>
                      <a:pt x="1" y="2"/>
                    </a:cubicBezTo>
                    <a:cubicBezTo>
                      <a:pt x="0" y="2"/>
                      <a:pt x="0" y="2"/>
                      <a:pt x="0" y="2"/>
                    </a:cubicBezTo>
                    <a:cubicBezTo>
                      <a:pt x="0" y="2"/>
                      <a:pt x="0" y="4"/>
                      <a:pt x="1" y="4"/>
                    </a:cubicBezTo>
                    <a:cubicBezTo>
                      <a:pt x="1" y="4"/>
                      <a:pt x="2" y="4"/>
                      <a:pt x="2" y="4"/>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11" name="Freeform 56"/>
              <p:cNvSpPr>
                <a:spLocks/>
              </p:cNvSpPr>
              <p:nvPr/>
            </p:nvSpPr>
            <p:spPr bwMode="auto">
              <a:xfrm>
                <a:off x="2518" y="1932"/>
                <a:ext cx="8" cy="4"/>
              </a:xfrm>
              <a:custGeom>
                <a:avLst/>
                <a:gdLst>
                  <a:gd name="T0" fmla="*/ 1 w 4"/>
                  <a:gd name="T1" fmla="*/ 2 h 2"/>
                  <a:gd name="T2" fmla="*/ 2 w 4"/>
                  <a:gd name="T3" fmla="*/ 2 h 2"/>
                  <a:gd name="T4" fmla="*/ 2 w 4"/>
                  <a:gd name="T5" fmla="*/ 1 h 2"/>
                  <a:gd name="T6" fmla="*/ 3 w 4"/>
                  <a:gd name="T7" fmla="*/ 1 h 2"/>
                  <a:gd name="T8" fmla="*/ 4 w 4"/>
                  <a:gd name="T9" fmla="*/ 1 h 2"/>
                  <a:gd name="T10" fmla="*/ 4 w 4"/>
                  <a:gd name="T11" fmla="*/ 0 h 2"/>
                  <a:gd name="T12" fmla="*/ 3 w 4"/>
                  <a:gd name="T13" fmla="*/ 0 h 2"/>
                  <a:gd name="T14" fmla="*/ 2 w 4"/>
                  <a:gd name="T15" fmla="*/ 0 h 2"/>
                  <a:gd name="T16" fmla="*/ 1 w 4"/>
                  <a:gd name="T17" fmla="*/ 0 h 2"/>
                  <a:gd name="T18" fmla="*/ 0 w 4"/>
                  <a:gd name="T19" fmla="*/ 1 h 2"/>
                  <a:gd name="T20" fmla="*/ 1 w 4"/>
                  <a:gd name="T21"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2">
                    <a:moveTo>
                      <a:pt x="1" y="2"/>
                    </a:moveTo>
                    <a:cubicBezTo>
                      <a:pt x="2" y="2"/>
                      <a:pt x="2" y="2"/>
                      <a:pt x="2" y="2"/>
                    </a:cubicBezTo>
                    <a:cubicBezTo>
                      <a:pt x="2" y="1"/>
                      <a:pt x="2" y="1"/>
                      <a:pt x="2" y="1"/>
                    </a:cubicBezTo>
                    <a:cubicBezTo>
                      <a:pt x="2" y="1"/>
                      <a:pt x="3" y="1"/>
                      <a:pt x="3" y="1"/>
                    </a:cubicBezTo>
                    <a:cubicBezTo>
                      <a:pt x="4" y="1"/>
                      <a:pt x="4" y="1"/>
                      <a:pt x="4" y="1"/>
                    </a:cubicBezTo>
                    <a:cubicBezTo>
                      <a:pt x="4" y="0"/>
                      <a:pt x="4" y="0"/>
                      <a:pt x="4" y="0"/>
                    </a:cubicBezTo>
                    <a:cubicBezTo>
                      <a:pt x="3" y="0"/>
                      <a:pt x="3" y="0"/>
                      <a:pt x="3" y="0"/>
                    </a:cubicBezTo>
                    <a:cubicBezTo>
                      <a:pt x="2" y="0"/>
                      <a:pt x="2" y="0"/>
                      <a:pt x="2" y="0"/>
                    </a:cubicBezTo>
                    <a:cubicBezTo>
                      <a:pt x="2" y="0"/>
                      <a:pt x="1" y="0"/>
                      <a:pt x="1" y="0"/>
                    </a:cubicBezTo>
                    <a:cubicBezTo>
                      <a:pt x="1" y="0"/>
                      <a:pt x="0" y="1"/>
                      <a:pt x="0" y="1"/>
                    </a:cubicBezTo>
                    <a:cubicBezTo>
                      <a:pt x="0" y="1"/>
                      <a:pt x="1" y="2"/>
                      <a:pt x="1" y="2"/>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12" name="Freeform 57"/>
              <p:cNvSpPr>
                <a:spLocks/>
              </p:cNvSpPr>
              <p:nvPr/>
            </p:nvSpPr>
            <p:spPr bwMode="auto">
              <a:xfrm>
                <a:off x="2462" y="2150"/>
                <a:ext cx="20" cy="22"/>
              </a:xfrm>
              <a:custGeom>
                <a:avLst/>
                <a:gdLst>
                  <a:gd name="T0" fmla="*/ 3 w 10"/>
                  <a:gd name="T1" fmla="*/ 4 h 11"/>
                  <a:gd name="T2" fmla="*/ 2 w 10"/>
                  <a:gd name="T3" fmla="*/ 5 h 11"/>
                  <a:gd name="T4" fmla="*/ 0 w 10"/>
                  <a:gd name="T5" fmla="*/ 8 h 11"/>
                  <a:gd name="T6" fmla="*/ 1 w 10"/>
                  <a:gd name="T7" fmla="*/ 9 h 11"/>
                  <a:gd name="T8" fmla="*/ 1 w 10"/>
                  <a:gd name="T9" fmla="*/ 9 h 11"/>
                  <a:gd name="T10" fmla="*/ 2 w 10"/>
                  <a:gd name="T11" fmla="*/ 9 h 11"/>
                  <a:gd name="T12" fmla="*/ 3 w 10"/>
                  <a:gd name="T13" fmla="*/ 10 h 11"/>
                  <a:gd name="T14" fmla="*/ 4 w 10"/>
                  <a:gd name="T15" fmla="*/ 10 h 11"/>
                  <a:gd name="T16" fmla="*/ 4 w 10"/>
                  <a:gd name="T17" fmla="*/ 10 h 11"/>
                  <a:gd name="T18" fmla="*/ 5 w 10"/>
                  <a:gd name="T19" fmla="*/ 10 h 11"/>
                  <a:gd name="T20" fmla="*/ 5 w 10"/>
                  <a:gd name="T21" fmla="*/ 10 h 11"/>
                  <a:gd name="T22" fmla="*/ 8 w 10"/>
                  <a:gd name="T23" fmla="*/ 11 h 11"/>
                  <a:gd name="T24" fmla="*/ 9 w 10"/>
                  <a:gd name="T25" fmla="*/ 9 h 11"/>
                  <a:gd name="T26" fmla="*/ 10 w 10"/>
                  <a:gd name="T27" fmla="*/ 9 h 11"/>
                  <a:gd name="T28" fmla="*/ 10 w 10"/>
                  <a:gd name="T29" fmla="*/ 8 h 11"/>
                  <a:gd name="T30" fmla="*/ 10 w 10"/>
                  <a:gd name="T31" fmla="*/ 6 h 11"/>
                  <a:gd name="T32" fmla="*/ 9 w 10"/>
                  <a:gd name="T33" fmla="*/ 5 h 11"/>
                  <a:gd name="T34" fmla="*/ 9 w 10"/>
                  <a:gd name="T35" fmla="*/ 5 h 11"/>
                  <a:gd name="T36" fmla="*/ 9 w 10"/>
                  <a:gd name="T37" fmla="*/ 4 h 11"/>
                  <a:gd name="T38" fmla="*/ 7 w 10"/>
                  <a:gd name="T39" fmla="*/ 3 h 11"/>
                  <a:gd name="T40" fmla="*/ 6 w 10"/>
                  <a:gd name="T41" fmla="*/ 3 h 11"/>
                  <a:gd name="T42" fmla="*/ 5 w 10"/>
                  <a:gd name="T43" fmla="*/ 1 h 11"/>
                  <a:gd name="T44" fmla="*/ 5 w 10"/>
                  <a:gd name="T45" fmla="*/ 0 h 11"/>
                  <a:gd name="T46" fmla="*/ 5 w 10"/>
                  <a:gd name="T47" fmla="*/ 0 h 11"/>
                  <a:gd name="T48" fmla="*/ 3 w 10"/>
                  <a:gd name="T49"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 h="11">
                    <a:moveTo>
                      <a:pt x="3" y="4"/>
                    </a:moveTo>
                    <a:cubicBezTo>
                      <a:pt x="3" y="4"/>
                      <a:pt x="2" y="5"/>
                      <a:pt x="2" y="5"/>
                    </a:cubicBezTo>
                    <a:cubicBezTo>
                      <a:pt x="1" y="7"/>
                      <a:pt x="0" y="8"/>
                      <a:pt x="0" y="8"/>
                    </a:cubicBezTo>
                    <a:cubicBezTo>
                      <a:pt x="1" y="9"/>
                      <a:pt x="1" y="9"/>
                      <a:pt x="1" y="9"/>
                    </a:cubicBezTo>
                    <a:cubicBezTo>
                      <a:pt x="1" y="9"/>
                      <a:pt x="1" y="9"/>
                      <a:pt x="1" y="9"/>
                    </a:cubicBezTo>
                    <a:cubicBezTo>
                      <a:pt x="2" y="9"/>
                      <a:pt x="2" y="9"/>
                      <a:pt x="2" y="9"/>
                    </a:cubicBezTo>
                    <a:cubicBezTo>
                      <a:pt x="2" y="9"/>
                      <a:pt x="2" y="9"/>
                      <a:pt x="3" y="10"/>
                    </a:cubicBezTo>
                    <a:cubicBezTo>
                      <a:pt x="3" y="10"/>
                      <a:pt x="4" y="10"/>
                      <a:pt x="4" y="10"/>
                    </a:cubicBezTo>
                    <a:cubicBezTo>
                      <a:pt x="4" y="10"/>
                      <a:pt x="4" y="10"/>
                      <a:pt x="4" y="10"/>
                    </a:cubicBezTo>
                    <a:cubicBezTo>
                      <a:pt x="5" y="10"/>
                      <a:pt x="5" y="10"/>
                      <a:pt x="5" y="10"/>
                    </a:cubicBezTo>
                    <a:cubicBezTo>
                      <a:pt x="5" y="10"/>
                      <a:pt x="5" y="10"/>
                      <a:pt x="5" y="10"/>
                    </a:cubicBezTo>
                    <a:cubicBezTo>
                      <a:pt x="6" y="10"/>
                      <a:pt x="7" y="10"/>
                      <a:pt x="8" y="11"/>
                    </a:cubicBezTo>
                    <a:cubicBezTo>
                      <a:pt x="8" y="10"/>
                      <a:pt x="8" y="10"/>
                      <a:pt x="9" y="9"/>
                    </a:cubicBezTo>
                    <a:cubicBezTo>
                      <a:pt x="9" y="9"/>
                      <a:pt x="9" y="9"/>
                      <a:pt x="10" y="9"/>
                    </a:cubicBezTo>
                    <a:cubicBezTo>
                      <a:pt x="10" y="10"/>
                      <a:pt x="10" y="9"/>
                      <a:pt x="10" y="8"/>
                    </a:cubicBezTo>
                    <a:cubicBezTo>
                      <a:pt x="10" y="8"/>
                      <a:pt x="10" y="6"/>
                      <a:pt x="10" y="6"/>
                    </a:cubicBezTo>
                    <a:cubicBezTo>
                      <a:pt x="10" y="6"/>
                      <a:pt x="10" y="6"/>
                      <a:pt x="9" y="5"/>
                    </a:cubicBezTo>
                    <a:cubicBezTo>
                      <a:pt x="9" y="5"/>
                      <a:pt x="9" y="5"/>
                      <a:pt x="9" y="5"/>
                    </a:cubicBezTo>
                    <a:cubicBezTo>
                      <a:pt x="8" y="4"/>
                      <a:pt x="9" y="4"/>
                      <a:pt x="9" y="4"/>
                    </a:cubicBezTo>
                    <a:cubicBezTo>
                      <a:pt x="9" y="4"/>
                      <a:pt x="8" y="3"/>
                      <a:pt x="7" y="3"/>
                    </a:cubicBezTo>
                    <a:cubicBezTo>
                      <a:pt x="7" y="3"/>
                      <a:pt x="6" y="3"/>
                      <a:pt x="6" y="3"/>
                    </a:cubicBezTo>
                    <a:cubicBezTo>
                      <a:pt x="5" y="1"/>
                      <a:pt x="5" y="1"/>
                      <a:pt x="5" y="1"/>
                    </a:cubicBezTo>
                    <a:cubicBezTo>
                      <a:pt x="5" y="0"/>
                      <a:pt x="5" y="0"/>
                      <a:pt x="5" y="0"/>
                    </a:cubicBezTo>
                    <a:cubicBezTo>
                      <a:pt x="5" y="0"/>
                      <a:pt x="5" y="0"/>
                      <a:pt x="5" y="0"/>
                    </a:cubicBezTo>
                    <a:cubicBezTo>
                      <a:pt x="5" y="0"/>
                      <a:pt x="4" y="3"/>
                      <a:pt x="3" y="4"/>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13" name="Freeform 58"/>
              <p:cNvSpPr>
                <a:spLocks noEditPoints="1"/>
              </p:cNvSpPr>
              <p:nvPr/>
            </p:nvSpPr>
            <p:spPr bwMode="auto">
              <a:xfrm>
                <a:off x="2345" y="1948"/>
                <a:ext cx="203" cy="202"/>
              </a:xfrm>
              <a:custGeom>
                <a:avLst/>
                <a:gdLst>
                  <a:gd name="T0" fmla="*/ 93 w 101"/>
                  <a:gd name="T1" fmla="*/ 3 h 101"/>
                  <a:gd name="T2" fmla="*/ 74 w 101"/>
                  <a:gd name="T3" fmla="*/ 0 h 101"/>
                  <a:gd name="T4" fmla="*/ 55 w 101"/>
                  <a:gd name="T5" fmla="*/ 11 h 101"/>
                  <a:gd name="T6" fmla="*/ 55 w 101"/>
                  <a:gd name="T7" fmla="*/ 15 h 101"/>
                  <a:gd name="T8" fmla="*/ 57 w 101"/>
                  <a:gd name="T9" fmla="*/ 22 h 101"/>
                  <a:gd name="T10" fmla="*/ 59 w 101"/>
                  <a:gd name="T11" fmla="*/ 28 h 101"/>
                  <a:gd name="T12" fmla="*/ 66 w 101"/>
                  <a:gd name="T13" fmla="*/ 35 h 101"/>
                  <a:gd name="T14" fmla="*/ 62 w 101"/>
                  <a:gd name="T15" fmla="*/ 35 h 101"/>
                  <a:gd name="T16" fmla="*/ 50 w 101"/>
                  <a:gd name="T17" fmla="*/ 40 h 101"/>
                  <a:gd name="T18" fmla="*/ 54 w 101"/>
                  <a:gd name="T19" fmla="*/ 46 h 101"/>
                  <a:gd name="T20" fmla="*/ 46 w 101"/>
                  <a:gd name="T21" fmla="*/ 43 h 101"/>
                  <a:gd name="T22" fmla="*/ 46 w 101"/>
                  <a:gd name="T23" fmla="*/ 38 h 101"/>
                  <a:gd name="T24" fmla="*/ 47 w 101"/>
                  <a:gd name="T25" fmla="*/ 31 h 101"/>
                  <a:gd name="T26" fmla="*/ 49 w 101"/>
                  <a:gd name="T27" fmla="*/ 25 h 101"/>
                  <a:gd name="T28" fmla="*/ 43 w 101"/>
                  <a:gd name="T29" fmla="*/ 16 h 101"/>
                  <a:gd name="T30" fmla="*/ 37 w 101"/>
                  <a:gd name="T31" fmla="*/ 19 h 101"/>
                  <a:gd name="T32" fmla="*/ 18 w 101"/>
                  <a:gd name="T33" fmla="*/ 54 h 101"/>
                  <a:gd name="T34" fmla="*/ 21 w 101"/>
                  <a:gd name="T35" fmla="*/ 63 h 101"/>
                  <a:gd name="T36" fmla="*/ 31 w 101"/>
                  <a:gd name="T37" fmla="*/ 68 h 101"/>
                  <a:gd name="T38" fmla="*/ 31 w 101"/>
                  <a:gd name="T39" fmla="*/ 69 h 101"/>
                  <a:gd name="T40" fmla="*/ 23 w 101"/>
                  <a:gd name="T41" fmla="*/ 70 h 101"/>
                  <a:gd name="T42" fmla="*/ 16 w 101"/>
                  <a:gd name="T43" fmla="*/ 66 h 101"/>
                  <a:gd name="T44" fmla="*/ 7 w 101"/>
                  <a:gd name="T45" fmla="*/ 65 h 101"/>
                  <a:gd name="T46" fmla="*/ 13 w 101"/>
                  <a:gd name="T47" fmla="*/ 69 h 101"/>
                  <a:gd name="T48" fmla="*/ 20 w 101"/>
                  <a:gd name="T49" fmla="*/ 71 h 101"/>
                  <a:gd name="T50" fmla="*/ 20 w 101"/>
                  <a:gd name="T51" fmla="*/ 74 h 101"/>
                  <a:gd name="T52" fmla="*/ 17 w 101"/>
                  <a:gd name="T53" fmla="*/ 76 h 101"/>
                  <a:gd name="T54" fmla="*/ 11 w 101"/>
                  <a:gd name="T55" fmla="*/ 72 h 101"/>
                  <a:gd name="T56" fmla="*/ 3 w 101"/>
                  <a:gd name="T57" fmla="*/ 69 h 101"/>
                  <a:gd name="T58" fmla="*/ 4 w 101"/>
                  <a:gd name="T59" fmla="*/ 75 h 101"/>
                  <a:gd name="T60" fmla="*/ 14 w 101"/>
                  <a:gd name="T61" fmla="*/ 76 h 101"/>
                  <a:gd name="T62" fmla="*/ 20 w 101"/>
                  <a:gd name="T63" fmla="*/ 80 h 101"/>
                  <a:gd name="T64" fmla="*/ 19 w 101"/>
                  <a:gd name="T65" fmla="*/ 81 h 101"/>
                  <a:gd name="T66" fmla="*/ 28 w 101"/>
                  <a:gd name="T67" fmla="*/ 79 h 101"/>
                  <a:gd name="T68" fmla="*/ 34 w 101"/>
                  <a:gd name="T69" fmla="*/ 77 h 101"/>
                  <a:gd name="T70" fmla="*/ 44 w 101"/>
                  <a:gd name="T71" fmla="*/ 84 h 101"/>
                  <a:gd name="T72" fmla="*/ 48 w 101"/>
                  <a:gd name="T73" fmla="*/ 88 h 101"/>
                  <a:gd name="T74" fmla="*/ 52 w 101"/>
                  <a:gd name="T75" fmla="*/ 87 h 101"/>
                  <a:gd name="T76" fmla="*/ 62 w 101"/>
                  <a:gd name="T77" fmla="*/ 94 h 101"/>
                  <a:gd name="T78" fmla="*/ 65 w 101"/>
                  <a:gd name="T79" fmla="*/ 101 h 101"/>
                  <a:gd name="T80" fmla="*/ 69 w 101"/>
                  <a:gd name="T81" fmla="*/ 97 h 101"/>
                  <a:gd name="T82" fmla="*/ 72 w 101"/>
                  <a:gd name="T83" fmla="*/ 87 h 101"/>
                  <a:gd name="T84" fmla="*/ 69 w 101"/>
                  <a:gd name="T85" fmla="*/ 75 h 101"/>
                  <a:gd name="T86" fmla="*/ 71 w 101"/>
                  <a:gd name="T87" fmla="*/ 68 h 101"/>
                  <a:gd name="T88" fmla="*/ 78 w 101"/>
                  <a:gd name="T89" fmla="*/ 69 h 101"/>
                  <a:gd name="T90" fmla="*/ 87 w 101"/>
                  <a:gd name="T91" fmla="*/ 65 h 101"/>
                  <a:gd name="T92" fmla="*/ 87 w 101"/>
                  <a:gd name="T93" fmla="*/ 58 h 101"/>
                  <a:gd name="T94" fmla="*/ 96 w 101"/>
                  <a:gd name="T95" fmla="*/ 52 h 101"/>
                  <a:gd name="T96" fmla="*/ 88 w 101"/>
                  <a:gd name="T97" fmla="*/ 43 h 101"/>
                  <a:gd name="T98" fmla="*/ 91 w 101"/>
                  <a:gd name="T99" fmla="*/ 35 h 101"/>
                  <a:gd name="T100" fmla="*/ 101 w 101"/>
                  <a:gd name="T101" fmla="*/ 15 h 101"/>
                  <a:gd name="T102" fmla="*/ 58 w 101"/>
                  <a:gd name="T103" fmla="*/ 46 h 101"/>
                  <a:gd name="T104" fmla="*/ 54 w 101"/>
                  <a:gd name="T105" fmla="*/ 47 h 101"/>
                  <a:gd name="T106" fmla="*/ 61 w 101"/>
                  <a:gd name="T107" fmla="*/ 42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1" h="101">
                    <a:moveTo>
                      <a:pt x="101" y="12"/>
                    </a:moveTo>
                    <a:cubicBezTo>
                      <a:pt x="101" y="11"/>
                      <a:pt x="101" y="11"/>
                      <a:pt x="101" y="11"/>
                    </a:cubicBezTo>
                    <a:cubicBezTo>
                      <a:pt x="101" y="11"/>
                      <a:pt x="98" y="9"/>
                      <a:pt x="98" y="9"/>
                    </a:cubicBezTo>
                    <a:cubicBezTo>
                      <a:pt x="97" y="9"/>
                      <a:pt x="98" y="8"/>
                      <a:pt x="98" y="8"/>
                    </a:cubicBezTo>
                    <a:cubicBezTo>
                      <a:pt x="94" y="6"/>
                      <a:pt x="94" y="6"/>
                      <a:pt x="94" y="6"/>
                    </a:cubicBezTo>
                    <a:cubicBezTo>
                      <a:pt x="93" y="3"/>
                      <a:pt x="93" y="3"/>
                      <a:pt x="93" y="3"/>
                    </a:cubicBezTo>
                    <a:cubicBezTo>
                      <a:pt x="91" y="0"/>
                      <a:pt x="91" y="0"/>
                      <a:pt x="91" y="0"/>
                    </a:cubicBezTo>
                    <a:cubicBezTo>
                      <a:pt x="88" y="0"/>
                      <a:pt x="88" y="0"/>
                      <a:pt x="88" y="0"/>
                    </a:cubicBezTo>
                    <a:cubicBezTo>
                      <a:pt x="88" y="0"/>
                      <a:pt x="86" y="1"/>
                      <a:pt x="85" y="1"/>
                    </a:cubicBezTo>
                    <a:cubicBezTo>
                      <a:pt x="84" y="1"/>
                      <a:pt x="83" y="0"/>
                      <a:pt x="83" y="0"/>
                    </a:cubicBezTo>
                    <a:cubicBezTo>
                      <a:pt x="82" y="0"/>
                      <a:pt x="80" y="1"/>
                      <a:pt x="80" y="1"/>
                    </a:cubicBezTo>
                    <a:cubicBezTo>
                      <a:pt x="74" y="0"/>
                      <a:pt x="74" y="0"/>
                      <a:pt x="74" y="0"/>
                    </a:cubicBezTo>
                    <a:cubicBezTo>
                      <a:pt x="74" y="0"/>
                      <a:pt x="68" y="1"/>
                      <a:pt x="68" y="1"/>
                    </a:cubicBezTo>
                    <a:cubicBezTo>
                      <a:pt x="67" y="1"/>
                      <a:pt x="64" y="3"/>
                      <a:pt x="64" y="3"/>
                    </a:cubicBezTo>
                    <a:cubicBezTo>
                      <a:pt x="64" y="3"/>
                      <a:pt x="60" y="4"/>
                      <a:pt x="60" y="4"/>
                    </a:cubicBezTo>
                    <a:cubicBezTo>
                      <a:pt x="59" y="5"/>
                      <a:pt x="57" y="6"/>
                      <a:pt x="57" y="6"/>
                    </a:cubicBezTo>
                    <a:cubicBezTo>
                      <a:pt x="55" y="9"/>
                      <a:pt x="55" y="9"/>
                      <a:pt x="55" y="9"/>
                    </a:cubicBezTo>
                    <a:cubicBezTo>
                      <a:pt x="55" y="11"/>
                      <a:pt x="55" y="11"/>
                      <a:pt x="55" y="11"/>
                    </a:cubicBezTo>
                    <a:cubicBezTo>
                      <a:pt x="54" y="12"/>
                      <a:pt x="54" y="12"/>
                      <a:pt x="54" y="12"/>
                    </a:cubicBezTo>
                    <a:cubicBezTo>
                      <a:pt x="50" y="13"/>
                      <a:pt x="50" y="13"/>
                      <a:pt x="50" y="13"/>
                    </a:cubicBezTo>
                    <a:cubicBezTo>
                      <a:pt x="50" y="14"/>
                      <a:pt x="50" y="14"/>
                      <a:pt x="50" y="14"/>
                    </a:cubicBezTo>
                    <a:cubicBezTo>
                      <a:pt x="53" y="13"/>
                      <a:pt x="53" y="13"/>
                      <a:pt x="53" y="13"/>
                    </a:cubicBezTo>
                    <a:cubicBezTo>
                      <a:pt x="54" y="13"/>
                      <a:pt x="54" y="13"/>
                      <a:pt x="54" y="13"/>
                    </a:cubicBezTo>
                    <a:cubicBezTo>
                      <a:pt x="55" y="15"/>
                      <a:pt x="55" y="15"/>
                      <a:pt x="55" y="15"/>
                    </a:cubicBezTo>
                    <a:cubicBezTo>
                      <a:pt x="55" y="15"/>
                      <a:pt x="55" y="15"/>
                      <a:pt x="55" y="15"/>
                    </a:cubicBezTo>
                    <a:cubicBezTo>
                      <a:pt x="55" y="15"/>
                      <a:pt x="55" y="17"/>
                      <a:pt x="55" y="18"/>
                    </a:cubicBezTo>
                    <a:cubicBezTo>
                      <a:pt x="55" y="18"/>
                      <a:pt x="54" y="19"/>
                      <a:pt x="54" y="20"/>
                    </a:cubicBezTo>
                    <a:cubicBezTo>
                      <a:pt x="54" y="20"/>
                      <a:pt x="54" y="21"/>
                      <a:pt x="54" y="21"/>
                    </a:cubicBezTo>
                    <a:cubicBezTo>
                      <a:pt x="54" y="21"/>
                      <a:pt x="55" y="22"/>
                      <a:pt x="55" y="21"/>
                    </a:cubicBezTo>
                    <a:cubicBezTo>
                      <a:pt x="56" y="21"/>
                      <a:pt x="56" y="21"/>
                      <a:pt x="57" y="22"/>
                    </a:cubicBezTo>
                    <a:cubicBezTo>
                      <a:pt x="57" y="22"/>
                      <a:pt x="57" y="23"/>
                      <a:pt x="59" y="23"/>
                    </a:cubicBezTo>
                    <a:cubicBezTo>
                      <a:pt x="60" y="24"/>
                      <a:pt x="59" y="23"/>
                      <a:pt x="60" y="23"/>
                    </a:cubicBezTo>
                    <a:cubicBezTo>
                      <a:pt x="60" y="23"/>
                      <a:pt x="61" y="23"/>
                      <a:pt x="61" y="23"/>
                    </a:cubicBezTo>
                    <a:cubicBezTo>
                      <a:pt x="62" y="24"/>
                      <a:pt x="61" y="24"/>
                      <a:pt x="60" y="25"/>
                    </a:cubicBezTo>
                    <a:cubicBezTo>
                      <a:pt x="60" y="25"/>
                      <a:pt x="60" y="25"/>
                      <a:pt x="59" y="26"/>
                    </a:cubicBezTo>
                    <a:cubicBezTo>
                      <a:pt x="58" y="27"/>
                      <a:pt x="59" y="27"/>
                      <a:pt x="59" y="28"/>
                    </a:cubicBezTo>
                    <a:cubicBezTo>
                      <a:pt x="59" y="28"/>
                      <a:pt x="59" y="29"/>
                      <a:pt x="59" y="30"/>
                    </a:cubicBezTo>
                    <a:cubicBezTo>
                      <a:pt x="59" y="31"/>
                      <a:pt x="59" y="31"/>
                      <a:pt x="59" y="31"/>
                    </a:cubicBezTo>
                    <a:cubicBezTo>
                      <a:pt x="59" y="32"/>
                      <a:pt x="60" y="33"/>
                      <a:pt x="61" y="33"/>
                    </a:cubicBezTo>
                    <a:cubicBezTo>
                      <a:pt x="61" y="33"/>
                      <a:pt x="61" y="33"/>
                      <a:pt x="62" y="34"/>
                    </a:cubicBezTo>
                    <a:cubicBezTo>
                      <a:pt x="64" y="34"/>
                      <a:pt x="65" y="34"/>
                      <a:pt x="65" y="34"/>
                    </a:cubicBezTo>
                    <a:cubicBezTo>
                      <a:pt x="65" y="34"/>
                      <a:pt x="66" y="34"/>
                      <a:pt x="66" y="35"/>
                    </a:cubicBezTo>
                    <a:cubicBezTo>
                      <a:pt x="66" y="36"/>
                      <a:pt x="66" y="37"/>
                      <a:pt x="66" y="39"/>
                    </a:cubicBezTo>
                    <a:cubicBezTo>
                      <a:pt x="66" y="39"/>
                      <a:pt x="65" y="40"/>
                      <a:pt x="65" y="40"/>
                    </a:cubicBezTo>
                    <a:cubicBezTo>
                      <a:pt x="65" y="40"/>
                      <a:pt x="66" y="39"/>
                      <a:pt x="66" y="38"/>
                    </a:cubicBezTo>
                    <a:cubicBezTo>
                      <a:pt x="66" y="37"/>
                      <a:pt x="65" y="36"/>
                      <a:pt x="65" y="36"/>
                    </a:cubicBezTo>
                    <a:cubicBezTo>
                      <a:pt x="65" y="35"/>
                      <a:pt x="64" y="35"/>
                      <a:pt x="64" y="35"/>
                    </a:cubicBezTo>
                    <a:cubicBezTo>
                      <a:pt x="64" y="35"/>
                      <a:pt x="63" y="35"/>
                      <a:pt x="62" y="35"/>
                    </a:cubicBezTo>
                    <a:cubicBezTo>
                      <a:pt x="62" y="35"/>
                      <a:pt x="62" y="34"/>
                      <a:pt x="61" y="34"/>
                    </a:cubicBezTo>
                    <a:cubicBezTo>
                      <a:pt x="61" y="33"/>
                      <a:pt x="60" y="33"/>
                      <a:pt x="60" y="33"/>
                    </a:cubicBezTo>
                    <a:cubicBezTo>
                      <a:pt x="59" y="33"/>
                      <a:pt x="57" y="34"/>
                      <a:pt x="57" y="34"/>
                    </a:cubicBezTo>
                    <a:cubicBezTo>
                      <a:pt x="54" y="36"/>
                      <a:pt x="54" y="36"/>
                      <a:pt x="54" y="36"/>
                    </a:cubicBezTo>
                    <a:cubicBezTo>
                      <a:pt x="52" y="37"/>
                      <a:pt x="52" y="37"/>
                      <a:pt x="52" y="37"/>
                    </a:cubicBezTo>
                    <a:cubicBezTo>
                      <a:pt x="52" y="37"/>
                      <a:pt x="51" y="39"/>
                      <a:pt x="50" y="40"/>
                    </a:cubicBezTo>
                    <a:cubicBezTo>
                      <a:pt x="49" y="40"/>
                      <a:pt x="49" y="40"/>
                      <a:pt x="47" y="40"/>
                    </a:cubicBezTo>
                    <a:cubicBezTo>
                      <a:pt x="46" y="40"/>
                      <a:pt x="46" y="41"/>
                      <a:pt x="46" y="41"/>
                    </a:cubicBezTo>
                    <a:cubicBezTo>
                      <a:pt x="45" y="41"/>
                      <a:pt x="46" y="42"/>
                      <a:pt x="46" y="42"/>
                    </a:cubicBezTo>
                    <a:cubicBezTo>
                      <a:pt x="46" y="43"/>
                      <a:pt x="48" y="43"/>
                      <a:pt x="48" y="43"/>
                    </a:cubicBezTo>
                    <a:cubicBezTo>
                      <a:pt x="49" y="43"/>
                      <a:pt x="50" y="44"/>
                      <a:pt x="51" y="44"/>
                    </a:cubicBezTo>
                    <a:cubicBezTo>
                      <a:pt x="52" y="45"/>
                      <a:pt x="53" y="46"/>
                      <a:pt x="54" y="46"/>
                    </a:cubicBezTo>
                    <a:cubicBezTo>
                      <a:pt x="54" y="47"/>
                      <a:pt x="54" y="48"/>
                      <a:pt x="54" y="48"/>
                    </a:cubicBezTo>
                    <a:cubicBezTo>
                      <a:pt x="54" y="48"/>
                      <a:pt x="52" y="47"/>
                      <a:pt x="52" y="47"/>
                    </a:cubicBezTo>
                    <a:cubicBezTo>
                      <a:pt x="51" y="46"/>
                      <a:pt x="51" y="46"/>
                      <a:pt x="51" y="46"/>
                    </a:cubicBezTo>
                    <a:cubicBezTo>
                      <a:pt x="51" y="46"/>
                      <a:pt x="49" y="45"/>
                      <a:pt x="49" y="45"/>
                    </a:cubicBezTo>
                    <a:cubicBezTo>
                      <a:pt x="49" y="45"/>
                      <a:pt x="47" y="45"/>
                      <a:pt x="47" y="45"/>
                    </a:cubicBezTo>
                    <a:cubicBezTo>
                      <a:pt x="46" y="43"/>
                      <a:pt x="46" y="43"/>
                      <a:pt x="46" y="43"/>
                    </a:cubicBezTo>
                    <a:cubicBezTo>
                      <a:pt x="46" y="43"/>
                      <a:pt x="44" y="43"/>
                      <a:pt x="43" y="43"/>
                    </a:cubicBezTo>
                    <a:cubicBezTo>
                      <a:pt x="43" y="43"/>
                      <a:pt x="42" y="42"/>
                      <a:pt x="42" y="41"/>
                    </a:cubicBezTo>
                    <a:cubicBezTo>
                      <a:pt x="42" y="41"/>
                      <a:pt x="42" y="41"/>
                      <a:pt x="43" y="41"/>
                    </a:cubicBezTo>
                    <a:cubicBezTo>
                      <a:pt x="43" y="41"/>
                      <a:pt x="45" y="40"/>
                      <a:pt x="45" y="40"/>
                    </a:cubicBezTo>
                    <a:cubicBezTo>
                      <a:pt x="46" y="39"/>
                      <a:pt x="46" y="39"/>
                      <a:pt x="46" y="39"/>
                    </a:cubicBezTo>
                    <a:cubicBezTo>
                      <a:pt x="46" y="38"/>
                      <a:pt x="46" y="38"/>
                      <a:pt x="46" y="38"/>
                    </a:cubicBezTo>
                    <a:cubicBezTo>
                      <a:pt x="45" y="36"/>
                      <a:pt x="45" y="36"/>
                      <a:pt x="45" y="36"/>
                    </a:cubicBezTo>
                    <a:cubicBezTo>
                      <a:pt x="46" y="35"/>
                      <a:pt x="46" y="35"/>
                      <a:pt x="46" y="35"/>
                    </a:cubicBezTo>
                    <a:cubicBezTo>
                      <a:pt x="45" y="33"/>
                      <a:pt x="45" y="33"/>
                      <a:pt x="45" y="33"/>
                    </a:cubicBezTo>
                    <a:cubicBezTo>
                      <a:pt x="45" y="30"/>
                      <a:pt x="45" y="30"/>
                      <a:pt x="45" y="30"/>
                    </a:cubicBezTo>
                    <a:cubicBezTo>
                      <a:pt x="45" y="30"/>
                      <a:pt x="45" y="30"/>
                      <a:pt x="45" y="30"/>
                    </a:cubicBezTo>
                    <a:cubicBezTo>
                      <a:pt x="46" y="30"/>
                      <a:pt x="47" y="31"/>
                      <a:pt x="47" y="31"/>
                    </a:cubicBezTo>
                    <a:cubicBezTo>
                      <a:pt x="47" y="31"/>
                      <a:pt x="49" y="30"/>
                      <a:pt x="49" y="30"/>
                    </a:cubicBezTo>
                    <a:cubicBezTo>
                      <a:pt x="49" y="30"/>
                      <a:pt x="49" y="29"/>
                      <a:pt x="49" y="29"/>
                    </a:cubicBezTo>
                    <a:cubicBezTo>
                      <a:pt x="49" y="29"/>
                      <a:pt x="50" y="29"/>
                      <a:pt x="51" y="29"/>
                    </a:cubicBezTo>
                    <a:cubicBezTo>
                      <a:pt x="51" y="29"/>
                      <a:pt x="51" y="26"/>
                      <a:pt x="51" y="26"/>
                    </a:cubicBezTo>
                    <a:cubicBezTo>
                      <a:pt x="51" y="26"/>
                      <a:pt x="51" y="26"/>
                      <a:pt x="51" y="26"/>
                    </a:cubicBezTo>
                    <a:cubicBezTo>
                      <a:pt x="51" y="26"/>
                      <a:pt x="50" y="25"/>
                      <a:pt x="49" y="25"/>
                    </a:cubicBezTo>
                    <a:cubicBezTo>
                      <a:pt x="48" y="25"/>
                      <a:pt x="48" y="25"/>
                      <a:pt x="48" y="25"/>
                    </a:cubicBezTo>
                    <a:cubicBezTo>
                      <a:pt x="47" y="25"/>
                      <a:pt x="47" y="24"/>
                      <a:pt x="47" y="24"/>
                    </a:cubicBezTo>
                    <a:cubicBezTo>
                      <a:pt x="47" y="24"/>
                      <a:pt x="48" y="23"/>
                      <a:pt x="48" y="22"/>
                    </a:cubicBezTo>
                    <a:cubicBezTo>
                      <a:pt x="48" y="22"/>
                      <a:pt x="47" y="20"/>
                      <a:pt x="47" y="20"/>
                    </a:cubicBezTo>
                    <a:cubicBezTo>
                      <a:pt x="47" y="20"/>
                      <a:pt x="47" y="18"/>
                      <a:pt x="47" y="18"/>
                    </a:cubicBezTo>
                    <a:cubicBezTo>
                      <a:pt x="47" y="18"/>
                      <a:pt x="44" y="16"/>
                      <a:pt x="43" y="16"/>
                    </a:cubicBezTo>
                    <a:cubicBezTo>
                      <a:pt x="43" y="16"/>
                      <a:pt x="41" y="17"/>
                      <a:pt x="41" y="17"/>
                    </a:cubicBezTo>
                    <a:cubicBezTo>
                      <a:pt x="41" y="17"/>
                      <a:pt x="41" y="17"/>
                      <a:pt x="41" y="17"/>
                    </a:cubicBezTo>
                    <a:cubicBezTo>
                      <a:pt x="39" y="16"/>
                      <a:pt x="39" y="16"/>
                      <a:pt x="39" y="16"/>
                    </a:cubicBezTo>
                    <a:cubicBezTo>
                      <a:pt x="39" y="16"/>
                      <a:pt x="39" y="15"/>
                      <a:pt x="39" y="14"/>
                    </a:cubicBezTo>
                    <a:cubicBezTo>
                      <a:pt x="38" y="14"/>
                      <a:pt x="38" y="14"/>
                      <a:pt x="38" y="14"/>
                    </a:cubicBezTo>
                    <a:cubicBezTo>
                      <a:pt x="37" y="19"/>
                      <a:pt x="37" y="19"/>
                      <a:pt x="37" y="19"/>
                    </a:cubicBezTo>
                    <a:cubicBezTo>
                      <a:pt x="35" y="25"/>
                      <a:pt x="35" y="25"/>
                      <a:pt x="35" y="25"/>
                    </a:cubicBezTo>
                    <a:cubicBezTo>
                      <a:pt x="32" y="37"/>
                      <a:pt x="32" y="37"/>
                      <a:pt x="32" y="37"/>
                    </a:cubicBezTo>
                    <a:cubicBezTo>
                      <a:pt x="27" y="45"/>
                      <a:pt x="27" y="45"/>
                      <a:pt x="27" y="45"/>
                    </a:cubicBezTo>
                    <a:cubicBezTo>
                      <a:pt x="20" y="54"/>
                      <a:pt x="20" y="54"/>
                      <a:pt x="20" y="54"/>
                    </a:cubicBezTo>
                    <a:cubicBezTo>
                      <a:pt x="19" y="55"/>
                      <a:pt x="19" y="55"/>
                      <a:pt x="19" y="55"/>
                    </a:cubicBezTo>
                    <a:cubicBezTo>
                      <a:pt x="19" y="55"/>
                      <a:pt x="18" y="54"/>
                      <a:pt x="18" y="54"/>
                    </a:cubicBezTo>
                    <a:cubicBezTo>
                      <a:pt x="18" y="54"/>
                      <a:pt x="17" y="55"/>
                      <a:pt x="17" y="55"/>
                    </a:cubicBezTo>
                    <a:cubicBezTo>
                      <a:pt x="17" y="55"/>
                      <a:pt x="17" y="57"/>
                      <a:pt x="17" y="57"/>
                    </a:cubicBezTo>
                    <a:cubicBezTo>
                      <a:pt x="17" y="57"/>
                      <a:pt x="17" y="59"/>
                      <a:pt x="17" y="60"/>
                    </a:cubicBezTo>
                    <a:cubicBezTo>
                      <a:pt x="17" y="60"/>
                      <a:pt x="17" y="60"/>
                      <a:pt x="17" y="60"/>
                    </a:cubicBezTo>
                    <a:cubicBezTo>
                      <a:pt x="17" y="60"/>
                      <a:pt x="20" y="61"/>
                      <a:pt x="20" y="62"/>
                    </a:cubicBezTo>
                    <a:cubicBezTo>
                      <a:pt x="21" y="62"/>
                      <a:pt x="21" y="63"/>
                      <a:pt x="21" y="63"/>
                    </a:cubicBezTo>
                    <a:cubicBezTo>
                      <a:pt x="22" y="64"/>
                      <a:pt x="22" y="64"/>
                      <a:pt x="22" y="64"/>
                    </a:cubicBezTo>
                    <a:cubicBezTo>
                      <a:pt x="22" y="64"/>
                      <a:pt x="23" y="65"/>
                      <a:pt x="24" y="65"/>
                    </a:cubicBezTo>
                    <a:cubicBezTo>
                      <a:pt x="26" y="66"/>
                      <a:pt x="25" y="66"/>
                      <a:pt x="26" y="66"/>
                    </a:cubicBezTo>
                    <a:cubicBezTo>
                      <a:pt x="26" y="66"/>
                      <a:pt x="28" y="67"/>
                      <a:pt x="28" y="68"/>
                    </a:cubicBezTo>
                    <a:cubicBezTo>
                      <a:pt x="28" y="68"/>
                      <a:pt x="29" y="68"/>
                      <a:pt x="30" y="68"/>
                    </a:cubicBezTo>
                    <a:cubicBezTo>
                      <a:pt x="30" y="68"/>
                      <a:pt x="31" y="68"/>
                      <a:pt x="31" y="68"/>
                    </a:cubicBezTo>
                    <a:cubicBezTo>
                      <a:pt x="32" y="67"/>
                      <a:pt x="32" y="67"/>
                      <a:pt x="32" y="67"/>
                    </a:cubicBezTo>
                    <a:cubicBezTo>
                      <a:pt x="34" y="67"/>
                      <a:pt x="34" y="67"/>
                      <a:pt x="34" y="67"/>
                    </a:cubicBezTo>
                    <a:cubicBezTo>
                      <a:pt x="34" y="67"/>
                      <a:pt x="35" y="67"/>
                      <a:pt x="35" y="67"/>
                    </a:cubicBezTo>
                    <a:cubicBezTo>
                      <a:pt x="36" y="67"/>
                      <a:pt x="35" y="68"/>
                      <a:pt x="35" y="68"/>
                    </a:cubicBezTo>
                    <a:cubicBezTo>
                      <a:pt x="32" y="68"/>
                      <a:pt x="32" y="68"/>
                      <a:pt x="32" y="68"/>
                    </a:cubicBezTo>
                    <a:cubicBezTo>
                      <a:pt x="32" y="68"/>
                      <a:pt x="31" y="68"/>
                      <a:pt x="31" y="69"/>
                    </a:cubicBezTo>
                    <a:cubicBezTo>
                      <a:pt x="31" y="69"/>
                      <a:pt x="30" y="70"/>
                      <a:pt x="31" y="70"/>
                    </a:cubicBezTo>
                    <a:cubicBezTo>
                      <a:pt x="31" y="70"/>
                      <a:pt x="28" y="69"/>
                      <a:pt x="28" y="69"/>
                    </a:cubicBezTo>
                    <a:cubicBezTo>
                      <a:pt x="28" y="68"/>
                      <a:pt x="27" y="68"/>
                      <a:pt x="27" y="68"/>
                    </a:cubicBezTo>
                    <a:cubicBezTo>
                      <a:pt x="26" y="68"/>
                      <a:pt x="25" y="69"/>
                      <a:pt x="24" y="69"/>
                    </a:cubicBezTo>
                    <a:cubicBezTo>
                      <a:pt x="24" y="69"/>
                      <a:pt x="24" y="69"/>
                      <a:pt x="24" y="69"/>
                    </a:cubicBezTo>
                    <a:cubicBezTo>
                      <a:pt x="23" y="69"/>
                      <a:pt x="23" y="70"/>
                      <a:pt x="23" y="70"/>
                    </a:cubicBezTo>
                    <a:cubicBezTo>
                      <a:pt x="22" y="70"/>
                      <a:pt x="22" y="70"/>
                      <a:pt x="22" y="70"/>
                    </a:cubicBezTo>
                    <a:cubicBezTo>
                      <a:pt x="22" y="70"/>
                      <a:pt x="20" y="69"/>
                      <a:pt x="20" y="69"/>
                    </a:cubicBezTo>
                    <a:cubicBezTo>
                      <a:pt x="18" y="69"/>
                      <a:pt x="18" y="69"/>
                      <a:pt x="18" y="69"/>
                    </a:cubicBezTo>
                    <a:cubicBezTo>
                      <a:pt x="18" y="68"/>
                      <a:pt x="18" y="68"/>
                      <a:pt x="18" y="68"/>
                    </a:cubicBezTo>
                    <a:cubicBezTo>
                      <a:pt x="17" y="67"/>
                      <a:pt x="17" y="67"/>
                      <a:pt x="17" y="67"/>
                    </a:cubicBezTo>
                    <a:cubicBezTo>
                      <a:pt x="17" y="67"/>
                      <a:pt x="16" y="67"/>
                      <a:pt x="16" y="66"/>
                    </a:cubicBezTo>
                    <a:cubicBezTo>
                      <a:pt x="16" y="66"/>
                      <a:pt x="16" y="66"/>
                      <a:pt x="15" y="66"/>
                    </a:cubicBezTo>
                    <a:cubicBezTo>
                      <a:pt x="15" y="65"/>
                      <a:pt x="15" y="65"/>
                      <a:pt x="14" y="65"/>
                    </a:cubicBezTo>
                    <a:cubicBezTo>
                      <a:pt x="13" y="64"/>
                      <a:pt x="13" y="64"/>
                      <a:pt x="13" y="64"/>
                    </a:cubicBezTo>
                    <a:cubicBezTo>
                      <a:pt x="12" y="64"/>
                      <a:pt x="12" y="63"/>
                      <a:pt x="11" y="63"/>
                    </a:cubicBezTo>
                    <a:cubicBezTo>
                      <a:pt x="10" y="63"/>
                      <a:pt x="9" y="64"/>
                      <a:pt x="8" y="64"/>
                    </a:cubicBezTo>
                    <a:cubicBezTo>
                      <a:pt x="8" y="64"/>
                      <a:pt x="7" y="64"/>
                      <a:pt x="7" y="65"/>
                    </a:cubicBezTo>
                    <a:cubicBezTo>
                      <a:pt x="7" y="65"/>
                      <a:pt x="7" y="66"/>
                      <a:pt x="7" y="66"/>
                    </a:cubicBezTo>
                    <a:cubicBezTo>
                      <a:pt x="8" y="66"/>
                      <a:pt x="8" y="66"/>
                      <a:pt x="9" y="66"/>
                    </a:cubicBezTo>
                    <a:cubicBezTo>
                      <a:pt x="9" y="66"/>
                      <a:pt x="10" y="66"/>
                      <a:pt x="10" y="66"/>
                    </a:cubicBezTo>
                    <a:cubicBezTo>
                      <a:pt x="11" y="66"/>
                      <a:pt x="11" y="66"/>
                      <a:pt x="11" y="66"/>
                    </a:cubicBezTo>
                    <a:cubicBezTo>
                      <a:pt x="11" y="66"/>
                      <a:pt x="11" y="67"/>
                      <a:pt x="12" y="67"/>
                    </a:cubicBezTo>
                    <a:cubicBezTo>
                      <a:pt x="12" y="67"/>
                      <a:pt x="13" y="68"/>
                      <a:pt x="13" y="69"/>
                    </a:cubicBezTo>
                    <a:cubicBezTo>
                      <a:pt x="13" y="69"/>
                      <a:pt x="14" y="69"/>
                      <a:pt x="14" y="69"/>
                    </a:cubicBezTo>
                    <a:cubicBezTo>
                      <a:pt x="15" y="70"/>
                      <a:pt x="15" y="69"/>
                      <a:pt x="15" y="69"/>
                    </a:cubicBezTo>
                    <a:cubicBezTo>
                      <a:pt x="16" y="69"/>
                      <a:pt x="16" y="69"/>
                      <a:pt x="16" y="69"/>
                    </a:cubicBezTo>
                    <a:cubicBezTo>
                      <a:pt x="18" y="69"/>
                      <a:pt x="18" y="69"/>
                      <a:pt x="18" y="69"/>
                    </a:cubicBezTo>
                    <a:cubicBezTo>
                      <a:pt x="18" y="69"/>
                      <a:pt x="18" y="70"/>
                      <a:pt x="20" y="70"/>
                    </a:cubicBezTo>
                    <a:cubicBezTo>
                      <a:pt x="21" y="71"/>
                      <a:pt x="20" y="71"/>
                      <a:pt x="20" y="71"/>
                    </a:cubicBezTo>
                    <a:cubicBezTo>
                      <a:pt x="20" y="71"/>
                      <a:pt x="19" y="71"/>
                      <a:pt x="17" y="70"/>
                    </a:cubicBezTo>
                    <a:cubicBezTo>
                      <a:pt x="15" y="69"/>
                      <a:pt x="17" y="70"/>
                      <a:pt x="16" y="70"/>
                    </a:cubicBezTo>
                    <a:cubicBezTo>
                      <a:pt x="15" y="70"/>
                      <a:pt x="15" y="71"/>
                      <a:pt x="15" y="71"/>
                    </a:cubicBezTo>
                    <a:cubicBezTo>
                      <a:pt x="15" y="71"/>
                      <a:pt x="15" y="72"/>
                      <a:pt x="16" y="73"/>
                    </a:cubicBezTo>
                    <a:cubicBezTo>
                      <a:pt x="17" y="74"/>
                      <a:pt x="17" y="73"/>
                      <a:pt x="19" y="74"/>
                    </a:cubicBezTo>
                    <a:cubicBezTo>
                      <a:pt x="20" y="75"/>
                      <a:pt x="19" y="74"/>
                      <a:pt x="20" y="74"/>
                    </a:cubicBezTo>
                    <a:cubicBezTo>
                      <a:pt x="20" y="74"/>
                      <a:pt x="21" y="74"/>
                      <a:pt x="22" y="76"/>
                    </a:cubicBezTo>
                    <a:cubicBezTo>
                      <a:pt x="23" y="77"/>
                      <a:pt x="22" y="78"/>
                      <a:pt x="22" y="78"/>
                    </a:cubicBezTo>
                    <a:cubicBezTo>
                      <a:pt x="22" y="78"/>
                      <a:pt x="21" y="78"/>
                      <a:pt x="20" y="78"/>
                    </a:cubicBezTo>
                    <a:cubicBezTo>
                      <a:pt x="20" y="78"/>
                      <a:pt x="20" y="78"/>
                      <a:pt x="20" y="78"/>
                    </a:cubicBezTo>
                    <a:cubicBezTo>
                      <a:pt x="18" y="78"/>
                      <a:pt x="18" y="78"/>
                      <a:pt x="18" y="78"/>
                    </a:cubicBezTo>
                    <a:cubicBezTo>
                      <a:pt x="18" y="78"/>
                      <a:pt x="18" y="78"/>
                      <a:pt x="17" y="76"/>
                    </a:cubicBezTo>
                    <a:cubicBezTo>
                      <a:pt x="16" y="74"/>
                      <a:pt x="17" y="75"/>
                      <a:pt x="18" y="75"/>
                    </a:cubicBezTo>
                    <a:cubicBezTo>
                      <a:pt x="18" y="75"/>
                      <a:pt x="16" y="75"/>
                      <a:pt x="16" y="75"/>
                    </a:cubicBezTo>
                    <a:cubicBezTo>
                      <a:pt x="15" y="73"/>
                      <a:pt x="15" y="73"/>
                      <a:pt x="15" y="73"/>
                    </a:cubicBezTo>
                    <a:cubicBezTo>
                      <a:pt x="14" y="73"/>
                      <a:pt x="14" y="73"/>
                      <a:pt x="14" y="73"/>
                    </a:cubicBezTo>
                    <a:cubicBezTo>
                      <a:pt x="14" y="73"/>
                      <a:pt x="13" y="73"/>
                      <a:pt x="13" y="73"/>
                    </a:cubicBezTo>
                    <a:cubicBezTo>
                      <a:pt x="13" y="73"/>
                      <a:pt x="11" y="72"/>
                      <a:pt x="11" y="72"/>
                    </a:cubicBezTo>
                    <a:cubicBezTo>
                      <a:pt x="11" y="72"/>
                      <a:pt x="12" y="72"/>
                      <a:pt x="12" y="71"/>
                    </a:cubicBezTo>
                    <a:cubicBezTo>
                      <a:pt x="13" y="70"/>
                      <a:pt x="10" y="69"/>
                      <a:pt x="10" y="69"/>
                    </a:cubicBezTo>
                    <a:cubicBezTo>
                      <a:pt x="8" y="68"/>
                      <a:pt x="9" y="69"/>
                      <a:pt x="9" y="69"/>
                    </a:cubicBezTo>
                    <a:cubicBezTo>
                      <a:pt x="9" y="69"/>
                      <a:pt x="8" y="69"/>
                      <a:pt x="7" y="69"/>
                    </a:cubicBezTo>
                    <a:cubicBezTo>
                      <a:pt x="6" y="69"/>
                      <a:pt x="6" y="69"/>
                      <a:pt x="5" y="69"/>
                    </a:cubicBezTo>
                    <a:cubicBezTo>
                      <a:pt x="4" y="69"/>
                      <a:pt x="4" y="69"/>
                      <a:pt x="3" y="69"/>
                    </a:cubicBezTo>
                    <a:cubicBezTo>
                      <a:pt x="3" y="69"/>
                      <a:pt x="2" y="69"/>
                      <a:pt x="1" y="70"/>
                    </a:cubicBezTo>
                    <a:cubicBezTo>
                      <a:pt x="0" y="70"/>
                      <a:pt x="0" y="70"/>
                      <a:pt x="0" y="71"/>
                    </a:cubicBezTo>
                    <a:cubicBezTo>
                      <a:pt x="1" y="71"/>
                      <a:pt x="1" y="71"/>
                      <a:pt x="1" y="72"/>
                    </a:cubicBezTo>
                    <a:cubicBezTo>
                      <a:pt x="1" y="72"/>
                      <a:pt x="1" y="73"/>
                      <a:pt x="2" y="73"/>
                    </a:cubicBezTo>
                    <a:cubicBezTo>
                      <a:pt x="2" y="73"/>
                      <a:pt x="2" y="74"/>
                      <a:pt x="3" y="74"/>
                    </a:cubicBezTo>
                    <a:cubicBezTo>
                      <a:pt x="3" y="75"/>
                      <a:pt x="4" y="75"/>
                      <a:pt x="4" y="75"/>
                    </a:cubicBezTo>
                    <a:cubicBezTo>
                      <a:pt x="5" y="75"/>
                      <a:pt x="6" y="75"/>
                      <a:pt x="6" y="75"/>
                    </a:cubicBezTo>
                    <a:cubicBezTo>
                      <a:pt x="9" y="78"/>
                      <a:pt x="9" y="78"/>
                      <a:pt x="9" y="78"/>
                    </a:cubicBezTo>
                    <a:cubicBezTo>
                      <a:pt x="9" y="78"/>
                      <a:pt x="10" y="78"/>
                      <a:pt x="12" y="78"/>
                    </a:cubicBezTo>
                    <a:cubicBezTo>
                      <a:pt x="13" y="79"/>
                      <a:pt x="12" y="78"/>
                      <a:pt x="12" y="78"/>
                    </a:cubicBezTo>
                    <a:cubicBezTo>
                      <a:pt x="12" y="77"/>
                      <a:pt x="13" y="77"/>
                      <a:pt x="13" y="77"/>
                    </a:cubicBezTo>
                    <a:cubicBezTo>
                      <a:pt x="13" y="76"/>
                      <a:pt x="13" y="76"/>
                      <a:pt x="14" y="76"/>
                    </a:cubicBezTo>
                    <a:cubicBezTo>
                      <a:pt x="15" y="77"/>
                      <a:pt x="15" y="77"/>
                      <a:pt x="15" y="78"/>
                    </a:cubicBezTo>
                    <a:cubicBezTo>
                      <a:pt x="16" y="78"/>
                      <a:pt x="16" y="78"/>
                      <a:pt x="16" y="79"/>
                    </a:cubicBezTo>
                    <a:cubicBezTo>
                      <a:pt x="17" y="79"/>
                      <a:pt x="18" y="79"/>
                      <a:pt x="19" y="79"/>
                    </a:cubicBezTo>
                    <a:cubicBezTo>
                      <a:pt x="19" y="79"/>
                      <a:pt x="20" y="79"/>
                      <a:pt x="20" y="79"/>
                    </a:cubicBezTo>
                    <a:cubicBezTo>
                      <a:pt x="20" y="79"/>
                      <a:pt x="20" y="80"/>
                      <a:pt x="21" y="80"/>
                    </a:cubicBezTo>
                    <a:cubicBezTo>
                      <a:pt x="21" y="80"/>
                      <a:pt x="20" y="80"/>
                      <a:pt x="20" y="80"/>
                    </a:cubicBezTo>
                    <a:cubicBezTo>
                      <a:pt x="20" y="80"/>
                      <a:pt x="20" y="81"/>
                      <a:pt x="19" y="81"/>
                    </a:cubicBezTo>
                    <a:cubicBezTo>
                      <a:pt x="19" y="81"/>
                      <a:pt x="19" y="81"/>
                      <a:pt x="19" y="81"/>
                    </a:cubicBezTo>
                    <a:cubicBezTo>
                      <a:pt x="19" y="81"/>
                      <a:pt x="18" y="81"/>
                      <a:pt x="18" y="81"/>
                    </a:cubicBezTo>
                    <a:cubicBezTo>
                      <a:pt x="18" y="81"/>
                      <a:pt x="19" y="81"/>
                      <a:pt x="19" y="81"/>
                    </a:cubicBezTo>
                    <a:cubicBezTo>
                      <a:pt x="19" y="81"/>
                      <a:pt x="19" y="81"/>
                      <a:pt x="19" y="81"/>
                    </a:cubicBezTo>
                    <a:cubicBezTo>
                      <a:pt x="19" y="81"/>
                      <a:pt x="19" y="81"/>
                      <a:pt x="19" y="81"/>
                    </a:cubicBezTo>
                    <a:cubicBezTo>
                      <a:pt x="20" y="82"/>
                      <a:pt x="20" y="82"/>
                      <a:pt x="21" y="82"/>
                    </a:cubicBezTo>
                    <a:cubicBezTo>
                      <a:pt x="21" y="81"/>
                      <a:pt x="21" y="80"/>
                      <a:pt x="22" y="79"/>
                    </a:cubicBezTo>
                    <a:cubicBezTo>
                      <a:pt x="23" y="78"/>
                      <a:pt x="25" y="78"/>
                      <a:pt x="25" y="78"/>
                    </a:cubicBezTo>
                    <a:cubicBezTo>
                      <a:pt x="25" y="77"/>
                      <a:pt x="25" y="77"/>
                      <a:pt x="25" y="77"/>
                    </a:cubicBezTo>
                    <a:cubicBezTo>
                      <a:pt x="25" y="77"/>
                      <a:pt x="25" y="77"/>
                      <a:pt x="25" y="77"/>
                    </a:cubicBezTo>
                    <a:cubicBezTo>
                      <a:pt x="26" y="77"/>
                      <a:pt x="27" y="78"/>
                      <a:pt x="28" y="79"/>
                    </a:cubicBezTo>
                    <a:cubicBezTo>
                      <a:pt x="29" y="80"/>
                      <a:pt x="29" y="80"/>
                      <a:pt x="29" y="80"/>
                    </a:cubicBezTo>
                    <a:cubicBezTo>
                      <a:pt x="29" y="80"/>
                      <a:pt x="29" y="80"/>
                      <a:pt x="29" y="80"/>
                    </a:cubicBezTo>
                    <a:cubicBezTo>
                      <a:pt x="29" y="80"/>
                      <a:pt x="29" y="80"/>
                      <a:pt x="29" y="80"/>
                    </a:cubicBezTo>
                    <a:cubicBezTo>
                      <a:pt x="30" y="79"/>
                      <a:pt x="30" y="79"/>
                      <a:pt x="30" y="79"/>
                    </a:cubicBezTo>
                    <a:cubicBezTo>
                      <a:pt x="31" y="78"/>
                      <a:pt x="32" y="77"/>
                      <a:pt x="33" y="77"/>
                    </a:cubicBezTo>
                    <a:cubicBezTo>
                      <a:pt x="34" y="77"/>
                      <a:pt x="34" y="77"/>
                      <a:pt x="34" y="77"/>
                    </a:cubicBezTo>
                    <a:cubicBezTo>
                      <a:pt x="36" y="77"/>
                      <a:pt x="36" y="78"/>
                      <a:pt x="37" y="78"/>
                    </a:cubicBezTo>
                    <a:cubicBezTo>
                      <a:pt x="39" y="79"/>
                      <a:pt x="39" y="79"/>
                      <a:pt x="39" y="79"/>
                    </a:cubicBezTo>
                    <a:cubicBezTo>
                      <a:pt x="39" y="78"/>
                      <a:pt x="40" y="78"/>
                      <a:pt x="41" y="78"/>
                    </a:cubicBezTo>
                    <a:cubicBezTo>
                      <a:pt x="42" y="78"/>
                      <a:pt x="43" y="80"/>
                      <a:pt x="43" y="80"/>
                    </a:cubicBezTo>
                    <a:cubicBezTo>
                      <a:pt x="44" y="83"/>
                      <a:pt x="44" y="83"/>
                      <a:pt x="44" y="83"/>
                    </a:cubicBezTo>
                    <a:cubicBezTo>
                      <a:pt x="44" y="83"/>
                      <a:pt x="44" y="84"/>
                      <a:pt x="44" y="84"/>
                    </a:cubicBezTo>
                    <a:cubicBezTo>
                      <a:pt x="45" y="84"/>
                      <a:pt x="45" y="84"/>
                      <a:pt x="45" y="84"/>
                    </a:cubicBezTo>
                    <a:cubicBezTo>
                      <a:pt x="46" y="85"/>
                      <a:pt x="46" y="85"/>
                      <a:pt x="46" y="85"/>
                    </a:cubicBezTo>
                    <a:cubicBezTo>
                      <a:pt x="46" y="86"/>
                      <a:pt x="46" y="86"/>
                      <a:pt x="46" y="86"/>
                    </a:cubicBezTo>
                    <a:cubicBezTo>
                      <a:pt x="46" y="86"/>
                      <a:pt x="46" y="86"/>
                      <a:pt x="46" y="86"/>
                    </a:cubicBezTo>
                    <a:cubicBezTo>
                      <a:pt x="48" y="86"/>
                      <a:pt x="48" y="86"/>
                      <a:pt x="48" y="86"/>
                    </a:cubicBezTo>
                    <a:cubicBezTo>
                      <a:pt x="48" y="86"/>
                      <a:pt x="48" y="88"/>
                      <a:pt x="48" y="88"/>
                    </a:cubicBezTo>
                    <a:cubicBezTo>
                      <a:pt x="48" y="88"/>
                      <a:pt x="49" y="88"/>
                      <a:pt x="49" y="88"/>
                    </a:cubicBezTo>
                    <a:cubicBezTo>
                      <a:pt x="49" y="88"/>
                      <a:pt x="49" y="88"/>
                      <a:pt x="49" y="88"/>
                    </a:cubicBezTo>
                    <a:cubicBezTo>
                      <a:pt x="49" y="88"/>
                      <a:pt x="50" y="88"/>
                      <a:pt x="50" y="88"/>
                    </a:cubicBezTo>
                    <a:cubicBezTo>
                      <a:pt x="50" y="88"/>
                      <a:pt x="50" y="88"/>
                      <a:pt x="50" y="88"/>
                    </a:cubicBezTo>
                    <a:cubicBezTo>
                      <a:pt x="50" y="88"/>
                      <a:pt x="50" y="88"/>
                      <a:pt x="50" y="88"/>
                    </a:cubicBezTo>
                    <a:cubicBezTo>
                      <a:pt x="50" y="88"/>
                      <a:pt x="51" y="87"/>
                      <a:pt x="52" y="87"/>
                    </a:cubicBezTo>
                    <a:cubicBezTo>
                      <a:pt x="53" y="87"/>
                      <a:pt x="53" y="87"/>
                      <a:pt x="53" y="87"/>
                    </a:cubicBezTo>
                    <a:cubicBezTo>
                      <a:pt x="54" y="88"/>
                      <a:pt x="54" y="88"/>
                      <a:pt x="54" y="88"/>
                    </a:cubicBezTo>
                    <a:cubicBezTo>
                      <a:pt x="56" y="89"/>
                      <a:pt x="56" y="90"/>
                      <a:pt x="56" y="91"/>
                    </a:cubicBezTo>
                    <a:cubicBezTo>
                      <a:pt x="56" y="91"/>
                      <a:pt x="56" y="91"/>
                      <a:pt x="56" y="91"/>
                    </a:cubicBezTo>
                    <a:cubicBezTo>
                      <a:pt x="58" y="92"/>
                      <a:pt x="59" y="92"/>
                      <a:pt x="60" y="93"/>
                    </a:cubicBezTo>
                    <a:cubicBezTo>
                      <a:pt x="60" y="93"/>
                      <a:pt x="61" y="93"/>
                      <a:pt x="62" y="94"/>
                    </a:cubicBezTo>
                    <a:cubicBezTo>
                      <a:pt x="63" y="94"/>
                      <a:pt x="63" y="94"/>
                      <a:pt x="63" y="94"/>
                    </a:cubicBezTo>
                    <a:cubicBezTo>
                      <a:pt x="63" y="94"/>
                      <a:pt x="63" y="94"/>
                      <a:pt x="63" y="94"/>
                    </a:cubicBezTo>
                    <a:cubicBezTo>
                      <a:pt x="64" y="94"/>
                      <a:pt x="65" y="95"/>
                      <a:pt x="65" y="97"/>
                    </a:cubicBezTo>
                    <a:cubicBezTo>
                      <a:pt x="65" y="98"/>
                      <a:pt x="64" y="99"/>
                      <a:pt x="64" y="100"/>
                    </a:cubicBezTo>
                    <a:cubicBezTo>
                      <a:pt x="64" y="100"/>
                      <a:pt x="64" y="100"/>
                      <a:pt x="64" y="100"/>
                    </a:cubicBezTo>
                    <a:cubicBezTo>
                      <a:pt x="65" y="101"/>
                      <a:pt x="65" y="101"/>
                      <a:pt x="65" y="101"/>
                    </a:cubicBezTo>
                    <a:cubicBezTo>
                      <a:pt x="65" y="101"/>
                      <a:pt x="65" y="101"/>
                      <a:pt x="66" y="100"/>
                    </a:cubicBezTo>
                    <a:cubicBezTo>
                      <a:pt x="66" y="100"/>
                      <a:pt x="67" y="98"/>
                      <a:pt x="67" y="98"/>
                    </a:cubicBezTo>
                    <a:cubicBezTo>
                      <a:pt x="69" y="98"/>
                      <a:pt x="69" y="98"/>
                      <a:pt x="69" y="98"/>
                    </a:cubicBezTo>
                    <a:cubicBezTo>
                      <a:pt x="69" y="98"/>
                      <a:pt x="71" y="98"/>
                      <a:pt x="72" y="98"/>
                    </a:cubicBezTo>
                    <a:cubicBezTo>
                      <a:pt x="72" y="98"/>
                      <a:pt x="71" y="96"/>
                      <a:pt x="71" y="96"/>
                    </a:cubicBezTo>
                    <a:cubicBezTo>
                      <a:pt x="71" y="96"/>
                      <a:pt x="70" y="97"/>
                      <a:pt x="69" y="97"/>
                    </a:cubicBezTo>
                    <a:cubicBezTo>
                      <a:pt x="68" y="97"/>
                      <a:pt x="69" y="95"/>
                      <a:pt x="69" y="95"/>
                    </a:cubicBezTo>
                    <a:cubicBezTo>
                      <a:pt x="69" y="94"/>
                      <a:pt x="69" y="94"/>
                      <a:pt x="69" y="94"/>
                    </a:cubicBezTo>
                    <a:cubicBezTo>
                      <a:pt x="70" y="92"/>
                      <a:pt x="70" y="92"/>
                      <a:pt x="70" y="92"/>
                    </a:cubicBezTo>
                    <a:cubicBezTo>
                      <a:pt x="71" y="91"/>
                      <a:pt x="71" y="91"/>
                      <a:pt x="71" y="91"/>
                    </a:cubicBezTo>
                    <a:cubicBezTo>
                      <a:pt x="71" y="91"/>
                      <a:pt x="72" y="89"/>
                      <a:pt x="73" y="89"/>
                    </a:cubicBezTo>
                    <a:cubicBezTo>
                      <a:pt x="73" y="89"/>
                      <a:pt x="72" y="87"/>
                      <a:pt x="72" y="87"/>
                    </a:cubicBezTo>
                    <a:cubicBezTo>
                      <a:pt x="73" y="84"/>
                      <a:pt x="73" y="84"/>
                      <a:pt x="73" y="84"/>
                    </a:cubicBezTo>
                    <a:cubicBezTo>
                      <a:pt x="72" y="82"/>
                      <a:pt x="72" y="82"/>
                      <a:pt x="72" y="82"/>
                    </a:cubicBezTo>
                    <a:cubicBezTo>
                      <a:pt x="72" y="80"/>
                      <a:pt x="72" y="80"/>
                      <a:pt x="72" y="80"/>
                    </a:cubicBezTo>
                    <a:cubicBezTo>
                      <a:pt x="70" y="77"/>
                      <a:pt x="70" y="77"/>
                      <a:pt x="70" y="77"/>
                    </a:cubicBezTo>
                    <a:cubicBezTo>
                      <a:pt x="70" y="76"/>
                      <a:pt x="70" y="76"/>
                      <a:pt x="70" y="76"/>
                    </a:cubicBezTo>
                    <a:cubicBezTo>
                      <a:pt x="69" y="75"/>
                      <a:pt x="69" y="75"/>
                      <a:pt x="69" y="75"/>
                    </a:cubicBezTo>
                    <a:cubicBezTo>
                      <a:pt x="70" y="73"/>
                      <a:pt x="70" y="73"/>
                      <a:pt x="70" y="73"/>
                    </a:cubicBezTo>
                    <a:cubicBezTo>
                      <a:pt x="70" y="73"/>
                      <a:pt x="68" y="72"/>
                      <a:pt x="67" y="72"/>
                    </a:cubicBezTo>
                    <a:cubicBezTo>
                      <a:pt x="66" y="71"/>
                      <a:pt x="67" y="71"/>
                      <a:pt x="67" y="71"/>
                    </a:cubicBezTo>
                    <a:cubicBezTo>
                      <a:pt x="67" y="69"/>
                      <a:pt x="67" y="69"/>
                      <a:pt x="67" y="69"/>
                    </a:cubicBezTo>
                    <a:cubicBezTo>
                      <a:pt x="67" y="67"/>
                      <a:pt x="67" y="67"/>
                      <a:pt x="67" y="67"/>
                    </a:cubicBezTo>
                    <a:cubicBezTo>
                      <a:pt x="71" y="68"/>
                      <a:pt x="71" y="68"/>
                      <a:pt x="71" y="68"/>
                    </a:cubicBezTo>
                    <a:cubicBezTo>
                      <a:pt x="73" y="67"/>
                      <a:pt x="73" y="67"/>
                      <a:pt x="73" y="67"/>
                    </a:cubicBezTo>
                    <a:cubicBezTo>
                      <a:pt x="70" y="66"/>
                      <a:pt x="70" y="66"/>
                      <a:pt x="70" y="66"/>
                    </a:cubicBezTo>
                    <a:cubicBezTo>
                      <a:pt x="73" y="65"/>
                      <a:pt x="73" y="65"/>
                      <a:pt x="73" y="65"/>
                    </a:cubicBezTo>
                    <a:cubicBezTo>
                      <a:pt x="74" y="67"/>
                      <a:pt x="74" y="67"/>
                      <a:pt x="74" y="67"/>
                    </a:cubicBezTo>
                    <a:cubicBezTo>
                      <a:pt x="76" y="68"/>
                      <a:pt x="76" y="68"/>
                      <a:pt x="76" y="68"/>
                    </a:cubicBezTo>
                    <a:cubicBezTo>
                      <a:pt x="78" y="69"/>
                      <a:pt x="78" y="69"/>
                      <a:pt x="78" y="69"/>
                    </a:cubicBezTo>
                    <a:cubicBezTo>
                      <a:pt x="78" y="68"/>
                      <a:pt x="78" y="68"/>
                      <a:pt x="78" y="68"/>
                    </a:cubicBezTo>
                    <a:cubicBezTo>
                      <a:pt x="80" y="68"/>
                      <a:pt x="80" y="68"/>
                      <a:pt x="80" y="68"/>
                    </a:cubicBezTo>
                    <a:cubicBezTo>
                      <a:pt x="81" y="67"/>
                      <a:pt x="81" y="67"/>
                      <a:pt x="81" y="67"/>
                    </a:cubicBezTo>
                    <a:cubicBezTo>
                      <a:pt x="84" y="66"/>
                      <a:pt x="84" y="66"/>
                      <a:pt x="84" y="66"/>
                    </a:cubicBezTo>
                    <a:cubicBezTo>
                      <a:pt x="86" y="67"/>
                      <a:pt x="86" y="67"/>
                      <a:pt x="86" y="67"/>
                    </a:cubicBezTo>
                    <a:cubicBezTo>
                      <a:pt x="87" y="65"/>
                      <a:pt x="87" y="65"/>
                      <a:pt x="87" y="65"/>
                    </a:cubicBezTo>
                    <a:cubicBezTo>
                      <a:pt x="89" y="65"/>
                      <a:pt x="89" y="65"/>
                      <a:pt x="89" y="65"/>
                    </a:cubicBezTo>
                    <a:cubicBezTo>
                      <a:pt x="89" y="63"/>
                      <a:pt x="89" y="63"/>
                      <a:pt x="89" y="63"/>
                    </a:cubicBezTo>
                    <a:cubicBezTo>
                      <a:pt x="87" y="62"/>
                      <a:pt x="87" y="62"/>
                      <a:pt x="87" y="62"/>
                    </a:cubicBezTo>
                    <a:cubicBezTo>
                      <a:pt x="85" y="60"/>
                      <a:pt x="85" y="60"/>
                      <a:pt x="85" y="60"/>
                    </a:cubicBezTo>
                    <a:cubicBezTo>
                      <a:pt x="87" y="59"/>
                      <a:pt x="87" y="59"/>
                      <a:pt x="87" y="59"/>
                    </a:cubicBezTo>
                    <a:cubicBezTo>
                      <a:pt x="87" y="58"/>
                      <a:pt x="87" y="58"/>
                      <a:pt x="87" y="58"/>
                    </a:cubicBezTo>
                    <a:cubicBezTo>
                      <a:pt x="87" y="58"/>
                      <a:pt x="90" y="58"/>
                      <a:pt x="90" y="58"/>
                    </a:cubicBezTo>
                    <a:cubicBezTo>
                      <a:pt x="90" y="57"/>
                      <a:pt x="90" y="57"/>
                      <a:pt x="91" y="57"/>
                    </a:cubicBezTo>
                    <a:cubicBezTo>
                      <a:pt x="92" y="56"/>
                      <a:pt x="93" y="55"/>
                      <a:pt x="93" y="55"/>
                    </a:cubicBezTo>
                    <a:cubicBezTo>
                      <a:pt x="94" y="54"/>
                      <a:pt x="94" y="54"/>
                      <a:pt x="94" y="54"/>
                    </a:cubicBezTo>
                    <a:cubicBezTo>
                      <a:pt x="94" y="54"/>
                      <a:pt x="96" y="53"/>
                      <a:pt x="96" y="53"/>
                    </a:cubicBezTo>
                    <a:cubicBezTo>
                      <a:pt x="97" y="53"/>
                      <a:pt x="96" y="52"/>
                      <a:pt x="96" y="52"/>
                    </a:cubicBezTo>
                    <a:cubicBezTo>
                      <a:pt x="96" y="51"/>
                      <a:pt x="95" y="49"/>
                      <a:pt x="95" y="49"/>
                    </a:cubicBezTo>
                    <a:cubicBezTo>
                      <a:pt x="97" y="47"/>
                      <a:pt x="97" y="47"/>
                      <a:pt x="97" y="47"/>
                    </a:cubicBezTo>
                    <a:cubicBezTo>
                      <a:pt x="95" y="44"/>
                      <a:pt x="95" y="44"/>
                      <a:pt x="95" y="44"/>
                    </a:cubicBezTo>
                    <a:cubicBezTo>
                      <a:pt x="93" y="45"/>
                      <a:pt x="93" y="45"/>
                      <a:pt x="93" y="45"/>
                    </a:cubicBezTo>
                    <a:cubicBezTo>
                      <a:pt x="91" y="43"/>
                      <a:pt x="91" y="43"/>
                      <a:pt x="91" y="43"/>
                    </a:cubicBezTo>
                    <a:cubicBezTo>
                      <a:pt x="91" y="43"/>
                      <a:pt x="89" y="43"/>
                      <a:pt x="88" y="43"/>
                    </a:cubicBezTo>
                    <a:cubicBezTo>
                      <a:pt x="88" y="42"/>
                      <a:pt x="87" y="41"/>
                      <a:pt x="87" y="41"/>
                    </a:cubicBezTo>
                    <a:cubicBezTo>
                      <a:pt x="87" y="39"/>
                      <a:pt x="87" y="39"/>
                      <a:pt x="87" y="39"/>
                    </a:cubicBezTo>
                    <a:cubicBezTo>
                      <a:pt x="89" y="38"/>
                      <a:pt x="89" y="38"/>
                      <a:pt x="89" y="38"/>
                    </a:cubicBezTo>
                    <a:cubicBezTo>
                      <a:pt x="88" y="37"/>
                      <a:pt x="88" y="37"/>
                      <a:pt x="88" y="37"/>
                    </a:cubicBezTo>
                    <a:cubicBezTo>
                      <a:pt x="88" y="35"/>
                      <a:pt x="88" y="35"/>
                      <a:pt x="88" y="35"/>
                    </a:cubicBezTo>
                    <a:cubicBezTo>
                      <a:pt x="91" y="35"/>
                      <a:pt x="91" y="35"/>
                      <a:pt x="91" y="35"/>
                    </a:cubicBezTo>
                    <a:cubicBezTo>
                      <a:pt x="91" y="35"/>
                      <a:pt x="95" y="36"/>
                      <a:pt x="96" y="37"/>
                    </a:cubicBezTo>
                    <a:cubicBezTo>
                      <a:pt x="96" y="37"/>
                      <a:pt x="97" y="34"/>
                      <a:pt x="97" y="34"/>
                    </a:cubicBezTo>
                    <a:cubicBezTo>
                      <a:pt x="98" y="30"/>
                      <a:pt x="98" y="30"/>
                      <a:pt x="98" y="30"/>
                    </a:cubicBezTo>
                    <a:cubicBezTo>
                      <a:pt x="98" y="30"/>
                      <a:pt x="97" y="26"/>
                      <a:pt x="97" y="26"/>
                    </a:cubicBezTo>
                    <a:cubicBezTo>
                      <a:pt x="98" y="26"/>
                      <a:pt x="101" y="21"/>
                      <a:pt x="101" y="21"/>
                    </a:cubicBezTo>
                    <a:cubicBezTo>
                      <a:pt x="101" y="21"/>
                      <a:pt x="101" y="16"/>
                      <a:pt x="101" y="15"/>
                    </a:cubicBezTo>
                    <a:cubicBezTo>
                      <a:pt x="101" y="15"/>
                      <a:pt x="101" y="12"/>
                      <a:pt x="101" y="12"/>
                    </a:cubicBezTo>
                    <a:close/>
                    <a:moveTo>
                      <a:pt x="62" y="43"/>
                    </a:moveTo>
                    <a:cubicBezTo>
                      <a:pt x="61" y="44"/>
                      <a:pt x="61" y="44"/>
                      <a:pt x="60" y="44"/>
                    </a:cubicBezTo>
                    <a:cubicBezTo>
                      <a:pt x="59" y="45"/>
                      <a:pt x="59" y="45"/>
                      <a:pt x="59" y="45"/>
                    </a:cubicBezTo>
                    <a:cubicBezTo>
                      <a:pt x="59" y="45"/>
                      <a:pt x="59" y="45"/>
                      <a:pt x="59" y="45"/>
                    </a:cubicBezTo>
                    <a:cubicBezTo>
                      <a:pt x="59" y="46"/>
                      <a:pt x="58" y="46"/>
                      <a:pt x="58" y="46"/>
                    </a:cubicBezTo>
                    <a:cubicBezTo>
                      <a:pt x="57" y="46"/>
                      <a:pt x="57" y="46"/>
                      <a:pt x="57" y="46"/>
                    </a:cubicBezTo>
                    <a:cubicBezTo>
                      <a:pt x="57" y="46"/>
                      <a:pt x="56" y="47"/>
                      <a:pt x="56" y="47"/>
                    </a:cubicBezTo>
                    <a:cubicBezTo>
                      <a:pt x="56" y="47"/>
                      <a:pt x="56" y="47"/>
                      <a:pt x="55" y="47"/>
                    </a:cubicBezTo>
                    <a:cubicBezTo>
                      <a:pt x="55" y="47"/>
                      <a:pt x="55" y="47"/>
                      <a:pt x="54" y="47"/>
                    </a:cubicBezTo>
                    <a:cubicBezTo>
                      <a:pt x="54" y="47"/>
                      <a:pt x="54" y="48"/>
                      <a:pt x="54" y="48"/>
                    </a:cubicBezTo>
                    <a:cubicBezTo>
                      <a:pt x="54" y="47"/>
                      <a:pt x="54" y="47"/>
                      <a:pt x="54" y="47"/>
                    </a:cubicBezTo>
                    <a:cubicBezTo>
                      <a:pt x="54" y="47"/>
                      <a:pt x="55" y="47"/>
                      <a:pt x="55" y="46"/>
                    </a:cubicBezTo>
                    <a:cubicBezTo>
                      <a:pt x="56" y="46"/>
                      <a:pt x="56" y="46"/>
                      <a:pt x="56" y="46"/>
                    </a:cubicBezTo>
                    <a:cubicBezTo>
                      <a:pt x="56" y="45"/>
                      <a:pt x="56" y="45"/>
                      <a:pt x="57" y="44"/>
                    </a:cubicBezTo>
                    <a:cubicBezTo>
                      <a:pt x="58" y="44"/>
                      <a:pt x="58" y="43"/>
                      <a:pt x="58" y="43"/>
                    </a:cubicBezTo>
                    <a:cubicBezTo>
                      <a:pt x="59" y="43"/>
                      <a:pt x="59" y="43"/>
                      <a:pt x="60" y="43"/>
                    </a:cubicBezTo>
                    <a:cubicBezTo>
                      <a:pt x="60" y="43"/>
                      <a:pt x="60" y="42"/>
                      <a:pt x="61" y="42"/>
                    </a:cubicBezTo>
                    <a:cubicBezTo>
                      <a:pt x="62" y="42"/>
                      <a:pt x="62" y="42"/>
                      <a:pt x="62" y="42"/>
                    </a:cubicBezTo>
                    <a:cubicBezTo>
                      <a:pt x="62" y="42"/>
                      <a:pt x="62" y="43"/>
                      <a:pt x="62" y="43"/>
                    </a:cubicBezTo>
                    <a:close/>
                  </a:path>
                </a:pathLst>
              </a:custGeom>
              <a:solidFill>
                <a:srgbClr val="0181C7"/>
              </a:solid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14" name="Freeform 59"/>
              <p:cNvSpPr>
                <a:spLocks/>
              </p:cNvSpPr>
              <p:nvPr/>
            </p:nvSpPr>
            <p:spPr bwMode="auto">
              <a:xfrm>
                <a:off x="2544" y="1919"/>
                <a:ext cx="14" cy="5"/>
              </a:xfrm>
              <a:custGeom>
                <a:avLst/>
                <a:gdLst>
                  <a:gd name="T0" fmla="*/ 7 w 7"/>
                  <a:gd name="T1" fmla="*/ 1 h 2"/>
                  <a:gd name="T2" fmla="*/ 5 w 7"/>
                  <a:gd name="T3" fmla="*/ 0 h 2"/>
                  <a:gd name="T4" fmla="*/ 4 w 7"/>
                  <a:gd name="T5" fmla="*/ 1 h 2"/>
                  <a:gd name="T6" fmla="*/ 2 w 7"/>
                  <a:gd name="T7" fmla="*/ 1 h 2"/>
                  <a:gd name="T8" fmla="*/ 1 w 7"/>
                  <a:gd name="T9" fmla="*/ 1 h 2"/>
                  <a:gd name="T10" fmla="*/ 0 w 7"/>
                  <a:gd name="T11" fmla="*/ 2 h 2"/>
                  <a:gd name="T12" fmla="*/ 0 w 7"/>
                  <a:gd name="T13" fmla="*/ 2 h 2"/>
                  <a:gd name="T14" fmla="*/ 1 w 7"/>
                  <a:gd name="T15" fmla="*/ 2 h 2"/>
                  <a:gd name="T16" fmla="*/ 2 w 7"/>
                  <a:gd name="T17" fmla="*/ 2 h 2"/>
                  <a:gd name="T18" fmla="*/ 4 w 7"/>
                  <a:gd name="T19" fmla="*/ 2 h 2"/>
                  <a:gd name="T20" fmla="*/ 5 w 7"/>
                  <a:gd name="T21" fmla="*/ 1 h 2"/>
                  <a:gd name="T22" fmla="*/ 7 w 7"/>
                  <a:gd name="T23" fmla="*/ 1 h 2"/>
                  <a:gd name="T24" fmla="*/ 7 w 7"/>
                  <a:gd name="T25"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2">
                    <a:moveTo>
                      <a:pt x="7" y="1"/>
                    </a:moveTo>
                    <a:cubicBezTo>
                      <a:pt x="7" y="0"/>
                      <a:pt x="6" y="0"/>
                      <a:pt x="5" y="0"/>
                    </a:cubicBezTo>
                    <a:cubicBezTo>
                      <a:pt x="5" y="0"/>
                      <a:pt x="4" y="1"/>
                      <a:pt x="4" y="1"/>
                    </a:cubicBezTo>
                    <a:cubicBezTo>
                      <a:pt x="4" y="0"/>
                      <a:pt x="3" y="1"/>
                      <a:pt x="2" y="1"/>
                    </a:cubicBezTo>
                    <a:cubicBezTo>
                      <a:pt x="2" y="0"/>
                      <a:pt x="1" y="1"/>
                      <a:pt x="1" y="1"/>
                    </a:cubicBezTo>
                    <a:cubicBezTo>
                      <a:pt x="0" y="1"/>
                      <a:pt x="0" y="2"/>
                      <a:pt x="0" y="2"/>
                    </a:cubicBezTo>
                    <a:cubicBezTo>
                      <a:pt x="0" y="2"/>
                      <a:pt x="0" y="2"/>
                      <a:pt x="0" y="2"/>
                    </a:cubicBezTo>
                    <a:cubicBezTo>
                      <a:pt x="1" y="1"/>
                      <a:pt x="1" y="2"/>
                      <a:pt x="1" y="2"/>
                    </a:cubicBezTo>
                    <a:cubicBezTo>
                      <a:pt x="2" y="2"/>
                      <a:pt x="2" y="2"/>
                      <a:pt x="2" y="2"/>
                    </a:cubicBezTo>
                    <a:cubicBezTo>
                      <a:pt x="3" y="2"/>
                      <a:pt x="3" y="2"/>
                      <a:pt x="4" y="2"/>
                    </a:cubicBezTo>
                    <a:cubicBezTo>
                      <a:pt x="4" y="1"/>
                      <a:pt x="5" y="1"/>
                      <a:pt x="5" y="1"/>
                    </a:cubicBezTo>
                    <a:cubicBezTo>
                      <a:pt x="7" y="1"/>
                      <a:pt x="7" y="1"/>
                      <a:pt x="7" y="1"/>
                    </a:cubicBezTo>
                    <a:cubicBezTo>
                      <a:pt x="7" y="1"/>
                      <a:pt x="7" y="1"/>
                      <a:pt x="7" y="1"/>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15" name="Freeform 60"/>
              <p:cNvSpPr>
                <a:spLocks/>
              </p:cNvSpPr>
              <p:nvPr/>
            </p:nvSpPr>
            <p:spPr bwMode="auto">
              <a:xfrm>
                <a:off x="2339" y="2100"/>
                <a:ext cx="42" cy="20"/>
              </a:xfrm>
              <a:custGeom>
                <a:avLst/>
                <a:gdLst>
                  <a:gd name="T0" fmla="*/ 1 w 21"/>
                  <a:gd name="T1" fmla="*/ 3 h 10"/>
                  <a:gd name="T2" fmla="*/ 2 w 21"/>
                  <a:gd name="T3" fmla="*/ 5 h 10"/>
                  <a:gd name="T4" fmla="*/ 2 w 21"/>
                  <a:gd name="T5" fmla="*/ 6 h 10"/>
                  <a:gd name="T6" fmla="*/ 3 w 21"/>
                  <a:gd name="T7" fmla="*/ 6 h 10"/>
                  <a:gd name="T8" fmla="*/ 6 w 21"/>
                  <a:gd name="T9" fmla="*/ 4 h 10"/>
                  <a:gd name="T10" fmla="*/ 8 w 21"/>
                  <a:gd name="T11" fmla="*/ 5 h 10"/>
                  <a:gd name="T12" fmla="*/ 10 w 21"/>
                  <a:gd name="T13" fmla="*/ 7 h 10"/>
                  <a:gd name="T14" fmla="*/ 10 w 21"/>
                  <a:gd name="T15" fmla="*/ 7 h 10"/>
                  <a:gd name="T16" fmla="*/ 11 w 21"/>
                  <a:gd name="T17" fmla="*/ 8 h 10"/>
                  <a:gd name="T18" fmla="*/ 12 w 21"/>
                  <a:gd name="T19" fmla="*/ 10 h 10"/>
                  <a:gd name="T20" fmla="*/ 12 w 21"/>
                  <a:gd name="T21" fmla="*/ 10 h 10"/>
                  <a:gd name="T22" fmla="*/ 13 w 21"/>
                  <a:gd name="T23" fmla="*/ 10 h 10"/>
                  <a:gd name="T24" fmla="*/ 18 w 21"/>
                  <a:gd name="T25" fmla="*/ 9 h 10"/>
                  <a:gd name="T26" fmla="*/ 19 w 21"/>
                  <a:gd name="T27" fmla="*/ 8 h 10"/>
                  <a:gd name="T28" fmla="*/ 19 w 21"/>
                  <a:gd name="T29" fmla="*/ 6 h 10"/>
                  <a:gd name="T30" fmla="*/ 20 w 21"/>
                  <a:gd name="T31" fmla="*/ 5 h 10"/>
                  <a:gd name="T32" fmla="*/ 21 w 21"/>
                  <a:gd name="T33" fmla="*/ 5 h 10"/>
                  <a:gd name="T34" fmla="*/ 21 w 21"/>
                  <a:gd name="T35" fmla="*/ 5 h 10"/>
                  <a:gd name="T36" fmla="*/ 20 w 21"/>
                  <a:gd name="T37" fmla="*/ 5 h 10"/>
                  <a:gd name="T38" fmla="*/ 19 w 21"/>
                  <a:gd name="T39" fmla="*/ 4 h 10"/>
                  <a:gd name="T40" fmla="*/ 17 w 21"/>
                  <a:gd name="T41" fmla="*/ 2 h 10"/>
                  <a:gd name="T42" fmla="*/ 17 w 21"/>
                  <a:gd name="T43" fmla="*/ 2 h 10"/>
                  <a:gd name="T44" fmla="*/ 16 w 21"/>
                  <a:gd name="T45" fmla="*/ 3 h 10"/>
                  <a:gd name="T46" fmla="*/ 16 w 21"/>
                  <a:gd name="T47" fmla="*/ 4 h 10"/>
                  <a:gd name="T48" fmla="*/ 15 w 21"/>
                  <a:gd name="T49" fmla="*/ 4 h 10"/>
                  <a:gd name="T50" fmla="*/ 13 w 21"/>
                  <a:gd name="T51" fmla="*/ 5 h 10"/>
                  <a:gd name="T52" fmla="*/ 11 w 21"/>
                  <a:gd name="T53" fmla="*/ 4 h 10"/>
                  <a:gd name="T54" fmla="*/ 8 w 21"/>
                  <a:gd name="T55" fmla="*/ 3 h 10"/>
                  <a:gd name="T56" fmla="*/ 6 w 21"/>
                  <a:gd name="T57" fmla="*/ 1 h 10"/>
                  <a:gd name="T58" fmla="*/ 5 w 21"/>
                  <a:gd name="T59" fmla="*/ 0 h 10"/>
                  <a:gd name="T60" fmla="*/ 3 w 21"/>
                  <a:gd name="T61" fmla="*/ 0 h 10"/>
                  <a:gd name="T62" fmla="*/ 0 w 21"/>
                  <a:gd name="T63" fmla="*/ 1 h 10"/>
                  <a:gd name="T64" fmla="*/ 0 w 21"/>
                  <a:gd name="T65" fmla="*/ 4 h 10"/>
                  <a:gd name="T66" fmla="*/ 1 w 21"/>
                  <a:gd name="T67"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 h="10">
                    <a:moveTo>
                      <a:pt x="1" y="3"/>
                    </a:moveTo>
                    <a:cubicBezTo>
                      <a:pt x="2" y="5"/>
                      <a:pt x="2" y="5"/>
                      <a:pt x="2" y="5"/>
                    </a:cubicBezTo>
                    <a:cubicBezTo>
                      <a:pt x="2" y="5"/>
                      <a:pt x="2" y="6"/>
                      <a:pt x="2" y="6"/>
                    </a:cubicBezTo>
                    <a:cubicBezTo>
                      <a:pt x="3" y="6"/>
                      <a:pt x="3" y="6"/>
                      <a:pt x="3" y="6"/>
                    </a:cubicBezTo>
                    <a:cubicBezTo>
                      <a:pt x="3" y="5"/>
                      <a:pt x="5" y="4"/>
                      <a:pt x="6" y="4"/>
                    </a:cubicBezTo>
                    <a:cubicBezTo>
                      <a:pt x="7" y="4"/>
                      <a:pt x="7" y="5"/>
                      <a:pt x="8" y="5"/>
                    </a:cubicBezTo>
                    <a:cubicBezTo>
                      <a:pt x="9" y="5"/>
                      <a:pt x="9" y="6"/>
                      <a:pt x="10" y="7"/>
                    </a:cubicBezTo>
                    <a:cubicBezTo>
                      <a:pt x="10" y="7"/>
                      <a:pt x="10" y="7"/>
                      <a:pt x="10" y="7"/>
                    </a:cubicBezTo>
                    <a:cubicBezTo>
                      <a:pt x="11" y="8"/>
                      <a:pt x="11" y="8"/>
                      <a:pt x="11" y="8"/>
                    </a:cubicBezTo>
                    <a:cubicBezTo>
                      <a:pt x="12" y="10"/>
                      <a:pt x="12" y="10"/>
                      <a:pt x="12" y="10"/>
                    </a:cubicBezTo>
                    <a:cubicBezTo>
                      <a:pt x="12" y="10"/>
                      <a:pt x="12" y="10"/>
                      <a:pt x="12" y="10"/>
                    </a:cubicBezTo>
                    <a:cubicBezTo>
                      <a:pt x="13" y="10"/>
                      <a:pt x="13" y="10"/>
                      <a:pt x="13" y="10"/>
                    </a:cubicBezTo>
                    <a:cubicBezTo>
                      <a:pt x="14" y="10"/>
                      <a:pt x="15" y="10"/>
                      <a:pt x="18" y="9"/>
                    </a:cubicBezTo>
                    <a:cubicBezTo>
                      <a:pt x="18" y="9"/>
                      <a:pt x="18" y="8"/>
                      <a:pt x="19" y="8"/>
                    </a:cubicBezTo>
                    <a:cubicBezTo>
                      <a:pt x="19" y="7"/>
                      <a:pt x="19" y="7"/>
                      <a:pt x="19" y="6"/>
                    </a:cubicBezTo>
                    <a:cubicBezTo>
                      <a:pt x="20" y="5"/>
                      <a:pt x="20" y="5"/>
                      <a:pt x="20" y="5"/>
                    </a:cubicBezTo>
                    <a:cubicBezTo>
                      <a:pt x="21" y="5"/>
                      <a:pt x="21" y="5"/>
                      <a:pt x="21" y="5"/>
                    </a:cubicBezTo>
                    <a:cubicBezTo>
                      <a:pt x="21" y="5"/>
                      <a:pt x="21" y="5"/>
                      <a:pt x="21" y="5"/>
                    </a:cubicBezTo>
                    <a:cubicBezTo>
                      <a:pt x="21" y="5"/>
                      <a:pt x="20" y="5"/>
                      <a:pt x="20" y="5"/>
                    </a:cubicBezTo>
                    <a:cubicBezTo>
                      <a:pt x="19" y="4"/>
                      <a:pt x="19" y="4"/>
                      <a:pt x="19" y="4"/>
                    </a:cubicBezTo>
                    <a:cubicBezTo>
                      <a:pt x="19" y="4"/>
                      <a:pt x="17" y="3"/>
                      <a:pt x="17" y="2"/>
                    </a:cubicBezTo>
                    <a:cubicBezTo>
                      <a:pt x="17" y="2"/>
                      <a:pt x="17" y="2"/>
                      <a:pt x="17" y="2"/>
                    </a:cubicBezTo>
                    <a:cubicBezTo>
                      <a:pt x="17" y="2"/>
                      <a:pt x="16" y="3"/>
                      <a:pt x="16" y="3"/>
                    </a:cubicBezTo>
                    <a:cubicBezTo>
                      <a:pt x="16" y="4"/>
                      <a:pt x="16" y="4"/>
                      <a:pt x="16" y="4"/>
                    </a:cubicBezTo>
                    <a:cubicBezTo>
                      <a:pt x="16" y="4"/>
                      <a:pt x="15" y="4"/>
                      <a:pt x="15" y="4"/>
                    </a:cubicBezTo>
                    <a:cubicBezTo>
                      <a:pt x="14" y="5"/>
                      <a:pt x="13" y="5"/>
                      <a:pt x="13" y="5"/>
                    </a:cubicBezTo>
                    <a:cubicBezTo>
                      <a:pt x="13" y="5"/>
                      <a:pt x="11" y="4"/>
                      <a:pt x="11" y="4"/>
                    </a:cubicBezTo>
                    <a:cubicBezTo>
                      <a:pt x="10" y="3"/>
                      <a:pt x="9" y="3"/>
                      <a:pt x="8" y="3"/>
                    </a:cubicBezTo>
                    <a:cubicBezTo>
                      <a:pt x="8" y="3"/>
                      <a:pt x="6" y="2"/>
                      <a:pt x="6" y="1"/>
                    </a:cubicBezTo>
                    <a:cubicBezTo>
                      <a:pt x="5" y="1"/>
                      <a:pt x="5" y="0"/>
                      <a:pt x="5" y="0"/>
                    </a:cubicBezTo>
                    <a:cubicBezTo>
                      <a:pt x="5" y="0"/>
                      <a:pt x="3" y="0"/>
                      <a:pt x="3" y="0"/>
                    </a:cubicBezTo>
                    <a:cubicBezTo>
                      <a:pt x="3" y="0"/>
                      <a:pt x="0" y="1"/>
                      <a:pt x="0" y="1"/>
                    </a:cubicBezTo>
                    <a:cubicBezTo>
                      <a:pt x="0" y="4"/>
                      <a:pt x="0" y="4"/>
                      <a:pt x="0" y="4"/>
                    </a:cubicBezTo>
                    <a:lnTo>
                      <a:pt x="1" y="3"/>
                    </a:ln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16" name="Freeform 61"/>
              <p:cNvSpPr>
                <a:spLocks/>
              </p:cNvSpPr>
              <p:nvPr/>
            </p:nvSpPr>
            <p:spPr bwMode="auto">
              <a:xfrm>
                <a:off x="2419" y="1958"/>
                <a:ext cx="12" cy="16"/>
              </a:xfrm>
              <a:custGeom>
                <a:avLst/>
                <a:gdLst>
                  <a:gd name="T0" fmla="*/ 2 w 6"/>
                  <a:gd name="T1" fmla="*/ 8 h 8"/>
                  <a:gd name="T2" fmla="*/ 2 w 6"/>
                  <a:gd name="T3" fmla="*/ 8 h 8"/>
                  <a:gd name="T4" fmla="*/ 4 w 6"/>
                  <a:gd name="T5" fmla="*/ 7 h 8"/>
                  <a:gd name="T6" fmla="*/ 5 w 6"/>
                  <a:gd name="T7" fmla="*/ 5 h 8"/>
                  <a:gd name="T8" fmla="*/ 6 w 6"/>
                  <a:gd name="T9" fmla="*/ 3 h 8"/>
                  <a:gd name="T10" fmla="*/ 5 w 6"/>
                  <a:gd name="T11" fmla="*/ 1 h 8"/>
                  <a:gd name="T12" fmla="*/ 4 w 6"/>
                  <a:gd name="T13" fmla="*/ 0 h 8"/>
                  <a:gd name="T14" fmla="*/ 3 w 6"/>
                  <a:gd name="T15" fmla="*/ 2 h 8"/>
                  <a:gd name="T16" fmla="*/ 2 w 6"/>
                  <a:gd name="T17" fmla="*/ 3 h 8"/>
                  <a:gd name="T18" fmla="*/ 1 w 6"/>
                  <a:gd name="T19" fmla="*/ 5 h 8"/>
                  <a:gd name="T20" fmla="*/ 0 w 6"/>
                  <a:gd name="T21" fmla="*/ 7 h 8"/>
                  <a:gd name="T22" fmla="*/ 2 w 6"/>
                  <a:gd name="T2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8">
                    <a:moveTo>
                      <a:pt x="2" y="8"/>
                    </a:moveTo>
                    <a:cubicBezTo>
                      <a:pt x="2" y="8"/>
                      <a:pt x="2" y="8"/>
                      <a:pt x="2" y="8"/>
                    </a:cubicBezTo>
                    <a:cubicBezTo>
                      <a:pt x="4" y="7"/>
                      <a:pt x="4" y="7"/>
                      <a:pt x="4" y="7"/>
                    </a:cubicBezTo>
                    <a:cubicBezTo>
                      <a:pt x="4" y="7"/>
                      <a:pt x="5" y="5"/>
                      <a:pt x="5" y="5"/>
                    </a:cubicBezTo>
                    <a:cubicBezTo>
                      <a:pt x="6" y="5"/>
                      <a:pt x="6" y="3"/>
                      <a:pt x="6" y="3"/>
                    </a:cubicBezTo>
                    <a:cubicBezTo>
                      <a:pt x="5" y="1"/>
                      <a:pt x="5" y="1"/>
                      <a:pt x="5" y="1"/>
                    </a:cubicBezTo>
                    <a:cubicBezTo>
                      <a:pt x="4" y="0"/>
                      <a:pt x="4" y="0"/>
                      <a:pt x="4" y="0"/>
                    </a:cubicBezTo>
                    <a:cubicBezTo>
                      <a:pt x="4" y="0"/>
                      <a:pt x="4" y="2"/>
                      <a:pt x="3" y="2"/>
                    </a:cubicBezTo>
                    <a:cubicBezTo>
                      <a:pt x="3" y="2"/>
                      <a:pt x="3" y="3"/>
                      <a:pt x="2" y="3"/>
                    </a:cubicBezTo>
                    <a:cubicBezTo>
                      <a:pt x="1" y="4"/>
                      <a:pt x="1" y="5"/>
                      <a:pt x="1" y="5"/>
                    </a:cubicBezTo>
                    <a:cubicBezTo>
                      <a:pt x="1" y="6"/>
                      <a:pt x="0" y="7"/>
                      <a:pt x="0" y="7"/>
                    </a:cubicBezTo>
                    <a:cubicBezTo>
                      <a:pt x="0" y="8"/>
                      <a:pt x="1" y="8"/>
                      <a:pt x="2" y="8"/>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17" name="Freeform 62"/>
              <p:cNvSpPr>
                <a:spLocks/>
              </p:cNvSpPr>
              <p:nvPr/>
            </p:nvSpPr>
            <p:spPr bwMode="auto">
              <a:xfrm>
                <a:off x="2369" y="2066"/>
                <a:ext cx="26" cy="20"/>
              </a:xfrm>
              <a:custGeom>
                <a:avLst/>
                <a:gdLst>
                  <a:gd name="T0" fmla="*/ 2 w 13"/>
                  <a:gd name="T1" fmla="*/ 3 h 10"/>
                  <a:gd name="T2" fmla="*/ 2 w 13"/>
                  <a:gd name="T3" fmla="*/ 3 h 10"/>
                  <a:gd name="T4" fmla="*/ 3 w 13"/>
                  <a:gd name="T5" fmla="*/ 2 h 10"/>
                  <a:gd name="T6" fmla="*/ 4 w 13"/>
                  <a:gd name="T7" fmla="*/ 3 h 10"/>
                  <a:gd name="T8" fmla="*/ 4 w 13"/>
                  <a:gd name="T9" fmla="*/ 4 h 10"/>
                  <a:gd name="T10" fmla="*/ 5 w 13"/>
                  <a:gd name="T11" fmla="*/ 5 h 10"/>
                  <a:gd name="T12" fmla="*/ 5 w 13"/>
                  <a:gd name="T13" fmla="*/ 6 h 10"/>
                  <a:gd name="T14" fmla="*/ 5 w 13"/>
                  <a:gd name="T15" fmla="*/ 7 h 10"/>
                  <a:gd name="T16" fmla="*/ 6 w 13"/>
                  <a:gd name="T17" fmla="*/ 7 h 10"/>
                  <a:gd name="T18" fmla="*/ 8 w 13"/>
                  <a:gd name="T19" fmla="*/ 8 h 10"/>
                  <a:gd name="T20" fmla="*/ 9 w 13"/>
                  <a:gd name="T21" fmla="*/ 9 h 10"/>
                  <a:gd name="T22" fmla="*/ 10 w 13"/>
                  <a:gd name="T23" fmla="*/ 10 h 10"/>
                  <a:gd name="T24" fmla="*/ 11 w 13"/>
                  <a:gd name="T25" fmla="*/ 10 h 10"/>
                  <a:gd name="T26" fmla="*/ 12 w 13"/>
                  <a:gd name="T27" fmla="*/ 10 h 10"/>
                  <a:gd name="T28" fmla="*/ 13 w 13"/>
                  <a:gd name="T29" fmla="*/ 9 h 10"/>
                  <a:gd name="T30" fmla="*/ 12 w 13"/>
                  <a:gd name="T31" fmla="*/ 8 h 10"/>
                  <a:gd name="T32" fmla="*/ 11 w 13"/>
                  <a:gd name="T33" fmla="*/ 7 h 10"/>
                  <a:gd name="T34" fmla="*/ 11 w 13"/>
                  <a:gd name="T35" fmla="*/ 6 h 10"/>
                  <a:gd name="T36" fmla="*/ 10 w 13"/>
                  <a:gd name="T37" fmla="*/ 6 h 10"/>
                  <a:gd name="T38" fmla="*/ 9 w 13"/>
                  <a:gd name="T39" fmla="*/ 5 h 10"/>
                  <a:gd name="T40" fmla="*/ 8 w 13"/>
                  <a:gd name="T41" fmla="*/ 4 h 10"/>
                  <a:gd name="T42" fmla="*/ 7 w 13"/>
                  <a:gd name="T43" fmla="*/ 3 h 10"/>
                  <a:gd name="T44" fmla="*/ 6 w 13"/>
                  <a:gd name="T45" fmla="*/ 3 h 10"/>
                  <a:gd name="T46" fmla="*/ 4 w 13"/>
                  <a:gd name="T47" fmla="*/ 1 h 10"/>
                  <a:gd name="T48" fmla="*/ 4 w 13"/>
                  <a:gd name="T49" fmla="*/ 0 h 10"/>
                  <a:gd name="T50" fmla="*/ 2 w 13"/>
                  <a:gd name="T51" fmla="*/ 1 h 10"/>
                  <a:gd name="T52" fmla="*/ 1 w 13"/>
                  <a:gd name="T53" fmla="*/ 1 h 10"/>
                  <a:gd name="T54" fmla="*/ 0 w 13"/>
                  <a:gd name="T55" fmla="*/ 2 h 10"/>
                  <a:gd name="T56" fmla="*/ 1 w 13"/>
                  <a:gd name="T57" fmla="*/ 3 h 10"/>
                  <a:gd name="T58" fmla="*/ 2 w 13"/>
                  <a:gd name="T59"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 h="10">
                    <a:moveTo>
                      <a:pt x="2" y="3"/>
                    </a:moveTo>
                    <a:cubicBezTo>
                      <a:pt x="2" y="3"/>
                      <a:pt x="2" y="3"/>
                      <a:pt x="2" y="3"/>
                    </a:cubicBezTo>
                    <a:cubicBezTo>
                      <a:pt x="2" y="3"/>
                      <a:pt x="3" y="2"/>
                      <a:pt x="3" y="2"/>
                    </a:cubicBezTo>
                    <a:cubicBezTo>
                      <a:pt x="3" y="2"/>
                      <a:pt x="4" y="3"/>
                      <a:pt x="4" y="3"/>
                    </a:cubicBezTo>
                    <a:cubicBezTo>
                      <a:pt x="4" y="3"/>
                      <a:pt x="4" y="4"/>
                      <a:pt x="4" y="4"/>
                    </a:cubicBezTo>
                    <a:cubicBezTo>
                      <a:pt x="5" y="5"/>
                      <a:pt x="5" y="5"/>
                      <a:pt x="5" y="5"/>
                    </a:cubicBezTo>
                    <a:cubicBezTo>
                      <a:pt x="5" y="5"/>
                      <a:pt x="5" y="6"/>
                      <a:pt x="5" y="6"/>
                    </a:cubicBezTo>
                    <a:cubicBezTo>
                      <a:pt x="5" y="7"/>
                      <a:pt x="5" y="7"/>
                      <a:pt x="5" y="7"/>
                    </a:cubicBezTo>
                    <a:cubicBezTo>
                      <a:pt x="5" y="7"/>
                      <a:pt x="6" y="7"/>
                      <a:pt x="6" y="7"/>
                    </a:cubicBezTo>
                    <a:cubicBezTo>
                      <a:pt x="6" y="7"/>
                      <a:pt x="7" y="8"/>
                      <a:pt x="8" y="8"/>
                    </a:cubicBezTo>
                    <a:cubicBezTo>
                      <a:pt x="9" y="9"/>
                      <a:pt x="8" y="9"/>
                      <a:pt x="9" y="9"/>
                    </a:cubicBezTo>
                    <a:cubicBezTo>
                      <a:pt x="9" y="9"/>
                      <a:pt x="9" y="9"/>
                      <a:pt x="10" y="10"/>
                    </a:cubicBezTo>
                    <a:cubicBezTo>
                      <a:pt x="11" y="10"/>
                      <a:pt x="11" y="10"/>
                      <a:pt x="11" y="10"/>
                    </a:cubicBezTo>
                    <a:cubicBezTo>
                      <a:pt x="12" y="10"/>
                      <a:pt x="12" y="10"/>
                      <a:pt x="12" y="10"/>
                    </a:cubicBezTo>
                    <a:cubicBezTo>
                      <a:pt x="12" y="10"/>
                      <a:pt x="12" y="9"/>
                      <a:pt x="13" y="9"/>
                    </a:cubicBezTo>
                    <a:cubicBezTo>
                      <a:pt x="13" y="9"/>
                      <a:pt x="12" y="8"/>
                      <a:pt x="12" y="8"/>
                    </a:cubicBezTo>
                    <a:cubicBezTo>
                      <a:pt x="12" y="8"/>
                      <a:pt x="11" y="8"/>
                      <a:pt x="11" y="7"/>
                    </a:cubicBezTo>
                    <a:cubicBezTo>
                      <a:pt x="11" y="7"/>
                      <a:pt x="11" y="7"/>
                      <a:pt x="11" y="6"/>
                    </a:cubicBezTo>
                    <a:cubicBezTo>
                      <a:pt x="10" y="6"/>
                      <a:pt x="10" y="6"/>
                      <a:pt x="10" y="6"/>
                    </a:cubicBezTo>
                    <a:cubicBezTo>
                      <a:pt x="9" y="5"/>
                      <a:pt x="9" y="5"/>
                      <a:pt x="9" y="5"/>
                    </a:cubicBezTo>
                    <a:cubicBezTo>
                      <a:pt x="8" y="5"/>
                      <a:pt x="8" y="4"/>
                      <a:pt x="8" y="4"/>
                    </a:cubicBezTo>
                    <a:cubicBezTo>
                      <a:pt x="8" y="4"/>
                      <a:pt x="7" y="3"/>
                      <a:pt x="7" y="3"/>
                    </a:cubicBezTo>
                    <a:cubicBezTo>
                      <a:pt x="6" y="3"/>
                      <a:pt x="6" y="3"/>
                      <a:pt x="6" y="3"/>
                    </a:cubicBezTo>
                    <a:cubicBezTo>
                      <a:pt x="6" y="3"/>
                      <a:pt x="5" y="2"/>
                      <a:pt x="4" y="1"/>
                    </a:cubicBezTo>
                    <a:cubicBezTo>
                      <a:pt x="4" y="1"/>
                      <a:pt x="4" y="0"/>
                      <a:pt x="4" y="0"/>
                    </a:cubicBezTo>
                    <a:cubicBezTo>
                      <a:pt x="4" y="0"/>
                      <a:pt x="3" y="1"/>
                      <a:pt x="2" y="1"/>
                    </a:cubicBezTo>
                    <a:cubicBezTo>
                      <a:pt x="2" y="1"/>
                      <a:pt x="1" y="1"/>
                      <a:pt x="1" y="1"/>
                    </a:cubicBezTo>
                    <a:cubicBezTo>
                      <a:pt x="0" y="1"/>
                      <a:pt x="0" y="2"/>
                      <a:pt x="0" y="2"/>
                    </a:cubicBezTo>
                    <a:cubicBezTo>
                      <a:pt x="0" y="2"/>
                      <a:pt x="0" y="3"/>
                      <a:pt x="1" y="3"/>
                    </a:cubicBezTo>
                    <a:cubicBezTo>
                      <a:pt x="1" y="4"/>
                      <a:pt x="2" y="3"/>
                      <a:pt x="2" y="3"/>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18" name="Freeform 63"/>
              <p:cNvSpPr>
                <a:spLocks/>
              </p:cNvSpPr>
              <p:nvPr/>
            </p:nvSpPr>
            <p:spPr bwMode="auto">
              <a:xfrm>
                <a:off x="2429" y="1950"/>
                <a:ext cx="12" cy="8"/>
              </a:xfrm>
              <a:custGeom>
                <a:avLst/>
                <a:gdLst>
                  <a:gd name="T0" fmla="*/ 1 w 6"/>
                  <a:gd name="T1" fmla="*/ 4 h 4"/>
                  <a:gd name="T2" fmla="*/ 2 w 6"/>
                  <a:gd name="T3" fmla="*/ 3 h 4"/>
                  <a:gd name="T4" fmla="*/ 2 w 6"/>
                  <a:gd name="T5" fmla="*/ 2 h 4"/>
                  <a:gd name="T6" fmla="*/ 4 w 6"/>
                  <a:gd name="T7" fmla="*/ 1 h 4"/>
                  <a:gd name="T8" fmla="*/ 6 w 6"/>
                  <a:gd name="T9" fmla="*/ 0 h 4"/>
                  <a:gd name="T10" fmla="*/ 5 w 6"/>
                  <a:gd name="T11" fmla="*/ 0 h 4"/>
                  <a:gd name="T12" fmla="*/ 3 w 6"/>
                  <a:gd name="T13" fmla="*/ 0 h 4"/>
                  <a:gd name="T14" fmla="*/ 2 w 6"/>
                  <a:gd name="T15" fmla="*/ 1 h 4"/>
                  <a:gd name="T16" fmla="*/ 0 w 6"/>
                  <a:gd name="T17" fmla="*/ 3 h 4"/>
                  <a:gd name="T18" fmla="*/ 0 w 6"/>
                  <a:gd name="T19" fmla="*/ 3 h 4"/>
                  <a:gd name="T20" fmla="*/ 1 w 6"/>
                  <a:gd name="T2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1" y="4"/>
                    </a:moveTo>
                    <a:cubicBezTo>
                      <a:pt x="1" y="4"/>
                      <a:pt x="1" y="3"/>
                      <a:pt x="2" y="3"/>
                    </a:cubicBezTo>
                    <a:cubicBezTo>
                      <a:pt x="2" y="2"/>
                      <a:pt x="2" y="2"/>
                      <a:pt x="2" y="2"/>
                    </a:cubicBezTo>
                    <a:cubicBezTo>
                      <a:pt x="2" y="2"/>
                      <a:pt x="3" y="1"/>
                      <a:pt x="4" y="1"/>
                    </a:cubicBezTo>
                    <a:cubicBezTo>
                      <a:pt x="4" y="1"/>
                      <a:pt x="6" y="0"/>
                      <a:pt x="6" y="0"/>
                    </a:cubicBezTo>
                    <a:cubicBezTo>
                      <a:pt x="5" y="0"/>
                      <a:pt x="5" y="0"/>
                      <a:pt x="5" y="0"/>
                    </a:cubicBezTo>
                    <a:cubicBezTo>
                      <a:pt x="5" y="0"/>
                      <a:pt x="4" y="0"/>
                      <a:pt x="3" y="0"/>
                    </a:cubicBezTo>
                    <a:cubicBezTo>
                      <a:pt x="3" y="0"/>
                      <a:pt x="2" y="1"/>
                      <a:pt x="2" y="1"/>
                    </a:cubicBezTo>
                    <a:cubicBezTo>
                      <a:pt x="2" y="1"/>
                      <a:pt x="0" y="3"/>
                      <a:pt x="0" y="3"/>
                    </a:cubicBezTo>
                    <a:cubicBezTo>
                      <a:pt x="0" y="3"/>
                      <a:pt x="0" y="3"/>
                      <a:pt x="0" y="3"/>
                    </a:cubicBezTo>
                    <a:lnTo>
                      <a:pt x="1" y="4"/>
                    </a:ln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19" name="Freeform 64"/>
              <p:cNvSpPr>
                <a:spLocks/>
              </p:cNvSpPr>
              <p:nvPr/>
            </p:nvSpPr>
            <p:spPr bwMode="auto">
              <a:xfrm>
                <a:off x="2502" y="2496"/>
                <a:ext cx="786" cy="788"/>
              </a:xfrm>
              <a:custGeom>
                <a:avLst/>
                <a:gdLst>
                  <a:gd name="T0" fmla="*/ 322 w 392"/>
                  <a:gd name="T1" fmla="*/ 246 h 393"/>
                  <a:gd name="T2" fmla="*/ 306 w 392"/>
                  <a:gd name="T3" fmla="*/ 223 h 393"/>
                  <a:gd name="T4" fmla="*/ 250 w 392"/>
                  <a:gd name="T5" fmla="*/ 204 h 393"/>
                  <a:gd name="T6" fmla="*/ 217 w 392"/>
                  <a:gd name="T7" fmla="*/ 150 h 393"/>
                  <a:gd name="T8" fmla="*/ 176 w 392"/>
                  <a:gd name="T9" fmla="*/ 96 h 393"/>
                  <a:gd name="T10" fmla="*/ 178 w 392"/>
                  <a:gd name="T11" fmla="*/ 71 h 393"/>
                  <a:gd name="T12" fmla="*/ 204 w 392"/>
                  <a:gd name="T13" fmla="*/ 61 h 393"/>
                  <a:gd name="T14" fmla="*/ 211 w 392"/>
                  <a:gd name="T15" fmla="*/ 49 h 393"/>
                  <a:gd name="T16" fmla="*/ 206 w 392"/>
                  <a:gd name="T17" fmla="*/ 46 h 393"/>
                  <a:gd name="T18" fmla="*/ 209 w 392"/>
                  <a:gd name="T19" fmla="*/ 39 h 393"/>
                  <a:gd name="T20" fmla="*/ 204 w 392"/>
                  <a:gd name="T21" fmla="*/ 31 h 393"/>
                  <a:gd name="T22" fmla="*/ 206 w 392"/>
                  <a:gd name="T23" fmla="*/ 23 h 393"/>
                  <a:gd name="T24" fmla="*/ 167 w 392"/>
                  <a:gd name="T25" fmla="*/ 13 h 393"/>
                  <a:gd name="T26" fmla="*/ 152 w 392"/>
                  <a:gd name="T27" fmla="*/ 3 h 393"/>
                  <a:gd name="T28" fmla="*/ 128 w 392"/>
                  <a:gd name="T29" fmla="*/ 15 h 393"/>
                  <a:gd name="T30" fmla="*/ 113 w 392"/>
                  <a:gd name="T31" fmla="*/ 14 h 393"/>
                  <a:gd name="T32" fmla="*/ 115 w 392"/>
                  <a:gd name="T33" fmla="*/ 22 h 393"/>
                  <a:gd name="T34" fmla="*/ 108 w 392"/>
                  <a:gd name="T35" fmla="*/ 23 h 393"/>
                  <a:gd name="T36" fmla="*/ 102 w 392"/>
                  <a:gd name="T37" fmla="*/ 25 h 393"/>
                  <a:gd name="T38" fmla="*/ 105 w 392"/>
                  <a:gd name="T39" fmla="*/ 31 h 393"/>
                  <a:gd name="T40" fmla="*/ 104 w 392"/>
                  <a:gd name="T41" fmla="*/ 39 h 393"/>
                  <a:gd name="T42" fmla="*/ 99 w 392"/>
                  <a:gd name="T43" fmla="*/ 33 h 393"/>
                  <a:gd name="T44" fmla="*/ 92 w 392"/>
                  <a:gd name="T45" fmla="*/ 36 h 393"/>
                  <a:gd name="T46" fmla="*/ 84 w 392"/>
                  <a:gd name="T47" fmla="*/ 28 h 393"/>
                  <a:gd name="T48" fmla="*/ 78 w 392"/>
                  <a:gd name="T49" fmla="*/ 30 h 393"/>
                  <a:gd name="T50" fmla="*/ 77 w 392"/>
                  <a:gd name="T51" fmla="*/ 40 h 393"/>
                  <a:gd name="T52" fmla="*/ 71 w 392"/>
                  <a:gd name="T53" fmla="*/ 48 h 393"/>
                  <a:gd name="T54" fmla="*/ 72 w 392"/>
                  <a:gd name="T55" fmla="*/ 57 h 393"/>
                  <a:gd name="T56" fmla="*/ 67 w 392"/>
                  <a:gd name="T57" fmla="*/ 52 h 393"/>
                  <a:gd name="T58" fmla="*/ 64 w 392"/>
                  <a:gd name="T59" fmla="*/ 46 h 393"/>
                  <a:gd name="T60" fmla="*/ 55 w 392"/>
                  <a:gd name="T61" fmla="*/ 41 h 393"/>
                  <a:gd name="T62" fmla="*/ 52 w 392"/>
                  <a:gd name="T63" fmla="*/ 33 h 393"/>
                  <a:gd name="T64" fmla="*/ 43 w 392"/>
                  <a:gd name="T65" fmla="*/ 37 h 393"/>
                  <a:gd name="T66" fmla="*/ 41 w 392"/>
                  <a:gd name="T67" fmla="*/ 45 h 393"/>
                  <a:gd name="T68" fmla="*/ 35 w 392"/>
                  <a:gd name="T69" fmla="*/ 52 h 393"/>
                  <a:gd name="T70" fmla="*/ 27 w 392"/>
                  <a:gd name="T71" fmla="*/ 51 h 393"/>
                  <a:gd name="T72" fmla="*/ 16 w 392"/>
                  <a:gd name="T73" fmla="*/ 54 h 393"/>
                  <a:gd name="T74" fmla="*/ 4 w 392"/>
                  <a:gd name="T75" fmla="*/ 59 h 393"/>
                  <a:gd name="T76" fmla="*/ 9 w 392"/>
                  <a:gd name="T77" fmla="*/ 87 h 393"/>
                  <a:gd name="T78" fmla="*/ 10 w 392"/>
                  <a:gd name="T79" fmla="*/ 109 h 393"/>
                  <a:gd name="T80" fmla="*/ 26 w 392"/>
                  <a:gd name="T81" fmla="*/ 127 h 393"/>
                  <a:gd name="T82" fmla="*/ 37 w 392"/>
                  <a:gd name="T83" fmla="*/ 141 h 393"/>
                  <a:gd name="T84" fmla="*/ 86 w 392"/>
                  <a:gd name="T85" fmla="*/ 130 h 393"/>
                  <a:gd name="T86" fmla="*/ 110 w 392"/>
                  <a:gd name="T87" fmla="*/ 153 h 393"/>
                  <a:gd name="T88" fmla="*/ 125 w 392"/>
                  <a:gd name="T89" fmla="*/ 187 h 393"/>
                  <a:gd name="T90" fmla="*/ 147 w 392"/>
                  <a:gd name="T91" fmla="*/ 206 h 393"/>
                  <a:gd name="T92" fmla="*/ 181 w 392"/>
                  <a:gd name="T93" fmla="*/ 239 h 393"/>
                  <a:gd name="T94" fmla="*/ 203 w 392"/>
                  <a:gd name="T95" fmla="*/ 253 h 393"/>
                  <a:gd name="T96" fmla="*/ 229 w 392"/>
                  <a:gd name="T97" fmla="*/ 255 h 393"/>
                  <a:gd name="T98" fmla="*/ 257 w 392"/>
                  <a:gd name="T99" fmla="*/ 280 h 393"/>
                  <a:gd name="T100" fmla="*/ 271 w 392"/>
                  <a:gd name="T101" fmla="*/ 292 h 393"/>
                  <a:gd name="T102" fmla="*/ 297 w 392"/>
                  <a:gd name="T103" fmla="*/ 301 h 393"/>
                  <a:gd name="T104" fmla="*/ 317 w 392"/>
                  <a:gd name="T105" fmla="*/ 344 h 393"/>
                  <a:gd name="T106" fmla="*/ 311 w 392"/>
                  <a:gd name="T107" fmla="*/ 367 h 393"/>
                  <a:gd name="T108" fmla="*/ 314 w 392"/>
                  <a:gd name="T109" fmla="*/ 393 h 393"/>
                  <a:gd name="T110" fmla="*/ 334 w 392"/>
                  <a:gd name="T111" fmla="*/ 357 h 393"/>
                  <a:gd name="T112" fmla="*/ 349 w 392"/>
                  <a:gd name="T113" fmla="*/ 326 h 393"/>
                  <a:gd name="T114" fmla="*/ 329 w 392"/>
                  <a:gd name="T115" fmla="*/ 298 h 393"/>
                  <a:gd name="T116" fmla="*/ 354 w 392"/>
                  <a:gd name="T117" fmla="*/ 282 h 393"/>
                  <a:gd name="T118" fmla="*/ 388 w 392"/>
                  <a:gd name="T119" fmla="*/ 301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2" h="393">
                    <a:moveTo>
                      <a:pt x="390" y="282"/>
                    </a:moveTo>
                    <a:cubicBezTo>
                      <a:pt x="384" y="276"/>
                      <a:pt x="384" y="276"/>
                      <a:pt x="384" y="276"/>
                    </a:cubicBezTo>
                    <a:cubicBezTo>
                      <a:pt x="379" y="272"/>
                      <a:pt x="379" y="272"/>
                      <a:pt x="379" y="272"/>
                    </a:cubicBezTo>
                    <a:cubicBezTo>
                      <a:pt x="365" y="263"/>
                      <a:pt x="365" y="263"/>
                      <a:pt x="365" y="263"/>
                    </a:cubicBezTo>
                    <a:cubicBezTo>
                      <a:pt x="346" y="257"/>
                      <a:pt x="346" y="257"/>
                      <a:pt x="346" y="257"/>
                    </a:cubicBezTo>
                    <a:cubicBezTo>
                      <a:pt x="333" y="249"/>
                      <a:pt x="333" y="249"/>
                      <a:pt x="333" y="249"/>
                    </a:cubicBezTo>
                    <a:cubicBezTo>
                      <a:pt x="322" y="246"/>
                      <a:pt x="322" y="246"/>
                      <a:pt x="322" y="246"/>
                    </a:cubicBezTo>
                    <a:cubicBezTo>
                      <a:pt x="322" y="246"/>
                      <a:pt x="311" y="241"/>
                      <a:pt x="310" y="241"/>
                    </a:cubicBezTo>
                    <a:cubicBezTo>
                      <a:pt x="310" y="241"/>
                      <a:pt x="307" y="240"/>
                      <a:pt x="307" y="240"/>
                    </a:cubicBezTo>
                    <a:cubicBezTo>
                      <a:pt x="307" y="240"/>
                      <a:pt x="301" y="238"/>
                      <a:pt x="300" y="237"/>
                    </a:cubicBezTo>
                    <a:cubicBezTo>
                      <a:pt x="300" y="237"/>
                      <a:pt x="299" y="234"/>
                      <a:pt x="299" y="233"/>
                    </a:cubicBezTo>
                    <a:cubicBezTo>
                      <a:pt x="299" y="233"/>
                      <a:pt x="299" y="230"/>
                      <a:pt x="299" y="230"/>
                    </a:cubicBezTo>
                    <a:cubicBezTo>
                      <a:pt x="303" y="227"/>
                      <a:pt x="303" y="227"/>
                      <a:pt x="303" y="227"/>
                    </a:cubicBezTo>
                    <a:cubicBezTo>
                      <a:pt x="303" y="227"/>
                      <a:pt x="306" y="224"/>
                      <a:pt x="306" y="223"/>
                    </a:cubicBezTo>
                    <a:cubicBezTo>
                      <a:pt x="306" y="222"/>
                      <a:pt x="306" y="217"/>
                      <a:pt x="306" y="217"/>
                    </a:cubicBezTo>
                    <a:cubicBezTo>
                      <a:pt x="302" y="216"/>
                      <a:pt x="302" y="216"/>
                      <a:pt x="302" y="216"/>
                    </a:cubicBezTo>
                    <a:cubicBezTo>
                      <a:pt x="293" y="217"/>
                      <a:pt x="293" y="217"/>
                      <a:pt x="293" y="217"/>
                    </a:cubicBezTo>
                    <a:cubicBezTo>
                      <a:pt x="278" y="218"/>
                      <a:pt x="278" y="218"/>
                      <a:pt x="278" y="218"/>
                    </a:cubicBezTo>
                    <a:cubicBezTo>
                      <a:pt x="270" y="218"/>
                      <a:pt x="270" y="218"/>
                      <a:pt x="270" y="218"/>
                    </a:cubicBezTo>
                    <a:cubicBezTo>
                      <a:pt x="259" y="212"/>
                      <a:pt x="259" y="212"/>
                      <a:pt x="259" y="212"/>
                    </a:cubicBezTo>
                    <a:cubicBezTo>
                      <a:pt x="250" y="204"/>
                      <a:pt x="250" y="204"/>
                      <a:pt x="250" y="204"/>
                    </a:cubicBezTo>
                    <a:cubicBezTo>
                      <a:pt x="244" y="201"/>
                      <a:pt x="244" y="201"/>
                      <a:pt x="244" y="201"/>
                    </a:cubicBezTo>
                    <a:cubicBezTo>
                      <a:pt x="237" y="193"/>
                      <a:pt x="237" y="193"/>
                      <a:pt x="237" y="193"/>
                    </a:cubicBezTo>
                    <a:cubicBezTo>
                      <a:pt x="233" y="187"/>
                      <a:pt x="233" y="187"/>
                      <a:pt x="233" y="187"/>
                    </a:cubicBezTo>
                    <a:cubicBezTo>
                      <a:pt x="233" y="187"/>
                      <a:pt x="230" y="179"/>
                      <a:pt x="229" y="176"/>
                    </a:cubicBezTo>
                    <a:cubicBezTo>
                      <a:pt x="228" y="173"/>
                      <a:pt x="222" y="164"/>
                      <a:pt x="222" y="164"/>
                    </a:cubicBezTo>
                    <a:cubicBezTo>
                      <a:pt x="222" y="164"/>
                      <a:pt x="219" y="157"/>
                      <a:pt x="218" y="156"/>
                    </a:cubicBezTo>
                    <a:cubicBezTo>
                      <a:pt x="218" y="155"/>
                      <a:pt x="217" y="150"/>
                      <a:pt x="217" y="150"/>
                    </a:cubicBezTo>
                    <a:cubicBezTo>
                      <a:pt x="207" y="145"/>
                      <a:pt x="207" y="145"/>
                      <a:pt x="207" y="145"/>
                    </a:cubicBezTo>
                    <a:cubicBezTo>
                      <a:pt x="193" y="137"/>
                      <a:pt x="193" y="137"/>
                      <a:pt x="193" y="137"/>
                    </a:cubicBezTo>
                    <a:cubicBezTo>
                      <a:pt x="181" y="130"/>
                      <a:pt x="181" y="130"/>
                      <a:pt x="181" y="130"/>
                    </a:cubicBezTo>
                    <a:cubicBezTo>
                      <a:pt x="176" y="121"/>
                      <a:pt x="176" y="121"/>
                      <a:pt x="176" y="121"/>
                    </a:cubicBezTo>
                    <a:cubicBezTo>
                      <a:pt x="172" y="109"/>
                      <a:pt x="172" y="109"/>
                      <a:pt x="172" y="109"/>
                    </a:cubicBezTo>
                    <a:cubicBezTo>
                      <a:pt x="171" y="99"/>
                      <a:pt x="171" y="99"/>
                      <a:pt x="171" y="99"/>
                    </a:cubicBezTo>
                    <a:cubicBezTo>
                      <a:pt x="176" y="96"/>
                      <a:pt x="176" y="96"/>
                      <a:pt x="176" y="96"/>
                    </a:cubicBezTo>
                    <a:cubicBezTo>
                      <a:pt x="176" y="91"/>
                      <a:pt x="176" y="91"/>
                      <a:pt x="176" y="91"/>
                    </a:cubicBezTo>
                    <a:cubicBezTo>
                      <a:pt x="171" y="88"/>
                      <a:pt x="171" y="88"/>
                      <a:pt x="171" y="88"/>
                    </a:cubicBezTo>
                    <a:cubicBezTo>
                      <a:pt x="171" y="83"/>
                      <a:pt x="171" y="83"/>
                      <a:pt x="171" y="83"/>
                    </a:cubicBezTo>
                    <a:cubicBezTo>
                      <a:pt x="169" y="81"/>
                      <a:pt x="169" y="81"/>
                      <a:pt x="169" y="81"/>
                    </a:cubicBezTo>
                    <a:cubicBezTo>
                      <a:pt x="166" y="77"/>
                      <a:pt x="166" y="77"/>
                      <a:pt x="166" y="77"/>
                    </a:cubicBezTo>
                    <a:cubicBezTo>
                      <a:pt x="172" y="74"/>
                      <a:pt x="172" y="74"/>
                      <a:pt x="172" y="74"/>
                    </a:cubicBezTo>
                    <a:cubicBezTo>
                      <a:pt x="172" y="74"/>
                      <a:pt x="175" y="71"/>
                      <a:pt x="178" y="71"/>
                    </a:cubicBezTo>
                    <a:cubicBezTo>
                      <a:pt x="181" y="71"/>
                      <a:pt x="183" y="68"/>
                      <a:pt x="183" y="68"/>
                    </a:cubicBezTo>
                    <a:cubicBezTo>
                      <a:pt x="183" y="68"/>
                      <a:pt x="186" y="66"/>
                      <a:pt x="187" y="65"/>
                    </a:cubicBezTo>
                    <a:cubicBezTo>
                      <a:pt x="188" y="65"/>
                      <a:pt x="190" y="65"/>
                      <a:pt x="191" y="64"/>
                    </a:cubicBezTo>
                    <a:cubicBezTo>
                      <a:pt x="192" y="64"/>
                      <a:pt x="195" y="63"/>
                      <a:pt x="194" y="63"/>
                    </a:cubicBezTo>
                    <a:cubicBezTo>
                      <a:pt x="194" y="62"/>
                      <a:pt x="196" y="57"/>
                      <a:pt x="196" y="57"/>
                    </a:cubicBezTo>
                    <a:cubicBezTo>
                      <a:pt x="197" y="56"/>
                      <a:pt x="199" y="60"/>
                      <a:pt x="201" y="60"/>
                    </a:cubicBezTo>
                    <a:cubicBezTo>
                      <a:pt x="202" y="60"/>
                      <a:pt x="204" y="61"/>
                      <a:pt x="204" y="61"/>
                    </a:cubicBezTo>
                    <a:cubicBezTo>
                      <a:pt x="206" y="60"/>
                      <a:pt x="207" y="57"/>
                      <a:pt x="207" y="57"/>
                    </a:cubicBezTo>
                    <a:cubicBezTo>
                      <a:pt x="207" y="57"/>
                      <a:pt x="208" y="56"/>
                      <a:pt x="211" y="55"/>
                    </a:cubicBezTo>
                    <a:cubicBezTo>
                      <a:pt x="211" y="55"/>
                      <a:pt x="211" y="55"/>
                      <a:pt x="211" y="55"/>
                    </a:cubicBezTo>
                    <a:cubicBezTo>
                      <a:pt x="211" y="55"/>
                      <a:pt x="209" y="54"/>
                      <a:pt x="209" y="54"/>
                    </a:cubicBezTo>
                    <a:cubicBezTo>
                      <a:pt x="209" y="54"/>
                      <a:pt x="209" y="53"/>
                      <a:pt x="210" y="52"/>
                    </a:cubicBezTo>
                    <a:cubicBezTo>
                      <a:pt x="210" y="52"/>
                      <a:pt x="210" y="51"/>
                      <a:pt x="210" y="51"/>
                    </a:cubicBezTo>
                    <a:cubicBezTo>
                      <a:pt x="210" y="51"/>
                      <a:pt x="211" y="49"/>
                      <a:pt x="211" y="49"/>
                    </a:cubicBezTo>
                    <a:cubicBezTo>
                      <a:pt x="211" y="49"/>
                      <a:pt x="211" y="49"/>
                      <a:pt x="211" y="48"/>
                    </a:cubicBezTo>
                    <a:cubicBezTo>
                      <a:pt x="211" y="48"/>
                      <a:pt x="210" y="47"/>
                      <a:pt x="210" y="47"/>
                    </a:cubicBezTo>
                    <a:cubicBezTo>
                      <a:pt x="210" y="47"/>
                      <a:pt x="210" y="47"/>
                      <a:pt x="209" y="47"/>
                    </a:cubicBezTo>
                    <a:cubicBezTo>
                      <a:pt x="209" y="47"/>
                      <a:pt x="209" y="48"/>
                      <a:pt x="209" y="48"/>
                    </a:cubicBezTo>
                    <a:cubicBezTo>
                      <a:pt x="207" y="48"/>
                      <a:pt x="207" y="48"/>
                      <a:pt x="207" y="48"/>
                    </a:cubicBezTo>
                    <a:cubicBezTo>
                      <a:pt x="207" y="48"/>
                      <a:pt x="207" y="47"/>
                      <a:pt x="207" y="47"/>
                    </a:cubicBezTo>
                    <a:cubicBezTo>
                      <a:pt x="206" y="47"/>
                      <a:pt x="205" y="47"/>
                      <a:pt x="206" y="46"/>
                    </a:cubicBezTo>
                    <a:cubicBezTo>
                      <a:pt x="206" y="46"/>
                      <a:pt x="206" y="45"/>
                      <a:pt x="206" y="45"/>
                    </a:cubicBezTo>
                    <a:cubicBezTo>
                      <a:pt x="206" y="45"/>
                      <a:pt x="206" y="45"/>
                      <a:pt x="206" y="44"/>
                    </a:cubicBezTo>
                    <a:cubicBezTo>
                      <a:pt x="206" y="44"/>
                      <a:pt x="207" y="43"/>
                      <a:pt x="208" y="43"/>
                    </a:cubicBezTo>
                    <a:cubicBezTo>
                      <a:pt x="208" y="42"/>
                      <a:pt x="210" y="41"/>
                      <a:pt x="210" y="41"/>
                    </a:cubicBezTo>
                    <a:cubicBezTo>
                      <a:pt x="211" y="39"/>
                      <a:pt x="211" y="39"/>
                      <a:pt x="211" y="39"/>
                    </a:cubicBezTo>
                    <a:cubicBezTo>
                      <a:pt x="210" y="38"/>
                      <a:pt x="210" y="38"/>
                      <a:pt x="210" y="38"/>
                    </a:cubicBezTo>
                    <a:cubicBezTo>
                      <a:pt x="210" y="38"/>
                      <a:pt x="209" y="39"/>
                      <a:pt x="209" y="39"/>
                    </a:cubicBezTo>
                    <a:cubicBezTo>
                      <a:pt x="207" y="38"/>
                      <a:pt x="207" y="38"/>
                      <a:pt x="207" y="38"/>
                    </a:cubicBezTo>
                    <a:cubicBezTo>
                      <a:pt x="205" y="37"/>
                      <a:pt x="205" y="37"/>
                      <a:pt x="205" y="37"/>
                    </a:cubicBezTo>
                    <a:cubicBezTo>
                      <a:pt x="204" y="37"/>
                      <a:pt x="204" y="37"/>
                      <a:pt x="204" y="37"/>
                    </a:cubicBezTo>
                    <a:cubicBezTo>
                      <a:pt x="202" y="36"/>
                      <a:pt x="202" y="36"/>
                      <a:pt x="202" y="36"/>
                    </a:cubicBezTo>
                    <a:cubicBezTo>
                      <a:pt x="202" y="34"/>
                      <a:pt x="202" y="34"/>
                      <a:pt x="202" y="34"/>
                    </a:cubicBezTo>
                    <a:cubicBezTo>
                      <a:pt x="203" y="33"/>
                      <a:pt x="203" y="33"/>
                      <a:pt x="203" y="33"/>
                    </a:cubicBezTo>
                    <a:cubicBezTo>
                      <a:pt x="203" y="33"/>
                      <a:pt x="204" y="31"/>
                      <a:pt x="204" y="31"/>
                    </a:cubicBezTo>
                    <a:cubicBezTo>
                      <a:pt x="205" y="30"/>
                      <a:pt x="207" y="29"/>
                      <a:pt x="207" y="29"/>
                    </a:cubicBezTo>
                    <a:cubicBezTo>
                      <a:pt x="208" y="27"/>
                      <a:pt x="208" y="27"/>
                      <a:pt x="208" y="27"/>
                    </a:cubicBezTo>
                    <a:cubicBezTo>
                      <a:pt x="208" y="27"/>
                      <a:pt x="208" y="27"/>
                      <a:pt x="209" y="27"/>
                    </a:cubicBezTo>
                    <a:cubicBezTo>
                      <a:pt x="210" y="27"/>
                      <a:pt x="210" y="27"/>
                      <a:pt x="210" y="27"/>
                    </a:cubicBezTo>
                    <a:cubicBezTo>
                      <a:pt x="210" y="27"/>
                      <a:pt x="211" y="25"/>
                      <a:pt x="211" y="24"/>
                    </a:cubicBezTo>
                    <a:cubicBezTo>
                      <a:pt x="211" y="22"/>
                      <a:pt x="211" y="22"/>
                      <a:pt x="211" y="22"/>
                    </a:cubicBezTo>
                    <a:cubicBezTo>
                      <a:pt x="206" y="23"/>
                      <a:pt x="206" y="23"/>
                      <a:pt x="206" y="23"/>
                    </a:cubicBezTo>
                    <a:cubicBezTo>
                      <a:pt x="206" y="23"/>
                      <a:pt x="203" y="22"/>
                      <a:pt x="200" y="22"/>
                    </a:cubicBezTo>
                    <a:cubicBezTo>
                      <a:pt x="197" y="22"/>
                      <a:pt x="191" y="21"/>
                      <a:pt x="191" y="21"/>
                    </a:cubicBezTo>
                    <a:cubicBezTo>
                      <a:pt x="183" y="18"/>
                      <a:pt x="183" y="18"/>
                      <a:pt x="183" y="18"/>
                    </a:cubicBezTo>
                    <a:cubicBezTo>
                      <a:pt x="178" y="18"/>
                      <a:pt x="178" y="18"/>
                      <a:pt x="178" y="18"/>
                    </a:cubicBezTo>
                    <a:cubicBezTo>
                      <a:pt x="171" y="17"/>
                      <a:pt x="171" y="17"/>
                      <a:pt x="171" y="17"/>
                    </a:cubicBezTo>
                    <a:cubicBezTo>
                      <a:pt x="171" y="17"/>
                      <a:pt x="170" y="15"/>
                      <a:pt x="169" y="15"/>
                    </a:cubicBezTo>
                    <a:cubicBezTo>
                      <a:pt x="169" y="14"/>
                      <a:pt x="167" y="13"/>
                      <a:pt x="167" y="13"/>
                    </a:cubicBezTo>
                    <a:cubicBezTo>
                      <a:pt x="167" y="10"/>
                      <a:pt x="167" y="10"/>
                      <a:pt x="167" y="10"/>
                    </a:cubicBezTo>
                    <a:cubicBezTo>
                      <a:pt x="164" y="7"/>
                      <a:pt x="164" y="7"/>
                      <a:pt x="164" y="7"/>
                    </a:cubicBezTo>
                    <a:cubicBezTo>
                      <a:pt x="163" y="4"/>
                      <a:pt x="163" y="4"/>
                      <a:pt x="163" y="4"/>
                    </a:cubicBezTo>
                    <a:cubicBezTo>
                      <a:pt x="165" y="2"/>
                      <a:pt x="165" y="2"/>
                      <a:pt x="165" y="2"/>
                    </a:cubicBezTo>
                    <a:cubicBezTo>
                      <a:pt x="163" y="0"/>
                      <a:pt x="163" y="0"/>
                      <a:pt x="163" y="0"/>
                    </a:cubicBezTo>
                    <a:cubicBezTo>
                      <a:pt x="163" y="0"/>
                      <a:pt x="160" y="1"/>
                      <a:pt x="159" y="1"/>
                    </a:cubicBezTo>
                    <a:cubicBezTo>
                      <a:pt x="158" y="2"/>
                      <a:pt x="152" y="3"/>
                      <a:pt x="152" y="3"/>
                    </a:cubicBezTo>
                    <a:cubicBezTo>
                      <a:pt x="151" y="4"/>
                      <a:pt x="151" y="4"/>
                      <a:pt x="151" y="4"/>
                    </a:cubicBezTo>
                    <a:cubicBezTo>
                      <a:pt x="145" y="4"/>
                      <a:pt x="145" y="4"/>
                      <a:pt x="145" y="4"/>
                    </a:cubicBezTo>
                    <a:cubicBezTo>
                      <a:pt x="138" y="4"/>
                      <a:pt x="138" y="4"/>
                      <a:pt x="138" y="4"/>
                    </a:cubicBezTo>
                    <a:cubicBezTo>
                      <a:pt x="136" y="6"/>
                      <a:pt x="136" y="6"/>
                      <a:pt x="136" y="6"/>
                    </a:cubicBezTo>
                    <a:cubicBezTo>
                      <a:pt x="131" y="8"/>
                      <a:pt x="131" y="8"/>
                      <a:pt x="131" y="8"/>
                    </a:cubicBezTo>
                    <a:cubicBezTo>
                      <a:pt x="131" y="12"/>
                      <a:pt x="131" y="12"/>
                      <a:pt x="131" y="12"/>
                    </a:cubicBezTo>
                    <a:cubicBezTo>
                      <a:pt x="128" y="15"/>
                      <a:pt x="128" y="15"/>
                      <a:pt x="128" y="15"/>
                    </a:cubicBezTo>
                    <a:cubicBezTo>
                      <a:pt x="125" y="14"/>
                      <a:pt x="125" y="14"/>
                      <a:pt x="125" y="14"/>
                    </a:cubicBezTo>
                    <a:cubicBezTo>
                      <a:pt x="121" y="12"/>
                      <a:pt x="121" y="12"/>
                      <a:pt x="121" y="12"/>
                    </a:cubicBezTo>
                    <a:cubicBezTo>
                      <a:pt x="119" y="13"/>
                      <a:pt x="119" y="13"/>
                      <a:pt x="119" y="13"/>
                    </a:cubicBezTo>
                    <a:cubicBezTo>
                      <a:pt x="115" y="12"/>
                      <a:pt x="115" y="12"/>
                      <a:pt x="115" y="12"/>
                    </a:cubicBezTo>
                    <a:cubicBezTo>
                      <a:pt x="114" y="12"/>
                      <a:pt x="114" y="12"/>
                      <a:pt x="114" y="12"/>
                    </a:cubicBezTo>
                    <a:cubicBezTo>
                      <a:pt x="114" y="12"/>
                      <a:pt x="114" y="12"/>
                      <a:pt x="114" y="12"/>
                    </a:cubicBezTo>
                    <a:cubicBezTo>
                      <a:pt x="114" y="13"/>
                      <a:pt x="113" y="14"/>
                      <a:pt x="113" y="14"/>
                    </a:cubicBezTo>
                    <a:cubicBezTo>
                      <a:pt x="113" y="15"/>
                      <a:pt x="113" y="15"/>
                      <a:pt x="113" y="15"/>
                    </a:cubicBezTo>
                    <a:cubicBezTo>
                      <a:pt x="113" y="16"/>
                      <a:pt x="113" y="16"/>
                      <a:pt x="113" y="16"/>
                    </a:cubicBezTo>
                    <a:cubicBezTo>
                      <a:pt x="113" y="17"/>
                      <a:pt x="113" y="17"/>
                      <a:pt x="113" y="17"/>
                    </a:cubicBezTo>
                    <a:cubicBezTo>
                      <a:pt x="113" y="17"/>
                      <a:pt x="112" y="18"/>
                      <a:pt x="112" y="18"/>
                    </a:cubicBezTo>
                    <a:cubicBezTo>
                      <a:pt x="111" y="19"/>
                      <a:pt x="112" y="20"/>
                      <a:pt x="112" y="20"/>
                    </a:cubicBezTo>
                    <a:cubicBezTo>
                      <a:pt x="112" y="20"/>
                      <a:pt x="113" y="21"/>
                      <a:pt x="115" y="22"/>
                    </a:cubicBezTo>
                    <a:cubicBezTo>
                      <a:pt x="116" y="22"/>
                      <a:pt x="115" y="22"/>
                      <a:pt x="115" y="22"/>
                    </a:cubicBezTo>
                    <a:cubicBezTo>
                      <a:pt x="115" y="23"/>
                      <a:pt x="115" y="23"/>
                      <a:pt x="115" y="24"/>
                    </a:cubicBezTo>
                    <a:cubicBezTo>
                      <a:pt x="114" y="24"/>
                      <a:pt x="114" y="24"/>
                      <a:pt x="114" y="24"/>
                    </a:cubicBezTo>
                    <a:cubicBezTo>
                      <a:pt x="113" y="24"/>
                      <a:pt x="113" y="24"/>
                      <a:pt x="113" y="24"/>
                    </a:cubicBezTo>
                    <a:cubicBezTo>
                      <a:pt x="113" y="24"/>
                      <a:pt x="111" y="25"/>
                      <a:pt x="111" y="25"/>
                    </a:cubicBezTo>
                    <a:cubicBezTo>
                      <a:pt x="111" y="25"/>
                      <a:pt x="111" y="25"/>
                      <a:pt x="111" y="24"/>
                    </a:cubicBezTo>
                    <a:cubicBezTo>
                      <a:pt x="110" y="24"/>
                      <a:pt x="110" y="24"/>
                      <a:pt x="110" y="24"/>
                    </a:cubicBezTo>
                    <a:cubicBezTo>
                      <a:pt x="110" y="24"/>
                      <a:pt x="108" y="23"/>
                      <a:pt x="108" y="23"/>
                    </a:cubicBezTo>
                    <a:cubicBezTo>
                      <a:pt x="108" y="22"/>
                      <a:pt x="108" y="22"/>
                      <a:pt x="108" y="22"/>
                    </a:cubicBezTo>
                    <a:cubicBezTo>
                      <a:pt x="108" y="22"/>
                      <a:pt x="107" y="21"/>
                      <a:pt x="107" y="21"/>
                    </a:cubicBezTo>
                    <a:cubicBezTo>
                      <a:pt x="106" y="22"/>
                      <a:pt x="106" y="22"/>
                      <a:pt x="106" y="22"/>
                    </a:cubicBezTo>
                    <a:cubicBezTo>
                      <a:pt x="105" y="22"/>
                      <a:pt x="105" y="22"/>
                      <a:pt x="104" y="22"/>
                    </a:cubicBezTo>
                    <a:cubicBezTo>
                      <a:pt x="104" y="22"/>
                      <a:pt x="104" y="23"/>
                      <a:pt x="103" y="23"/>
                    </a:cubicBezTo>
                    <a:cubicBezTo>
                      <a:pt x="103" y="23"/>
                      <a:pt x="103" y="24"/>
                      <a:pt x="103" y="24"/>
                    </a:cubicBezTo>
                    <a:cubicBezTo>
                      <a:pt x="102" y="24"/>
                      <a:pt x="102" y="25"/>
                      <a:pt x="102" y="25"/>
                    </a:cubicBezTo>
                    <a:cubicBezTo>
                      <a:pt x="102" y="26"/>
                      <a:pt x="102" y="26"/>
                      <a:pt x="102" y="26"/>
                    </a:cubicBezTo>
                    <a:cubicBezTo>
                      <a:pt x="102" y="27"/>
                      <a:pt x="102" y="27"/>
                      <a:pt x="102" y="27"/>
                    </a:cubicBezTo>
                    <a:cubicBezTo>
                      <a:pt x="102" y="28"/>
                      <a:pt x="102" y="28"/>
                      <a:pt x="102" y="28"/>
                    </a:cubicBezTo>
                    <a:cubicBezTo>
                      <a:pt x="102" y="28"/>
                      <a:pt x="102" y="29"/>
                      <a:pt x="102" y="29"/>
                    </a:cubicBezTo>
                    <a:cubicBezTo>
                      <a:pt x="102" y="30"/>
                      <a:pt x="102" y="30"/>
                      <a:pt x="102" y="30"/>
                    </a:cubicBezTo>
                    <a:cubicBezTo>
                      <a:pt x="103" y="30"/>
                      <a:pt x="104" y="30"/>
                      <a:pt x="104" y="30"/>
                    </a:cubicBezTo>
                    <a:cubicBezTo>
                      <a:pt x="104" y="30"/>
                      <a:pt x="104" y="31"/>
                      <a:pt x="105" y="31"/>
                    </a:cubicBezTo>
                    <a:cubicBezTo>
                      <a:pt x="105" y="32"/>
                      <a:pt x="105" y="32"/>
                      <a:pt x="105" y="32"/>
                    </a:cubicBezTo>
                    <a:cubicBezTo>
                      <a:pt x="105" y="32"/>
                      <a:pt x="104" y="33"/>
                      <a:pt x="104" y="33"/>
                    </a:cubicBezTo>
                    <a:cubicBezTo>
                      <a:pt x="103" y="33"/>
                      <a:pt x="103" y="33"/>
                      <a:pt x="104" y="34"/>
                    </a:cubicBezTo>
                    <a:cubicBezTo>
                      <a:pt x="104" y="35"/>
                      <a:pt x="104" y="35"/>
                      <a:pt x="105" y="35"/>
                    </a:cubicBezTo>
                    <a:cubicBezTo>
                      <a:pt x="105" y="35"/>
                      <a:pt x="106" y="37"/>
                      <a:pt x="106" y="38"/>
                    </a:cubicBezTo>
                    <a:cubicBezTo>
                      <a:pt x="106" y="38"/>
                      <a:pt x="105" y="39"/>
                      <a:pt x="105" y="39"/>
                    </a:cubicBezTo>
                    <a:cubicBezTo>
                      <a:pt x="105" y="39"/>
                      <a:pt x="105" y="39"/>
                      <a:pt x="104" y="39"/>
                    </a:cubicBezTo>
                    <a:cubicBezTo>
                      <a:pt x="104" y="39"/>
                      <a:pt x="104" y="39"/>
                      <a:pt x="104" y="39"/>
                    </a:cubicBezTo>
                    <a:cubicBezTo>
                      <a:pt x="103" y="40"/>
                      <a:pt x="102" y="39"/>
                      <a:pt x="102" y="39"/>
                    </a:cubicBezTo>
                    <a:cubicBezTo>
                      <a:pt x="102" y="39"/>
                      <a:pt x="103" y="38"/>
                      <a:pt x="103" y="38"/>
                    </a:cubicBezTo>
                    <a:cubicBezTo>
                      <a:pt x="102" y="37"/>
                      <a:pt x="101" y="37"/>
                      <a:pt x="101" y="36"/>
                    </a:cubicBezTo>
                    <a:cubicBezTo>
                      <a:pt x="100" y="35"/>
                      <a:pt x="101" y="35"/>
                      <a:pt x="101" y="35"/>
                    </a:cubicBezTo>
                    <a:cubicBezTo>
                      <a:pt x="101" y="35"/>
                      <a:pt x="101" y="35"/>
                      <a:pt x="100" y="34"/>
                    </a:cubicBezTo>
                    <a:cubicBezTo>
                      <a:pt x="99" y="33"/>
                      <a:pt x="99" y="33"/>
                      <a:pt x="99" y="33"/>
                    </a:cubicBezTo>
                    <a:cubicBezTo>
                      <a:pt x="99" y="33"/>
                      <a:pt x="98" y="33"/>
                      <a:pt x="97" y="33"/>
                    </a:cubicBezTo>
                    <a:cubicBezTo>
                      <a:pt x="96" y="33"/>
                      <a:pt x="96" y="33"/>
                      <a:pt x="96" y="33"/>
                    </a:cubicBezTo>
                    <a:cubicBezTo>
                      <a:pt x="95" y="34"/>
                      <a:pt x="95" y="34"/>
                      <a:pt x="95" y="34"/>
                    </a:cubicBezTo>
                    <a:cubicBezTo>
                      <a:pt x="95" y="34"/>
                      <a:pt x="94" y="34"/>
                      <a:pt x="94" y="34"/>
                    </a:cubicBezTo>
                    <a:cubicBezTo>
                      <a:pt x="93" y="35"/>
                      <a:pt x="93" y="34"/>
                      <a:pt x="93" y="34"/>
                    </a:cubicBezTo>
                    <a:cubicBezTo>
                      <a:pt x="92" y="34"/>
                      <a:pt x="92" y="34"/>
                      <a:pt x="92" y="34"/>
                    </a:cubicBezTo>
                    <a:cubicBezTo>
                      <a:pt x="91" y="34"/>
                      <a:pt x="91" y="35"/>
                      <a:pt x="92" y="36"/>
                    </a:cubicBezTo>
                    <a:cubicBezTo>
                      <a:pt x="92" y="36"/>
                      <a:pt x="91" y="36"/>
                      <a:pt x="91" y="37"/>
                    </a:cubicBezTo>
                    <a:cubicBezTo>
                      <a:pt x="91" y="37"/>
                      <a:pt x="90" y="37"/>
                      <a:pt x="88" y="37"/>
                    </a:cubicBezTo>
                    <a:cubicBezTo>
                      <a:pt x="86" y="36"/>
                      <a:pt x="87" y="36"/>
                      <a:pt x="86" y="36"/>
                    </a:cubicBezTo>
                    <a:cubicBezTo>
                      <a:pt x="86" y="35"/>
                      <a:pt x="85" y="35"/>
                      <a:pt x="85" y="34"/>
                    </a:cubicBezTo>
                    <a:cubicBezTo>
                      <a:pt x="85" y="33"/>
                      <a:pt x="85" y="32"/>
                      <a:pt x="84" y="32"/>
                    </a:cubicBezTo>
                    <a:cubicBezTo>
                      <a:pt x="84" y="31"/>
                      <a:pt x="84" y="30"/>
                      <a:pt x="83" y="30"/>
                    </a:cubicBezTo>
                    <a:cubicBezTo>
                      <a:pt x="83" y="29"/>
                      <a:pt x="84" y="29"/>
                      <a:pt x="84" y="28"/>
                    </a:cubicBezTo>
                    <a:cubicBezTo>
                      <a:pt x="85" y="28"/>
                      <a:pt x="83" y="27"/>
                      <a:pt x="83" y="27"/>
                    </a:cubicBezTo>
                    <a:cubicBezTo>
                      <a:pt x="82" y="28"/>
                      <a:pt x="82" y="28"/>
                      <a:pt x="82" y="28"/>
                    </a:cubicBezTo>
                    <a:cubicBezTo>
                      <a:pt x="81" y="28"/>
                      <a:pt x="81" y="28"/>
                      <a:pt x="81" y="28"/>
                    </a:cubicBezTo>
                    <a:cubicBezTo>
                      <a:pt x="81" y="28"/>
                      <a:pt x="80" y="28"/>
                      <a:pt x="80" y="27"/>
                    </a:cubicBezTo>
                    <a:cubicBezTo>
                      <a:pt x="80" y="27"/>
                      <a:pt x="79" y="27"/>
                      <a:pt x="79" y="27"/>
                    </a:cubicBezTo>
                    <a:cubicBezTo>
                      <a:pt x="78" y="29"/>
                      <a:pt x="78" y="29"/>
                      <a:pt x="78" y="29"/>
                    </a:cubicBezTo>
                    <a:cubicBezTo>
                      <a:pt x="78" y="30"/>
                      <a:pt x="78" y="30"/>
                      <a:pt x="78" y="30"/>
                    </a:cubicBezTo>
                    <a:cubicBezTo>
                      <a:pt x="78" y="31"/>
                      <a:pt x="78" y="31"/>
                      <a:pt x="78" y="31"/>
                    </a:cubicBezTo>
                    <a:cubicBezTo>
                      <a:pt x="78" y="33"/>
                      <a:pt x="78" y="33"/>
                      <a:pt x="78" y="33"/>
                    </a:cubicBezTo>
                    <a:cubicBezTo>
                      <a:pt x="78" y="33"/>
                      <a:pt x="78" y="34"/>
                      <a:pt x="78" y="34"/>
                    </a:cubicBezTo>
                    <a:cubicBezTo>
                      <a:pt x="78" y="35"/>
                      <a:pt x="78" y="36"/>
                      <a:pt x="78" y="36"/>
                    </a:cubicBezTo>
                    <a:cubicBezTo>
                      <a:pt x="78" y="37"/>
                      <a:pt x="78" y="37"/>
                      <a:pt x="78" y="37"/>
                    </a:cubicBezTo>
                    <a:cubicBezTo>
                      <a:pt x="78" y="37"/>
                      <a:pt x="77" y="38"/>
                      <a:pt x="77" y="38"/>
                    </a:cubicBezTo>
                    <a:cubicBezTo>
                      <a:pt x="77" y="38"/>
                      <a:pt x="77" y="39"/>
                      <a:pt x="77" y="40"/>
                    </a:cubicBezTo>
                    <a:cubicBezTo>
                      <a:pt x="77" y="40"/>
                      <a:pt x="76" y="41"/>
                      <a:pt x="76" y="41"/>
                    </a:cubicBezTo>
                    <a:cubicBezTo>
                      <a:pt x="76" y="41"/>
                      <a:pt x="76" y="42"/>
                      <a:pt x="76" y="42"/>
                    </a:cubicBezTo>
                    <a:cubicBezTo>
                      <a:pt x="76" y="42"/>
                      <a:pt x="74" y="42"/>
                      <a:pt x="74" y="42"/>
                    </a:cubicBezTo>
                    <a:cubicBezTo>
                      <a:pt x="74" y="42"/>
                      <a:pt x="73" y="44"/>
                      <a:pt x="73" y="44"/>
                    </a:cubicBezTo>
                    <a:cubicBezTo>
                      <a:pt x="72" y="44"/>
                      <a:pt x="73" y="45"/>
                      <a:pt x="73" y="46"/>
                    </a:cubicBezTo>
                    <a:cubicBezTo>
                      <a:pt x="73" y="46"/>
                      <a:pt x="72" y="47"/>
                      <a:pt x="72" y="47"/>
                    </a:cubicBezTo>
                    <a:cubicBezTo>
                      <a:pt x="71" y="48"/>
                      <a:pt x="71" y="48"/>
                      <a:pt x="71" y="48"/>
                    </a:cubicBezTo>
                    <a:cubicBezTo>
                      <a:pt x="71" y="48"/>
                      <a:pt x="71" y="49"/>
                      <a:pt x="71" y="49"/>
                    </a:cubicBezTo>
                    <a:cubicBezTo>
                      <a:pt x="71" y="50"/>
                      <a:pt x="71" y="50"/>
                      <a:pt x="71" y="50"/>
                    </a:cubicBezTo>
                    <a:cubicBezTo>
                      <a:pt x="70" y="51"/>
                      <a:pt x="71" y="51"/>
                      <a:pt x="70" y="52"/>
                    </a:cubicBezTo>
                    <a:cubicBezTo>
                      <a:pt x="70" y="52"/>
                      <a:pt x="71" y="52"/>
                      <a:pt x="71" y="53"/>
                    </a:cubicBezTo>
                    <a:cubicBezTo>
                      <a:pt x="71" y="53"/>
                      <a:pt x="73" y="54"/>
                      <a:pt x="73" y="54"/>
                    </a:cubicBezTo>
                    <a:cubicBezTo>
                      <a:pt x="73" y="54"/>
                      <a:pt x="73" y="54"/>
                      <a:pt x="72" y="55"/>
                    </a:cubicBezTo>
                    <a:cubicBezTo>
                      <a:pt x="71" y="56"/>
                      <a:pt x="72" y="57"/>
                      <a:pt x="72" y="57"/>
                    </a:cubicBezTo>
                    <a:cubicBezTo>
                      <a:pt x="71" y="58"/>
                      <a:pt x="71" y="58"/>
                      <a:pt x="71" y="58"/>
                    </a:cubicBezTo>
                    <a:cubicBezTo>
                      <a:pt x="71" y="58"/>
                      <a:pt x="70" y="57"/>
                      <a:pt x="69" y="57"/>
                    </a:cubicBezTo>
                    <a:cubicBezTo>
                      <a:pt x="69" y="57"/>
                      <a:pt x="69" y="58"/>
                      <a:pt x="68" y="57"/>
                    </a:cubicBezTo>
                    <a:cubicBezTo>
                      <a:pt x="66" y="57"/>
                      <a:pt x="68" y="56"/>
                      <a:pt x="68" y="56"/>
                    </a:cubicBezTo>
                    <a:cubicBezTo>
                      <a:pt x="68" y="56"/>
                      <a:pt x="68" y="55"/>
                      <a:pt x="68" y="54"/>
                    </a:cubicBezTo>
                    <a:cubicBezTo>
                      <a:pt x="68" y="54"/>
                      <a:pt x="68" y="54"/>
                      <a:pt x="68" y="54"/>
                    </a:cubicBezTo>
                    <a:cubicBezTo>
                      <a:pt x="68" y="54"/>
                      <a:pt x="67" y="53"/>
                      <a:pt x="67" y="52"/>
                    </a:cubicBezTo>
                    <a:cubicBezTo>
                      <a:pt x="67" y="51"/>
                      <a:pt x="66" y="52"/>
                      <a:pt x="66" y="52"/>
                    </a:cubicBezTo>
                    <a:cubicBezTo>
                      <a:pt x="64" y="50"/>
                      <a:pt x="64" y="50"/>
                      <a:pt x="64" y="50"/>
                    </a:cubicBezTo>
                    <a:cubicBezTo>
                      <a:pt x="64" y="50"/>
                      <a:pt x="65" y="48"/>
                      <a:pt x="65" y="48"/>
                    </a:cubicBezTo>
                    <a:cubicBezTo>
                      <a:pt x="65" y="48"/>
                      <a:pt x="65" y="48"/>
                      <a:pt x="65" y="48"/>
                    </a:cubicBezTo>
                    <a:cubicBezTo>
                      <a:pt x="65" y="48"/>
                      <a:pt x="65" y="47"/>
                      <a:pt x="66" y="47"/>
                    </a:cubicBezTo>
                    <a:cubicBezTo>
                      <a:pt x="66" y="46"/>
                      <a:pt x="65" y="46"/>
                      <a:pt x="65" y="46"/>
                    </a:cubicBezTo>
                    <a:cubicBezTo>
                      <a:pt x="64" y="46"/>
                      <a:pt x="64" y="46"/>
                      <a:pt x="64" y="46"/>
                    </a:cubicBezTo>
                    <a:cubicBezTo>
                      <a:pt x="63" y="45"/>
                      <a:pt x="63" y="45"/>
                      <a:pt x="63" y="45"/>
                    </a:cubicBezTo>
                    <a:cubicBezTo>
                      <a:pt x="63" y="45"/>
                      <a:pt x="62" y="46"/>
                      <a:pt x="62" y="46"/>
                    </a:cubicBezTo>
                    <a:cubicBezTo>
                      <a:pt x="61" y="46"/>
                      <a:pt x="60" y="45"/>
                      <a:pt x="60" y="45"/>
                    </a:cubicBezTo>
                    <a:cubicBezTo>
                      <a:pt x="60" y="44"/>
                      <a:pt x="59" y="45"/>
                      <a:pt x="58" y="44"/>
                    </a:cubicBezTo>
                    <a:cubicBezTo>
                      <a:pt x="58" y="44"/>
                      <a:pt x="57" y="44"/>
                      <a:pt x="57" y="44"/>
                    </a:cubicBezTo>
                    <a:cubicBezTo>
                      <a:pt x="57" y="44"/>
                      <a:pt x="56" y="43"/>
                      <a:pt x="56" y="43"/>
                    </a:cubicBezTo>
                    <a:cubicBezTo>
                      <a:pt x="56" y="42"/>
                      <a:pt x="55" y="41"/>
                      <a:pt x="55" y="41"/>
                    </a:cubicBezTo>
                    <a:cubicBezTo>
                      <a:pt x="54" y="41"/>
                      <a:pt x="54" y="41"/>
                      <a:pt x="54" y="41"/>
                    </a:cubicBezTo>
                    <a:cubicBezTo>
                      <a:pt x="54" y="41"/>
                      <a:pt x="53" y="40"/>
                      <a:pt x="52" y="40"/>
                    </a:cubicBezTo>
                    <a:cubicBezTo>
                      <a:pt x="52" y="40"/>
                      <a:pt x="53" y="39"/>
                      <a:pt x="53" y="39"/>
                    </a:cubicBezTo>
                    <a:cubicBezTo>
                      <a:pt x="52" y="38"/>
                      <a:pt x="52" y="38"/>
                      <a:pt x="52" y="38"/>
                    </a:cubicBezTo>
                    <a:cubicBezTo>
                      <a:pt x="52" y="38"/>
                      <a:pt x="52" y="37"/>
                      <a:pt x="52" y="37"/>
                    </a:cubicBezTo>
                    <a:cubicBezTo>
                      <a:pt x="52" y="36"/>
                      <a:pt x="52" y="35"/>
                      <a:pt x="52" y="35"/>
                    </a:cubicBezTo>
                    <a:cubicBezTo>
                      <a:pt x="52" y="35"/>
                      <a:pt x="52" y="33"/>
                      <a:pt x="52" y="33"/>
                    </a:cubicBezTo>
                    <a:cubicBezTo>
                      <a:pt x="52" y="32"/>
                      <a:pt x="52" y="30"/>
                      <a:pt x="52" y="30"/>
                    </a:cubicBezTo>
                    <a:cubicBezTo>
                      <a:pt x="52" y="30"/>
                      <a:pt x="49" y="31"/>
                      <a:pt x="48" y="31"/>
                    </a:cubicBezTo>
                    <a:cubicBezTo>
                      <a:pt x="47" y="32"/>
                      <a:pt x="48" y="32"/>
                      <a:pt x="48" y="32"/>
                    </a:cubicBezTo>
                    <a:cubicBezTo>
                      <a:pt x="48" y="32"/>
                      <a:pt x="48" y="34"/>
                      <a:pt x="47" y="34"/>
                    </a:cubicBezTo>
                    <a:cubicBezTo>
                      <a:pt x="47" y="34"/>
                      <a:pt x="46" y="34"/>
                      <a:pt x="46" y="34"/>
                    </a:cubicBezTo>
                    <a:cubicBezTo>
                      <a:pt x="46" y="34"/>
                      <a:pt x="45" y="35"/>
                      <a:pt x="45" y="36"/>
                    </a:cubicBezTo>
                    <a:cubicBezTo>
                      <a:pt x="44" y="36"/>
                      <a:pt x="44" y="36"/>
                      <a:pt x="43" y="37"/>
                    </a:cubicBezTo>
                    <a:cubicBezTo>
                      <a:pt x="43" y="37"/>
                      <a:pt x="42" y="37"/>
                      <a:pt x="42" y="37"/>
                    </a:cubicBezTo>
                    <a:cubicBezTo>
                      <a:pt x="41" y="38"/>
                      <a:pt x="41" y="38"/>
                      <a:pt x="41" y="38"/>
                    </a:cubicBezTo>
                    <a:cubicBezTo>
                      <a:pt x="42" y="39"/>
                      <a:pt x="42" y="39"/>
                      <a:pt x="42" y="39"/>
                    </a:cubicBezTo>
                    <a:cubicBezTo>
                      <a:pt x="43" y="41"/>
                      <a:pt x="43" y="41"/>
                      <a:pt x="43" y="41"/>
                    </a:cubicBezTo>
                    <a:cubicBezTo>
                      <a:pt x="42" y="43"/>
                      <a:pt x="42" y="43"/>
                      <a:pt x="42" y="43"/>
                    </a:cubicBezTo>
                    <a:cubicBezTo>
                      <a:pt x="42" y="43"/>
                      <a:pt x="42" y="43"/>
                      <a:pt x="42" y="44"/>
                    </a:cubicBezTo>
                    <a:cubicBezTo>
                      <a:pt x="41" y="45"/>
                      <a:pt x="41" y="45"/>
                      <a:pt x="41" y="45"/>
                    </a:cubicBezTo>
                    <a:cubicBezTo>
                      <a:pt x="40" y="46"/>
                      <a:pt x="40" y="46"/>
                      <a:pt x="40" y="46"/>
                    </a:cubicBezTo>
                    <a:cubicBezTo>
                      <a:pt x="39" y="47"/>
                      <a:pt x="39" y="47"/>
                      <a:pt x="39" y="47"/>
                    </a:cubicBezTo>
                    <a:cubicBezTo>
                      <a:pt x="39" y="47"/>
                      <a:pt x="39" y="48"/>
                      <a:pt x="39" y="48"/>
                    </a:cubicBezTo>
                    <a:cubicBezTo>
                      <a:pt x="39" y="49"/>
                      <a:pt x="39" y="49"/>
                      <a:pt x="39" y="50"/>
                    </a:cubicBezTo>
                    <a:cubicBezTo>
                      <a:pt x="38" y="51"/>
                      <a:pt x="38" y="51"/>
                      <a:pt x="38" y="51"/>
                    </a:cubicBezTo>
                    <a:cubicBezTo>
                      <a:pt x="38" y="51"/>
                      <a:pt x="37" y="51"/>
                      <a:pt x="36" y="51"/>
                    </a:cubicBezTo>
                    <a:cubicBezTo>
                      <a:pt x="36" y="51"/>
                      <a:pt x="36" y="52"/>
                      <a:pt x="35" y="52"/>
                    </a:cubicBezTo>
                    <a:cubicBezTo>
                      <a:pt x="33" y="52"/>
                      <a:pt x="34" y="53"/>
                      <a:pt x="34" y="53"/>
                    </a:cubicBezTo>
                    <a:cubicBezTo>
                      <a:pt x="34" y="53"/>
                      <a:pt x="34" y="54"/>
                      <a:pt x="34" y="54"/>
                    </a:cubicBezTo>
                    <a:cubicBezTo>
                      <a:pt x="33" y="54"/>
                      <a:pt x="32" y="54"/>
                      <a:pt x="31" y="53"/>
                    </a:cubicBezTo>
                    <a:cubicBezTo>
                      <a:pt x="31" y="53"/>
                      <a:pt x="31" y="53"/>
                      <a:pt x="30" y="54"/>
                    </a:cubicBezTo>
                    <a:cubicBezTo>
                      <a:pt x="30" y="54"/>
                      <a:pt x="29" y="53"/>
                      <a:pt x="29" y="53"/>
                    </a:cubicBezTo>
                    <a:cubicBezTo>
                      <a:pt x="29" y="53"/>
                      <a:pt x="29" y="52"/>
                      <a:pt x="28" y="52"/>
                    </a:cubicBezTo>
                    <a:cubicBezTo>
                      <a:pt x="28" y="51"/>
                      <a:pt x="27" y="52"/>
                      <a:pt x="27" y="51"/>
                    </a:cubicBezTo>
                    <a:cubicBezTo>
                      <a:pt x="26" y="51"/>
                      <a:pt x="25" y="51"/>
                      <a:pt x="24" y="51"/>
                    </a:cubicBezTo>
                    <a:cubicBezTo>
                      <a:pt x="24" y="51"/>
                      <a:pt x="24" y="52"/>
                      <a:pt x="24" y="52"/>
                    </a:cubicBezTo>
                    <a:cubicBezTo>
                      <a:pt x="24" y="52"/>
                      <a:pt x="23" y="52"/>
                      <a:pt x="23" y="52"/>
                    </a:cubicBezTo>
                    <a:cubicBezTo>
                      <a:pt x="22" y="52"/>
                      <a:pt x="22" y="53"/>
                      <a:pt x="22" y="53"/>
                    </a:cubicBezTo>
                    <a:cubicBezTo>
                      <a:pt x="22" y="54"/>
                      <a:pt x="22" y="54"/>
                      <a:pt x="22" y="54"/>
                    </a:cubicBezTo>
                    <a:cubicBezTo>
                      <a:pt x="22" y="54"/>
                      <a:pt x="19" y="54"/>
                      <a:pt x="19" y="54"/>
                    </a:cubicBezTo>
                    <a:cubicBezTo>
                      <a:pt x="18" y="54"/>
                      <a:pt x="17" y="54"/>
                      <a:pt x="16" y="54"/>
                    </a:cubicBezTo>
                    <a:cubicBezTo>
                      <a:pt x="16" y="54"/>
                      <a:pt x="15" y="54"/>
                      <a:pt x="15" y="54"/>
                    </a:cubicBezTo>
                    <a:cubicBezTo>
                      <a:pt x="15" y="54"/>
                      <a:pt x="13" y="55"/>
                      <a:pt x="13" y="55"/>
                    </a:cubicBezTo>
                    <a:cubicBezTo>
                      <a:pt x="13" y="55"/>
                      <a:pt x="12" y="56"/>
                      <a:pt x="11" y="56"/>
                    </a:cubicBezTo>
                    <a:cubicBezTo>
                      <a:pt x="11" y="56"/>
                      <a:pt x="10" y="55"/>
                      <a:pt x="10" y="55"/>
                    </a:cubicBezTo>
                    <a:cubicBezTo>
                      <a:pt x="10" y="55"/>
                      <a:pt x="10" y="55"/>
                      <a:pt x="10" y="55"/>
                    </a:cubicBezTo>
                    <a:cubicBezTo>
                      <a:pt x="7" y="57"/>
                      <a:pt x="7" y="57"/>
                      <a:pt x="7" y="57"/>
                    </a:cubicBezTo>
                    <a:cubicBezTo>
                      <a:pt x="4" y="59"/>
                      <a:pt x="4" y="59"/>
                      <a:pt x="4" y="59"/>
                    </a:cubicBezTo>
                    <a:cubicBezTo>
                      <a:pt x="4" y="61"/>
                      <a:pt x="4" y="61"/>
                      <a:pt x="4" y="61"/>
                    </a:cubicBezTo>
                    <a:cubicBezTo>
                      <a:pt x="5" y="61"/>
                      <a:pt x="5" y="62"/>
                      <a:pt x="6" y="63"/>
                    </a:cubicBezTo>
                    <a:cubicBezTo>
                      <a:pt x="7" y="64"/>
                      <a:pt x="8" y="65"/>
                      <a:pt x="12" y="67"/>
                    </a:cubicBezTo>
                    <a:cubicBezTo>
                      <a:pt x="13" y="67"/>
                      <a:pt x="16" y="71"/>
                      <a:pt x="15" y="73"/>
                    </a:cubicBezTo>
                    <a:cubicBezTo>
                      <a:pt x="15" y="73"/>
                      <a:pt x="14" y="81"/>
                      <a:pt x="12" y="83"/>
                    </a:cubicBezTo>
                    <a:cubicBezTo>
                      <a:pt x="12" y="83"/>
                      <a:pt x="11" y="84"/>
                      <a:pt x="9" y="86"/>
                    </a:cubicBezTo>
                    <a:cubicBezTo>
                      <a:pt x="9" y="87"/>
                      <a:pt x="9" y="87"/>
                      <a:pt x="9" y="87"/>
                    </a:cubicBezTo>
                    <a:cubicBezTo>
                      <a:pt x="5" y="90"/>
                      <a:pt x="4" y="90"/>
                      <a:pt x="3" y="90"/>
                    </a:cubicBezTo>
                    <a:cubicBezTo>
                      <a:pt x="3" y="90"/>
                      <a:pt x="2" y="91"/>
                      <a:pt x="2" y="91"/>
                    </a:cubicBezTo>
                    <a:cubicBezTo>
                      <a:pt x="1" y="91"/>
                      <a:pt x="0" y="91"/>
                      <a:pt x="0" y="91"/>
                    </a:cubicBezTo>
                    <a:cubicBezTo>
                      <a:pt x="0" y="92"/>
                      <a:pt x="1" y="94"/>
                      <a:pt x="1" y="94"/>
                    </a:cubicBezTo>
                    <a:cubicBezTo>
                      <a:pt x="5" y="95"/>
                      <a:pt x="5" y="95"/>
                      <a:pt x="5" y="95"/>
                    </a:cubicBezTo>
                    <a:cubicBezTo>
                      <a:pt x="9" y="99"/>
                      <a:pt x="9" y="99"/>
                      <a:pt x="9" y="99"/>
                    </a:cubicBezTo>
                    <a:cubicBezTo>
                      <a:pt x="10" y="109"/>
                      <a:pt x="10" y="109"/>
                      <a:pt x="10" y="109"/>
                    </a:cubicBezTo>
                    <a:cubicBezTo>
                      <a:pt x="6" y="114"/>
                      <a:pt x="6" y="114"/>
                      <a:pt x="6" y="114"/>
                    </a:cubicBezTo>
                    <a:cubicBezTo>
                      <a:pt x="5" y="115"/>
                      <a:pt x="5" y="115"/>
                      <a:pt x="5" y="116"/>
                    </a:cubicBezTo>
                    <a:cubicBezTo>
                      <a:pt x="5" y="116"/>
                      <a:pt x="5" y="117"/>
                      <a:pt x="5" y="118"/>
                    </a:cubicBezTo>
                    <a:cubicBezTo>
                      <a:pt x="7" y="118"/>
                      <a:pt x="7" y="118"/>
                      <a:pt x="7" y="118"/>
                    </a:cubicBezTo>
                    <a:cubicBezTo>
                      <a:pt x="11" y="124"/>
                      <a:pt x="11" y="124"/>
                      <a:pt x="11" y="124"/>
                    </a:cubicBezTo>
                    <a:cubicBezTo>
                      <a:pt x="18" y="127"/>
                      <a:pt x="18" y="127"/>
                      <a:pt x="18" y="127"/>
                    </a:cubicBezTo>
                    <a:cubicBezTo>
                      <a:pt x="26" y="127"/>
                      <a:pt x="26" y="127"/>
                      <a:pt x="26" y="127"/>
                    </a:cubicBezTo>
                    <a:cubicBezTo>
                      <a:pt x="31" y="131"/>
                      <a:pt x="31" y="131"/>
                      <a:pt x="31" y="131"/>
                    </a:cubicBezTo>
                    <a:cubicBezTo>
                      <a:pt x="28" y="142"/>
                      <a:pt x="28" y="142"/>
                      <a:pt x="28" y="142"/>
                    </a:cubicBezTo>
                    <a:cubicBezTo>
                      <a:pt x="23" y="146"/>
                      <a:pt x="23" y="146"/>
                      <a:pt x="23" y="146"/>
                    </a:cubicBezTo>
                    <a:cubicBezTo>
                      <a:pt x="23" y="146"/>
                      <a:pt x="23" y="146"/>
                      <a:pt x="23" y="146"/>
                    </a:cubicBezTo>
                    <a:cubicBezTo>
                      <a:pt x="25" y="147"/>
                      <a:pt x="25" y="148"/>
                      <a:pt x="27" y="147"/>
                    </a:cubicBezTo>
                    <a:cubicBezTo>
                      <a:pt x="30" y="147"/>
                      <a:pt x="33" y="146"/>
                      <a:pt x="34" y="145"/>
                    </a:cubicBezTo>
                    <a:cubicBezTo>
                      <a:pt x="34" y="144"/>
                      <a:pt x="37" y="142"/>
                      <a:pt x="37" y="141"/>
                    </a:cubicBezTo>
                    <a:cubicBezTo>
                      <a:pt x="38" y="140"/>
                      <a:pt x="43" y="135"/>
                      <a:pt x="43" y="135"/>
                    </a:cubicBezTo>
                    <a:cubicBezTo>
                      <a:pt x="44" y="135"/>
                      <a:pt x="49" y="128"/>
                      <a:pt x="49" y="127"/>
                    </a:cubicBezTo>
                    <a:cubicBezTo>
                      <a:pt x="50" y="127"/>
                      <a:pt x="57" y="121"/>
                      <a:pt x="57" y="121"/>
                    </a:cubicBezTo>
                    <a:cubicBezTo>
                      <a:pt x="65" y="119"/>
                      <a:pt x="65" y="119"/>
                      <a:pt x="65" y="119"/>
                    </a:cubicBezTo>
                    <a:cubicBezTo>
                      <a:pt x="65" y="119"/>
                      <a:pt x="69" y="122"/>
                      <a:pt x="70" y="123"/>
                    </a:cubicBezTo>
                    <a:cubicBezTo>
                      <a:pt x="71" y="123"/>
                      <a:pt x="80" y="128"/>
                      <a:pt x="80" y="128"/>
                    </a:cubicBezTo>
                    <a:cubicBezTo>
                      <a:pt x="80" y="128"/>
                      <a:pt x="85" y="130"/>
                      <a:pt x="86" y="130"/>
                    </a:cubicBezTo>
                    <a:cubicBezTo>
                      <a:pt x="86" y="131"/>
                      <a:pt x="91" y="136"/>
                      <a:pt x="91" y="136"/>
                    </a:cubicBezTo>
                    <a:cubicBezTo>
                      <a:pt x="94" y="137"/>
                      <a:pt x="94" y="137"/>
                      <a:pt x="94" y="137"/>
                    </a:cubicBezTo>
                    <a:cubicBezTo>
                      <a:pt x="96" y="135"/>
                      <a:pt x="96" y="135"/>
                      <a:pt x="96" y="135"/>
                    </a:cubicBezTo>
                    <a:cubicBezTo>
                      <a:pt x="100" y="136"/>
                      <a:pt x="100" y="136"/>
                      <a:pt x="100" y="136"/>
                    </a:cubicBezTo>
                    <a:cubicBezTo>
                      <a:pt x="105" y="139"/>
                      <a:pt x="105" y="139"/>
                      <a:pt x="105" y="139"/>
                    </a:cubicBezTo>
                    <a:cubicBezTo>
                      <a:pt x="108" y="144"/>
                      <a:pt x="108" y="144"/>
                      <a:pt x="108" y="144"/>
                    </a:cubicBezTo>
                    <a:cubicBezTo>
                      <a:pt x="108" y="144"/>
                      <a:pt x="110" y="151"/>
                      <a:pt x="110" y="153"/>
                    </a:cubicBezTo>
                    <a:cubicBezTo>
                      <a:pt x="110" y="155"/>
                      <a:pt x="110" y="160"/>
                      <a:pt x="110" y="160"/>
                    </a:cubicBezTo>
                    <a:cubicBezTo>
                      <a:pt x="117" y="163"/>
                      <a:pt x="117" y="163"/>
                      <a:pt x="117" y="163"/>
                    </a:cubicBezTo>
                    <a:cubicBezTo>
                      <a:pt x="117" y="163"/>
                      <a:pt x="117" y="170"/>
                      <a:pt x="118" y="171"/>
                    </a:cubicBezTo>
                    <a:cubicBezTo>
                      <a:pt x="118" y="173"/>
                      <a:pt x="118" y="175"/>
                      <a:pt x="118" y="177"/>
                    </a:cubicBezTo>
                    <a:cubicBezTo>
                      <a:pt x="119" y="179"/>
                      <a:pt x="118" y="182"/>
                      <a:pt x="118" y="182"/>
                    </a:cubicBezTo>
                    <a:cubicBezTo>
                      <a:pt x="122" y="184"/>
                      <a:pt x="122" y="184"/>
                      <a:pt x="122" y="184"/>
                    </a:cubicBezTo>
                    <a:cubicBezTo>
                      <a:pt x="125" y="187"/>
                      <a:pt x="125" y="187"/>
                      <a:pt x="125" y="187"/>
                    </a:cubicBezTo>
                    <a:cubicBezTo>
                      <a:pt x="126" y="191"/>
                      <a:pt x="126" y="191"/>
                      <a:pt x="126" y="191"/>
                    </a:cubicBezTo>
                    <a:cubicBezTo>
                      <a:pt x="133" y="193"/>
                      <a:pt x="133" y="193"/>
                      <a:pt x="133" y="193"/>
                    </a:cubicBezTo>
                    <a:cubicBezTo>
                      <a:pt x="135" y="198"/>
                      <a:pt x="135" y="198"/>
                      <a:pt x="135" y="198"/>
                    </a:cubicBezTo>
                    <a:cubicBezTo>
                      <a:pt x="138" y="202"/>
                      <a:pt x="138" y="202"/>
                      <a:pt x="138" y="202"/>
                    </a:cubicBezTo>
                    <a:cubicBezTo>
                      <a:pt x="138" y="205"/>
                      <a:pt x="138" y="205"/>
                      <a:pt x="138" y="205"/>
                    </a:cubicBezTo>
                    <a:cubicBezTo>
                      <a:pt x="138" y="205"/>
                      <a:pt x="138" y="207"/>
                      <a:pt x="140" y="207"/>
                    </a:cubicBezTo>
                    <a:cubicBezTo>
                      <a:pt x="141" y="207"/>
                      <a:pt x="147" y="206"/>
                      <a:pt x="147" y="206"/>
                    </a:cubicBezTo>
                    <a:cubicBezTo>
                      <a:pt x="153" y="211"/>
                      <a:pt x="153" y="211"/>
                      <a:pt x="153" y="211"/>
                    </a:cubicBezTo>
                    <a:cubicBezTo>
                      <a:pt x="159" y="217"/>
                      <a:pt x="159" y="217"/>
                      <a:pt x="159" y="217"/>
                    </a:cubicBezTo>
                    <a:cubicBezTo>
                      <a:pt x="163" y="222"/>
                      <a:pt x="163" y="222"/>
                      <a:pt x="163" y="222"/>
                    </a:cubicBezTo>
                    <a:cubicBezTo>
                      <a:pt x="168" y="224"/>
                      <a:pt x="168" y="224"/>
                      <a:pt x="168" y="224"/>
                    </a:cubicBezTo>
                    <a:cubicBezTo>
                      <a:pt x="174" y="228"/>
                      <a:pt x="174" y="228"/>
                      <a:pt x="174" y="228"/>
                    </a:cubicBezTo>
                    <a:cubicBezTo>
                      <a:pt x="176" y="233"/>
                      <a:pt x="176" y="233"/>
                      <a:pt x="176" y="233"/>
                    </a:cubicBezTo>
                    <a:cubicBezTo>
                      <a:pt x="181" y="239"/>
                      <a:pt x="181" y="239"/>
                      <a:pt x="181" y="239"/>
                    </a:cubicBezTo>
                    <a:cubicBezTo>
                      <a:pt x="185" y="241"/>
                      <a:pt x="185" y="241"/>
                      <a:pt x="185" y="241"/>
                    </a:cubicBezTo>
                    <a:cubicBezTo>
                      <a:pt x="186" y="244"/>
                      <a:pt x="186" y="244"/>
                      <a:pt x="186" y="244"/>
                    </a:cubicBezTo>
                    <a:cubicBezTo>
                      <a:pt x="190" y="245"/>
                      <a:pt x="190" y="245"/>
                      <a:pt x="190" y="245"/>
                    </a:cubicBezTo>
                    <a:cubicBezTo>
                      <a:pt x="193" y="246"/>
                      <a:pt x="193" y="246"/>
                      <a:pt x="193" y="246"/>
                    </a:cubicBezTo>
                    <a:cubicBezTo>
                      <a:pt x="198" y="247"/>
                      <a:pt x="198" y="247"/>
                      <a:pt x="198" y="247"/>
                    </a:cubicBezTo>
                    <a:cubicBezTo>
                      <a:pt x="201" y="250"/>
                      <a:pt x="201" y="250"/>
                      <a:pt x="201" y="250"/>
                    </a:cubicBezTo>
                    <a:cubicBezTo>
                      <a:pt x="201" y="250"/>
                      <a:pt x="203" y="252"/>
                      <a:pt x="203" y="253"/>
                    </a:cubicBezTo>
                    <a:cubicBezTo>
                      <a:pt x="203" y="254"/>
                      <a:pt x="201" y="255"/>
                      <a:pt x="203" y="255"/>
                    </a:cubicBezTo>
                    <a:cubicBezTo>
                      <a:pt x="206" y="255"/>
                      <a:pt x="208" y="255"/>
                      <a:pt x="208" y="255"/>
                    </a:cubicBezTo>
                    <a:cubicBezTo>
                      <a:pt x="213" y="254"/>
                      <a:pt x="213" y="254"/>
                      <a:pt x="213" y="254"/>
                    </a:cubicBezTo>
                    <a:cubicBezTo>
                      <a:pt x="216" y="254"/>
                      <a:pt x="216" y="254"/>
                      <a:pt x="216" y="254"/>
                    </a:cubicBezTo>
                    <a:cubicBezTo>
                      <a:pt x="220" y="254"/>
                      <a:pt x="220" y="254"/>
                      <a:pt x="220" y="254"/>
                    </a:cubicBezTo>
                    <a:cubicBezTo>
                      <a:pt x="225" y="252"/>
                      <a:pt x="225" y="252"/>
                      <a:pt x="225" y="252"/>
                    </a:cubicBezTo>
                    <a:cubicBezTo>
                      <a:pt x="229" y="255"/>
                      <a:pt x="229" y="255"/>
                      <a:pt x="229" y="255"/>
                    </a:cubicBezTo>
                    <a:cubicBezTo>
                      <a:pt x="237" y="265"/>
                      <a:pt x="237" y="265"/>
                      <a:pt x="237" y="265"/>
                    </a:cubicBezTo>
                    <a:cubicBezTo>
                      <a:pt x="237" y="265"/>
                      <a:pt x="240" y="270"/>
                      <a:pt x="240" y="271"/>
                    </a:cubicBezTo>
                    <a:cubicBezTo>
                      <a:pt x="240" y="272"/>
                      <a:pt x="242" y="271"/>
                      <a:pt x="243" y="271"/>
                    </a:cubicBezTo>
                    <a:cubicBezTo>
                      <a:pt x="244" y="271"/>
                      <a:pt x="251" y="271"/>
                      <a:pt x="251" y="271"/>
                    </a:cubicBezTo>
                    <a:cubicBezTo>
                      <a:pt x="256" y="274"/>
                      <a:pt x="256" y="274"/>
                      <a:pt x="256" y="274"/>
                    </a:cubicBezTo>
                    <a:cubicBezTo>
                      <a:pt x="252" y="278"/>
                      <a:pt x="252" y="278"/>
                      <a:pt x="252" y="278"/>
                    </a:cubicBezTo>
                    <a:cubicBezTo>
                      <a:pt x="257" y="280"/>
                      <a:pt x="257" y="280"/>
                      <a:pt x="257" y="280"/>
                    </a:cubicBezTo>
                    <a:cubicBezTo>
                      <a:pt x="260" y="278"/>
                      <a:pt x="260" y="278"/>
                      <a:pt x="260" y="278"/>
                    </a:cubicBezTo>
                    <a:cubicBezTo>
                      <a:pt x="265" y="278"/>
                      <a:pt x="265" y="278"/>
                      <a:pt x="265" y="278"/>
                    </a:cubicBezTo>
                    <a:cubicBezTo>
                      <a:pt x="268" y="282"/>
                      <a:pt x="268" y="282"/>
                      <a:pt x="268" y="282"/>
                    </a:cubicBezTo>
                    <a:cubicBezTo>
                      <a:pt x="269" y="284"/>
                      <a:pt x="269" y="284"/>
                      <a:pt x="269" y="284"/>
                    </a:cubicBezTo>
                    <a:cubicBezTo>
                      <a:pt x="271" y="286"/>
                      <a:pt x="271" y="286"/>
                      <a:pt x="271" y="286"/>
                    </a:cubicBezTo>
                    <a:cubicBezTo>
                      <a:pt x="271" y="289"/>
                      <a:pt x="271" y="289"/>
                      <a:pt x="271" y="289"/>
                    </a:cubicBezTo>
                    <a:cubicBezTo>
                      <a:pt x="271" y="292"/>
                      <a:pt x="271" y="292"/>
                      <a:pt x="271" y="292"/>
                    </a:cubicBezTo>
                    <a:cubicBezTo>
                      <a:pt x="273" y="295"/>
                      <a:pt x="273" y="295"/>
                      <a:pt x="273" y="295"/>
                    </a:cubicBezTo>
                    <a:cubicBezTo>
                      <a:pt x="277" y="297"/>
                      <a:pt x="277" y="297"/>
                      <a:pt x="277" y="297"/>
                    </a:cubicBezTo>
                    <a:cubicBezTo>
                      <a:pt x="280" y="299"/>
                      <a:pt x="280" y="299"/>
                      <a:pt x="280" y="299"/>
                    </a:cubicBezTo>
                    <a:cubicBezTo>
                      <a:pt x="283" y="301"/>
                      <a:pt x="283" y="301"/>
                      <a:pt x="283" y="301"/>
                    </a:cubicBezTo>
                    <a:cubicBezTo>
                      <a:pt x="286" y="301"/>
                      <a:pt x="286" y="301"/>
                      <a:pt x="286" y="301"/>
                    </a:cubicBezTo>
                    <a:cubicBezTo>
                      <a:pt x="291" y="300"/>
                      <a:pt x="291" y="300"/>
                      <a:pt x="291" y="300"/>
                    </a:cubicBezTo>
                    <a:cubicBezTo>
                      <a:pt x="297" y="301"/>
                      <a:pt x="297" y="301"/>
                      <a:pt x="297" y="301"/>
                    </a:cubicBezTo>
                    <a:cubicBezTo>
                      <a:pt x="302" y="309"/>
                      <a:pt x="302" y="309"/>
                      <a:pt x="302" y="309"/>
                    </a:cubicBezTo>
                    <a:cubicBezTo>
                      <a:pt x="304" y="316"/>
                      <a:pt x="304" y="316"/>
                      <a:pt x="304" y="316"/>
                    </a:cubicBezTo>
                    <a:cubicBezTo>
                      <a:pt x="307" y="323"/>
                      <a:pt x="307" y="323"/>
                      <a:pt x="307" y="323"/>
                    </a:cubicBezTo>
                    <a:cubicBezTo>
                      <a:pt x="310" y="326"/>
                      <a:pt x="310" y="326"/>
                      <a:pt x="310" y="326"/>
                    </a:cubicBezTo>
                    <a:cubicBezTo>
                      <a:pt x="311" y="333"/>
                      <a:pt x="311" y="333"/>
                      <a:pt x="311" y="333"/>
                    </a:cubicBezTo>
                    <a:cubicBezTo>
                      <a:pt x="314" y="336"/>
                      <a:pt x="314" y="336"/>
                      <a:pt x="314" y="336"/>
                    </a:cubicBezTo>
                    <a:cubicBezTo>
                      <a:pt x="317" y="344"/>
                      <a:pt x="317" y="344"/>
                      <a:pt x="317" y="344"/>
                    </a:cubicBezTo>
                    <a:cubicBezTo>
                      <a:pt x="319" y="347"/>
                      <a:pt x="319" y="347"/>
                      <a:pt x="319" y="347"/>
                    </a:cubicBezTo>
                    <a:cubicBezTo>
                      <a:pt x="318" y="352"/>
                      <a:pt x="318" y="352"/>
                      <a:pt x="318" y="352"/>
                    </a:cubicBezTo>
                    <a:cubicBezTo>
                      <a:pt x="318" y="352"/>
                      <a:pt x="316" y="355"/>
                      <a:pt x="315" y="356"/>
                    </a:cubicBezTo>
                    <a:cubicBezTo>
                      <a:pt x="315" y="356"/>
                      <a:pt x="313" y="357"/>
                      <a:pt x="312" y="357"/>
                    </a:cubicBezTo>
                    <a:cubicBezTo>
                      <a:pt x="311" y="358"/>
                      <a:pt x="310" y="358"/>
                      <a:pt x="309" y="359"/>
                    </a:cubicBezTo>
                    <a:cubicBezTo>
                      <a:pt x="309" y="360"/>
                      <a:pt x="308" y="362"/>
                      <a:pt x="308" y="362"/>
                    </a:cubicBezTo>
                    <a:cubicBezTo>
                      <a:pt x="311" y="367"/>
                      <a:pt x="311" y="367"/>
                      <a:pt x="311" y="367"/>
                    </a:cubicBezTo>
                    <a:cubicBezTo>
                      <a:pt x="309" y="373"/>
                      <a:pt x="309" y="373"/>
                      <a:pt x="309" y="373"/>
                    </a:cubicBezTo>
                    <a:cubicBezTo>
                      <a:pt x="308" y="378"/>
                      <a:pt x="308" y="378"/>
                      <a:pt x="308" y="378"/>
                    </a:cubicBezTo>
                    <a:cubicBezTo>
                      <a:pt x="305" y="380"/>
                      <a:pt x="305" y="380"/>
                      <a:pt x="305" y="380"/>
                    </a:cubicBezTo>
                    <a:cubicBezTo>
                      <a:pt x="301" y="383"/>
                      <a:pt x="301" y="383"/>
                      <a:pt x="301" y="383"/>
                    </a:cubicBezTo>
                    <a:cubicBezTo>
                      <a:pt x="301" y="383"/>
                      <a:pt x="302" y="386"/>
                      <a:pt x="302" y="388"/>
                    </a:cubicBezTo>
                    <a:cubicBezTo>
                      <a:pt x="303" y="389"/>
                      <a:pt x="306" y="393"/>
                      <a:pt x="306" y="393"/>
                    </a:cubicBezTo>
                    <a:cubicBezTo>
                      <a:pt x="314" y="393"/>
                      <a:pt x="314" y="393"/>
                      <a:pt x="314" y="393"/>
                    </a:cubicBezTo>
                    <a:cubicBezTo>
                      <a:pt x="319" y="390"/>
                      <a:pt x="319" y="390"/>
                      <a:pt x="319" y="390"/>
                    </a:cubicBezTo>
                    <a:cubicBezTo>
                      <a:pt x="320" y="385"/>
                      <a:pt x="320" y="385"/>
                      <a:pt x="320" y="385"/>
                    </a:cubicBezTo>
                    <a:cubicBezTo>
                      <a:pt x="322" y="379"/>
                      <a:pt x="322" y="379"/>
                      <a:pt x="322" y="379"/>
                    </a:cubicBezTo>
                    <a:cubicBezTo>
                      <a:pt x="327" y="375"/>
                      <a:pt x="327" y="375"/>
                      <a:pt x="327" y="375"/>
                    </a:cubicBezTo>
                    <a:cubicBezTo>
                      <a:pt x="331" y="371"/>
                      <a:pt x="331" y="371"/>
                      <a:pt x="331" y="371"/>
                    </a:cubicBezTo>
                    <a:cubicBezTo>
                      <a:pt x="334" y="368"/>
                      <a:pt x="334" y="368"/>
                      <a:pt x="334" y="368"/>
                    </a:cubicBezTo>
                    <a:cubicBezTo>
                      <a:pt x="334" y="357"/>
                      <a:pt x="334" y="357"/>
                      <a:pt x="334" y="357"/>
                    </a:cubicBezTo>
                    <a:cubicBezTo>
                      <a:pt x="336" y="349"/>
                      <a:pt x="336" y="349"/>
                      <a:pt x="336" y="349"/>
                    </a:cubicBezTo>
                    <a:cubicBezTo>
                      <a:pt x="350" y="344"/>
                      <a:pt x="350" y="344"/>
                      <a:pt x="350" y="344"/>
                    </a:cubicBezTo>
                    <a:cubicBezTo>
                      <a:pt x="352" y="343"/>
                      <a:pt x="352" y="343"/>
                      <a:pt x="352" y="343"/>
                    </a:cubicBezTo>
                    <a:cubicBezTo>
                      <a:pt x="352" y="343"/>
                      <a:pt x="352" y="341"/>
                      <a:pt x="352" y="340"/>
                    </a:cubicBezTo>
                    <a:cubicBezTo>
                      <a:pt x="351" y="339"/>
                      <a:pt x="349" y="336"/>
                      <a:pt x="349" y="336"/>
                    </a:cubicBezTo>
                    <a:cubicBezTo>
                      <a:pt x="349" y="336"/>
                      <a:pt x="350" y="333"/>
                      <a:pt x="349" y="333"/>
                    </a:cubicBezTo>
                    <a:cubicBezTo>
                      <a:pt x="349" y="332"/>
                      <a:pt x="349" y="326"/>
                      <a:pt x="349" y="326"/>
                    </a:cubicBezTo>
                    <a:cubicBezTo>
                      <a:pt x="348" y="321"/>
                      <a:pt x="348" y="321"/>
                      <a:pt x="348" y="321"/>
                    </a:cubicBezTo>
                    <a:cubicBezTo>
                      <a:pt x="348" y="321"/>
                      <a:pt x="346" y="321"/>
                      <a:pt x="343" y="320"/>
                    </a:cubicBezTo>
                    <a:cubicBezTo>
                      <a:pt x="341" y="318"/>
                      <a:pt x="337" y="316"/>
                      <a:pt x="337" y="316"/>
                    </a:cubicBezTo>
                    <a:cubicBezTo>
                      <a:pt x="332" y="315"/>
                      <a:pt x="332" y="315"/>
                      <a:pt x="332" y="315"/>
                    </a:cubicBezTo>
                    <a:cubicBezTo>
                      <a:pt x="328" y="313"/>
                      <a:pt x="328" y="313"/>
                      <a:pt x="328" y="313"/>
                    </a:cubicBezTo>
                    <a:cubicBezTo>
                      <a:pt x="326" y="310"/>
                      <a:pt x="326" y="310"/>
                      <a:pt x="326" y="310"/>
                    </a:cubicBezTo>
                    <a:cubicBezTo>
                      <a:pt x="329" y="298"/>
                      <a:pt x="329" y="298"/>
                      <a:pt x="329" y="298"/>
                    </a:cubicBezTo>
                    <a:cubicBezTo>
                      <a:pt x="328" y="293"/>
                      <a:pt x="328" y="293"/>
                      <a:pt x="328" y="293"/>
                    </a:cubicBezTo>
                    <a:cubicBezTo>
                      <a:pt x="334" y="285"/>
                      <a:pt x="334" y="285"/>
                      <a:pt x="334" y="285"/>
                    </a:cubicBezTo>
                    <a:cubicBezTo>
                      <a:pt x="338" y="279"/>
                      <a:pt x="338" y="279"/>
                      <a:pt x="338" y="279"/>
                    </a:cubicBezTo>
                    <a:cubicBezTo>
                      <a:pt x="342" y="276"/>
                      <a:pt x="342" y="276"/>
                      <a:pt x="342" y="276"/>
                    </a:cubicBezTo>
                    <a:cubicBezTo>
                      <a:pt x="348" y="278"/>
                      <a:pt x="348" y="278"/>
                      <a:pt x="348" y="278"/>
                    </a:cubicBezTo>
                    <a:cubicBezTo>
                      <a:pt x="351" y="280"/>
                      <a:pt x="351" y="280"/>
                      <a:pt x="351" y="280"/>
                    </a:cubicBezTo>
                    <a:cubicBezTo>
                      <a:pt x="354" y="282"/>
                      <a:pt x="354" y="282"/>
                      <a:pt x="354" y="282"/>
                    </a:cubicBezTo>
                    <a:cubicBezTo>
                      <a:pt x="361" y="282"/>
                      <a:pt x="361" y="282"/>
                      <a:pt x="361" y="282"/>
                    </a:cubicBezTo>
                    <a:cubicBezTo>
                      <a:pt x="369" y="283"/>
                      <a:pt x="369" y="283"/>
                      <a:pt x="369" y="283"/>
                    </a:cubicBezTo>
                    <a:cubicBezTo>
                      <a:pt x="373" y="288"/>
                      <a:pt x="373" y="288"/>
                      <a:pt x="373" y="288"/>
                    </a:cubicBezTo>
                    <a:cubicBezTo>
                      <a:pt x="376" y="294"/>
                      <a:pt x="376" y="294"/>
                      <a:pt x="376" y="294"/>
                    </a:cubicBezTo>
                    <a:cubicBezTo>
                      <a:pt x="376" y="294"/>
                      <a:pt x="378" y="296"/>
                      <a:pt x="378" y="297"/>
                    </a:cubicBezTo>
                    <a:cubicBezTo>
                      <a:pt x="379" y="297"/>
                      <a:pt x="381" y="299"/>
                      <a:pt x="382" y="299"/>
                    </a:cubicBezTo>
                    <a:cubicBezTo>
                      <a:pt x="383" y="300"/>
                      <a:pt x="388" y="301"/>
                      <a:pt x="388" y="301"/>
                    </a:cubicBezTo>
                    <a:cubicBezTo>
                      <a:pt x="388" y="301"/>
                      <a:pt x="389" y="295"/>
                      <a:pt x="389" y="294"/>
                    </a:cubicBezTo>
                    <a:cubicBezTo>
                      <a:pt x="389" y="293"/>
                      <a:pt x="392" y="290"/>
                      <a:pt x="392" y="289"/>
                    </a:cubicBezTo>
                    <a:cubicBezTo>
                      <a:pt x="392" y="288"/>
                      <a:pt x="390" y="282"/>
                      <a:pt x="390" y="282"/>
                    </a:cubicBezTo>
                    <a:close/>
                  </a:path>
                </a:pathLst>
              </a:custGeom>
              <a:solidFill>
                <a:srgbClr val="0181C7"/>
              </a:solid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20" name="Freeform 65"/>
              <p:cNvSpPr>
                <a:spLocks/>
              </p:cNvSpPr>
              <p:nvPr/>
            </p:nvSpPr>
            <p:spPr bwMode="auto">
              <a:xfrm>
                <a:off x="2584" y="3017"/>
                <a:ext cx="118" cy="211"/>
              </a:xfrm>
              <a:custGeom>
                <a:avLst/>
                <a:gdLst>
                  <a:gd name="T0" fmla="*/ 54 w 59"/>
                  <a:gd name="T1" fmla="*/ 21 h 105"/>
                  <a:gd name="T2" fmla="*/ 49 w 59"/>
                  <a:gd name="T3" fmla="*/ 11 h 105"/>
                  <a:gd name="T4" fmla="*/ 47 w 59"/>
                  <a:gd name="T5" fmla="*/ 4 h 105"/>
                  <a:gd name="T6" fmla="*/ 37 w 59"/>
                  <a:gd name="T7" fmla="*/ 0 h 105"/>
                  <a:gd name="T8" fmla="*/ 32 w 59"/>
                  <a:gd name="T9" fmla="*/ 2 h 105"/>
                  <a:gd name="T10" fmla="*/ 29 w 59"/>
                  <a:gd name="T11" fmla="*/ 4 h 105"/>
                  <a:gd name="T12" fmla="*/ 23 w 59"/>
                  <a:gd name="T13" fmla="*/ 10 h 105"/>
                  <a:gd name="T14" fmla="*/ 21 w 59"/>
                  <a:gd name="T15" fmla="*/ 14 h 105"/>
                  <a:gd name="T16" fmla="*/ 15 w 59"/>
                  <a:gd name="T17" fmla="*/ 15 h 105"/>
                  <a:gd name="T18" fmla="*/ 12 w 59"/>
                  <a:gd name="T19" fmla="*/ 17 h 105"/>
                  <a:gd name="T20" fmla="*/ 5 w 59"/>
                  <a:gd name="T21" fmla="*/ 15 h 105"/>
                  <a:gd name="T22" fmla="*/ 6 w 59"/>
                  <a:gd name="T23" fmla="*/ 10 h 105"/>
                  <a:gd name="T24" fmla="*/ 6 w 59"/>
                  <a:gd name="T25" fmla="*/ 6 h 105"/>
                  <a:gd name="T26" fmla="*/ 4 w 59"/>
                  <a:gd name="T27" fmla="*/ 9 h 105"/>
                  <a:gd name="T28" fmla="*/ 1 w 59"/>
                  <a:gd name="T29" fmla="*/ 18 h 105"/>
                  <a:gd name="T30" fmla="*/ 0 w 59"/>
                  <a:gd name="T31" fmla="*/ 20 h 105"/>
                  <a:gd name="T32" fmla="*/ 1 w 59"/>
                  <a:gd name="T33" fmla="*/ 23 h 105"/>
                  <a:gd name="T34" fmla="*/ 1 w 59"/>
                  <a:gd name="T35" fmla="*/ 28 h 105"/>
                  <a:gd name="T36" fmla="*/ 6 w 59"/>
                  <a:gd name="T37" fmla="*/ 31 h 105"/>
                  <a:gd name="T38" fmla="*/ 8 w 59"/>
                  <a:gd name="T39" fmla="*/ 34 h 105"/>
                  <a:gd name="T40" fmla="*/ 8 w 59"/>
                  <a:gd name="T41" fmla="*/ 38 h 105"/>
                  <a:gd name="T42" fmla="*/ 11 w 59"/>
                  <a:gd name="T43" fmla="*/ 40 h 105"/>
                  <a:gd name="T44" fmla="*/ 12 w 59"/>
                  <a:gd name="T45" fmla="*/ 46 h 105"/>
                  <a:gd name="T46" fmla="*/ 11 w 59"/>
                  <a:gd name="T47" fmla="*/ 50 h 105"/>
                  <a:gd name="T48" fmla="*/ 7 w 59"/>
                  <a:gd name="T49" fmla="*/ 54 h 105"/>
                  <a:gd name="T50" fmla="*/ 12 w 59"/>
                  <a:gd name="T51" fmla="*/ 58 h 105"/>
                  <a:gd name="T52" fmla="*/ 14 w 59"/>
                  <a:gd name="T53" fmla="*/ 58 h 105"/>
                  <a:gd name="T54" fmla="*/ 14 w 59"/>
                  <a:gd name="T55" fmla="*/ 62 h 105"/>
                  <a:gd name="T56" fmla="*/ 12 w 59"/>
                  <a:gd name="T57" fmla="*/ 66 h 105"/>
                  <a:gd name="T58" fmla="*/ 11 w 59"/>
                  <a:gd name="T59" fmla="*/ 71 h 105"/>
                  <a:gd name="T60" fmla="*/ 10 w 59"/>
                  <a:gd name="T61" fmla="*/ 74 h 105"/>
                  <a:gd name="T62" fmla="*/ 10 w 59"/>
                  <a:gd name="T63" fmla="*/ 82 h 105"/>
                  <a:gd name="T64" fmla="*/ 8 w 59"/>
                  <a:gd name="T65" fmla="*/ 88 h 105"/>
                  <a:gd name="T66" fmla="*/ 10 w 59"/>
                  <a:gd name="T67" fmla="*/ 93 h 105"/>
                  <a:gd name="T68" fmla="*/ 8 w 59"/>
                  <a:gd name="T69" fmla="*/ 98 h 105"/>
                  <a:gd name="T70" fmla="*/ 12 w 59"/>
                  <a:gd name="T71" fmla="*/ 98 h 105"/>
                  <a:gd name="T72" fmla="*/ 14 w 59"/>
                  <a:gd name="T73" fmla="*/ 97 h 105"/>
                  <a:gd name="T74" fmla="*/ 19 w 59"/>
                  <a:gd name="T75" fmla="*/ 103 h 105"/>
                  <a:gd name="T76" fmla="*/ 23 w 59"/>
                  <a:gd name="T77" fmla="*/ 105 h 105"/>
                  <a:gd name="T78" fmla="*/ 28 w 59"/>
                  <a:gd name="T79" fmla="*/ 105 h 105"/>
                  <a:gd name="T80" fmla="*/ 31 w 59"/>
                  <a:gd name="T81" fmla="*/ 97 h 105"/>
                  <a:gd name="T82" fmla="*/ 30 w 59"/>
                  <a:gd name="T83" fmla="*/ 93 h 105"/>
                  <a:gd name="T84" fmla="*/ 33 w 59"/>
                  <a:gd name="T85" fmla="*/ 88 h 105"/>
                  <a:gd name="T86" fmla="*/ 36 w 59"/>
                  <a:gd name="T87" fmla="*/ 88 h 105"/>
                  <a:gd name="T88" fmla="*/ 46 w 59"/>
                  <a:gd name="T89" fmla="*/ 95 h 105"/>
                  <a:gd name="T90" fmla="*/ 51 w 59"/>
                  <a:gd name="T91" fmla="*/ 92 h 105"/>
                  <a:gd name="T92" fmla="*/ 52 w 59"/>
                  <a:gd name="T93" fmla="*/ 86 h 105"/>
                  <a:gd name="T94" fmla="*/ 53 w 59"/>
                  <a:gd name="T95" fmla="*/ 74 h 105"/>
                  <a:gd name="T96" fmla="*/ 51 w 59"/>
                  <a:gd name="T97" fmla="*/ 65 h 105"/>
                  <a:gd name="T98" fmla="*/ 56 w 59"/>
                  <a:gd name="T99" fmla="*/ 53 h 105"/>
                  <a:gd name="T100" fmla="*/ 53 w 59"/>
                  <a:gd name="T101" fmla="*/ 47 h 105"/>
                  <a:gd name="T102" fmla="*/ 53 w 59"/>
                  <a:gd name="T103" fmla="*/ 41 h 105"/>
                  <a:gd name="T104" fmla="*/ 58 w 59"/>
                  <a:gd name="T105" fmla="*/ 31 h 105"/>
                  <a:gd name="T106" fmla="*/ 56 w 59"/>
                  <a:gd name="T107" fmla="*/ 25 h 105"/>
                  <a:gd name="T108" fmla="*/ 54 w 59"/>
                  <a:gd name="T109" fmla="*/ 2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9" h="105">
                    <a:moveTo>
                      <a:pt x="54" y="21"/>
                    </a:moveTo>
                    <a:cubicBezTo>
                      <a:pt x="49" y="11"/>
                      <a:pt x="49" y="11"/>
                      <a:pt x="49" y="11"/>
                    </a:cubicBezTo>
                    <a:cubicBezTo>
                      <a:pt x="47" y="4"/>
                      <a:pt x="47" y="4"/>
                      <a:pt x="47" y="4"/>
                    </a:cubicBezTo>
                    <a:cubicBezTo>
                      <a:pt x="37" y="0"/>
                      <a:pt x="37" y="0"/>
                      <a:pt x="37" y="0"/>
                    </a:cubicBezTo>
                    <a:cubicBezTo>
                      <a:pt x="37" y="0"/>
                      <a:pt x="33" y="2"/>
                      <a:pt x="32" y="2"/>
                    </a:cubicBezTo>
                    <a:cubicBezTo>
                      <a:pt x="31" y="3"/>
                      <a:pt x="30" y="4"/>
                      <a:pt x="29" y="4"/>
                    </a:cubicBezTo>
                    <a:cubicBezTo>
                      <a:pt x="28" y="5"/>
                      <a:pt x="24" y="9"/>
                      <a:pt x="23" y="10"/>
                    </a:cubicBezTo>
                    <a:cubicBezTo>
                      <a:pt x="22" y="12"/>
                      <a:pt x="21" y="14"/>
                      <a:pt x="21" y="14"/>
                    </a:cubicBezTo>
                    <a:cubicBezTo>
                      <a:pt x="21" y="14"/>
                      <a:pt x="16" y="15"/>
                      <a:pt x="15" y="15"/>
                    </a:cubicBezTo>
                    <a:cubicBezTo>
                      <a:pt x="14" y="16"/>
                      <a:pt x="13" y="17"/>
                      <a:pt x="12" y="17"/>
                    </a:cubicBezTo>
                    <a:cubicBezTo>
                      <a:pt x="11" y="18"/>
                      <a:pt x="5" y="15"/>
                      <a:pt x="5" y="15"/>
                    </a:cubicBezTo>
                    <a:cubicBezTo>
                      <a:pt x="6" y="10"/>
                      <a:pt x="6" y="10"/>
                      <a:pt x="6" y="10"/>
                    </a:cubicBezTo>
                    <a:cubicBezTo>
                      <a:pt x="6" y="6"/>
                      <a:pt x="6" y="6"/>
                      <a:pt x="6" y="6"/>
                    </a:cubicBezTo>
                    <a:cubicBezTo>
                      <a:pt x="4" y="9"/>
                      <a:pt x="4" y="9"/>
                      <a:pt x="4" y="9"/>
                    </a:cubicBezTo>
                    <a:cubicBezTo>
                      <a:pt x="1" y="18"/>
                      <a:pt x="1" y="18"/>
                      <a:pt x="1" y="18"/>
                    </a:cubicBezTo>
                    <a:cubicBezTo>
                      <a:pt x="0" y="20"/>
                      <a:pt x="0" y="20"/>
                      <a:pt x="0" y="20"/>
                    </a:cubicBezTo>
                    <a:cubicBezTo>
                      <a:pt x="1" y="23"/>
                      <a:pt x="1" y="23"/>
                      <a:pt x="1" y="23"/>
                    </a:cubicBezTo>
                    <a:cubicBezTo>
                      <a:pt x="1" y="28"/>
                      <a:pt x="1" y="28"/>
                      <a:pt x="1" y="28"/>
                    </a:cubicBezTo>
                    <a:cubicBezTo>
                      <a:pt x="1" y="28"/>
                      <a:pt x="5" y="31"/>
                      <a:pt x="6" y="31"/>
                    </a:cubicBezTo>
                    <a:cubicBezTo>
                      <a:pt x="8" y="31"/>
                      <a:pt x="8" y="34"/>
                      <a:pt x="8" y="34"/>
                    </a:cubicBezTo>
                    <a:cubicBezTo>
                      <a:pt x="8" y="38"/>
                      <a:pt x="8" y="38"/>
                      <a:pt x="8" y="38"/>
                    </a:cubicBezTo>
                    <a:cubicBezTo>
                      <a:pt x="8" y="38"/>
                      <a:pt x="10" y="40"/>
                      <a:pt x="11" y="40"/>
                    </a:cubicBezTo>
                    <a:cubicBezTo>
                      <a:pt x="12" y="41"/>
                      <a:pt x="12" y="45"/>
                      <a:pt x="12" y="46"/>
                    </a:cubicBezTo>
                    <a:cubicBezTo>
                      <a:pt x="12" y="48"/>
                      <a:pt x="12" y="49"/>
                      <a:pt x="11" y="50"/>
                    </a:cubicBezTo>
                    <a:cubicBezTo>
                      <a:pt x="9" y="52"/>
                      <a:pt x="7" y="54"/>
                      <a:pt x="7" y="54"/>
                    </a:cubicBezTo>
                    <a:cubicBezTo>
                      <a:pt x="12" y="58"/>
                      <a:pt x="12" y="58"/>
                      <a:pt x="12" y="58"/>
                    </a:cubicBezTo>
                    <a:cubicBezTo>
                      <a:pt x="14" y="58"/>
                      <a:pt x="14" y="58"/>
                      <a:pt x="14" y="58"/>
                    </a:cubicBezTo>
                    <a:cubicBezTo>
                      <a:pt x="14" y="62"/>
                      <a:pt x="14" y="62"/>
                      <a:pt x="14" y="62"/>
                    </a:cubicBezTo>
                    <a:cubicBezTo>
                      <a:pt x="12" y="66"/>
                      <a:pt x="12" y="66"/>
                      <a:pt x="12" y="66"/>
                    </a:cubicBezTo>
                    <a:cubicBezTo>
                      <a:pt x="11" y="71"/>
                      <a:pt x="11" y="71"/>
                      <a:pt x="11" y="71"/>
                    </a:cubicBezTo>
                    <a:cubicBezTo>
                      <a:pt x="10" y="74"/>
                      <a:pt x="10" y="74"/>
                      <a:pt x="10" y="74"/>
                    </a:cubicBezTo>
                    <a:cubicBezTo>
                      <a:pt x="10" y="82"/>
                      <a:pt x="10" y="82"/>
                      <a:pt x="10" y="82"/>
                    </a:cubicBezTo>
                    <a:cubicBezTo>
                      <a:pt x="8" y="88"/>
                      <a:pt x="8" y="88"/>
                      <a:pt x="8" y="88"/>
                    </a:cubicBezTo>
                    <a:cubicBezTo>
                      <a:pt x="10" y="93"/>
                      <a:pt x="10" y="93"/>
                      <a:pt x="10" y="93"/>
                    </a:cubicBezTo>
                    <a:cubicBezTo>
                      <a:pt x="8" y="98"/>
                      <a:pt x="8" y="98"/>
                      <a:pt x="8" y="98"/>
                    </a:cubicBezTo>
                    <a:cubicBezTo>
                      <a:pt x="8" y="98"/>
                      <a:pt x="10" y="99"/>
                      <a:pt x="12" y="98"/>
                    </a:cubicBezTo>
                    <a:cubicBezTo>
                      <a:pt x="14" y="98"/>
                      <a:pt x="14" y="97"/>
                      <a:pt x="14" y="97"/>
                    </a:cubicBezTo>
                    <a:cubicBezTo>
                      <a:pt x="19" y="103"/>
                      <a:pt x="19" y="103"/>
                      <a:pt x="19" y="103"/>
                    </a:cubicBezTo>
                    <a:cubicBezTo>
                      <a:pt x="23" y="105"/>
                      <a:pt x="23" y="105"/>
                      <a:pt x="23" y="105"/>
                    </a:cubicBezTo>
                    <a:cubicBezTo>
                      <a:pt x="28" y="105"/>
                      <a:pt x="28" y="105"/>
                      <a:pt x="28" y="105"/>
                    </a:cubicBezTo>
                    <a:cubicBezTo>
                      <a:pt x="31" y="97"/>
                      <a:pt x="31" y="97"/>
                      <a:pt x="31" y="97"/>
                    </a:cubicBezTo>
                    <a:cubicBezTo>
                      <a:pt x="30" y="93"/>
                      <a:pt x="30" y="93"/>
                      <a:pt x="30" y="93"/>
                    </a:cubicBezTo>
                    <a:cubicBezTo>
                      <a:pt x="33" y="88"/>
                      <a:pt x="33" y="88"/>
                      <a:pt x="33" y="88"/>
                    </a:cubicBezTo>
                    <a:cubicBezTo>
                      <a:pt x="36" y="88"/>
                      <a:pt x="36" y="88"/>
                      <a:pt x="36" y="88"/>
                    </a:cubicBezTo>
                    <a:cubicBezTo>
                      <a:pt x="36" y="88"/>
                      <a:pt x="44" y="94"/>
                      <a:pt x="46" y="95"/>
                    </a:cubicBezTo>
                    <a:cubicBezTo>
                      <a:pt x="48" y="96"/>
                      <a:pt x="51" y="92"/>
                      <a:pt x="51" y="92"/>
                    </a:cubicBezTo>
                    <a:cubicBezTo>
                      <a:pt x="52" y="86"/>
                      <a:pt x="52" y="86"/>
                      <a:pt x="52" y="86"/>
                    </a:cubicBezTo>
                    <a:cubicBezTo>
                      <a:pt x="53" y="74"/>
                      <a:pt x="53" y="74"/>
                      <a:pt x="53" y="74"/>
                    </a:cubicBezTo>
                    <a:cubicBezTo>
                      <a:pt x="51" y="65"/>
                      <a:pt x="51" y="65"/>
                      <a:pt x="51" y="65"/>
                    </a:cubicBezTo>
                    <a:cubicBezTo>
                      <a:pt x="56" y="53"/>
                      <a:pt x="56" y="53"/>
                      <a:pt x="56" y="53"/>
                    </a:cubicBezTo>
                    <a:cubicBezTo>
                      <a:pt x="53" y="47"/>
                      <a:pt x="53" y="47"/>
                      <a:pt x="53" y="47"/>
                    </a:cubicBezTo>
                    <a:cubicBezTo>
                      <a:pt x="53" y="41"/>
                      <a:pt x="53" y="41"/>
                      <a:pt x="53" y="41"/>
                    </a:cubicBezTo>
                    <a:cubicBezTo>
                      <a:pt x="53" y="41"/>
                      <a:pt x="57" y="33"/>
                      <a:pt x="58" y="31"/>
                    </a:cubicBezTo>
                    <a:cubicBezTo>
                      <a:pt x="59" y="28"/>
                      <a:pt x="56" y="25"/>
                      <a:pt x="56" y="25"/>
                    </a:cubicBezTo>
                    <a:lnTo>
                      <a:pt x="54" y="21"/>
                    </a:lnTo>
                    <a:close/>
                  </a:path>
                </a:pathLst>
              </a:custGeom>
              <a:solidFill>
                <a:srgbClr val="0181C7"/>
              </a:solid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21" name="Freeform 66"/>
              <p:cNvSpPr>
                <a:spLocks/>
              </p:cNvSpPr>
              <p:nvPr/>
            </p:nvSpPr>
            <p:spPr bwMode="auto">
              <a:xfrm>
                <a:off x="2891" y="3254"/>
                <a:ext cx="211" cy="147"/>
              </a:xfrm>
              <a:custGeom>
                <a:avLst/>
                <a:gdLst>
                  <a:gd name="T0" fmla="*/ 100 w 105"/>
                  <a:gd name="T1" fmla="*/ 19 h 73"/>
                  <a:gd name="T2" fmla="*/ 105 w 105"/>
                  <a:gd name="T3" fmla="*/ 10 h 73"/>
                  <a:gd name="T4" fmla="*/ 104 w 105"/>
                  <a:gd name="T5" fmla="*/ 5 h 73"/>
                  <a:gd name="T6" fmla="*/ 101 w 105"/>
                  <a:gd name="T7" fmla="*/ 0 h 73"/>
                  <a:gd name="T8" fmla="*/ 95 w 105"/>
                  <a:gd name="T9" fmla="*/ 4 h 73"/>
                  <a:gd name="T10" fmla="*/ 93 w 105"/>
                  <a:gd name="T11" fmla="*/ 7 h 73"/>
                  <a:gd name="T12" fmla="*/ 88 w 105"/>
                  <a:gd name="T13" fmla="*/ 6 h 73"/>
                  <a:gd name="T14" fmla="*/ 81 w 105"/>
                  <a:gd name="T15" fmla="*/ 4 h 73"/>
                  <a:gd name="T16" fmla="*/ 76 w 105"/>
                  <a:gd name="T17" fmla="*/ 10 h 73"/>
                  <a:gd name="T18" fmla="*/ 68 w 105"/>
                  <a:gd name="T19" fmla="*/ 13 h 73"/>
                  <a:gd name="T20" fmla="*/ 62 w 105"/>
                  <a:gd name="T21" fmla="*/ 15 h 73"/>
                  <a:gd name="T22" fmla="*/ 57 w 105"/>
                  <a:gd name="T23" fmla="*/ 16 h 73"/>
                  <a:gd name="T24" fmla="*/ 52 w 105"/>
                  <a:gd name="T25" fmla="*/ 16 h 73"/>
                  <a:gd name="T26" fmla="*/ 44 w 105"/>
                  <a:gd name="T27" fmla="*/ 17 h 73"/>
                  <a:gd name="T28" fmla="*/ 36 w 105"/>
                  <a:gd name="T29" fmla="*/ 15 h 73"/>
                  <a:gd name="T30" fmla="*/ 32 w 105"/>
                  <a:gd name="T31" fmla="*/ 11 h 73"/>
                  <a:gd name="T32" fmla="*/ 26 w 105"/>
                  <a:gd name="T33" fmla="*/ 9 h 73"/>
                  <a:gd name="T34" fmla="*/ 22 w 105"/>
                  <a:gd name="T35" fmla="*/ 11 h 73"/>
                  <a:gd name="T36" fmla="*/ 20 w 105"/>
                  <a:gd name="T37" fmla="*/ 15 h 73"/>
                  <a:gd name="T38" fmla="*/ 16 w 105"/>
                  <a:gd name="T39" fmla="*/ 18 h 73"/>
                  <a:gd name="T40" fmla="*/ 11 w 105"/>
                  <a:gd name="T41" fmla="*/ 15 h 73"/>
                  <a:gd name="T42" fmla="*/ 9 w 105"/>
                  <a:gd name="T43" fmla="*/ 12 h 73"/>
                  <a:gd name="T44" fmla="*/ 5 w 105"/>
                  <a:gd name="T45" fmla="*/ 13 h 73"/>
                  <a:gd name="T46" fmla="*/ 1 w 105"/>
                  <a:gd name="T47" fmla="*/ 18 h 73"/>
                  <a:gd name="T48" fmla="*/ 1 w 105"/>
                  <a:gd name="T49" fmla="*/ 26 h 73"/>
                  <a:gd name="T50" fmla="*/ 0 w 105"/>
                  <a:gd name="T51" fmla="*/ 32 h 73"/>
                  <a:gd name="T52" fmla="*/ 6 w 105"/>
                  <a:gd name="T53" fmla="*/ 36 h 73"/>
                  <a:gd name="T54" fmla="*/ 10 w 105"/>
                  <a:gd name="T55" fmla="*/ 38 h 73"/>
                  <a:gd name="T56" fmla="*/ 16 w 105"/>
                  <a:gd name="T57" fmla="*/ 37 h 73"/>
                  <a:gd name="T58" fmla="*/ 20 w 105"/>
                  <a:gd name="T59" fmla="*/ 41 h 73"/>
                  <a:gd name="T60" fmla="*/ 27 w 105"/>
                  <a:gd name="T61" fmla="*/ 41 h 73"/>
                  <a:gd name="T62" fmla="*/ 34 w 105"/>
                  <a:gd name="T63" fmla="*/ 47 h 73"/>
                  <a:gd name="T64" fmla="*/ 37 w 105"/>
                  <a:gd name="T65" fmla="*/ 48 h 73"/>
                  <a:gd name="T66" fmla="*/ 40 w 105"/>
                  <a:gd name="T67" fmla="*/ 51 h 73"/>
                  <a:gd name="T68" fmla="*/ 47 w 105"/>
                  <a:gd name="T69" fmla="*/ 57 h 73"/>
                  <a:gd name="T70" fmla="*/ 63 w 105"/>
                  <a:gd name="T71" fmla="*/ 59 h 73"/>
                  <a:gd name="T72" fmla="*/ 69 w 105"/>
                  <a:gd name="T73" fmla="*/ 60 h 73"/>
                  <a:gd name="T74" fmla="*/ 71 w 105"/>
                  <a:gd name="T75" fmla="*/ 68 h 73"/>
                  <a:gd name="T76" fmla="*/ 74 w 105"/>
                  <a:gd name="T77" fmla="*/ 69 h 73"/>
                  <a:gd name="T78" fmla="*/ 79 w 105"/>
                  <a:gd name="T79" fmla="*/ 71 h 73"/>
                  <a:gd name="T80" fmla="*/ 87 w 105"/>
                  <a:gd name="T81" fmla="*/ 72 h 73"/>
                  <a:gd name="T82" fmla="*/ 96 w 105"/>
                  <a:gd name="T83" fmla="*/ 73 h 73"/>
                  <a:gd name="T84" fmla="*/ 98 w 105"/>
                  <a:gd name="T85" fmla="*/ 70 h 73"/>
                  <a:gd name="T86" fmla="*/ 98 w 105"/>
                  <a:gd name="T87" fmla="*/ 68 h 73"/>
                  <a:gd name="T88" fmla="*/ 98 w 105"/>
                  <a:gd name="T89" fmla="*/ 66 h 73"/>
                  <a:gd name="T90" fmla="*/ 99 w 105"/>
                  <a:gd name="T91" fmla="*/ 61 h 73"/>
                  <a:gd name="T92" fmla="*/ 103 w 105"/>
                  <a:gd name="T93" fmla="*/ 56 h 73"/>
                  <a:gd name="T94" fmla="*/ 101 w 105"/>
                  <a:gd name="T95" fmla="*/ 53 h 73"/>
                  <a:gd name="T96" fmla="*/ 100 w 105"/>
                  <a:gd name="T97" fmla="*/ 49 h 73"/>
                  <a:gd name="T98" fmla="*/ 96 w 105"/>
                  <a:gd name="T99" fmla="*/ 44 h 73"/>
                  <a:gd name="T100" fmla="*/ 93 w 105"/>
                  <a:gd name="T101" fmla="*/ 38 h 73"/>
                  <a:gd name="T102" fmla="*/ 92 w 105"/>
                  <a:gd name="T103" fmla="*/ 34 h 73"/>
                  <a:gd name="T104" fmla="*/ 97 w 105"/>
                  <a:gd name="T105" fmla="*/ 25 h 73"/>
                  <a:gd name="T106" fmla="*/ 100 w 105"/>
                  <a:gd name="T107" fmla="*/ 19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5" h="73">
                    <a:moveTo>
                      <a:pt x="100" y="19"/>
                    </a:moveTo>
                    <a:cubicBezTo>
                      <a:pt x="100" y="19"/>
                      <a:pt x="105" y="10"/>
                      <a:pt x="105" y="10"/>
                    </a:cubicBezTo>
                    <a:cubicBezTo>
                      <a:pt x="104" y="5"/>
                      <a:pt x="104" y="5"/>
                      <a:pt x="104" y="5"/>
                    </a:cubicBezTo>
                    <a:cubicBezTo>
                      <a:pt x="101" y="0"/>
                      <a:pt x="101" y="0"/>
                      <a:pt x="101" y="0"/>
                    </a:cubicBezTo>
                    <a:cubicBezTo>
                      <a:pt x="95" y="4"/>
                      <a:pt x="95" y="4"/>
                      <a:pt x="95" y="4"/>
                    </a:cubicBezTo>
                    <a:cubicBezTo>
                      <a:pt x="93" y="7"/>
                      <a:pt x="93" y="7"/>
                      <a:pt x="93" y="7"/>
                    </a:cubicBezTo>
                    <a:cubicBezTo>
                      <a:pt x="88" y="6"/>
                      <a:pt x="88" y="6"/>
                      <a:pt x="88" y="6"/>
                    </a:cubicBezTo>
                    <a:cubicBezTo>
                      <a:pt x="81" y="4"/>
                      <a:pt x="81" y="4"/>
                      <a:pt x="81" y="4"/>
                    </a:cubicBezTo>
                    <a:cubicBezTo>
                      <a:pt x="76" y="10"/>
                      <a:pt x="76" y="10"/>
                      <a:pt x="76" y="10"/>
                    </a:cubicBezTo>
                    <a:cubicBezTo>
                      <a:pt x="68" y="13"/>
                      <a:pt x="68" y="13"/>
                      <a:pt x="68" y="13"/>
                    </a:cubicBezTo>
                    <a:cubicBezTo>
                      <a:pt x="68" y="13"/>
                      <a:pt x="63" y="14"/>
                      <a:pt x="62" y="15"/>
                    </a:cubicBezTo>
                    <a:cubicBezTo>
                      <a:pt x="61" y="15"/>
                      <a:pt x="57" y="16"/>
                      <a:pt x="57" y="16"/>
                    </a:cubicBezTo>
                    <a:cubicBezTo>
                      <a:pt x="52" y="16"/>
                      <a:pt x="52" y="16"/>
                      <a:pt x="52" y="16"/>
                    </a:cubicBezTo>
                    <a:cubicBezTo>
                      <a:pt x="44" y="17"/>
                      <a:pt x="44" y="17"/>
                      <a:pt x="44" y="17"/>
                    </a:cubicBezTo>
                    <a:cubicBezTo>
                      <a:pt x="36" y="15"/>
                      <a:pt x="36" y="15"/>
                      <a:pt x="36" y="15"/>
                    </a:cubicBezTo>
                    <a:cubicBezTo>
                      <a:pt x="32" y="11"/>
                      <a:pt x="32" y="11"/>
                      <a:pt x="32" y="11"/>
                    </a:cubicBezTo>
                    <a:cubicBezTo>
                      <a:pt x="26" y="9"/>
                      <a:pt x="26" y="9"/>
                      <a:pt x="26" y="9"/>
                    </a:cubicBezTo>
                    <a:cubicBezTo>
                      <a:pt x="22" y="11"/>
                      <a:pt x="22" y="11"/>
                      <a:pt x="22" y="11"/>
                    </a:cubicBezTo>
                    <a:cubicBezTo>
                      <a:pt x="20" y="15"/>
                      <a:pt x="20" y="15"/>
                      <a:pt x="20" y="15"/>
                    </a:cubicBezTo>
                    <a:cubicBezTo>
                      <a:pt x="16" y="18"/>
                      <a:pt x="16" y="18"/>
                      <a:pt x="16" y="18"/>
                    </a:cubicBezTo>
                    <a:cubicBezTo>
                      <a:pt x="11" y="15"/>
                      <a:pt x="11" y="15"/>
                      <a:pt x="11" y="15"/>
                    </a:cubicBezTo>
                    <a:cubicBezTo>
                      <a:pt x="9" y="12"/>
                      <a:pt x="9" y="12"/>
                      <a:pt x="9" y="12"/>
                    </a:cubicBezTo>
                    <a:cubicBezTo>
                      <a:pt x="5" y="13"/>
                      <a:pt x="5" y="13"/>
                      <a:pt x="5" y="13"/>
                    </a:cubicBezTo>
                    <a:cubicBezTo>
                      <a:pt x="1" y="18"/>
                      <a:pt x="1" y="18"/>
                      <a:pt x="1" y="18"/>
                    </a:cubicBezTo>
                    <a:cubicBezTo>
                      <a:pt x="1" y="18"/>
                      <a:pt x="1" y="25"/>
                      <a:pt x="1" y="26"/>
                    </a:cubicBezTo>
                    <a:cubicBezTo>
                      <a:pt x="1" y="27"/>
                      <a:pt x="0" y="32"/>
                      <a:pt x="0" y="32"/>
                    </a:cubicBezTo>
                    <a:cubicBezTo>
                      <a:pt x="0" y="32"/>
                      <a:pt x="5" y="35"/>
                      <a:pt x="6" y="36"/>
                    </a:cubicBezTo>
                    <a:cubicBezTo>
                      <a:pt x="6" y="37"/>
                      <a:pt x="10" y="38"/>
                      <a:pt x="10" y="38"/>
                    </a:cubicBezTo>
                    <a:cubicBezTo>
                      <a:pt x="16" y="37"/>
                      <a:pt x="16" y="37"/>
                      <a:pt x="16" y="37"/>
                    </a:cubicBezTo>
                    <a:cubicBezTo>
                      <a:pt x="20" y="41"/>
                      <a:pt x="20" y="41"/>
                      <a:pt x="20" y="41"/>
                    </a:cubicBezTo>
                    <a:cubicBezTo>
                      <a:pt x="27" y="41"/>
                      <a:pt x="27" y="41"/>
                      <a:pt x="27" y="41"/>
                    </a:cubicBezTo>
                    <a:cubicBezTo>
                      <a:pt x="34" y="47"/>
                      <a:pt x="34" y="47"/>
                      <a:pt x="34" y="47"/>
                    </a:cubicBezTo>
                    <a:cubicBezTo>
                      <a:pt x="37" y="48"/>
                      <a:pt x="37" y="48"/>
                      <a:pt x="37" y="48"/>
                    </a:cubicBezTo>
                    <a:cubicBezTo>
                      <a:pt x="37" y="48"/>
                      <a:pt x="39" y="51"/>
                      <a:pt x="40" y="51"/>
                    </a:cubicBezTo>
                    <a:cubicBezTo>
                      <a:pt x="40" y="52"/>
                      <a:pt x="47" y="57"/>
                      <a:pt x="47" y="57"/>
                    </a:cubicBezTo>
                    <a:cubicBezTo>
                      <a:pt x="63" y="59"/>
                      <a:pt x="63" y="59"/>
                      <a:pt x="63" y="59"/>
                    </a:cubicBezTo>
                    <a:cubicBezTo>
                      <a:pt x="69" y="60"/>
                      <a:pt x="69" y="60"/>
                      <a:pt x="69" y="60"/>
                    </a:cubicBezTo>
                    <a:cubicBezTo>
                      <a:pt x="71" y="68"/>
                      <a:pt x="71" y="68"/>
                      <a:pt x="71" y="68"/>
                    </a:cubicBezTo>
                    <a:cubicBezTo>
                      <a:pt x="71" y="68"/>
                      <a:pt x="73" y="69"/>
                      <a:pt x="74" y="69"/>
                    </a:cubicBezTo>
                    <a:cubicBezTo>
                      <a:pt x="75" y="70"/>
                      <a:pt x="79" y="71"/>
                      <a:pt x="79" y="71"/>
                    </a:cubicBezTo>
                    <a:cubicBezTo>
                      <a:pt x="87" y="72"/>
                      <a:pt x="87" y="72"/>
                      <a:pt x="87" y="72"/>
                    </a:cubicBezTo>
                    <a:cubicBezTo>
                      <a:pt x="87" y="72"/>
                      <a:pt x="95" y="73"/>
                      <a:pt x="96" y="73"/>
                    </a:cubicBezTo>
                    <a:cubicBezTo>
                      <a:pt x="97" y="73"/>
                      <a:pt x="97" y="72"/>
                      <a:pt x="98" y="70"/>
                    </a:cubicBezTo>
                    <a:cubicBezTo>
                      <a:pt x="98" y="69"/>
                      <a:pt x="98" y="68"/>
                      <a:pt x="98" y="68"/>
                    </a:cubicBezTo>
                    <a:cubicBezTo>
                      <a:pt x="98" y="66"/>
                      <a:pt x="98" y="66"/>
                      <a:pt x="98" y="66"/>
                    </a:cubicBezTo>
                    <a:cubicBezTo>
                      <a:pt x="99" y="61"/>
                      <a:pt x="99" y="61"/>
                      <a:pt x="99" y="61"/>
                    </a:cubicBezTo>
                    <a:cubicBezTo>
                      <a:pt x="99" y="61"/>
                      <a:pt x="102" y="57"/>
                      <a:pt x="103" y="56"/>
                    </a:cubicBezTo>
                    <a:cubicBezTo>
                      <a:pt x="104" y="56"/>
                      <a:pt x="101" y="53"/>
                      <a:pt x="101" y="53"/>
                    </a:cubicBezTo>
                    <a:cubicBezTo>
                      <a:pt x="100" y="49"/>
                      <a:pt x="100" y="49"/>
                      <a:pt x="100" y="49"/>
                    </a:cubicBezTo>
                    <a:cubicBezTo>
                      <a:pt x="100" y="49"/>
                      <a:pt x="96" y="46"/>
                      <a:pt x="96" y="44"/>
                    </a:cubicBezTo>
                    <a:cubicBezTo>
                      <a:pt x="96" y="42"/>
                      <a:pt x="94" y="39"/>
                      <a:pt x="93" y="38"/>
                    </a:cubicBezTo>
                    <a:cubicBezTo>
                      <a:pt x="92" y="36"/>
                      <a:pt x="92" y="34"/>
                      <a:pt x="92" y="34"/>
                    </a:cubicBezTo>
                    <a:cubicBezTo>
                      <a:pt x="92" y="34"/>
                      <a:pt x="96" y="27"/>
                      <a:pt x="97" y="25"/>
                    </a:cubicBezTo>
                    <a:cubicBezTo>
                      <a:pt x="98" y="24"/>
                      <a:pt x="100" y="20"/>
                      <a:pt x="100" y="19"/>
                    </a:cubicBezTo>
                    <a:close/>
                  </a:path>
                </a:pathLst>
              </a:custGeom>
              <a:solidFill>
                <a:srgbClr val="0181C7"/>
              </a:solid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22" name="Freeform 67"/>
              <p:cNvSpPr>
                <a:spLocks/>
              </p:cNvSpPr>
              <p:nvPr/>
            </p:nvSpPr>
            <p:spPr bwMode="auto">
              <a:xfrm>
                <a:off x="4318" y="3228"/>
                <a:ext cx="152" cy="89"/>
              </a:xfrm>
              <a:custGeom>
                <a:avLst/>
                <a:gdLst>
                  <a:gd name="T0" fmla="*/ 2 w 76"/>
                  <a:gd name="T1" fmla="*/ 31 h 44"/>
                  <a:gd name="T2" fmla="*/ 2 w 76"/>
                  <a:gd name="T3" fmla="*/ 28 h 44"/>
                  <a:gd name="T4" fmla="*/ 0 w 76"/>
                  <a:gd name="T5" fmla="*/ 24 h 44"/>
                  <a:gd name="T6" fmla="*/ 1 w 76"/>
                  <a:gd name="T7" fmla="*/ 24 h 44"/>
                  <a:gd name="T8" fmla="*/ 6 w 76"/>
                  <a:gd name="T9" fmla="*/ 25 h 44"/>
                  <a:gd name="T10" fmla="*/ 7 w 76"/>
                  <a:gd name="T11" fmla="*/ 24 h 44"/>
                  <a:gd name="T12" fmla="*/ 9 w 76"/>
                  <a:gd name="T13" fmla="*/ 21 h 44"/>
                  <a:gd name="T14" fmla="*/ 12 w 76"/>
                  <a:gd name="T15" fmla="*/ 21 h 44"/>
                  <a:gd name="T16" fmla="*/ 13 w 76"/>
                  <a:gd name="T17" fmla="*/ 20 h 44"/>
                  <a:gd name="T18" fmla="*/ 14 w 76"/>
                  <a:gd name="T19" fmla="*/ 21 h 44"/>
                  <a:gd name="T20" fmla="*/ 16 w 76"/>
                  <a:gd name="T21" fmla="*/ 21 h 44"/>
                  <a:gd name="T22" fmla="*/ 18 w 76"/>
                  <a:gd name="T23" fmla="*/ 22 h 44"/>
                  <a:gd name="T24" fmla="*/ 21 w 76"/>
                  <a:gd name="T25" fmla="*/ 20 h 44"/>
                  <a:gd name="T26" fmla="*/ 22 w 76"/>
                  <a:gd name="T27" fmla="*/ 15 h 44"/>
                  <a:gd name="T28" fmla="*/ 22 w 76"/>
                  <a:gd name="T29" fmla="*/ 12 h 44"/>
                  <a:gd name="T30" fmla="*/ 26 w 76"/>
                  <a:gd name="T31" fmla="*/ 14 h 44"/>
                  <a:gd name="T32" fmla="*/ 29 w 76"/>
                  <a:gd name="T33" fmla="*/ 14 h 44"/>
                  <a:gd name="T34" fmla="*/ 35 w 76"/>
                  <a:gd name="T35" fmla="*/ 15 h 44"/>
                  <a:gd name="T36" fmla="*/ 46 w 76"/>
                  <a:gd name="T37" fmla="*/ 13 h 44"/>
                  <a:gd name="T38" fmla="*/ 49 w 76"/>
                  <a:gd name="T39" fmla="*/ 12 h 44"/>
                  <a:gd name="T40" fmla="*/ 53 w 76"/>
                  <a:gd name="T41" fmla="*/ 12 h 44"/>
                  <a:gd name="T42" fmla="*/ 56 w 76"/>
                  <a:gd name="T43" fmla="*/ 10 h 44"/>
                  <a:gd name="T44" fmla="*/ 61 w 76"/>
                  <a:gd name="T45" fmla="*/ 8 h 44"/>
                  <a:gd name="T46" fmla="*/ 62 w 76"/>
                  <a:gd name="T47" fmla="*/ 6 h 44"/>
                  <a:gd name="T48" fmla="*/ 64 w 76"/>
                  <a:gd name="T49" fmla="*/ 6 h 44"/>
                  <a:gd name="T50" fmla="*/ 67 w 76"/>
                  <a:gd name="T51" fmla="*/ 5 h 44"/>
                  <a:gd name="T52" fmla="*/ 71 w 76"/>
                  <a:gd name="T53" fmla="*/ 2 h 44"/>
                  <a:gd name="T54" fmla="*/ 76 w 76"/>
                  <a:gd name="T55" fmla="*/ 1 h 44"/>
                  <a:gd name="T56" fmla="*/ 71 w 76"/>
                  <a:gd name="T57" fmla="*/ 4 h 44"/>
                  <a:gd name="T58" fmla="*/ 66 w 76"/>
                  <a:gd name="T59" fmla="*/ 8 h 44"/>
                  <a:gd name="T60" fmla="*/ 61 w 76"/>
                  <a:gd name="T61" fmla="*/ 11 h 44"/>
                  <a:gd name="T62" fmla="*/ 58 w 76"/>
                  <a:gd name="T63" fmla="*/ 15 h 44"/>
                  <a:gd name="T64" fmla="*/ 55 w 76"/>
                  <a:gd name="T65" fmla="*/ 16 h 44"/>
                  <a:gd name="T66" fmla="*/ 54 w 76"/>
                  <a:gd name="T67" fmla="*/ 21 h 44"/>
                  <a:gd name="T68" fmla="*/ 58 w 76"/>
                  <a:gd name="T69" fmla="*/ 26 h 44"/>
                  <a:gd name="T70" fmla="*/ 60 w 76"/>
                  <a:gd name="T71" fmla="*/ 29 h 44"/>
                  <a:gd name="T72" fmla="*/ 56 w 76"/>
                  <a:gd name="T73" fmla="*/ 28 h 44"/>
                  <a:gd name="T74" fmla="*/ 51 w 76"/>
                  <a:gd name="T75" fmla="*/ 29 h 44"/>
                  <a:gd name="T76" fmla="*/ 47 w 76"/>
                  <a:gd name="T77" fmla="*/ 29 h 44"/>
                  <a:gd name="T78" fmla="*/ 44 w 76"/>
                  <a:gd name="T79" fmla="*/ 33 h 44"/>
                  <a:gd name="T80" fmla="*/ 41 w 76"/>
                  <a:gd name="T81" fmla="*/ 36 h 44"/>
                  <a:gd name="T82" fmla="*/ 38 w 76"/>
                  <a:gd name="T83" fmla="*/ 37 h 44"/>
                  <a:gd name="T84" fmla="*/ 34 w 76"/>
                  <a:gd name="T85" fmla="*/ 39 h 44"/>
                  <a:gd name="T86" fmla="*/ 29 w 76"/>
                  <a:gd name="T87" fmla="*/ 40 h 44"/>
                  <a:gd name="T88" fmla="*/ 23 w 76"/>
                  <a:gd name="T89" fmla="*/ 42 h 44"/>
                  <a:gd name="T90" fmla="*/ 19 w 76"/>
                  <a:gd name="T91" fmla="*/ 40 h 44"/>
                  <a:gd name="T92" fmla="*/ 16 w 76"/>
                  <a:gd name="T93" fmla="*/ 42 h 44"/>
                  <a:gd name="T94" fmla="*/ 10 w 76"/>
                  <a:gd name="T95" fmla="*/ 40 h 44"/>
                  <a:gd name="T96" fmla="*/ 6 w 76"/>
                  <a:gd name="T97" fmla="*/ 39 h 44"/>
                  <a:gd name="T98" fmla="*/ 4 w 76"/>
                  <a:gd name="T99" fmla="*/ 35 h 44"/>
                  <a:gd name="T100" fmla="*/ 2 w 76"/>
                  <a:gd name="T101" fmla="*/ 3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6" h="44">
                    <a:moveTo>
                      <a:pt x="2" y="31"/>
                    </a:moveTo>
                    <a:cubicBezTo>
                      <a:pt x="2" y="30"/>
                      <a:pt x="2" y="30"/>
                      <a:pt x="2" y="28"/>
                    </a:cubicBezTo>
                    <a:cubicBezTo>
                      <a:pt x="1" y="26"/>
                      <a:pt x="0" y="24"/>
                      <a:pt x="0" y="24"/>
                    </a:cubicBezTo>
                    <a:cubicBezTo>
                      <a:pt x="0" y="24"/>
                      <a:pt x="0" y="23"/>
                      <a:pt x="1" y="24"/>
                    </a:cubicBezTo>
                    <a:cubicBezTo>
                      <a:pt x="3" y="25"/>
                      <a:pt x="3" y="27"/>
                      <a:pt x="6" y="25"/>
                    </a:cubicBezTo>
                    <a:cubicBezTo>
                      <a:pt x="6" y="25"/>
                      <a:pt x="7" y="25"/>
                      <a:pt x="7" y="24"/>
                    </a:cubicBezTo>
                    <a:cubicBezTo>
                      <a:pt x="8" y="23"/>
                      <a:pt x="9" y="21"/>
                      <a:pt x="9" y="21"/>
                    </a:cubicBezTo>
                    <a:cubicBezTo>
                      <a:pt x="11" y="20"/>
                      <a:pt x="10" y="21"/>
                      <a:pt x="12" y="21"/>
                    </a:cubicBezTo>
                    <a:cubicBezTo>
                      <a:pt x="12" y="21"/>
                      <a:pt x="13" y="20"/>
                      <a:pt x="13" y="20"/>
                    </a:cubicBezTo>
                    <a:cubicBezTo>
                      <a:pt x="13" y="20"/>
                      <a:pt x="14" y="21"/>
                      <a:pt x="14" y="21"/>
                    </a:cubicBezTo>
                    <a:cubicBezTo>
                      <a:pt x="15" y="21"/>
                      <a:pt x="15" y="21"/>
                      <a:pt x="16" y="21"/>
                    </a:cubicBezTo>
                    <a:cubicBezTo>
                      <a:pt x="16" y="21"/>
                      <a:pt x="18" y="22"/>
                      <a:pt x="18" y="22"/>
                    </a:cubicBezTo>
                    <a:cubicBezTo>
                      <a:pt x="19" y="22"/>
                      <a:pt x="21" y="22"/>
                      <a:pt x="21" y="20"/>
                    </a:cubicBezTo>
                    <a:cubicBezTo>
                      <a:pt x="21" y="19"/>
                      <a:pt x="22" y="17"/>
                      <a:pt x="22" y="15"/>
                    </a:cubicBezTo>
                    <a:cubicBezTo>
                      <a:pt x="22" y="13"/>
                      <a:pt x="21" y="11"/>
                      <a:pt x="22" y="12"/>
                    </a:cubicBezTo>
                    <a:cubicBezTo>
                      <a:pt x="23" y="12"/>
                      <a:pt x="25" y="13"/>
                      <a:pt x="26" y="14"/>
                    </a:cubicBezTo>
                    <a:cubicBezTo>
                      <a:pt x="28" y="14"/>
                      <a:pt x="28" y="13"/>
                      <a:pt x="29" y="14"/>
                    </a:cubicBezTo>
                    <a:cubicBezTo>
                      <a:pt x="30" y="14"/>
                      <a:pt x="33" y="15"/>
                      <a:pt x="35" y="15"/>
                    </a:cubicBezTo>
                    <a:cubicBezTo>
                      <a:pt x="39" y="15"/>
                      <a:pt x="42" y="14"/>
                      <a:pt x="46" y="13"/>
                    </a:cubicBezTo>
                    <a:cubicBezTo>
                      <a:pt x="47" y="13"/>
                      <a:pt x="48" y="12"/>
                      <a:pt x="49" y="12"/>
                    </a:cubicBezTo>
                    <a:cubicBezTo>
                      <a:pt x="50" y="12"/>
                      <a:pt x="51" y="12"/>
                      <a:pt x="53" y="12"/>
                    </a:cubicBezTo>
                    <a:cubicBezTo>
                      <a:pt x="54" y="11"/>
                      <a:pt x="55" y="10"/>
                      <a:pt x="56" y="10"/>
                    </a:cubicBezTo>
                    <a:cubicBezTo>
                      <a:pt x="58" y="9"/>
                      <a:pt x="60" y="9"/>
                      <a:pt x="61" y="8"/>
                    </a:cubicBezTo>
                    <a:cubicBezTo>
                      <a:pt x="62" y="7"/>
                      <a:pt x="62" y="6"/>
                      <a:pt x="62" y="6"/>
                    </a:cubicBezTo>
                    <a:cubicBezTo>
                      <a:pt x="63" y="6"/>
                      <a:pt x="64" y="6"/>
                      <a:pt x="64" y="6"/>
                    </a:cubicBezTo>
                    <a:cubicBezTo>
                      <a:pt x="65" y="6"/>
                      <a:pt x="66" y="5"/>
                      <a:pt x="67" y="5"/>
                    </a:cubicBezTo>
                    <a:cubicBezTo>
                      <a:pt x="69" y="4"/>
                      <a:pt x="69" y="3"/>
                      <a:pt x="71" y="2"/>
                    </a:cubicBezTo>
                    <a:cubicBezTo>
                      <a:pt x="74" y="0"/>
                      <a:pt x="76" y="0"/>
                      <a:pt x="76" y="1"/>
                    </a:cubicBezTo>
                    <a:cubicBezTo>
                      <a:pt x="75" y="2"/>
                      <a:pt x="72" y="3"/>
                      <a:pt x="71" y="4"/>
                    </a:cubicBezTo>
                    <a:cubicBezTo>
                      <a:pt x="70" y="6"/>
                      <a:pt x="68" y="7"/>
                      <a:pt x="66" y="8"/>
                    </a:cubicBezTo>
                    <a:cubicBezTo>
                      <a:pt x="65" y="8"/>
                      <a:pt x="62" y="10"/>
                      <a:pt x="61" y="11"/>
                    </a:cubicBezTo>
                    <a:cubicBezTo>
                      <a:pt x="60" y="13"/>
                      <a:pt x="60" y="14"/>
                      <a:pt x="58" y="15"/>
                    </a:cubicBezTo>
                    <a:cubicBezTo>
                      <a:pt x="56" y="16"/>
                      <a:pt x="55" y="14"/>
                      <a:pt x="55" y="16"/>
                    </a:cubicBezTo>
                    <a:cubicBezTo>
                      <a:pt x="54" y="17"/>
                      <a:pt x="54" y="19"/>
                      <a:pt x="54" y="21"/>
                    </a:cubicBezTo>
                    <a:cubicBezTo>
                      <a:pt x="55" y="23"/>
                      <a:pt x="57" y="25"/>
                      <a:pt x="58" y="26"/>
                    </a:cubicBezTo>
                    <a:cubicBezTo>
                      <a:pt x="59" y="27"/>
                      <a:pt x="61" y="29"/>
                      <a:pt x="60" y="29"/>
                    </a:cubicBezTo>
                    <a:cubicBezTo>
                      <a:pt x="59" y="30"/>
                      <a:pt x="58" y="29"/>
                      <a:pt x="56" y="28"/>
                    </a:cubicBezTo>
                    <a:cubicBezTo>
                      <a:pt x="54" y="28"/>
                      <a:pt x="52" y="29"/>
                      <a:pt x="51" y="29"/>
                    </a:cubicBezTo>
                    <a:cubicBezTo>
                      <a:pt x="49" y="29"/>
                      <a:pt x="49" y="28"/>
                      <a:pt x="47" y="29"/>
                    </a:cubicBezTo>
                    <a:cubicBezTo>
                      <a:pt x="45" y="29"/>
                      <a:pt x="44" y="32"/>
                      <a:pt x="44" y="33"/>
                    </a:cubicBezTo>
                    <a:cubicBezTo>
                      <a:pt x="44" y="35"/>
                      <a:pt x="42" y="35"/>
                      <a:pt x="41" y="36"/>
                    </a:cubicBezTo>
                    <a:cubicBezTo>
                      <a:pt x="40" y="37"/>
                      <a:pt x="39" y="36"/>
                      <a:pt x="38" y="37"/>
                    </a:cubicBezTo>
                    <a:cubicBezTo>
                      <a:pt x="36" y="38"/>
                      <a:pt x="36" y="39"/>
                      <a:pt x="34" y="39"/>
                    </a:cubicBezTo>
                    <a:cubicBezTo>
                      <a:pt x="32" y="39"/>
                      <a:pt x="30" y="40"/>
                      <a:pt x="29" y="40"/>
                    </a:cubicBezTo>
                    <a:cubicBezTo>
                      <a:pt x="24" y="40"/>
                      <a:pt x="26" y="44"/>
                      <a:pt x="23" y="42"/>
                    </a:cubicBezTo>
                    <a:cubicBezTo>
                      <a:pt x="22" y="42"/>
                      <a:pt x="21" y="41"/>
                      <a:pt x="19" y="40"/>
                    </a:cubicBezTo>
                    <a:cubicBezTo>
                      <a:pt x="18" y="39"/>
                      <a:pt x="17" y="41"/>
                      <a:pt x="16" y="42"/>
                    </a:cubicBezTo>
                    <a:cubicBezTo>
                      <a:pt x="14" y="42"/>
                      <a:pt x="11" y="41"/>
                      <a:pt x="10" y="40"/>
                    </a:cubicBezTo>
                    <a:cubicBezTo>
                      <a:pt x="8" y="39"/>
                      <a:pt x="8" y="40"/>
                      <a:pt x="6" y="39"/>
                    </a:cubicBezTo>
                    <a:cubicBezTo>
                      <a:pt x="4" y="38"/>
                      <a:pt x="5" y="36"/>
                      <a:pt x="4" y="35"/>
                    </a:cubicBezTo>
                    <a:cubicBezTo>
                      <a:pt x="3" y="34"/>
                      <a:pt x="2" y="33"/>
                      <a:pt x="2" y="31"/>
                    </a:cubicBezTo>
                    <a:close/>
                  </a:path>
                </a:pathLst>
              </a:custGeom>
              <a:solidFill>
                <a:srgbClr val="BFBFBF"/>
              </a:solid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23" name="Freeform 68"/>
              <p:cNvSpPr>
                <a:spLocks/>
              </p:cNvSpPr>
              <p:nvPr/>
            </p:nvSpPr>
            <p:spPr bwMode="auto">
              <a:xfrm>
                <a:off x="1440" y="547"/>
                <a:ext cx="383" cy="321"/>
              </a:xfrm>
              <a:custGeom>
                <a:avLst/>
                <a:gdLst>
                  <a:gd name="T0" fmla="*/ 38 w 191"/>
                  <a:gd name="T1" fmla="*/ 63 h 160"/>
                  <a:gd name="T2" fmla="*/ 25 w 191"/>
                  <a:gd name="T3" fmla="*/ 59 h 160"/>
                  <a:gd name="T4" fmla="*/ 9 w 191"/>
                  <a:gd name="T5" fmla="*/ 57 h 160"/>
                  <a:gd name="T6" fmla="*/ 11 w 191"/>
                  <a:gd name="T7" fmla="*/ 61 h 160"/>
                  <a:gd name="T8" fmla="*/ 27 w 191"/>
                  <a:gd name="T9" fmla="*/ 74 h 160"/>
                  <a:gd name="T10" fmla="*/ 28 w 191"/>
                  <a:gd name="T11" fmla="*/ 86 h 160"/>
                  <a:gd name="T12" fmla="*/ 28 w 191"/>
                  <a:gd name="T13" fmla="*/ 91 h 160"/>
                  <a:gd name="T14" fmla="*/ 21 w 191"/>
                  <a:gd name="T15" fmla="*/ 103 h 160"/>
                  <a:gd name="T16" fmla="*/ 7 w 191"/>
                  <a:gd name="T17" fmla="*/ 100 h 160"/>
                  <a:gd name="T18" fmla="*/ 17 w 191"/>
                  <a:gd name="T19" fmla="*/ 112 h 160"/>
                  <a:gd name="T20" fmla="*/ 39 w 191"/>
                  <a:gd name="T21" fmla="*/ 131 h 160"/>
                  <a:gd name="T22" fmla="*/ 69 w 191"/>
                  <a:gd name="T23" fmla="*/ 158 h 160"/>
                  <a:gd name="T24" fmla="*/ 105 w 191"/>
                  <a:gd name="T25" fmla="*/ 153 h 160"/>
                  <a:gd name="T26" fmla="*/ 132 w 191"/>
                  <a:gd name="T27" fmla="*/ 146 h 160"/>
                  <a:gd name="T28" fmla="*/ 156 w 191"/>
                  <a:gd name="T29" fmla="*/ 143 h 160"/>
                  <a:gd name="T30" fmla="*/ 171 w 191"/>
                  <a:gd name="T31" fmla="*/ 133 h 160"/>
                  <a:gd name="T32" fmla="*/ 182 w 191"/>
                  <a:gd name="T33" fmla="*/ 127 h 160"/>
                  <a:gd name="T34" fmla="*/ 185 w 191"/>
                  <a:gd name="T35" fmla="*/ 120 h 160"/>
                  <a:gd name="T36" fmla="*/ 190 w 191"/>
                  <a:gd name="T37" fmla="*/ 107 h 160"/>
                  <a:gd name="T38" fmla="*/ 183 w 191"/>
                  <a:gd name="T39" fmla="*/ 88 h 160"/>
                  <a:gd name="T40" fmla="*/ 181 w 191"/>
                  <a:gd name="T41" fmla="*/ 75 h 160"/>
                  <a:gd name="T42" fmla="*/ 183 w 191"/>
                  <a:gd name="T43" fmla="*/ 61 h 160"/>
                  <a:gd name="T44" fmla="*/ 169 w 191"/>
                  <a:gd name="T45" fmla="*/ 62 h 160"/>
                  <a:gd name="T46" fmla="*/ 166 w 191"/>
                  <a:gd name="T47" fmla="*/ 47 h 160"/>
                  <a:gd name="T48" fmla="*/ 154 w 191"/>
                  <a:gd name="T49" fmla="*/ 55 h 160"/>
                  <a:gd name="T50" fmla="*/ 139 w 191"/>
                  <a:gd name="T51" fmla="*/ 54 h 160"/>
                  <a:gd name="T52" fmla="*/ 129 w 191"/>
                  <a:gd name="T53" fmla="*/ 52 h 160"/>
                  <a:gd name="T54" fmla="*/ 118 w 191"/>
                  <a:gd name="T55" fmla="*/ 65 h 160"/>
                  <a:gd name="T56" fmla="*/ 114 w 191"/>
                  <a:gd name="T57" fmla="*/ 44 h 160"/>
                  <a:gd name="T58" fmla="*/ 103 w 191"/>
                  <a:gd name="T59" fmla="*/ 43 h 160"/>
                  <a:gd name="T60" fmla="*/ 96 w 191"/>
                  <a:gd name="T61" fmla="*/ 55 h 160"/>
                  <a:gd name="T62" fmla="*/ 88 w 191"/>
                  <a:gd name="T63" fmla="*/ 35 h 160"/>
                  <a:gd name="T64" fmla="*/ 78 w 191"/>
                  <a:gd name="T65" fmla="*/ 54 h 160"/>
                  <a:gd name="T66" fmla="*/ 65 w 191"/>
                  <a:gd name="T67" fmla="*/ 55 h 160"/>
                  <a:gd name="T68" fmla="*/ 58 w 191"/>
                  <a:gd name="T69" fmla="*/ 61 h 160"/>
                  <a:gd name="T70" fmla="*/ 61 w 191"/>
                  <a:gd name="T71" fmla="*/ 48 h 160"/>
                  <a:gd name="T72" fmla="*/ 63 w 191"/>
                  <a:gd name="T73" fmla="*/ 42 h 160"/>
                  <a:gd name="T74" fmla="*/ 67 w 191"/>
                  <a:gd name="T75" fmla="*/ 32 h 160"/>
                  <a:gd name="T76" fmla="*/ 65 w 191"/>
                  <a:gd name="T77" fmla="*/ 24 h 160"/>
                  <a:gd name="T78" fmla="*/ 60 w 191"/>
                  <a:gd name="T79" fmla="*/ 6 h 160"/>
                  <a:gd name="T80" fmla="*/ 51 w 191"/>
                  <a:gd name="T81" fmla="*/ 2 h 160"/>
                  <a:gd name="T82" fmla="*/ 49 w 191"/>
                  <a:gd name="T83" fmla="*/ 7 h 160"/>
                  <a:gd name="T84" fmla="*/ 54 w 191"/>
                  <a:gd name="T85" fmla="*/ 11 h 160"/>
                  <a:gd name="T86" fmla="*/ 47 w 191"/>
                  <a:gd name="T87" fmla="*/ 10 h 160"/>
                  <a:gd name="T88" fmla="*/ 51 w 191"/>
                  <a:gd name="T89" fmla="*/ 27 h 160"/>
                  <a:gd name="T90" fmla="*/ 48 w 191"/>
                  <a:gd name="T91" fmla="*/ 23 h 160"/>
                  <a:gd name="T92" fmla="*/ 45 w 191"/>
                  <a:gd name="T93" fmla="*/ 20 h 160"/>
                  <a:gd name="T94" fmla="*/ 43 w 191"/>
                  <a:gd name="T95" fmla="*/ 13 h 160"/>
                  <a:gd name="T96" fmla="*/ 35 w 191"/>
                  <a:gd name="T97" fmla="*/ 8 h 160"/>
                  <a:gd name="T98" fmla="*/ 30 w 191"/>
                  <a:gd name="T99" fmla="*/ 15 h 160"/>
                  <a:gd name="T100" fmla="*/ 26 w 191"/>
                  <a:gd name="T101" fmla="*/ 22 h 160"/>
                  <a:gd name="T102" fmla="*/ 25 w 191"/>
                  <a:gd name="T103" fmla="*/ 25 h 160"/>
                  <a:gd name="T104" fmla="*/ 19 w 191"/>
                  <a:gd name="T105" fmla="*/ 23 h 160"/>
                  <a:gd name="T106" fmla="*/ 19 w 191"/>
                  <a:gd name="T107" fmla="*/ 29 h 160"/>
                  <a:gd name="T108" fmla="*/ 9 w 191"/>
                  <a:gd name="T109" fmla="*/ 24 h 160"/>
                  <a:gd name="T110" fmla="*/ 16 w 191"/>
                  <a:gd name="T111" fmla="*/ 36 h 160"/>
                  <a:gd name="T112" fmla="*/ 29 w 191"/>
                  <a:gd name="T113" fmla="*/ 37 h 160"/>
                  <a:gd name="T114" fmla="*/ 36 w 191"/>
                  <a:gd name="T115" fmla="*/ 37 h 160"/>
                  <a:gd name="T116" fmla="*/ 43 w 191"/>
                  <a:gd name="T117" fmla="*/ 43 h 160"/>
                  <a:gd name="T118" fmla="*/ 48 w 191"/>
                  <a:gd name="T119" fmla="*/ 48 h 160"/>
                  <a:gd name="T120" fmla="*/ 38 w 191"/>
                  <a:gd name="T121" fmla="*/ 53 h 160"/>
                  <a:gd name="T122" fmla="*/ 38 w 191"/>
                  <a:gd name="T123" fmla="*/ 59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1" h="160">
                    <a:moveTo>
                      <a:pt x="39" y="60"/>
                    </a:moveTo>
                    <a:cubicBezTo>
                      <a:pt x="42" y="62"/>
                      <a:pt x="42" y="62"/>
                      <a:pt x="42" y="62"/>
                    </a:cubicBezTo>
                    <a:cubicBezTo>
                      <a:pt x="44" y="61"/>
                      <a:pt x="44" y="61"/>
                      <a:pt x="44" y="61"/>
                    </a:cubicBezTo>
                    <a:cubicBezTo>
                      <a:pt x="47" y="59"/>
                      <a:pt x="47" y="59"/>
                      <a:pt x="47" y="59"/>
                    </a:cubicBezTo>
                    <a:cubicBezTo>
                      <a:pt x="48" y="61"/>
                      <a:pt x="48" y="61"/>
                      <a:pt x="48" y="61"/>
                    </a:cubicBezTo>
                    <a:cubicBezTo>
                      <a:pt x="45" y="64"/>
                      <a:pt x="45" y="64"/>
                      <a:pt x="45" y="64"/>
                    </a:cubicBezTo>
                    <a:cubicBezTo>
                      <a:pt x="44" y="65"/>
                      <a:pt x="44" y="65"/>
                      <a:pt x="44" y="65"/>
                    </a:cubicBezTo>
                    <a:cubicBezTo>
                      <a:pt x="44" y="67"/>
                      <a:pt x="44" y="67"/>
                      <a:pt x="44" y="67"/>
                    </a:cubicBezTo>
                    <a:cubicBezTo>
                      <a:pt x="41" y="66"/>
                      <a:pt x="41" y="66"/>
                      <a:pt x="41" y="66"/>
                    </a:cubicBezTo>
                    <a:cubicBezTo>
                      <a:pt x="38" y="63"/>
                      <a:pt x="38" y="63"/>
                      <a:pt x="38" y="63"/>
                    </a:cubicBezTo>
                    <a:cubicBezTo>
                      <a:pt x="36" y="63"/>
                      <a:pt x="36" y="63"/>
                      <a:pt x="36" y="63"/>
                    </a:cubicBezTo>
                    <a:cubicBezTo>
                      <a:pt x="34" y="62"/>
                      <a:pt x="34" y="62"/>
                      <a:pt x="34" y="62"/>
                    </a:cubicBezTo>
                    <a:cubicBezTo>
                      <a:pt x="33" y="59"/>
                      <a:pt x="33" y="59"/>
                      <a:pt x="33" y="59"/>
                    </a:cubicBezTo>
                    <a:cubicBezTo>
                      <a:pt x="32" y="60"/>
                      <a:pt x="32" y="60"/>
                      <a:pt x="32" y="60"/>
                    </a:cubicBezTo>
                    <a:cubicBezTo>
                      <a:pt x="30" y="61"/>
                      <a:pt x="30" y="61"/>
                      <a:pt x="30" y="61"/>
                    </a:cubicBezTo>
                    <a:cubicBezTo>
                      <a:pt x="29" y="62"/>
                      <a:pt x="29" y="62"/>
                      <a:pt x="29" y="62"/>
                    </a:cubicBezTo>
                    <a:cubicBezTo>
                      <a:pt x="27" y="60"/>
                      <a:pt x="27" y="60"/>
                      <a:pt x="27" y="60"/>
                    </a:cubicBezTo>
                    <a:cubicBezTo>
                      <a:pt x="28" y="58"/>
                      <a:pt x="28" y="58"/>
                      <a:pt x="28" y="58"/>
                    </a:cubicBezTo>
                    <a:cubicBezTo>
                      <a:pt x="26" y="59"/>
                      <a:pt x="26" y="59"/>
                      <a:pt x="26" y="59"/>
                    </a:cubicBezTo>
                    <a:cubicBezTo>
                      <a:pt x="26" y="59"/>
                      <a:pt x="25" y="60"/>
                      <a:pt x="25" y="59"/>
                    </a:cubicBezTo>
                    <a:cubicBezTo>
                      <a:pt x="24" y="59"/>
                      <a:pt x="23" y="59"/>
                      <a:pt x="23" y="59"/>
                    </a:cubicBezTo>
                    <a:cubicBezTo>
                      <a:pt x="22" y="59"/>
                      <a:pt x="22" y="58"/>
                      <a:pt x="21" y="58"/>
                    </a:cubicBezTo>
                    <a:cubicBezTo>
                      <a:pt x="20" y="57"/>
                      <a:pt x="19" y="56"/>
                      <a:pt x="19" y="56"/>
                    </a:cubicBezTo>
                    <a:cubicBezTo>
                      <a:pt x="17" y="57"/>
                      <a:pt x="17" y="57"/>
                      <a:pt x="17" y="57"/>
                    </a:cubicBezTo>
                    <a:cubicBezTo>
                      <a:pt x="16" y="58"/>
                      <a:pt x="16" y="58"/>
                      <a:pt x="16" y="58"/>
                    </a:cubicBezTo>
                    <a:cubicBezTo>
                      <a:pt x="15" y="57"/>
                      <a:pt x="15" y="57"/>
                      <a:pt x="15" y="57"/>
                    </a:cubicBezTo>
                    <a:cubicBezTo>
                      <a:pt x="14" y="57"/>
                      <a:pt x="14" y="57"/>
                      <a:pt x="14" y="57"/>
                    </a:cubicBezTo>
                    <a:cubicBezTo>
                      <a:pt x="11" y="57"/>
                      <a:pt x="11" y="57"/>
                      <a:pt x="11" y="57"/>
                    </a:cubicBezTo>
                    <a:cubicBezTo>
                      <a:pt x="10" y="57"/>
                      <a:pt x="10" y="57"/>
                      <a:pt x="10" y="57"/>
                    </a:cubicBezTo>
                    <a:cubicBezTo>
                      <a:pt x="10" y="57"/>
                      <a:pt x="10" y="57"/>
                      <a:pt x="9" y="57"/>
                    </a:cubicBezTo>
                    <a:cubicBezTo>
                      <a:pt x="8" y="56"/>
                      <a:pt x="7" y="56"/>
                      <a:pt x="7" y="56"/>
                    </a:cubicBezTo>
                    <a:cubicBezTo>
                      <a:pt x="5" y="55"/>
                      <a:pt x="5" y="55"/>
                      <a:pt x="5" y="55"/>
                    </a:cubicBezTo>
                    <a:cubicBezTo>
                      <a:pt x="3" y="55"/>
                      <a:pt x="3" y="55"/>
                      <a:pt x="3" y="55"/>
                    </a:cubicBezTo>
                    <a:cubicBezTo>
                      <a:pt x="3" y="55"/>
                      <a:pt x="2" y="54"/>
                      <a:pt x="2" y="55"/>
                    </a:cubicBezTo>
                    <a:cubicBezTo>
                      <a:pt x="2" y="56"/>
                      <a:pt x="0" y="58"/>
                      <a:pt x="1" y="58"/>
                    </a:cubicBezTo>
                    <a:cubicBezTo>
                      <a:pt x="1" y="59"/>
                      <a:pt x="2" y="59"/>
                      <a:pt x="3" y="61"/>
                    </a:cubicBezTo>
                    <a:cubicBezTo>
                      <a:pt x="4" y="62"/>
                      <a:pt x="4" y="62"/>
                      <a:pt x="4" y="62"/>
                    </a:cubicBezTo>
                    <a:cubicBezTo>
                      <a:pt x="7" y="62"/>
                      <a:pt x="7" y="62"/>
                      <a:pt x="7" y="62"/>
                    </a:cubicBezTo>
                    <a:cubicBezTo>
                      <a:pt x="8" y="61"/>
                      <a:pt x="8" y="61"/>
                      <a:pt x="8" y="61"/>
                    </a:cubicBezTo>
                    <a:cubicBezTo>
                      <a:pt x="11" y="61"/>
                      <a:pt x="11" y="61"/>
                      <a:pt x="11" y="61"/>
                    </a:cubicBezTo>
                    <a:cubicBezTo>
                      <a:pt x="12" y="63"/>
                      <a:pt x="12" y="65"/>
                      <a:pt x="13" y="64"/>
                    </a:cubicBezTo>
                    <a:cubicBezTo>
                      <a:pt x="14" y="63"/>
                      <a:pt x="14" y="63"/>
                      <a:pt x="14" y="63"/>
                    </a:cubicBezTo>
                    <a:cubicBezTo>
                      <a:pt x="15" y="64"/>
                      <a:pt x="15" y="64"/>
                      <a:pt x="15" y="64"/>
                    </a:cubicBezTo>
                    <a:cubicBezTo>
                      <a:pt x="15" y="64"/>
                      <a:pt x="17" y="67"/>
                      <a:pt x="18" y="67"/>
                    </a:cubicBezTo>
                    <a:cubicBezTo>
                      <a:pt x="19" y="68"/>
                      <a:pt x="19" y="68"/>
                      <a:pt x="19" y="68"/>
                    </a:cubicBezTo>
                    <a:cubicBezTo>
                      <a:pt x="23" y="70"/>
                      <a:pt x="23" y="70"/>
                      <a:pt x="23" y="70"/>
                    </a:cubicBezTo>
                    <a:cubicBezTo>
                      <a:pt x="24" y="70"/>
                      <a:pt x="24" y="70"/>
                      <a:pt x="24" y="70"/>
                    </a:cubicBezTo>
                    <a:cubicBezTo>
                      <a:pt x="24" y="70"/>
                      <a:pt x="27" y="69"/>
                      <a:pt x="27" y="69"/>
                    </a:cubicBezTo>
                    <a:cubicBezTo>
                      <a:pt x="27" y="70"/>
                      <a:pt x="28" y="71"/>
                      <a:pt x="28" y="72"/>
                    </a:cubicBezTo>
                    <a:cubicBezTo>
                      <a:pt x="28" y="72"/>
                      <a:pt x="28" y="73"/>
                      <a:pt x="27" y="74"/>
                    </a:cubicBezTo>
                    <a:cubicBezTo>
                      <a:pt x="27" y="74"/>
                      <a:pt x="28" y="75"/>
                      <a:pt x="28" y="75"/>
                    </a:cubicBezTo>
                    <a:cubicBezTo>
                      <a:pt x="25" y="77"/>
                      <a:pt x="25" y="77"/>
                      <a:pt x="25" y="77"/>
                    </a:cubicBezTo>
                    <a:cubicBezTo>
                      <a:pt x="25" y="80"/>
                      <a:pt x="25" y="80"/>
                      <a:pt x="25" y="80"/>
                    </a:cubicBezTo>
                    <a:cubicBezTo>
                      <a:pt x="25" y="80"/>
                      <a:pt x="25" y="81"/>
                      <a:pt x="25" y="81"/>
                    </a:cubicBezTo>
                    <a:cubicBezTo>
                      <a:pt x="25" y="82"/>
                      <a:pt x="24" y="84"/>
                      <a:pt x="24" y="84"/>
                    </a:cubicBezTo>
                    <a:cubicBezTo>
                      <a:pt x="26" y="83"/>
                      <a:pt x="26" y="83"/>
                      <a:pt x="26" y="83"/>
                    </a:cubicBezTo>
                    <a:cubicBezTo>
                      <a:pt x="26" y="83"/>
                      <a:pt x="27" y="83"/>
                      <a:pt x="27" y="84"/>
                    </a:cubicBezTo>
                    <a:cubicBezTo>
                      <a:pt x="26" y="85"/>
                      <a:pt x="26" y="86"/>
                      <a:pt x="26" y="86"/>
                    </a:cubicBezTo>
                    <a:cubicBezTo>
                      <a:pt x="26" y="86"/>
                      <a:pt x="26" y="88"/>
                      <a:pt x="27" y="87"/>
                    </a:cubicBezTo>
                    <a:cubicBezTo>
                      <a:pt x="28" y="86"/>
                      <a:pt x="28" y="86"/>
                      <a:pt x="28" y="86"/>
                    </a:cubicBezTo>
                    <a:cubicBezTo>
                      <a:pt x="30" y="86"/>
                      <a:pt x="30" y="86"/>
                      <a:pt x="30" y="86"/>
                    </a:cubicBezTo>
                    <a:cubicBezTo>
                      <a:pt x="32" y="85"/>
                      <a:pt x="32" y="85"/>
                      <a:pt x="32" y="85"/>
                    </a:cubicBezTo>
                    <a:cubicBezTo>
                      <a:pt x="32" y="85"/>
                      <a:pt x="32" y="85"/>
                      <a:pt x="34" y="84"/>
                    </a:cubicBezTo>
                    <a:cubicBezTo>
                      <a:pt x="35" y="84"/>
                      <a:pt x="37" y="84"/>
                      <a:pt x="37" y="84"/>
                    </a:cubicBezTo>
                    <a:cubicBezTo>
                      <a:pt x="37" y="84"/>
                      <a:pt x="38" y="86"/>
                      <a:pt x="38" y="86"/>
                    </a:cubicBezTo>
                    <a:cubicBezTo>
                      <a:pt x="37" y="86"/>
                      <a:pt x="33" y="86"/>
                      <a:pt x="33" y="86"/>
                    </a:cubicBezTo>
                    <a:cubicBezTo>
                      <a:pt x="32" y="86"/>
                      <a:pt x="32" y="86"/>
                      <a:pt x="32" y="86"/>
                    </a:cubicBezTo>
                    <a:cubicBezTo>
                      <a:pt x="30" y="88"/>
                      <a:pt x="30" y="88"/>
                      <a:pt x="30" y="88"/>
                    </a:cubicBezTo>
                    <a:cubicBezTo>
                      <a:pt x="28" y="89"/>
                      <a:pt x="28" y="89"/>
                      <a:pt x="28" y="89"/>
                    </a:cubicBezTo>
                    <a:cubicBezTo>
                      <a:pt x="28" y="89"/>
                      <a:pt x="27" y="91"/>
                      <a:pt x="28" y="91"/>
                    </a:cubicBezTo>
                    <a:cubicBezTo>
                      <a:pt x="28" y="92"/>
                      <a:pt x="26" y="93"/>
                      <a:pt x="26" y="93"/>
                    </a:cubicBezTo>
                    <a:cubicBezTo>
                      <a:pt x="25" y="93"/>
                      <a:pt x="25" y="93"/>
                      <a:pt x="25" y="93"/>
                    </a:cubicBezTo>
                    <a:cubicBezTo>
                      <a:pt x="25" y="93"/>
                      <a:pt x="25" y="93"/>
                      <a:pt x="25" y="93"/>
                    </a:cubicBezTo>
                    <a:cubicBezTo>
                      <a:pt x="25" y="93"/>
                      <a:pt x="25" y="94"/>
                      <a:pt x="26" y="95"/>
                    </a:cubicBezTo>
                    <a:cubicBezTo>
                      <a:pt x="27" y="95"/>
                      <a:pt x="30" y="94"/>
                      <a:pt x="30" y="94"/>
                    </a:cubicBezTo>
                    <a:cubicBezTo>
                      <a:pt x="30" y="94"/>
                      <a:pt x="31" y="94"/>
                      <a:pt x="30" y="95"/>
                    </a:cubicBezTo>
                    <a:cubicBezTo>
                      <a:pt x="30" y="96"/>
                      <a:pt x="29" y="98"/>
                      <a:pt x="29" y="98"/>
                    </a:cubicBezTo>
                    <a:cubicBezTo>
                      <a:pt x="29" y="98"/>
                      <a:pt x="28" y="98"/>
                      <a:pt x="26" y="99"/>
                    </a:cubicBezTo>
                    <a:cubicBezTo>
                      <a:pt x="24" y="99"/>
                      <a:pt x="22" y="101"/>
                      <a:pt x="22" y="101"/>
                    </a:cubicBezTo>
                    <a:cubicBezTo>
                      <a:pt x="21" y="103"/>
                      <a:pt x="21" y="103"/>
                      <a:pt x="21" y="103"/>
                    </a:cubicBezTo>
                    <a:cubicBezTo>
                      <a:pt x="21" y="103"/>
                      <a:pt x="21" y="104"/>
                      <a:pt x="19" y="104"/>
                    </a:cubicBezTo>
                    <a:cubicBezTo>
                      <a:pt x="18" y="103"/>
                      <a:pt x="15" y="103"/>
                      <a:pt x="15" y="103"/>
                    </a:cubicBezTo>
                    <a:cubicBezTo>
                      <a:pt x="14" y="104"/>
                      <a:pt x="14" y="104"/>
                      <a:pt x="14" y="104"/>
                    </a:cubicBezTo>
                    <a:cubicBezTo>
                      <a:pt x="14" y="104"/>
                      <a:pt x="13" y="104"/>
                      <a:pt x="12" y="104"/>
                    </a:cubicBezTo>
                    <a:cubicBezTo>
                      <a:pt x="11" y="104"/>
                      <a:pt x="11" y="103"/>
                      <a:pt x="11" y="103"/>
                    </a:cubicBezTo>
                    <a:cubicBezTo>
                      <a:pt x="11" y="100"/>
                      <a:pt x="11" y="100"/>
                      <a:pt x="11" y="100"/>
                    </a:cubicBezTo>
                    <a:cubicBezTo>
                      <a:pt x="11" y="99"/>
                      <a:pt x="11" y="99"/>
                      <a:pt x="11" y="99"/>
                    </a:cubicBezTo>
                    <a:cubicBezTo>
                      <a:pt x="10" y="96"/>
                      <a:pt x="10" y="96"/>
                      <a:pt x="10" y="96"/>
                    </a:cubicBezTo>
                    <a:cubicBezTo>
                      <a:pt x="10" y="96"/>
                      <a:pt x="9" y="98"/>
                      <a:pt x="8" y="98"/>
                    </a:cubicBezTo>
                    <a:cubicBezTo>
                      <a:pt x="8" y="99"/>
                      <a:pt x="7" y="100"/>
                      <a:pt x="7" y="100"/>
                    </a:cubicBezTo>
                    <a:cubicBezTo>
                      <a:pt x="6" y="102"/>
                      <a:pt x="6" y="102"/>
                      <a:pt x="6" y="102"/>
                    </a:cubicBezTo>
                    <a:cubicBezTo>
                      <a:pt x="5" y="103"/>
                      <a:pt x="5" y="103"/>
                      <a:pt x="5" y="103"/>
                    </a:cubicBezTo>
                    <a:cubicBezTo>
                      <a:pt x="6" y="106"/>
                      <a:pt x="6" y="106"/>
                      <a:pt x="6" y="106"/>
                    </a:cubicBezTo>
                    <a:cubicBezTo>
                      <a:pt x="5" y="107"/>
                      <a:pt x="5" y="107"/>
                      <a:pt x="5" y="107"/>
                    </a:cubicBezTo>
                    <a:cubicBezTo>
                      <a:pt x="5" y="107"/>
                      <a:pt x="3" y="108"/>
                      <a:pt x="4" y="108"/>
                    </a:cubicBezTo>
                    <a:cubicBezTo>
                      <a:pt x="5" y="109"/>
                      <a:pt x="8" y="110"/>
                      <a:pt x="8" y="110"/>
                    </a:cubicBezTo>
                    <a:cubicBezTo>
                      <a:pt x="8" y="110"/>
                      <a:pt x="9" y="109"/>
                      <a:pt x="10" y="110"/>
                    </a:cubicBezTo>
                    <a:cubicBezTo>
                      <a:pt x="12" y="111"/>
                      <a:pt x="13" y="112"/>
                      <a:pt x="13" y="112"/>
                    </a:cubicBezTo>
                    <a:cubicBezTo>
                      <a:pt x="14" y="112"/>
                      <a:pt x="14" y="112"/>
                      <a:pt x="14" y="112"/>
                    </a:cubicBezTo>
                    <a:cubicBezTo>
                      <a:pt x="17" y="112"/>
                      <a:pt x="17" y="112"/>
                      <a:pt x="17" y="112"/>
                    </a:cubicBezTo>
                    <a:cubicBezTo>
                      <a:pt x="18" y="113"/>
                      <a:pt x="18" y="113"/>
                      <a:pt x="18" y="113"/>
                    </a:cubicBezTo>
                    <a:cubicBezTo>
                      <a:pt x="22" y="114"/>
                      <a:pt x="22" y="114"/>
                      <a:pt x="22" y="114"/>
                    </a:cubicBezTo>
                    <a:cubicBezTo>
                      <a:pt x="22" y="114"/>
                      <a:pt x="23" y="116"/>
                      <a:pt x="23" y="116"/>
                    </a:cubicBezTo>
                    <a:cubicBezTo>
                      <a:pt x="23" y="117"/>
                      <a:pt x="26" y="118"/>
                      <a:pt x="26" y="118"/>
                    </a:cubicBezTo>
                    <a:cubicBezTo>
                      <a:pt x="26" y="118"/>
                      <a:pt x="25" y="118"/>
                      <a:pt x="27" y="118"/>
                    </a:cubicBezTo>
                    <a:cubicBezTo>
                      <a:pt x="29" y="118"/>
                      <a:pt x="30" y="118"/>
                      <a:pt x="30" y="118"/>
                    </a:cubicBezTo>
                    <a:cubicBezTo>
                      <a:pt x="30" y="118"/>
                      <a:pt x="32" y="118"/>
                      <a:pt x="33" y="119"/>
                    </a:cubicBezTo>
                    <a:cubicBezTo>
                      <a:pt x="33" y="120"/>
                      <a:pt x="35" y="123"/>
                      <a:pt x="35" y="123"/>
                    </a:cubicBezTo>
                    <a:cubicBezTo>
                      <a:pt x="38" y="128"/>
                      <a:pt x="38" y="128"/>
                      <a:pt x="38" y="128"/>
                    </a:cubicBezTo>
                    <a:cubicBezTo>
                      <a:pt x="39" y="131"/>
                      <a:pt x="39" y="131"/>
                      <a:pt x="39" y="131"/>
                    </a:cubicBezTo>
                    <a:cubicBezTo>
                      <a:pt x="39" y="131"/>
                      <a:pt x="39" y="131"/>
                      <a:pt x="41" y="133"/>
                    </a:cubicBezTo>
                    <a:cubicBezTo>
                      <a:pt x="42" y="134"/>
                      <a:pt x="43" y="136"/>
                      <a:pt x="43" y="136"/>
                    </a:cubicBezTo>
                    <a:cubicBezTo>
                      <a:pt x="43" y="136"/>
                      <a:pt x="43" y="136"/>
                      <a:pt x="44" y="137"/>
                    </a:cubicBezTo>
                    <a:cubicBezTo>
                      <a:pt x="45" y="139"/>
                      <a:pt x="46" y="140"/>
                      <a:pt x="46" y="140"/>
                    </a:cubicBezTo>
                    <a:cubicBezTo>
                      <a:pt x="46" y="140"/>
                      <a:pt x="46" y="142"/>
                      <a:pt x="47" y="142"/>
                    </a:cubicBezTo>
                    <a:cubicBezTo>
                      <a:pt x="49" y="143"/>
                      <a:pt x="50" y="143"/>
                      <a:pt x="51" y="144"/>
                    </a:cubicBezTo>
                    <a:cubicBezTo>
                      <a:pt x="52" y="145"/>
                      <a:pt x="54" y="147"/>
                      <a:pt x="54" y="147"/>
                    </a:cubicBezTo>
                    <a:cubicBezTo>
                      <a:pt x="54" y="147"/>
                      <a:pt x="58" y="151"/>
                      <a:pt x="60" y="152"/>
                    </a:cubicBezTo>
                    <a:cubicBezTo>
                      <a:pt x="61" y="154"/>
                      <a:pt x="63" y="156"/>
                      <a:pt x="64" y="156"/>
                    </a:cubicBezTo>
                    <a:cubicBezTo>
                      <a:pt x="65" y="156"/>
                      <a:pt x="69" y="158"/>
                      <a:pt x="69" y="158"/>
                    </a:cubicBezTo>
                    <a:cubicBezTo>
                      <a:pt x="69" y="158"/>
                      <a:pt x="71" y="159"/>
                      <a:pt x="72" y="159"/>
                    </a:cubicBezTo>
                    <a:cubicBezTo>
                      <a:pt x="73" y="159"/>
                      <a:pt x="70" y="158"/>
                      <a:pt x="75" y="158"/>
                    </a:cubicBezTo>
                    <a:cubicBezTo>
                      <a:pt x="80" y="158"/>
                      <a:pt x="83" y="160"/>
                      <a:pt x="83" y="160"/>
                    </a:cubicBezTo>
                    <a:cubicBezTo>
                      <a:pt x="86" y="158"/>
                      <a:pt x="86" y="158"/>
                      <a:pt x="86" y="158"/>
                    </a:cubicBezTo>
                    <a:cubicBezTo>
                      <a:pt x="86" y="158"/>
                      <a:pt x="86" y="159"/>
                      <a:pt x="87" y="157"/>
                    </a:cubicBezTo>
                    <a:cubicBezTo>
                      <a:pt x="87" y="155"/>
                      <a:pt x="88" y="153"/>
                      <a:pt x="88" y="153"/>
                    </a:cubicBezTo>
                    <a:cubicBezTo>
                      <a:pt x="88" y="153"/>
                      <a:pt x="87" y="152"/>
                      <a:pt x="89" y="152"/>
                    </a:cubicBezTo>
                    <a:cubicBezTo>
                      <a:pt x="91" y="151"/>
                      <a:pt x="96" y="151"/>
                      <a:pt x="97" y="151"/>
                    </a:cubicBezTo>
                    <a:cubicBezTo>
                      <a:pt x="97" y="151"/>
                      <a:pt x="98" y="152"/>
                      <a:pt x="98" y="151"/>
                    </a:cubicBezTo>
                    <a:cubicBezTo>
                      <a:pt x="99" y="150"/>
                      <a:pt x="105" y="153"/>
                      <a:pt x="105" y="153"/>
                    </a:cubicBezTo>
                    <a:cubicBezTo>
                      <a:pt x="107" y="151"/>
                      <a:pt x="107" y="151"/>
                      <a:pt x="107" y="151"/>
                    </a:cubicBezTo>
                    <a:cubicBezTo>
                      <a:pt x="108" y="150"/>
                      <a:pt x="108" y="150"/>
                      <a:pt x="108" y="150"/>
                    </a:cubicBezTo>
                    <a:cubicBezTo>
                      <a:pt x="110" y="153"/>
                      <a:pt x="110" y="153"/>
                      <a:pt x="110" y="153"/>
                    </a:cubicBezTo>
                    <a:cubicBezTo>
                      <a:pt x="113" y="154"/>
                      <a:pt x="113" y="154"/>
                      <a:pt x="113" y="154"/>
                    </a:cubicBezTo>
                    <a:cubicBezTo>
                      <a:pt x="113" y="154"/>
                      <a:pt x="116" y="153"/>
                      <a:pt x="117" y="153"/>
                    </a:cubicBezTo>
                    <a:cubicBezTo>
                      <a:pt x="118" y="153"/>
                      <a:pt x="121" y="151"/>
                      <a:pt x="121" y="151"/>
                    </a:cubicBezTo>
                    <a:cubicBezTo>
                      <a:pt x="121" y="151"/>
                      <a:pt x="121" y="149"/>
                      <a:pt x="122" y="149"/>
                    </a:cubicBezTo>
                    <a:cubicBezTo>
                      <a:pt x="123" y="149"/>
                      <a:pt x="126" y="149"/>
                      <a:pt x="127" y="149"/>
                    </a:cubicBezTo>
                    <a:cubicBezTo>
                      <a:pt x="128" y="148"/>
                      <a:pt x="131" y="148"/>
                      <a:pt x="131" y="148"/>
                    </a:cubicBezTo>
                    <a:cubicBezTo>
                      <a:pt x="132" y="146"/>
                      <a:pt x="132" y="146"/>
                      <a:pt x="132" y="146"/>
                    </a:cubicBezTo>
                    <a:cubicBezTo>
                      <a:pt x="132" y="146"/>
                      <a:pt x="133" y="145"/>
                      <a:pt x="134" y="146"/>
                    </a:cubicBezTo>
                    <a:cubicBezTo>
                      <a:pt x="136" y="146"/>
                      <a:pt x="138" y="146"/>
                      <a:pt x="138" y="146"/>
                    </a:cubicBezTo>
                    <a:cubicBezTo>
                      <a:pt x="141" y="145"/>
                      <a:pt x="141" y="145"/>
                      <a:pt x="141" y="145"/>
                    </a:cubicBezTo>
                    <a:cubicBezTo>
                      <a:pt x="143" y="144"/>
                      <a:pt x="143" y="144"/>
                      <a:pt x="143" y="144"/>
                    </a:cubicBezTo>
                    <a:cubicBezTo>
                      <a:pt x="143" y="144"/>
                      <a:pt x="143" y="143"/>
                      <a:pt x="144" y="144"/>
                    </a:cubicBezTo>
                    <a:cubicBezTo>
                      <a:pt x="145" y="144"/>
                      <a:pt x="147" y="146"/>
                      <a:pt x="147" y="146"/>
                    </a:cubicBezTo>
                    <a:cubicBezTo>
                      <a:pt x="150" y="147"/>
                      <a:pt x="150" y="147"/>
                      <a:pt x="150" y="147"/>
                    </a:cubicBezTo>
                    <a:cubicBezTo>
                      <a:pt x="152" y="146"/>
                      <a:pt x="152" y="146"/>
                      <a:pt x="152" y="146"/>
                    </a:cubicBezTo>
                    <a:cubicBezTo>
                      <a:pt x="154" y="144"/>
                      <a:pt x="154" y="144"/>
                      <a:pt x="154" y="144"/>
                    </a:cubicBezTo>
                    <a:cubicBezTo>
                      <a:pt x="154" y="144"/>
                      <a:pt x="154" y="143"/>
                      <a:pt x="156" y="143"/>
                    </a:cubicBezTo>
                    <a:cubicBezTo>
                      <a:pt x="159" y="144"/>
                      <a:pt x="160" y="144"/>
                      <a:pt x="160" y="144"/>
                    </a:cubicBezTo>
                    <a:cubicBezTo>
                      <a:pt x="160" y="144"/>
                      <a:pt x="162" y="143"/>
                      <a:pt x="162" y="143"/>
                    </a:cubicBezTo>
                    <a:cubicBezTo>
                      <a:pt x="162" y="142"/>
                      <a:pt x="162" y="141"/>
                      <a:pt x="162" y="140"/>
                    </a:cubicBezTo>
                    <a:cubicBezTo>
                      <a:pt x="163" y="139"/>
                      <a:pt x="166" y="136"/>
                      <a:pt x="166" y="136"/>
                    </a:cubicBezTo>
                    <a:cubicBezTo>
                      <a:pt x="168" y="135"/>
                      <a:pt x="168" y="135"/>
                      <a:pt x="168" y="135"/>
                    </a:cubicBezTo>
                    <a:cubicBezTo>
                      <a:pt x="167" y="132"/>
                      <a:pt x="167" y="132"/>
                      <a:pt x="167" y="132"/>
                    </a:cubicBezTo>
                    <a:cubicBezTo>
                      <a:pt x="167" y="131"/>
                      <a:pt x="167" y="131"/>
                      <a:pt x="167" y="131"/>
                    </a:cubicBezTo>
                    <a:cubicBezTo>
                      <a:pt x="167" y="131"/>
                      <a:pt x="170" y="130"/>
                      <a:pt x="169" y="132"/>
                    </a:cubicBezTo>
                    <a:cubicBezTo>
                      <a:pt x="168" y="133"/>
                      <a:pt x="169" y="134"/>
                      <a:pt x="169" y="134"/>
                    </a:cubicBezTo>
                    <a:cubicBezTo>
                      <a:pt x="169" y="134"/>
                      <a:pt x="170" y="133"/>
                      <a:pt x="171" y="133"/>
                    </a:cubicBezTo>
                    <a:cubicBezTo>
                      <a:pt x="172" y="133"/>
                      <a:pt x="173" y="132"/>
                      <a:pt x="173" y="133"/>
                    </a:cubicBezTo>
                    <a:cubicBezTo>
                      <a:pt x="174" y="133"/>
                      <a:pt x="175" y="133"/>
                      <a:pt x="175" y="133"/>
                    </a:cubicBezTo>
                    <a:cubicBezTo>
                      <a:pt x="175" y="133"/>
                      <a:pt x="175" y="131"/>
                      <a:pt x="176" y="131"/>
                    </a:cubicBezTo>
                    <a:cubicBezTo>
                      <a:pt x="177" y="131"/>
                      <a:pt x="178" y="131"/>
                      <a:pt x="178" y="131"/>
                    </a:cubicBezTo>
                    <a:cubicBezTo>
                      <a:pt x="178" y="131"/>
                      <a:pt x="179" y="132"/>
                      <a:pt x="179" y="131"/>
                    </a:cubicBezTo>
                    <a:cubicBezTo>
                      <a:pt x="179" y="131"/>
                      <a:pt x="177" y="129"/>
                      <a:pt x="177" y="129"/>
                    </a:cubicBezTo>
                    <a:cubicBezTo>
                      <a:pt x="178" y="130"/>
                      <a:pt x="180" y="129"/>
                      <a:pt x="180" y="129"/>
                    </a:cubicBezTo>
                    <a:cubicBezTo>
                      <a:pt x="180" y="129"/>
                      <a:pt x="182" y="130"/>
                      <a:pt x="180" y="128"/>
                    </a:cubicBezTo>
                    <a:cubicBezTo>
                      <a:pt x="178" y="126"/>
                      <a:pt x="180" y="126"/>
                      <a:pt x="180" y="126"/>
                    </a:cubicBezTo>
                    <a:cubicBezTo>
                      <a:pt x="180" y="126"/>
                      <a:pt x="183" y="127"/>
                      <a:pt x="182" y="127"/>
                    </a:cubicBezTo>
                    <a:cubicBezTo>
                      <a:pt x="181" y="126"/>
                      <a:pt x="178" y="122"/>
                      <a:pt x="178" y="122"/>
                    </a:cubicBezTo>
                    <a:cubicBezTo>
                      <a:pt x="178" y="121"/>
                      <a:pt x="178" y="121"/>
                      <a:pt x="178" y="121"/>
                    </a:cubicBezTo>
                    <a:cubicBezTo>
                      <a:pt x="178" y="120"/>
                      <a:pt x="178" y="120"/>
                      <a:pt x="178" y="120"/>
                    </a:cubicBezTo>
                    <a:cubicBezTo>
                      <a:pt x="178" y="120"/>
                      <a:pt x="180" y="121"/>
                      <a:pt x="180" y="121"/>
                    </a:cubicBezTo>
                    <a:cubicBezTo>
                      <a:pt x="181" y="121"/>
                      <a:pt x="181" y="121"/>
                      <a:pt x="182" y="122"/>
                    </a:cubicBezTo>
                    <a:cubicBezTo>
                      <a:pt x="183" y="123"/>
                      <a:pt x="182" y="124"/>
                      <a:pt x="183" y="124"/>
                    </a:cubicBezTo>
                    <a:cubicBezTo>
                      <a:pt x="184" y="125"/>
                      <a:pt x="186" y="124"/>
                      <a:pt x="186" y="124"/>
                    </a:cubicBezTo>
                    <a:cubicBezTo>
                      <a:pt x="188" y="122"/>
                      <a:pt x="188" y="122"/>
                      <a:pt x="188" y="122"/>
                    </a:cubicBezTo>
                    <a:cubicBezTo>
                      <a:pt x="188" y="122"/>
                      <a:pt x="190" y="119"/>
                      <a:pt x="190" y="118"/>
                    </a:cubicBezTo>
                    <a:cubicBezTo>
                      <a:pt x="189" y="118"/>
                      <a:pt x="185" y="120"/>
                      <a:pt x="185" y="120"/>
                    </a:cubicBezTo>
                    <a:cubicBezTo>
                      <a:pt x="186" y="116"/>
                      <a:pt x="186" y="116"/>
                      <a:pt x="186" y="116"/>
                    </a:cubicBezTo>
                    <a:cubicBezTo>
                      <a:pt x="185" y="116"/>
                      <a:pt x="185" y="116"/>
                      <a:pt x="185" y="116"/>
                    </a:cubicBezTo>
                    <a:cubicBezTo>
                      <a:pt x="183" y="114"/>
                      <a:pt x="183" y="114"/>
                      <a:pt x="183" y="114"/>
                    </a:cubicBezTo>
                    <a:cubicBezTo>
                      <a:pt x="183" y="114"/>
                      <a:pt x="186" y="115"/>
                      <a:pt x="186" y="115"/>
                    </a:cubicBezTo>
                    <a:cubicBezTo>
                      <a:pt x="187" y="115"/>
                      <a:pt x="189" y="114"/>
                      <a:pt x="189" y="114"/>
                    </a:cubicBezTo>
                    <a:cubicBezTo>
                      <a:pt x="189" y="113"/>
                      <a:pt x="189" y="113"/>
                      <a:pt x="189" y="113"/>
                    </a:cubicBezTo>
                    <a:cubicBezTo>
                      <a:pt x="186" y="111"/>
                      <a:pt x="186" y="111"/>
                      <a:pt x="186" y="111"/>
                    </a:cubicBezTo>
                    <a:cubicBezTo>
                      <a:pt x="187" y="110"/>
                      <a:pt x="187" y="110"/>
                      <a:pt x="187" y="110"/>
                    </a:cubicBezTo>
                    <a:cubicBezTo>
                      <a:pt x="188" y="108"/>
                      <a:pt x="188" y="108"/>
                      <a:pt x="188" y="108"/>
                    </a:cubicBezTo>
                    <a:cubicBezTo>
                      <a:pt x="190" y="107"/>
                      <a:pt x="190" y="107"/>
                      <a:pt x="190" y="107"/>
                    </a:cubicBezTo>
                    <a:cubicBezTo>
                      <a:pt x="191" y="103"/>
                      <a:pt x="191" y="103"/>
                      <a:pt x="191" y="103"/>
                    </a:cubicBezTo>
                    <a:cubicBezTo>
                      <a:pt x="191" y="101"/>
                      <a:pt x="191" y="101"/>
                      <a:pt x="191" y="101"/>
                    </a:cubicBezTo>
                    <a:cubicBezTo>
                      <a:pt x="190" y="101"/>
                      <a:pt x="190" y="101"/>
                      <a:pt x="190" y="101"/>
                    </a:cubicBezTo>
                    <a:cubicBezTo>
                      <a:pt x="189" y="98"/>
                      <a:pt x="189" y="98"/>
                      <a:pt x="189" y="98"/>
                    </a:cubicBezTo>
                    <a:cubicBezTo>
                      <a:pt x="186" y="97"/>
                      <a:pt x="186" y="97"/>
                      <a:pt x="186" y="97"/>
                    </a:cubicBezTo>
                    <a:cubicBezTo>
                      <a:pt x="186" y="97"/>
                      <a:pt x="184" y="94"/>
                      <a:pt x="184" y="94"/>
                    </a:cubicBezTo>
                    <a:cubicBezTo>
                      <a:pt x="183" y="94"/>
                      <a:pt x="184" y="92"/>
                      <a:pt x="183" y="93"/>
                    </a:cubicBezTo>
                    <a:cubicBezTo>
                      <a:pt x="182" y="93"/>
                      <a:pt x="181" y="92"/>
                      <a:pt x="181" y="92"/>
                    </a:cubicBezTo>
                    <a:cubicBezTo>
                      <a:pt x="181" y="92"/>
                      <a:pt x="182" y="90"/>
                      <a:pt x="182" y="90"/>
                    </a:cubicBezTo>
                    <a:cubicBezTo>
                      <a:pt x="182" y="90"/>
                      <a:pt x="183" y="89"/>
                      <a:pt x="183" y="88"/>
                    </a:cubicBezTo>
                    <a:cubicBezTo>
                      <a:pt x="183" y="88"/>
                      <a:pt x="183" y="86"/>
                      <a:pt x="182" y="86"/>
                    </a:cubicBezTo>
                    <a:cubicBezTo>
                      <a:pt x="182" y="86"/>
                      <a:pt x="180" y="87"/>
                      <a:pt x="180" y="87"/>
                    </a:cubicBezTo>
                    <a:cubicBezTo>
                      <a:pt x="176" y="88"/>
                      <a:pt x="176" y="88"/>
                      <a:pt x="176" y="88"/>
                    </a:cubicBezTo>
                    <a:cubicBezTo>
                      <a:pt x="174" y="87"/>
                      <a:pt x="174" y="87"/>
                      <a:pt x="174" y="87"/>
                    </a:cubicBezTo>
                    <a:cubicBezTo>
                      <a:pt x="174" y="87"/>
                      <a:pt x="174" y="86"/>
                      <a:pt x="175" y="85"/>
                    </a:cubicBezTo>
                    <a:cubicBezTo>
                      <a:pt x="175" y="85"/>
                      <a:pt x="176" y="85"/>
                      <a:pt x="176" y="84"/>
                    </a:cubicBezTo>
                    <a:cubicBezTo>
                      <a:pt x="177" y="83"/>
                      <a:pt x="177" y="83"/>
                      <a:pt x="178" y="82"/>
                    </a:cubicBezTo>
                    <a:cubicBezTo>
                      <a:pt x="179" y="81"/>
                      <a:pt x="181" y="79"/>
                      <a:pt x="181" y="79"/>
                    </a:cubicBezTo>
                    <a:cubicBezTo>
                      <a:pt x="181" y="77"/>
                      <a:pt x="181" y="77"/>
                      <a:pt x="181" y="77"/>
                    </a:cubicBezTo>
                    <a:cubicBezTo>
                      <a:pt x="181" y="75"/>
                      <a:pt x="181" y="75"/>
                      <a:pt x="181" y="75"/>
                    </a:cubicBezTo>
                    <a:cubicBezTo>
                      <a:pt x="181" y="75"/>
                      <a:pt x="179" y="74"/>
                      <a:pt x="179" y="74"/>
                    </a:cubicBezTo>
                    <a:cubicBezTo>
                      <a:pt x="178" y="74"/>
                      <a:pt x="178" y="75"/>
                      <a:pt x="177" y="74"/>
                    </a:cubicBezTo>
                    <a:cubicBezTo>
                      <a:pt x="176" y="73"/>
                      <a:pt x="176" y="73"/>
                      <a:pt x="176" y="72"/>
                    </a:cubicBezTo>
                    <a:cubicBezTo>
                      <a:pt x="175" y="71"/>
                      <a:pt x="174" y="69"/>
                      <a:pt x="174" y="69"/>
                    </a:cubicBezTo>
                    <a:cubicBezTo>
                      <a:pt x="174" y="69"/>
                      <a:pt x="173" y="68"/>
                      <a:pt x="174" y="68"/>
                    </a:cubicBezTo>
                    <a:cubicBezTo>
                      <a:pt x="175" y="68"/>
                      <a:pt x="177" y="69"/>
                      <a:pt x="177" y="68"/>
                    </a:cubicBezTo>
                    <a:cubicBezTo>
                      <a:pt x="178" y="68"/>
                      <a:pt x="178" y="68"/>
                      <a:pt x="178" y="67"/>
                    </a:cubicBezTo>
                    <a:cubicBezTo>
                      <a:pt x="178" y="67"/>
                      <a:pt x="179" y="64"/>
                      <a:pt x="179" y="64"/>
                    </a:cubicBezTo>
                    <a:cubicBezTo>
                      <a:pt x="179" y="63"/>
                      <a:pt x="179" y="64"/>
                      <a:pt x="181" y="63"/>
                    </a:cubicBezTo>
                    <a:cubicBezTo>
                      <a:pt x="182" y="62"/>
                      <a:pt x="182" y="62"/>
                      <a:pt x="183" y="61"/>
                    </a:cubicBezTo>
                    <a:cubicBezTo>
                      <a:pt x="185" y="61"/>
                      <a:pt x="185" y="60"/>
                      <a:pt x="185" y="60"/>
                    </a:cubicBezTo>
                    <a:cubicBezTo>
                      <a:pt x="184" y="60"/>
                      <a:pt x="183" y="59"/>
                      <a:pt x="183" y="59"/>
                    </a:cubicBezTo>
                    <a:cubicBezTo>
                      <a:pt x="182" y="59"/>
                      <a:pt x="180" y="60"/>
                      <a:pt x="180" y="60"/>
                    </a:cubicBezTo>
                    <a:cubicBezTo>
                      <a:pt x="180" y="60"/>
                      <a:pt x="179" y="61"/>
                      <a:pt x="178" y="62"/>
                    </a:cubicBezTo>
                    <a:cubicBezTo>
                      <a:pt x="177" y="62"/>
                      <a:pt x="176" y="62"/>
                      <a:pt x="175" y="62"/>
                    </a:cubicBezTo>
                    <a:cubicBezTo>
                      <a:pt x="175" y="62"/>
                      <a:pt x="174" y="62"/>
                      <a:pt x="174" y="62"/>
                    </a:cubicBezTo>
                    <a:cubicBezTo>
                      <a:pt x="174" y="62"/>
                      <a:pt x="173" y="61"/>
                      <a:pt x="173" y="63"/>
                    </a:cubicBezTo>
                    <a:cubicBezTo>
                      <a:pt x="172" y="64"/>
                      <a:pt x="171" y="66"/>
                      <a:pt x="171" y="66"/>
                    </a:cubicBezTo>
                    <a:cubicBezTo>
                      <a:pt x="171" y="66"/>
                      <a:pt x="170" y="67"/>
                      <a:pt x="170" y="65"/>
                    </a:cubicBezTo>
                    <a:cubicBezTo>
                      <a:pt x="170" y="64"/>
                      <a:pt x="169" y="62"/>
                      <a:pt x="169" y="62"/>
                    </a:cubicBezTo>
                    <a:cubicBezTo>
                      <a:pt x="169" y="62"/>
                      <a:pt x="169" y="62"/>
                      <a:pt x="169" y="62"/>
                    </a:cubicBezTo>
                    <a:cubicBezTo>
                      <a:pt x="168" y="62"/>
                      <a:pt x="166" y="61"/>
                      <a:pt x="166" y="61"/>
                    </a:cubicBezTo>
                    <a:cubicBezTo>
                      <a:pt x="166" y="61"/>
                      <a:pt x="167" y="61"/>
                      <a:pt x="167" y="60"/>
                    </a:cubicBezTo>
                    <a:cubicBezTo>
                      <a:pt x="166" y="58"/>
                      <a:pt x="166" y="58"/>
                      <a:pt x="166" y="58"/>
                    </a:cubicBezTo>
                    <a:cubicBezTo>
                      <a:pt x="167" y="58"/>
                      <a:pt x="167" y="58"/>
                      <a:pt x="168" y="58"/>
                    </a:cubicBezTo>
                    <a:cubicBezTo>
                      <a:pt x="168" y="57"/>
                      <a:pt x="168" y="57"/>
                      <a:pt x="168" y="56"/>
                    </a:cubicBezTo>
                    <a:cubicBezTo>
                      <a:pt x="169" y="54"/>
                      <a:pt x="168" y="53"/>
                      <a:pt x="168" y="53"/>
                    </a:cubicBezTo>
                    <a:cubicBezTo>
                      <a:pt x="167" y="52"/>
                      <a:pt x="166" y="52"/>
                      <a:pt x="166" y="52"/>
                    </a:cubicBezTo>
                    <a:cubicBezTo>
                      <a:pt x="166" y="49"/>
                      <a:pt x="166" y="49"/>
                      <a:pt x="166" y="49"/>
                    </a:cubicBezTo>
                    <a:cubicBezTo>
                      <a:pt x="166" y="49"/>
                      <a:pt x="166" y="48"/>
                      <a:pt x="166" y="47"/>
                    </a:cubicBezTo>
                    <a:cubicBezTo>
                      <a:pt x="165" y="46"/>
                      <a:pt x="165" y="46"/>
                      <a:pt x="164" y="46"/>
                    </a:cubicBezTo>
                    <a:cubicBezTo>
                      <a:pt x="164" y="46"/>
                      <a:pt x="163" y="47"/>
                      <a:pt x="163" y="47"/>
                    </a:cubicBezTo>
                    <a:cubicBezTo>
                      <a:pt x="162" y="47"/>
                      <a:pt x="160" y="46"/>
                      <a:pt x="160" y="46"/>
                    </a:cubicBezTo>
                    <a:cubicBezTo>
                      <a:pt x="157" y="44"/>
                      <a:pt x="157" y="44"/>
                      <a:pt x="157" y="44"/>
                    </a:cubicBezTo>
                    <a:cubicBezTo>
                      <a:pt x="157" y="44"/>
                      <a:pt x="157" y="44"/>
                      <a:pt x="156" y="45"/>
                    </a:cubicBezTo>
                    <a:cubicBezTo>
                      <a:pt x="156" y="46"/>
                      <a:pt x="156" y="45"/>
                      <a:pt x="156" y="46"/>
                    </a:cubicBezTo>
                    <a:cubicBezTo>
                      <a:pt x="156" y="47"/>
                      <a:pt x="156" y="48"/>
                      <a:pt x="156" y="49"/>
                    </a:cubicBezTo>
                    <a:cubicBezTo>
                      <a:pt x="156" y="49"/>
                      <a:pt x="156" y="51"/>
                      <a:pt x="155" y="52"/>
                    </a:cubicBezTo>
                    <a:cubicBezTo>
                      <a:pt x="155" y="53"/>
                      <a:pt x="154" y="53"/>
                      <a:pt x="154" y="54"/>
                    </a:cubicBezTo>
                    <a:cubicBezTo>
                      <a:pt x="154" y="54"/>
                      <a:pt x="155" y="55"/>
                      <a:pt x="154" y="55"/>
                    </a:cubicBezTo>
                    <a:cubicBezTo>
                      <a:pt x="154" y="55"/>
                      <a:pt x="154" y="57"/>
                      <a:pt x="153" y="57"/>
                    </a:cubicBezTo>
                    <a:cubicBezTo>
                      <a:pt x="153" y="57"/>
                      <a:pt x="152" y="58"/>
                      <a:pt x="152" y="58"/>
                    </a:cubicBezTo>
                    <a:cubicBezTo>
                      <a:pt x="151" y="58"/>
                      <a:pt x="151" y="58"/>
                      <a:pt x="150" y="58"/>
                    </a:cubicBezTo>
                    <a:cubicBezTo>
                      <a:pt x="149" y="58"/>
                      <a:pt x="149" y="59"/>
                      <a:pt x="149" y="59"/>
                    </a:cubicBezTo>
                    <a:cubicBezTo>
                      <a:pt x="149" y="59"/>
                      <a:pt x="147" y="59"/>
                      <a:pt x="146" y="58"/>
                    </a:cubicBezTo>
                    <a:cubicBezTo>
                      <a:pt x="145" y="58"/>
                      <a:pt x="145" y="57"/>
                      <a:pt x="145" y="57"/>
                    </a:cubicBezTo>
                    <a:cubicBezTo>
                      <a:pt x="144" y="55"/>
                      <a:pt x="144" y="55"/>
                      <a:pt x="144" y="55"/>
                    </a:cubicBezTo>
                    <a:cubicBezTo>
                      <a:pt x="144" y="55"/>
                      <a:pt x="148" y="56"/>
                      <a:pt x="144" y="54"/>
                    </a:cubicBezTo>
                    <a:cubicBezTo>
                      <a:pt x="140" y="52"/>
                      <a:pt x="141" y="52"/>
                      <a:pt x="141" y="52"/>
                    </a:cubicBezTo>
                    <a:cubicBezTo>
                      <a:pt x="141" y="52"/>
                      <a:pt x="140" y="53"/>
                      <a:pt x="139" y="54"/>
                    </a:cubicBezTo>
                    <a:cubicBezTo>
                      <a:pt x="139" y="54"/>
                      <a:pt x="138" y="55"/>
                      <a:pt x="138" y="55"/>
                    </a:cubicBezTo>
                    <a:cubicBezTo>
                      <a:pt x="138" y="56"/>
                      <a:pt x="138" y="56"/>
                      <a:pt x="138" y="56"/>
                    </a:cubicBezTo>
                    <a:cubicBezTo>
                      <a:pt x="137" y="56"/>
                      <a:pt x="137" y="56"/>
                      <a:pt x="137" y="56"/>
                    </a:cubicBezTo>
                    <a:cubicBezTo>
                      <a:pt x="136" y="58"/>
                      <a:pt x="136" y="58"/>
                      <a:pt x="136" y="58"/>
                    </a:cubicBezTo>
                    <a:cubicBezTo>
                      <a:pt x="136" y="58"/>
                      <a:pt x="134" y="59"/>
                      <a:pt x="134" y="59"/>
                    </a:cubicBezTo>
                    <a:cubicBezTo>
                      <a:pt x="134" y="59"/>
                      <a:pt x="133" y="59"/>
                      <a:pt x="133" y="59"/>
                    </a:cubicBezTo>
                    <a:cubicBezTo>
                      <a:pt x="132" y="59"/>
                      <a:pt x="132" y="59"/>
                      <a:pt x="131" y="59"/>
                    </a:cubicBezTo>
                    <a:cubicBezTo>
                      <a:pt x="131" y="59"/>
                      <a:pt x="130" y="58"/>
                      <a:pt x="130" y="58"/>
                    </a:cubicBezTo>
                    <a:cubicBezTo>
                      <a:pt x="130" y="57"/>
                      <a:pt x="130" y="55"/>
                      <a:pt x="130" y="55"/>
                    </a:cubicBezTo>
                    <a:cubicBezTo>
                      <a:pt x="130" y="54"/>
                      <a:pt x="130" y="53"/>
                      <a:pt x="129" y="52"/>
                    </a:cubicBezTo>
                    <a:cubicBezTo>
                      <a:pt x="128" y="51"/>
                      <a:pt x="128" y="50"/>
                      <a:pt x="128" y="50"/>
                    </a:cubicBezTo>
                    <a:cubicBezTo>
                      <a:pt x="124" y="47"/>
                      <a:pt x="124" y="47"/>
                      <a:pt x="124" y="47"/>
                    </a:cubicBezTo>
                    <a:cubicBezTo>
                      <a:pt x="124" y="47"/>
                      <a:pt x="124" y="46"/>
                      <a:pt x="123" y="47"/>
                    </a:cubicBezTo>
                    <a:cubicBezTo>
                      <a:pt x="121" y="47"/>
                      <a:pt x="120" y="49"/>
                      <a:pt x="120" y="49"/>
                    </a:cubicBezTo>
                    <a:cubicBezTo>
                      <a:pt x="120" y="49"/>
                      <a:pt x="120" y="50"/>
                      <a:pt x="120" y="51"/>
                    </a:cubicBezTo>
                    <a:cubicBezTo>
                      <a:pt x="120" y="51"/>
                      <a:pt x="119" y="52"/>
                      <a:pt x="119" y="53"/>
                    </a:cubicBezTo>
                    <a:cubicBezTo>
                      <a:pt x="120" y="54"/>
                      <a:pt x="121" y="56"/>
                      <a:pt x="120" y="57"/>
                    </a:cubicBezTo>
                    <a:cubicBezTo>
                      <a:pt x="120" y="57"/>
                      <a:pt x="120" y="58"/>
                      <a:pt x="120" y="60"/>
                    </a:cubicBezTo>
                    <a:cubicBezTo>
                      <a:pt x="120" y="62"/>
                      <a:pt x="120" y="63"/>
                      <a:pt x="119" y="63"/>
                    </a:cubicBezTo>
                    <a:cubicBezTo>
                      <a:pt x="119" y="64"/>
                      <a:pt x="118" y="65"/>
                      <a:pt x="118" y="65"/>
                    </a:cubicBezTo>
                    <a:cubicBezTo>
                      <a:pt x="118" y="65"/>
                      <a:pt x="118" y="65"/>
                      <a:pt x="118" y="65"/>
                    </a:cubicBezTo>
                    <a:cubicBezTo>
                      <a:pt x="118" y="65"/>
                      <a:pt x="118" y="64"/>
                      <a:pt x="118" y="62"/>
                    </a:cubicBezTo>
                    <a:cubicBezTo>
                      <a:pt x="118" y="59"/>
                      <a:pt x="117" y="58"/>
                      <a:pt x="117" y="58"/>
                    </a:cubicBezTo>
                    <a:cubicBezTo>
                      <a:pt x="117" y="58"/>
                      <a:pt x="117" y="57"/>
                      <a:pt x="117" y="57"/>
                    </a:cubicBezTo>
                    <a:cubicBezTo>
                      <a:pt x="117" y="56"/>
                      <a:pt x="117" y="55"/>
                      <a:pt x="117" y="55"/>
                    </a:cubicBezTo>
                    <a:cubicBezTo>
                      <a:pt x="117" y="55"/>
                      <a:pt x="115" y="53"/>
                      <a:pt x="115" y="53"/>
                    </a:cubicBezTo>
                    <a:cubicBezTo>
                      <a:pt x="116" y="52"/>
                      <a:pt x="116" y="51"/>
                      <a:pt x="116" y="49"/>
                    </a:cubicBezTo>
                    <a:cubicBezTo>
                      <a:pt x="116" y="48"/>
                      <a:pt x="117" y="47"/>
                      <a:pt x="116" y="46"/>
                    </a:cubicBezTo>
                    <a:cubicBezTo>
                      <a:pt x="115" y="45"/>
                      <a:pt x="116" y="44"/>
                      <a:pt x="115" y="44"/>
                    </a:cubicBezTo>
                    <a:cubicBezTo>
                      <a:pt x="115" y="44"/>
                      <a:pt x="114" y="44"/>
                      <a:pt x="114" y="44"/>
                    </a:cubicBezTo>
                    <a:cubicBezTo>
                      <a:pt x="114" y="44"/>
                      <a:pt x="113" y="44"/>
                      <a:pt x="113" y="44"/>
                    </a:cubicBezTo>
                    <a:cubicBezTo>
                      <a:pt x="115" y="43"/>
                      <a:pt x="115" y="43"/>
                      <a:pt x="115" y="43"/>
                    </a:cubicBezTo>
                    <a:cubicBezTo>
                      <a:pt x="115" y="43"/>
                      <a:pt x="115" y="40"/>
                      <a:pt x="114" y="41"/>
                    </a:cubicBezTo>
                    <a:cubicBezTo>
                      <a:pt x="114" y="42"/>
                      <a:pt x="112" y="43"/>
                      <a:pt x="112" y="42"/>
                    </a:cubicBezTo>
                    <a:cubicBezTo>
                      <a:pt x="112" y="41"/>
                      <a:pt x="112" y="41"/>
                      <a:pt x="111" y="41"/>
                    </a:cubicBezTo>
                    <a:cubicBezTo>
                      <a:pt x="111" y="41"/>
                      <a:pt x="108" y="41"/>
                      <a:pt x="108" y="41"/>
                    </a:cubicBezTo>
                    <a:cubicBezTo>
                      <a:pt x="108" y="41"/>
                      <a:pt x="108" y="40"/>
                      <a:pt x="108" y="41"/>
                    </a:cubicBezTo>
                    <a:cubicBezTo>
                      <a:pt x="108" y="42"/>
                      <a:pt x="109" y="44"/>
                      <a:pt x="107" y="44"/>
                    </a:cubicBezTo>
                    <a:cubicBezTo>
                      <a:pt x="106" y="45"/>
                      <a:pt x="105" y="45"/>
                      <a:pt x="105" y="45"/>
                    </a:cubicBezTo>
                    <a:cubicBezTo>
                      <a:pt x="105" y="44"/>
                      <a:pt x="103" y="43"/>
                      <a:pt x="103" y="43"/>
                    </a:cubicBezTo>
                    <a:cubicBezTo>
                      <a:pt x="103" y="43"/>
                      <a:pt x="103" y="43"/>
                      <a:pt x="102" y="43"/>
                    </a:cubicBezTo>
                    <a:cubicBezTo>
                      <a:pt x="101" y="44"/>
                      <a:pt x="100" y="44"/>
                      <a:pt x="100" y="44"/>
                    </a:cubicBezTo>
                    <a:cubicBezTo>
                      <a:pt x="100" y="45"/>
                      <a:pt x="100" y="45"/>
                      <a:pt x="100" y="45"/>
                    </a:cubicBezTo>
                    <a:cubicBezTo>
                      <a:pt x="100" y="46"/>
                      <a:pt x="100" y="46"/>
                      <a:pt x="100" y="46"/>
                    </a:cubicBezTo>
                    <a:cubicBezTo>
                      <a:pt x="100" y="46"/>
                      <a:pt x="99" y="46"/>
                      <a:pt x="99" y="47"/>
                    </a:cubicBezTo>
                    <a:cubicBezTo>
                      <a:pt x="98" y="47"/>
                      <a:pt x="98" y="47"/>
                      <a:pt x="98" y="48"/>
                    </a:cubicBezTo>
                    <a:cubicBezTo>
                      <a:pt x="98" y="48"/>
                      <a:pt x="99" y="48"/>
                      <a:pt x="99" y="49"/>
                    </a:cubicBezTo>
                    <a:cubicBezTo>
                      <a:pt x="99" y="50"/>
                      <a:pt x="99" y="50"/>
                      <a:pt x="98" y="51"/>
                    </a:cubicBezTo>
                    <a:cubicBezTo>
                      <a:pt x="98" y="52"/>
                      <a:pt x="97" y="53"/>
                      <a:pt x="97" y="54"/>
                    </a:cubicBezTo>
                    <a:cubicBezTo>
                      <a:pt x="97" y="54"/>
                      <a:pt x="96" y="54"/>
                      <a:pt x="96" y="55"/>
                    </a:cubicBezTo>
                    <a:cubicBezTo>
                      <a:pt x="95" y="55"/>
                      <a:pt x="95" y="55"/>
                      <a:pt x="95" y="55"/>
                    </a:cubicBezTo>
                    <a:cubicBezTo>
                      <a:pt x="94" y="55"/>
                      <a:pt x="94" y="56"/>
                      <a:pt x="94" y="55"/>
                    </a:cubicBezTo>
                    <a:cubicBezTo>
                      <a:pt x="94" y="54"/>
                      <a:pt x="93" y="53"/>
                      <a:pt x="93" y="51"/>
                    </a:cubicBezTo>
                    <a:cubicBezTo>
                      <a:pt x="94" y="50"/>
                      <a:pt x="94" y="50"/>
                      <a:pt x="93" y="49"/>
                    </a:cubicBezTo>
                    <a:cubicBezTo>
                      <a:pt x="92" y="47"/>
                      <a:pt x="91" y="47"/>
                      <a:pt x="91" y="47"/>
                    </a:cubicBezTo>
                    <a:cubicBezTo>
                      <a:pt x="91" y="46"/>
                      <a:pt x="91" y="46"/>
                      <a:pt x="91" y="45"/>
                    </a:cubicBezTo>
                    <a:cubicBezTo>
                      <a:pt x="92" y="44"/>
                      <a:pt x="91" y="46"/>
                      <a:pt x="92" y="43"/>
                    </a:cubicBezTo>
                    <a:cubicBezTo>
                      <a:pt x="92" y="40"/>
                      <a:pt x="92" y="39"/>
                      <a:pt x="92" y="39"/>
                    </a:cubicBezTo>
                    <a:cubicBezTo>
                      <a:pt x="92" y="39"/>
                      <a:pt x="92" y="36"/>
                      <a:pt x="92" y="35"/>
                    </a:cubicBezTo>
                    <a:cubicBezTo>
                      <a:pt x="91" y="35"/>
                      <a:pt x="89" y="35"/>
                      <a:pt x="88" y="35"/>
                    </a:cubicBezTo>
                    <a:cubicBezTo>
                      <a:pt x="87" y="35"/>
                      <a:pt x="87" y="35"/>
                      <a:pt x="87" y="35"/>
                    </a:cubicBezTo>
                    <a:cubicBezTo>
                      <a:pt x="86" y="36"/>
                      <a:pt x="86" y="35"/>
                      <a:pt x="85" y="37"/>
                    </a:cubicBezTo>
                    <a:cubicBezTo>
                      <a:pt x="85" y="38"/>
                      <a:pt x="84" y="38"/>
                      <a:pt x="84" y="40"/>
                    </a:cubicBezTo>
                    <a:cubicBezTo>
                      <a:pt x="84" y="41"/>
                      <a:pt x="84" y="42"/>
                      <a:pt x="84" y="43"/>
                    </a:cubicBezTo>
                    <a:cubicBezTo>
                      <a:pt x="84" y="43"/>
                      <a:pt x="83" y="44"/>
                      <a:pt x="83" y="44"/>
                    </a:cubicBezTo>
                    <a:cubicBezTo>
                      <a:pt x="83" y="44"/>
                      <a:pt x="83" y="44"/>
                      <a:pt x="83" y="46"/>
                    </a:cubicBezTo>
                    <a:cubicBezTo>
                      <a:pt x="83" y="48"/>
                      <a:pt x="82" y="49"/>
                      <a:pt x="82" y="49"/>
                    </a:cubicBezTo>
                    <a:cubicBezTo>
                      <a:pt x="82" y="50"/>
                      <a:pt x="82" y="50"/>
                      <a:pt x="81" y="51"/>
                    </a:cubicBezTo>
                    <a:cubicBezTo>
                      <a:pt x="81" y="52"/>
                      <a:pt x="79" y="53"/>
                      <a:pt x="79" y="54"/>
                    </a:cubicBezTo>
                    <a:cubicBezTo>
                      <a:pt x="78" y="54"/>
                      <a:pt x="78" y="54"/>
                      <a:pt x="78" y="54"/>
                    </a:cubicBezTo>
                    <a:cubicBezTo>
                      <a:pt x="78" y="55"/>
                      <a:pt x="76" y="57"/>
                      <a:pt x="75" y="57"/>
                    </a:cubicBezTo>
                    <a:cubicBezTo>
                      <a:pt x="75" y="57"/>
                      <a:pt x="75" y="58"/>
                      <a:pt x="74" y="57"/>
                    </a:cubicBezTo>
                    <a:cubicBezTo>
                      <a:pt x="74" y="57"/>
                      <a:pt x="73" y="57"/>
                      <a:pt x="73" y="56"/>
                    </a:cubicBezTo>
                    <a:cubicBezTo>
                      <a:pt x="74" y="55"/>
                      <a:pt x="74" y="54"/>
                      <a:pt x="74" y="53"/>
                    </a:cubicBezTo>
                    <a:cubicBezTo>
                      <a:pt x="75" y="52"/>
                      <a:pt x="75" y="51"/>
                      <a:pt x="75" y="51"/>
                    </a:cubicBezTo>
                    <a:cubicBezTo>
                      <a:pt x="75" y="51"/>
                      <a:pt x="76" y="50"/>
                      <a:pt x="75" y="49"/>
                    </a:cubicBezTo>
                    <a:cubicBezTo>
                      <a:pt x="74" y="49"/>
                      <a:pt x="73" y="49"/>
                      <a:pt x="72" y="50"/>
                    </a:cubicBezTo>
                    <a:cubicBezTo>
                      <a:pt x="71" y="50"/>
                      <a:pt x="69" y="51"/>
                      <a:pt x="69" y="51"/>
                    </a:cubicBezTo>
                    <a:cubicBezTo>
                      <a:pt x="68" y="52"/>
                      <a:pt x="68" y="52"/>
                      <a:pt x="66" y="53"/>
                    </a:cubicBezTo>
                    <a:cubicBezTo>
                      <a:pt x="65" y="55"/>
                      <a:pt x="65" y="55"/>
                      <a:pt x="65" y="55"/>
                    </a:cubicBezTo>
                    <a:cubicBezTo>
                      <a:pt x="64" y="56"/>
                      <a:pt x="64" y="56"/>
                      <a:pt x="64" y="56"/>
                    </a:cubicBezTo>
                    <a:cubicBezTo>
                      <a:pt x="64" y="57"/>
                      <a:pt x="64" y="57"/>
                      <a:pt x="64" y="57"/>
                    </a:cubicBezTo>
                    <a:cubicBezTo>
                      <a:pt x="64" y="57"/>
                      <a:pt x="64" y="56"/>
                      <a:pt x="64" y="56"/>
                    </a:cubicBezTo>
                    <a:cubicBezTo>
                      <a:pt x="64" y="56"/>
                      <a:pt x="63" y="55"/>
                      <a:pt x="63" y="56"/>
                    </a:cubicBezTo>
                    <a:cubicBezTo>
                      <a:pt x="63" y="56"/>
                      <a:pt x="62" y="57"/>
                      <a:pt x="62" y="57"/>
                    </a:cubicBezTo>
                    <a:cubicBezTo>
                      <a:pt x="62" y="58"/>
                      <a:pt x="62" y="58"/>
                      <a:pt x="61" y="59"/>
                    </a:cubicBezTo>
                    <a:cubicBezTo>
                      <a:pt x="61" y="60"/>
                      <a:pt x="60" y="61"/>
                      <a:pt x="60" y="62"/>
                    </a:cubicBezTo>
                    <a:cubicBezTo>
                      <a:pt x="60" y="62"/>
                      <a:pt x="60" y="62"/>
                      <a:pt x="60" y="63"/>
                    </a:cubicBezTo>
                    <a:cubicBezTo>
                      <a:pt x="59" y="63"/>
                      <a:pt x="58" y="64"/>
                      <a:pt x="58" y="64"/>
                    </a:cubicBezTo>
                    <a:cubicBezTo>
                      <a:pt x="58" y="64"/>
                      <a:pt x="57" y="62"/>
                      <a:pt x="58" y="61"/>
                    </a:cubicBezTo>
                    <a:cubicBezTo>
                      <a:pt x="58" y="60"/>
                      <a:pt x="58" y="60"/>
                      <a:pt x="58" y="59"/>
                    </a:cubicBezTo>
                    <a:cubicBezTo>
                      <a:pt x="59" y="59"/>
                      <a:pt x="59" y="58"/>
                      <a:pt x="59" y="58"/>
                    </a:cubicBezTo>
                    <a:cubicBezTo>
                      <a:pt x="60" y="58"/>
                      <a:pt x="59" y="59"/>
                      <a:pt x="60" y="57"/>
                    </a:cubicBezTo>
                    <a:cubicBezTo>
                      <a:pt x="61" y="55"/>
                      <a:pt x="61" y="54"/>
                      <a:pt x="61" y="54"/>
                    </a:cubicBezTo>
                    <a:cubicBezTo>
                      <a:pt x="61" y="54"/>
                      <a:pt x="61" y="54"/>
                      <a:pt x="60" y="53"/>
                    </a:cubicBezTo>
                    <a:cubicBezTo>
                      <a:pt x="60" y="53"/>
                      <a:pt x="60" y="53"/>
                      <a:pt x="60" y="53"/>
                    </a:cubicBezTo>
                    <a:cubicBezTo>
                      <a:pt x="61" y="52"/>
                      <a:pt x="61" y="51"/>
                      <a:pt x="61" y="51"/>
                    </a:cubicBezTo>
                    <a:cubicBezTo>
                      <a:pt x="61" y="50"/>
                      <a:pt x="62" y="50"/>
                      <a:pt x="62" y="50"/>
                    </a:cubicBezTo>
                    <a:cubicBezTo>
                      <a:pt x="62" y="50"/>
                      <a:pt x="62" y="50"/>
                      <a:pt x="61" y="49"/>
                    </a:cubicBezTo>
                    <a:cubicBezTo>
                      <a:pt x="61" y="49"/>
                      <a:pt x="61" y="48"/>
                      <a:pt x="61" y="48"/>
                    </a:cubicBezTo>
                    <a:cubicBezTo>
                      <a:pt x="61" y="48"/>
                      <a:pt x="61" y="47"/>
                      <a:pt x="61" y="47"/>
                    </a:cubicBezTo>
                    <a:cubicBezTo>
                      <a:pt x="61" y="47"/>
                      <a:pt x="61" y="46"/>
                      <a:pt x="61" y="46"/>
                    </a:cubicBezTo>
                    <a:cubicBezTo>
                      <a:pt x="61" y="45"/>
                      <a:pt x="61" y="45"/>
                      <a:pt x="60" y="44"/>
                    </a:cubicBezTo>
                    <a:cubicBezTo>
                      <a:pt x="59" y="44"/>
                      <a:pt x="59" y="44"/>
                      <a:pt x="59" y="44"/>
                    </a:cubicBezTo>
                    <a:cubicBezTo>
                      <a:pt x="59" y="44"/>
                      <a:pt x="58" y="43"/>
                      <a:pt x="58" y="43"/>
                    </a:cubicBezTo>
                    <a:cubicBezTo>
                      <a:pt x="58" y="42"/>
                      <a:pt x="58" y="41"/>
                      <a:pt x="58" y="41"/>
                    </a:cubicBezTo>
                    <a:cubicBezTo>
                      <a:pt x="58" y="41"/>
                      <a:pt x="58" y="40"/>
                      <a:pt x="59" y="40"/>
                    </a:cubicBezTo>
                    <a:cubicBezTo>
                      <a:pt x="59" y="41"/>
                      <a:pt x="59" y="42"/>
                      <a:pt x="59" y="42"/>
                    </a:cubicBezTo>
                    <a:cubicBezTo>
                      <a:pt x="59" y="42"/>
                      <a:pt x="61" y="43"/>
                      <a:pt x="61" y="43"/>
                    </a:cubicBezTo>
                    <a:cubicBezTo>
                      <a:pt x="61" y="43"/>
                      <a:pt x="63" y="43"/>
                      <a:pt x="63" y="42"/>
                    </a:cubicBezTo>
                    <a:cubicBezTo>
                      <a:pt x="64" y="42"/>
                      <a:pt x="64" y="41"/>
                      <a:pt x="64" y="41"/>
                    </a:cubicBezTo>
                    <a:cubicBezTo>
                      <a:pt x="64" y="41"/>
                      <a:pt x="63" y="41"/>
                      <a:pt x="64" y="40"/>
                    </a:cubicBezTo>
                    <a:cubicBezTo>
                      <a:pt x="64" y="40"/>
                      <a:pt x="66" y="39"/>
                      <a:pt x="66" y="39"/>
                    </a:cubicBezTo>
                    <a:cubicBezTo>
                      <a:pt x="67" y="39"/>
                      <a:pt x="67" y="38"/>
                      <a:pt x="67" y="38"/>
                    </a:cubicBezTo>
                    <a:cubicBezTo>
                      <a:pt x="67" y="38"/>
                      <a:pt x="68" y="38"/>
                      <a:pt x="68" y="37"/>
                    </a:cubicBezTo>
                    <a:cubicBezTo>
                      <a:pt x="68" y="37"/>
                      <a:pt x="68" y="37"/>
                      <a:pt x="68" y="36"/>
                    </a:cubicBezTo>
                    <a:cubicBezTo>
                      <a:pt x="68" y="36"/>
                      <a:pt x="68" y="35"/>
                      <a:pt x="68" y="35"/>
                    </a:cubicBezTo>
                    <a:cubicBezTo>
                      <a:pt x="68" y="34"/>
                      <a:pt x="70" y="35"/>
                      <a:pt x="68" y="34"/>
                    </a:cubicBezTo>
                    <a:cubicBezTo>
                      <a:pt x="66" y="33"/>
                      <a:pt x="65" y="32"/>
                      <a:pt x="65" y="32"/>
                    </a:cubicBezTo>
                    <a:cubicBezTo>
                      <a:pt x="66" y="32"/>
                      <a:pt x="67" y="32"/>
                      <a:pt x="67" y="32"/>
                    </a:cubicBezTo>
                    <a:cubicBezTo>
                      <a:pt x="68" y="32"/>
                      <a:pt x="68" y="32"/>
                      <a:pt x="69" y="32"/>
                    </a:cubicBezTo>
                    <a:cubicBezTo>
                      <a:pt x="69" y="32"/>
                      <a:pt x="70" y="32"/>
                      <a:pt x="69" y="31"/>
                    </a:cubicBezTo>
                    <a:cubicBezTo>
                      <a:pt x="69" y="31"/>
                      <a:pt x="69" y="31"/>
                      <a:pt x="68" y="30"/>
                    </a:cubicBezTo>
                    <a:cubicBezTo>
                      <a:pt x="68" y="30"/>
                      <a:pt x="68" y="30"/>
                      <a:pt x="67" y="30"/>
                    </a:cubicBezTo>
                    <a:cubicBezTo>
                      <a:pt x="67" y="30"/>
                      <a:pt x="67" y="30"/>
                      <a:pt x="67" y="29"/>
                    </a:cubicBezTo>
                    <a:cubicBezTo>
                      <a:pt x="67" y="27"/>
                      <a:pt x="67" y="27"/>
                      <a:pt x="67" y="27"/>
                    </a:cubicBezTo>
                    <a:cubicBezTo>
                      <a:pt x="67" y="27"/>
                      <a:pt x="69" y="26"/>
                      <a:pt x="67" y="26"/>
                    </a:cubicBezTo>
                    <a:cubicBezTo>
                      <a:pt x="66" y="26"/>
                      <a:pt x="66" y="26"/>
                      <a:pt x="66" y="26"/>
                    </a:cubicBezTo>
                    <a:cubicBezTo>
                      <a:pt x="66" y="26"/>
                      <a:pt x="66" y="25"/>
                      <a:pt x="65" y="25"/>
                    </a:cubicBezTo>
                    <a:cubicBezTo>
                      <a:pt x="64" y="25"/>
                      <a:pt x="64" y="24"/>
                      <a:pt x="65" y="24"/>
                    </a:cubicBezTo>
                    <a:cubicBezTo>
                      <a:pt x="65" y="23"/>
                      <a:pt x="66" y="20"/>
                      <a:pt x="66" y="20"/>
                    </a:cubicBezTo>
                    <a:cubicBezTo>
                      <a:pt x="64" y="19"/>
                      <a:pt x="64" y="19"/>
                      <a:pt x="64" y="19"/>
                    </a:cubicBezTo>
                    <a:cubicBezTo>
                      <a:pt x="64" y="19"/>
                      <a:pt x="64" y="17"/>
                      <a:pt x="64" y="17"/>
                    </a:cubicBezTo>
                    <a:cubicBezTo>
                      <a:pt x="64" y="17"/>
                      <a:pt x="64" y="16"/>
                      <a:pt x="63" y="16"/>
                    </a:cubicBezTo>
                    <a:cubicBezTo>
                      <a:pt x="63" y="16"/>
                      <a:pt x="62" y="15"/>
                      <a:pt x="62" y="15"/>
                    </a:cubicBezTo>
                    <a:cubicBezTo>
                      <a:pt x="62" y="15"/>
                      <a:pt x="62" y="15"/>
                      <a:pt x="62" y="14"/>
                    </a:cubicBezTo>
                    <a:cubicBezTo>
                      <a:pt x="62" y="14"/>
                      <a:pt x="61" y="12"/>
                      <a:pt x="61" y="12"/>
                    </a:cubicBezTo>
                    <a:cubicBezTo>
                      <a:pt x="61" y="12"/>
                      <a:pt x="62" y="11"/>
                      <a:pt x="62" y="11"/>
                    </a:cubicBezTo>
                    <a:cubicBezTo>
                      <a:pt x="60" y="7"/>
                      <a:pt x="60" y="7"/>
                      <a:pt x="60" y="7"/>
                    </a:cubicBezTo>
                    <a:cubicBezTo>
                      <a:pt x="60" y="6"/>
                      <a:pt x="60" y="6"/>
                      <a:pt x="60" y="6"/>
                    </a:cubicBezTo>
                    <a:cubicBezTo>
                      <a:pt x="59" y="5"/>
                      <a:pt x="59" y="5"/>
                      <a:pt x="59" y="5"/>
                    </a:cubicBezTo>
                    <a:cubicBezTo>
                      <a:pt x="59" y="5"/>
                      <a:pt x="59" y="5"/>
                      <a:pt x="59" y="5"/>
                    </a:cubicBezTo>
                    <a:cubicBezTo>
                      <a:pt x="58" y="3"/>
                      <a:pt x="58" y="3"/>
                      <a:pt x="58" y="3"/>
                    </a:cubicBezTo>
                    <a:cubicBezTo>
                      <a:pt x="58" y="3"/>
                      <a:pt x="58" y="3"/>
                      <a:pt x="57" y="4"/>
                    </a:cubicBezTo>
                    <a:cubicBezTo>
                      <a:pt x="57" y="4"/>
                      <a:pt x="57" y="4"/>
                      <a:pt x="57" y="4"/>
                    </a:cubicBezTo>
                    <a:cubicBezTo>
                      <a:pt x="56" y="4"/>
                      <a:pt x="55" y="4"/>
                      <a:pt x="55" y="4"/>
                    </a:cubicBezTo>
                    <a:cubicBezTo>
                      <a:pt x="55" y="4"/>
                      <a:pt x="55" y="3"/>
                      <a:pt x="55" y="3"/>
                    </a:cubicBezTo>
                    <a:cubicBezTo>
                      <a:pt x="54" y="2"/>
                      <a:pt x="52" y="0"/>
                      <a:pt x="52" y="0"/>
                    </a:cubicBezTo>
                    <a:cubicBezTo>
                      <a:pt x="52" y="0"/>
                      <a:pt x="52" y="1"/>
                      <a:pt x="52" y="1"/>
                    </a:cubicBezTo>
                    <a:cubicBezTo>
                      <a:pt x="52" y="2"/>
                      <a:pt x="51" y="2"/>
                      <a:pt x="51" y="2"/>
                    </a:cubicBezTo>
                    <a:cubicBezTo>
                      <a:pt x="50" y="1"/>
                      <a:pt x="49" y="1"/>
                      <a:pt x="49" y="1"/>
                    </a:cubicBezTo>
                    <a:cubicBezTo>
                      <a:pt x="49" y="1"/>
                      <a:pt x="48" y="1"/>
                      <a:pt x="49" y="2"/>
                    </a:cubicBezTo>
                    <a:cubicBezTo>
                      <a:pt x="49" y="2"/>
                      <a:pt x="49" y="3"/>
                      <a:pt x="49" y="3"/>
                    </a:cubicBezTo>
                    <a:cubicBezTo>
                      <a:pt x="49" y="3"/>
                      <a:pt x="48" y="3"/>
                      <a:pt x="48" y="3"/>
                    </a:cubicBezTo>
                    <a:cubicBezTo>
                      <a:pt x="48" y="3"/>
                      <a:pt x="48" y="3"/>
                      <a:pt x="47" y="3"/>
                    </a:cubicBezTo>
                    <a:cubicBezTo>
                      <a:pt x="47" y="3"/>
                      <a:pt x="47" y="2"/>
                      <a:pt x="46" y="3"/>
                    </a:cubicBezTo>
                    <a:cubicBezTo>
                      <a:pt x="46" y="3"/>
                      <a:pt x="45" y="3"/>
                      <a:pt x="46" y="4"/>
                    </a:cubicBezTo>
                    <a:cubicBezTo>
                      <a:pt x="46" y="5"/>
                      <a:pt x="45" y="5"/>
                      <a:pt x="46" y="6"/>
                    </a:cubicBezTo>
                    <a:cubicBezTo>
                      <a:pt x="47" y="7"/>
                      <a:pt x="47" y="7"/>
                      <a:pt x="48" y="7"/>
                    </a:cubicBezTo>
                    <a:cubicBezTo>
                      <a:pt x="48" y="7"/>
                      <a:pt x="49" y="7"/>
                      <a:pt x="49" y="7"/>
                    </a:cubicBezTo>
                    <a:cubicBezTo>
                      <a:pt x="50" y="7"/>
                      <a:pt x="50" y="7"/>
                      <a:pt x="51" y="7"/>
                    </a:cubicBezTo>
                    <a:cubicBezTo>
                      <a:pt x="51" y="7"/>
                      <a:pt x="52" y="6"/>
                      <a:pt x="52" y="6"/>
                    </a:cubicBezTo>
                    <a:cubicBezTo>
                      <a:pt x="52" y="6"/>
                      <a:pt x="52" y="7"/>
                      <a:pt x="52" y="7"/>
                    </a:cubicBezTo>
                    <a:cubicBezTo>
                      <a:pt x="52" y="7"/>
                      <a:pt x="51" y="7"/>
                      <a:pt x="51" y="8"/>
                    </a:cubicBezTo>
                    <a:cubicBezTo>
                      <a:pt x="52" y="8"/>
                      <a:pt x="52" y="8"/>
                      <a:pt x="52" y="8"/>
                    </a:cubicBezTo>
                    <a:cubicBezTo>
                      <a:pt x="53" y="8"/>
                      <a:pt x="53" y="8"/>
                      <a:pt x="53" y="8"/>
                    </a:cubicBezTo>
                    <a:cubicBezTo>
                      <a:pt x="53" y="8"/>
                      <a:pt x="53" y="9"/>
                      <a:pt x="53" y="9"/>
                    </a:cubicBezTo>
                    <a:cubicBezTo>
                      <a:pt x="53" y="9"/>
                      <a:pt x="52" y="9"/>
                      <a:pt x="53" y="10"/>
                    </a:cubicBezTo>
                    <a:cubicBezTo>
                      <a:pt x="53" y="10"/>
                      <a:pt x="53" y="10"/>
                      <a:pt x="53" y="10"/>
                    </a:cubicBezTo>
                    <a:cubicBezTo>
                      <a:pt x="54" y="11"/>
                      <a:pt x="54" y="11"/>
                      <a:pt x="54" y="11"/>
                    </a:cubicBezTo>
                    <a:cubicBezTo>
                      <a:pt x="54" y="11"/>
                      <a:pt x="56" y="12"/>
                      <a:pt x="55" y="12"/>
                    </a:cubicBezTo>
                    <a:cubicBezTo>
                      <a:pt x="55" y="12"/>
                      <a:pt x="54" y="11"/>
                      <a:pt x="55" y="12"/>
                    </a:cubicBezTo>
                    <a:cubicBezTo>
                      <a:pt x="56" y="12"/>
                      <a:pt x="56" y="13"/>
                      <a:pt x="56" y="13"/>
                    </a:cubicBezTo>
                    <a:cubicBezTo>
                      <a:pt x="56" y="13"/>
                      <a:pt x="56" y="13"/>
                      <a:pt x="55" y="13"/>
                    </a:cubicBezTo>
                    <a:cubicBezTo>
                      <a:pt x="54" y="12"/>
                      <a:pt x="53" y="12"/>
                      <a:pt x="53" y="12"/>
                    </a:cubicBezTo>
                    <a:cubicBezTo>
                      <a:pt x="53" y="12"/>
                      <a:pt x="53" y="12"/>
                      <a:pt x="52" y="12"/>
                    </a:cubicBezTo>
                    <a:cubicBezTo>
                      <a:pt x="52" y="11"/>
                      <a:pt x="52" y="11"/>
                      <a:pt x="52" y="10"/>
                    </a:cubicBezTo>
                    <a:cubicBezTo>
                      <a:pt x="52" y="10"/>
                      <a:pt x="51" y="10"/>
                      <a:pt x="50" y="9"/>
                    </a:cubicBezTo>
                    <a:cubicBezTo>
                      <a:pt x="49" y="9"/>
                      <a:pt x="48" y="10"/>
                      <a:pt x="48" y="10"/>
                    </a:cubicBezTo>
                    <a:cubicBezTo>
                      <a:pt x="48" y="10"/>
                      <a:pt x="47" y="10"/>
                      <a:pt x="47" y="10"/>
                    </a:cubicBezTo>
                    <a:cubicBezTo>
                      <a:pt x="46" y="10"/>
                      <a:pt x="46" y="11"/>
                      <a:pt x="47" y="12"/>
                    </a:cubicBezTo>
                    <a:cubicBezTo>
                      <a:pt x="47" y="12"/>
                      <a:pt x="49" y="16"/>
                      <a:pt x="49" y="16"/>
                    </a:cubicBezTo>
                    <a:cubicBezTo>
                      <a:pt x="49" y="16"/>
                      <a:pt x="50" y="17"/>
                      <a:pt x="50" y="17"/>
                    </a:cubicBezTo>
                    <a:cubicBezTo>
                      <a:pt x="50" y="18"/>
                      <a:pt x="51" y="19"/>
                      <a:pt x="51" y="19"/>
                    </a:cubicBezTo>
                    <a:cubicBezTo>
                      <a:pt x="51" y="19"/>
                      <a:pt x="51" y="19"/>
                      <a:pt x="52" y="20"/>
                    </a:cubicBezTo>
                    <a:cubicBezTo>
                      <a:pt x="52" y="20"/>
                      <a:pt x="52" y="20"/>
                      <a:pt x="52" y="20"/>
                    </a:cubicBezTo>
                    <a:cubicBezTo>
                      <a:pt x="51" y="20"/>
                      <a:pt x="51" y="22"/>
                      <a:pt x="51" y="22"/>
                    </a:cubicBezTo>
                    <a:cubicBezTo>
                      <a:pt x="51" y="22"/>
                      <a:pt x="51" y="21"/>
                      <a:pt x="51" y="23"/>
                    </a:cubicBezTo>
                    <a:cubicBezTo>
                      <a:pt x="51" y="24"/>
                      <a:pt x="51" y="26"/>
                      <a:pt x="51" y="26"/>
                    </a:cubicBezTo>
                    <a:cubicBezTo>
                      <a:pt x="51" y="27"/>
                      <a:pt x="51" y="27"/>
                      <a:pt x="51" y="27"/>
                    </a:cubicBezTo>
                    <a:cubicBezTo>
                      <a:pt x="49" y="28"/>
                      <a:pt x="49" y="28"/>
                      <a:pt x="49" y="28"/>
                    </a:cubicBezTo>
                    <a:cubicBezTo>
                      <a:pt x="49" y="28"/>
                      <a:pt x="49" y="28"/>
                      <a:pt x="49" y="28"/>
                    </a:cubicBezTo>
                    <a:cubicBezTo>
                      <a:pt x="49" y="28"/>
                      <a:pt x="49" y="27"/>
                      <a:pt x="49" y="27"/>
                    </a:cubicBezTo>
                    <a:cubicBezTo>
                      <a:pt x="49" y="26"/>
                      <a:pt x="49" y="26"/>
                      <a:pt x="49" y="26"/>
                    </a:cubicBezTo>
                    <a:cubicBezTo>
                      <a:pt x="50" y="25"/>
                      <a:pt x="50" y="25"/>
                      <a:pt x="50" y="25"/>
                    </a:cubicBezTo>
                    <a:cubicBezTo>
                      <a:pt x="50" y="25"/>
                      <a:pt x="49" y="24"/>
                      <a:pt x="49" y="24"/>
                    </a:cubicBezTo>
                    <a:cubicBezTo>
                      <a:pt x="49" y="24"/>
                      <a:pt x="48" y="24"/>
                      <a:pt x="48" y="24"/>
                    </a:cubicBezTo>
                    <a:cubicBezTo>
                      <a:pt x="48" y="24"/>
                      <a:pt x="47" y="26"/>
                      <a:pt x="47" y="26"/>
                    </a:cubicBezTo>
                    <a:cubicBezTo>
                      <a:pt x="47" y="26"/>
                      <a:pt x="46" y="25"/>
                      <a:pt x="47" y="25"/>
                    </a:cubicBezTo>
                    <a:cubicBezTo>
                      <a:pt x="47" y="24"/>
                      <a:pt x="47" y="23"/>
                      <a:pt x="48" y="23"/>
                    </a:cubicBezTo>
                    <a:cubicBezTo>
                      <a:pt x="48" y="23"/>
                      <a:pt x="48" y="23"/>
                      <a:pt x="48" y="23"/>
                    </a:cubicBezTo>
                    <a:cubicBezTo>
                      <a:pt x="48" y="23"/>
                      <a:pt x="48" y="22"/>
                      <a:pt x="48" y="22"/>
                    </a:cubicBezTo>
                    <a:cubicBezTo>
                      <a:pt x="48" y="21"/>
                      <a:pt x="48" y="21"/>
                      <a:pt x="48" y="20"/>
                    </a:cubicBezTo>
                    <a:cubicBezTo>
                      <a:pt x="48" y="20"/>
                      <a:pt x="48" y="19"/>
                      <a:pt x="48" y="19"/>
                    </a:cubicBezTo>
                    <a:cubicBezTo>
                      <a:pt x="47" y="19"/>
                      <a:pt x="47" y="19"/>
                      <a:pt x="46" y="19"/>
                    </a:cubicBezTo>
                    <a:cubicBezTo>
                      <a:pt x="46" y="20"/>
                      <a:pt x="46" y="20"/>
                      <a:pt x="46" y="20"/>
                    </a:cubicBezTo>
                    <a:cubicBezTo>
                      <a:pt x="46" y="21"/>
                      <a:pt x="46" y="21"/>
                      <a:pt x="45" y="22"/>
                    </a:cubicBezTo>
                    <a:cubicBezTo>
                      <a:pt x="44" y="22"/>
                      <a:pt x="44" y="22"/>
                      <a:pt x="44" y="22"/>
                    </a:cubicBezTo>
                    <a:cubicBezTo>
                      <a:pt x="44" y="22"/>
                      <a:pt x="45" y="21"/>
                      <a:pt x="45" y="21"/>
                    </a:cubicBezTo>
                    <a:cubicBezTo>
                      <a:pt x="45" y="21"/>
                      <a:pt x="45" y="20"/>
                      <a:pt x="45" y="20"/>
                    </a:cubicBezTo>
                    <a:cubicBezTo>
                      <a:pt x="45" y="20"/>
                      <a:pt x="45" y="20"/>
                      <a:pt x="45" y="19"/>
                    </a:cubicBezTo>
                    <a:cubicBezTo>
                      <a:pt x="45" y="19"/>
                      <a:pt x="45" y="19"/>
                      <a:pt x="45" y="19"/>
                    </a:cubicBezTo>
                    <a:cubicBezTo>
                      <a:pt x="45" y="19"/>
                      <a:pt x="45" y="18"/>
                      <a:pt x="45" y="18"/>
                    </a:cubicBezTo>
                    <a:cubicBezTo>
                      <a:pt x="44" y="18"/>
                      <a:pt x="44" y="18"/>
                      <a:pt x="44" y="18"/>
                    </a:cubicBezTo>
                    <a:cubicBezTo>
                      <a:pt x="44" y="18"/>
                      <a:pt x="43" y="18"/>
                      <a:pt x="43" y="18"/>
                    </a:cubicBezTo>
                    <a:cubicBezTo>
                      <a:pt x="43" y="18"/>
                      <a:pt x="44" y="17"/>
                      <a:pt x="44" y="17"/>
                    </a:cubicBezTo>
                    <a:cubicBezTo>
                      <a:pt x="44" y="17"/>
                      <a:pt x="45" y="16"/>
                      <a:pt x="44" y="16"/>
                    </a:cubicBezTo>
                    <a:cubicBezTo>
                      <a:pt x="44" y="16"/>
                      <a:pt x="43" y="15"/>
                      <a:pt x="43" y="15"/>
                    </a:cubicBezTo>
                    <a:cubicBezTo>
                      <a:pt x="43" y="15"/>
                      <a:pt x="43" y="14"/>
                      <a:pt x="43" y="14"/>
                    </a:cubicBezTo>
                    <a:cubicBezTo>
                      <a:pt x="43" y="13"/>
                      <a:pt x="43" y="15"/>
                      <a:pt x="43" y="13"/>
                    </a:cubicBezTo>
                    <a:cubicBezTo>
                      <a:pt x="42" y="11"/>
                      <a:pt x="42" y="10"/>
                      <a:pt x="42" y="10"/>
                    </a:cubicBezTo>
                    <a:cubicBezTo>
                      <a:pt x="41" y="9"/>
                      <a:pt x="41" y="9"/>
                      <a:pt x="41" y="9"/>
                    </a:cubicBezTo>
                    <a:cubicBezTo>
                      <a:pt x="41" y="9"/>
                      <a:pt x="41" y="9"/>
                      <a:pt x="41" y="8"/>
                    </a:cubicBezTo>
                    <a:cubicBezTo>
                      <a:pt x="41" y="8"/>
                      <a:pt x="39" y="7"/>
                      <a:pt x="39" y="7"/>
                    </a:cubicBezTo>
                    <a:cubicBezTo>
                      <a:pt x="39" y="6"/>
                      <a:pt x="39" y="6"/>
                      <a:pt x="39" y="6"/>
                    </a:cubicBezTo>
                    <a:cubicBezTo>
                      <a:pt x="39" y="6"/>
                      <a:pt x="39" y="6"/>
                      <a:pt x="39" y="6"/>
                    </a:cubicBezTo>
                    <a:cubicBezTo>
                      <a:pt x="38" y="6"/>
                      <a:pt x="37" y="5"/>
                      <a:pt x="37" y="5"/>
                    </a:cubicBezTo>
                    <a:cubicBezTo>
                      <a:pt x="37" y="6"/>
                      <a:pt x="37" y="7"/>
                      <a:pt x="37" y="7"/>
                    </a:cubicBezTo>
                    <a:cubicBezTo>
                      <a:pt x="37" y="7"/>
                      <a:pt x="35" y="7"/>
                      <a:pt x="35" y="7"/>
                    </a:cubicBezTo>
                    <a:cubicBezTo>
                      <a:pt x="35" y="7"/>
                      <a:pt x="35" y="8"/>
                      <a:pt x="35" y="8"/>
                    </a:cubicBezTo>
                    <a:cubicBezTo>
                      <a:pt x="34" y="8"/>
                      <a:pt x="34" y="8"/>
                      <a:pt x="34" y="8"/>
                    </a:cubicBezTo>
                    <a:cubicBezTo>
                      <a:pt x="34" y="8"/>
                      <a:pt x="33" y="8"/>
                      <a:pt x="34" y="9"/>
                    </a:cubicBezTo>
                    <a:cubicBezTo>
                      <a:pt x="34" y="10"/>
                      <a:pt x="34" y="11"/>
                      <a:pt x="34" y="11"/>
                    </a:cubicBezTo>
                    <a:cubicBezTo>
                      <a:pt x="34" y="11"/>
                      <a:pt x="35" y="12"/>
                      <a:pt x="35" y="12"/>
                    </a:cubicBezTo>
                    <a:cubicBezTo>
                      <a:pt x="35" y="12"/>
                      <a:pt x="34" y="12"/>
                      <a:pt x="34" y="12"/>
                    </a:cubicBezTo>
                    <a:cubicBezTo>
                      <a:pt x="34" y="12"/>
                      <a:pt x="33" y="11"/>
                      <a:pt x="32" y="10"/>
                    </a:cubicBezTo>
                    <a:cubicBezTo>
                      <a:pt x="32" y="10"/>
                      <a:pt x="31" y="9"/>
                      <a:pt x="31" y="9"/>
                    </a:cubicBezTo>
                    <a:cubicBezTo>
                      <a:pt x="31" y="9"/>
                      <a:pt x="30" y="9"/>
                      <a:pt x="29" y="10"/>
                    </a:cubicBezTo>
                    <a:cubicBezTo>
                      <a:pt x="29" y="11"/>
                      <a:pt x="29" y="11"/>
                      <a:pt x="29" y="12"/>
                    </a:cubicBezTo>
                    <a:cubicBezTo>
                      <a:pt x="29" y="13"/>
                      <a:pt x="30" y="15"/>
                      <a:pt x="30" y="15"/>
                    </a:cubicBezTo>
                    <a:cubicBezTo>
                      <a:pt x="30" y="15"/>
                      <a:pt x="30" y="16"/>
                      <a:pt x="31" y="17"/>
                    </a:cubicBezTo>
                    <a:cubicBezTo>
                      <a:pt x="31" y="17"/>
                      <a:pt x="31" y="19"/>
                      <a:pt x="32" y="19"/>
                    </a:cubicBezTo>
                    <a:cubicBezTo>
                      <a:pt x="32" y="20"/>
                      <a:pt x="33" y="21"/>
                      <a:pt x="33" y="21"/>
                    </a:cubicBezTo>
                    <a:cubicBezTo>
                      <a:pt x="33" y="21"/>
                      <a:pt x="29" y="19"/>
                      <a:pt x="29" y="18"/>
                    </a:cubicBezTo>
                    <a:cubicBezTo>
                      <a:pt x="29" y="18"/>
                      <a:pt x="28" y="16"/>
                      <a:pt x="28" y="16"/>
                    </a:cubicBezTo>
                    <a:cubicBezTo>
                      <a:pt x="27" y="16"/>
                      <a:pt x="28" y="15"/>
                      <a:pt x="27" y="16"/>
                    </a:cubicBezTo>
                    <a:cubicBezTo>
                      <a:pt x="26" y="16"/>
                      <a:pt x="26" y="16"/>
                      <a:pt x="26" y="16"/>
                    </a:cubicBezTo>
                    <a:cubicBezTo>
                      <a:pt x="25" y="16"/>
                      <a:pt x="25" y="17"/>
                      <a:pt x="25" y="17"/>
                    </a:cubicBezTo>
                    <a:cubicBezTo>
                      <a:pt x="25" y="17"/>
                      <a:pt x="25" y="18"/>
                      <a:pt x="25" y="19"/>
                    </a:cubicBezTo>
                    <a:cubicBezTo>
                      <a:pt x="26" y="21"/>
                      <a:pt x="26" y="21"/>
                      <a:pt x="26" y="22"/>
                    </a:cubicBezTo>
                    <a:cubicBezTo>
                      <a:pt x="27" y="22"/>
                      <a:pt x="27" y="22"/>
                      <a:pt x="28" y="23"/>
                    </a:cubicBezTo>
                    <a:cubicBezTo>
                      <a:pt x="28" y="23"/>
                      <a:pt x="28" y="24"/>
                      <a:pt x="28" y="24"/>
                    </a:cubicBezTo>
                    <a:cubicBezTo>
                      <a:pt x="28" y="24"/>
                      <a:pt x="28" y="26"/>
                      <a:pt x="28" y="26"/>
                    </a:cubicBezTo>
                    <a:cubicBezTo>
                      <a:pt x="28" y="26"/>
                      <a:pt x="27" y="27"/>
                      <a:pt x="27" y="27"/>
                    </a:cubicBezTo>
                    <a:cubicBezTo>
                      <a:pt x="27" y="27"/>
                      <a:pt x="28" y="28"/>
                      <a:pt x="28" y="28"/>
                    </a:cubicBezTo>
                    <a:cubicBezTo>
                      <a:pt x="28" y="28"/>
                      <a:pt x="29" y="29"/>
                      <a:pt x="29" y="29"/>
                    </a:cubicBezTo>
                    <a:cubicBezTo>
                      <a:pt x="28" y="30"/>
                      <a:pt x="28" y="30"/>
                      <a:pt x="27" y="29"/>
                    </a:cubicBezTo>
                    <a:cubicBezTo>
                      <a:pt x="27" y="29"/>
                      <a:pt x="26" y="29"/>
                      <a:pt x="26" y="28"/>
                    </a:cubicBezTo>
                    <a:cubicBezTo>
                      <a:pt x="27" y="27"/>
                      <a:pt x="27" y="26"/>
                      <a:pt x="27" y="26"/>
                    </a:cubicBezTo>
                    <a:cubicBezTo>
                      <a:pt x="26" y="26"/>
                      <a:pt x="25" y="25"/>
                      <a:pt x="25" y="25"/>
                    </a:cubicBezTo>
                    <a:cubicBezTo>
                      <a:pt x="25" y="25"/>
                      <a:pt x="27" y="27"/>
                      <a:pt x="25" y="23"/>
                    </a:cubicBezTo>
                    <a:cubicBezTo>
                      <a:pt x="23" y="20"/>
                      <a:pt x="23" y="20"/>
                      <a:pt x="23" y="20"/>
                    </a:cubicBezTo>
                    <a:cubicBezTo>
                      <a:pt x="23" y="19"/>
                      <a:pt x="23" y="19"/>
                      <a:pt x="23" y="19"/>
                    </a:cubicBezTo>
                    <a:cubicBezTo>
                      <a:pt x="23" y="19"/>
                      <a:pt x="22" y="18"/>
                      <a:pt x="22" y="18"/>
                    </a:cubicBezTo>
                    <a:cubicBezTo>
                      <a:pt x="22" y="18"/>
                      <a:pt x="21" y="17"/>
                      <a:pt x="21" y="17"/>
                    </a:cubicBezTo>
                    <a:cubicBezTo>
                      <a:pt x="21" y="17"/>
                      <a:pt x="20" y="18"/>
                      <a:pt x="20" y="18"/>
                    </a:cubicBezTo>
                    <a:cubicBezTo>
                      <a:pt x="20" y="18"/>
                      <a:pt x="20" y="18"/>
                      <a:pt x="19" y="19"/>
                    </a:cubicBezTo>
                    <a:cubicBezTo>
                      <a:pt x="19" y="19"/>
                      <a:pt x="19" y="20"/>
                      <a:pt x="18" y="21"/>
                    </a:cubicBezTo>
                    <a:cubicBezTo>
                      <a:pt x="18" y="21"/>
                      <a:pt x="18" y="22"/>
                      <a:pt x="18" y="22"/>
                    </a:cubicBezTo>
                    <a:cubicBezTo>
                      <a:pt x="18" y="22"/>
                      <a:pt x="19" y="23"/>
                      <a:pt x="19" y="23"/>
                    </a:cubicBezTo>
                    <a:cubicBezTo>
                      <a:pt x="19" y="24"/>
                      <a:pt x="20" y="25"/>
                      <a:pt x="20" y="25"/>
                    </a:cubicBezTo>
                    <a:cubicBezTo>
                      <a:pt x="19" y="25"/>
                      <a:pt x="19" y="24"/>
                      <a:pt x="19" y="24"/>
                    </a:cubicBezTo>
                    <a:cubicBezTo>
                      <a:pt x="18" y="24"/>
                      <a:pt x="18" y="24"/>
                      <a:pt x="18" y="24"/>
                    </a:cubicBezTo>
                    <a:cubicBezTo>
                      <a:pt x="17" y="24"/>
                      <a:pt x="17" y="24"/>
                      <a:pt x="17" y="24"/>
                    </a:cubicBezTo>
                    <a:cubicBezTo>
                      <a:pt x="17" y="25"/>
                      <a:pt x="17" y="25"/>
                      <a:pt x="17" y="25"/>
                    </a:cubicBezTo>
                    <a:cubicBezTo>
                      <a:pt x="17" y="25"/>
                      <a:pt x="17" y="27"/>
                      <a:pt x="18" y="27"/>
                    </a:cubicBezTo>
                    <a:cubicBezTo>
                      <a:pt x="18" y="27"/>
                      <a:pt x="18" y="27"/>
                      <a:pt x="18" y="27"/>
                    </a:cubicBezTo>
                    <a:cubicBezTo>
                      <a:pt x="18" y="27"/>
                      <a:pt x="18" y="28"/>
                      <a:pt x="18" y="28"/>
                    </a:cubicBezTo>
                    <a:cubicBezTo>
                      <a:pt x="18" y="28"/>
                      <a:pt x="19" y="29"/>
                      <a:pt x="19" y="29"/>
                    </a:cubicBezTo>
                    <a:cubicBezTo>
                      <a:pt x="19" y="29"/>
                      <a:pt x="19" y="29"/>
                      <a:pt x="19" y="29"/>
                    </a:cubicBezTo>
                    <a:cubicBezTo>
                      <a:pt x="19" y="29"/>
                      <a:pt x="19" y="30"/>
                      <a:pt x="19" y="30"/>
                    </a:cubicBezTo>
                    <a:cubicBezTo>
                      <a:pt x="18" y="30"/>
                      <a:pt x="19" y="30"/>
                      <a:pt x="18" y="29"/>
                    </a:cubicBezTo>
                    <a:cubicBezTo>
                      <a:pt x="17" y="29"/>
                      <a:pt x="17" y="29"/>
                      <a:pt x="17" y="28"/>
                    </a:cubicBezTo>
                    <a:cubicBezTo>
                      <a:pt x="17" y="27"/>
                      <a:pt x="16" y="27"/>
                      <a:pt x="16" y="27"/>
                    </a:cubicBezTo>
                    <a:cubicBezTo>
                      <a:pt x="16" y="27"/>
                      <a:pt x="17" y="27"/>
                      <a:pt x="16" y="25"/>
                    </a:cubicBezTo>
                    <a:cubicBezTo>
                      <a:pt x="15" y="24"/>
                      <a:pt x="15" y="23"/>
                      <a:pt x="15" y="23"/>
                    </a:cubicBezTo>
                    <a:cubicBezTo>
                      <a:pt x="15" y="23"/>
                      <a:pt x="14" y="22"/>
                      <a:pt x="14" y="23"/>
                    </a:cubicBezTo>
                    <a:cubicBezTo>
                      <a:pt x="13" y="23"/>
                      <a:pt x="13" y="23"/>
                      <a:pt x="12" y="23"/>
                    </a:cubicBezTo>
                    <a:cubicBezTo>
                      <a:pt x="12" y="24"/>
                      <a:pt x="11" y="24"/>
                      <a:pt x="11" y="24"/>
                    </a:cubicBezTo>
                    <a:cubicBezTo>
                      <a:pt x="11" y="24"/>
                      <a:pt x="9" y="24"/>
                      <a:pt x="9" y="24"/>
                    </a:cubicBezTo>
                    <a:cubicBezTo>
                      <a:pt x="9" y="24"/>
                      <a:pt x="9" y="24"/>
                      <a:pt x="8" y="25"/>
                    </a:cubicBezTo>
                    <a:cubicBezTo>
                      <a:pt x="6" y="26"/>
                      <a:pt x="6" y="26"/>
                      <a:pt x="7" y="26"/>
                    </a:cubicBezTo>
                    <a:cubicBezTo>
                      <a:pt x="8" y="27"/>
                      <a:pt x="9" y="27"/>
                      <a:pt x="9" y="27"/>
                    </a:cubicBezTo>
                    <a:cubicBezTo>
                      <a:pt x="10" y="27"/>
                      <a:pt x="10" y="27"/>
                      <a:pt x="11" y="28"/>
                    </a:cubicBezTo>
                    <a:cubicBezTo>
                      <a:pt x="11" y="28"/>
                      <a:pt x="13" y="29"/>
                      <a:pt x="13" y="29"/>
                    </a:cubicBezTo>
                    <a:cubicBezTo>
                      <a:pt x="15" y="32"/>
                      <a:pt x="15" y="32"/>
                      <a:pt x="15" y="32"/>
                    </a:cubicBezTo>
                    <a:cubicBezTo>
                      <a:pt x="15" y="32"/>
                      <a:pt x="15" y="32"/>
                      <a:pt x="15" y="33"/>
                    </a:cubicBezTo>
                    <a:cubicBezTo>
                      <a:pt x="15" y="33"/>
                      <a:pt x="15" y="33"/>
                      <a:pt x="15" y="33"/>
                    </a:cubicBezTo>
                    <a:cubicBezTo>
                      <a:pt x="15" y="33"/>
                      <a:pt x="15" y="34"/>
                      <a:pt x="15" y="34"/>
                    </a:cubicBezTo>
                    <a:cubicBezTo>
                      <a:pt x="15" y="35"/>
                      <a:pt x="15" y="35"/>
                      <a:pt x="16" y="36"/>
                    </a:cubicBezTo>
                    <a:cubicBezTo>
                      <a:pt x="17" y="36"/>
                      <a:pt x="17" y="36"/>
                      <a:pt x="18" y="36"/>
                    </a:cubicBezTo>
                    <a:cubicBezTo>
                      <a:pt x="19" y="36"/>
                      <a:pt x="18" y="36"/>
                      <a:pt x="19" y="36"/>
                    </a:cubicBezTo>
                    <a:cubicBezTo>
                      <a:pt x="20" y="35"/>
                      <a:pt x="20" y="35"/>
                      <a:pt x="20" y="35"/>
                    </a:cubicBezTo>
                    <a:cubicBezTo>
                      <a:pt x="20" y="35"/>
                      <a:pt x="21" y="35"/>
                      <a:pt x="22" y="35"/>
                    </a:cubicBezTo>
                    <a:cubicBezTo>
                      <a:pt x="23" y="36"/>
                      <a:pt x="22" y="36"/>
                      <a:pt x="23" y="36"/>
                    </a:cubicBezTo>
                    <a:cubicBezTo>
                      <a:pt x="23" y="36"/>
                      <a:pt x="25" y="35"/>
                      <a:pt x="25" y="35"/>
                    </a:cubicBezTo>
                    <a:cubicBezTo>
                      <a:pt x="25" y="35"/>
                      <a:pt x="25" y="35"/>
                      <a:pt x="26" y="35"/>
                    </a:cubicBezTo>
                    <a:cubicBezTo>
                      <a:pt x="26" y="36"/>
                      <a:pt x="26" y="36"/>
                      <a:pt x="26" y="37"/>
                    </a:cubicBezTo>
                    <a:cubicBezTo>
                      <a:pt x="27" y="37"/>
                      <a:pt x="28" y="37"/>
                      <a:pt x="28" y="37"/>
                    </a:cubicBezTo>
                    <a:cubicBezTo>
                      <a:pt x="29" y="37"/>
                      <a:pt x="29" y="37"/>
                      <a:pt x="29" y="37"/>
                    </a:cubicBezTo>
                    <a:cubicBezTo>
                      <a:pt x="29" y="37"/>
                      <a:pt x="30" y="37"/>
                      <a:pt x="30" y="36"/>
                    </a:cubicBezTo>
                    <a:cubicBezTo>
                      <a:pt x="30" y="36"/>
                      <a:pt x="31" y="35"/>
                      <a:pt x="31" y="35"/>
                    </a:cubicBezTo>
                    <a:cubicBezTo>
                      <a:pt x="31" y="35"/>
                      <a:pt x="30" y="36"/>
                      <a:pt x="31" y="36"/>
                    </a:cubicBezTo>
                    <a:cubicBezTo>
                      <a:pt x="32" y="36"/>
                      <a:pt x="32" y="36"/>
                      <a:pt x="32" y="36"/>
                    </a:cubicBezTo>
                    <a:cubicBezTo>
                      <a:pt x="33" y="37"/>
                      <a:pt x="34" y="36"/>
                      <a:pt x="34" y="36"/>
                    </a:cubicBezTo>
                    <a:cubicBezTo>
                      <a:pt x="35" y="36"/>
                      <a:pt x="35" y="36"/>
                      <a:pt x="35" y="36"/>
                    </a:cubicBezTo>
                    <a:cubicBezTo>
                      <a:pt x="35" y="36"/>
                      <a:pt x="35" y="37"/>
                      <a:pt x="35" y="37"/>
                    </a:cubicBezTo>
                    <a:cubicBezTo>
                      <a:pt x="35" y="37"/>
                      <a:pt x="34" y="37"/>
                      <a:pt x="35" y="37"/>
                    </a:cubicBezTo>
                    <a:cubicBezTo>
                      <a:pt x="36" y="37"/>
                      <a:pt x="37" y="36"/>
                      <a:pt x="37" y="36"/>
                    </a:cubicBezTo>
                    <a:cubicBezTo>
                      <a:pt x="37" y="36"/>
                      <a:pt x="36" y="37"/>
                      <a:pt x="36" y="37"/>
                    </a:cubicBezTo>
                    <a:cubicBezTo>
                      <a:pt x="36" y="38"/>
                      <a:pt x="36" y="38"/>
                      <a:pt x="36" y="38"/>
                    </a:cubicBezTo>
                    <a:cubicBezTo>
                      <a:pt x="36" y="38"/>
                      <a:pt x="36" y="39"/>
                      <a:pt x="36" y="40"/>
                    </a:cubicBezTo>
                    <a:cubicBezTo>
                      <a:pt x="37" y="40"/>
                      <a:pt x="38" y="40"/>
                      <a:pt x="38" y="40"/>
                    </a:cubicBezTo>
                    <a:cubicBezTo>
                      <a:pt x="38" y="40"/>
                      <a:pt x="39" y="40"/>
                      <a:pt x="40" y="40"/>
                    </a:cubicBezTo>
                    <a:cubicBezTo>
                      <a:pt x="40" y="40"/>
                      <a:pt x="40" y="40"/>
                      <a:pt x="40" y="40"/>
                    </a:cubicBezTo>
                    <a:cubicBezTo>
                      <a:pt x="40" y="41"/>
                      <a:pt x="41" y="40"/>
                      <a:pt x="41" y="40"/>
                    </a:cubicBezTo>
                    <a:cubicBezTo>
                      <a:pt x="41" y="40"/>
                      <a:pt x="42" y="40"/>
                      <a:pt x="42" y="40"/>
                    </a:cubicBezTo>
                    <a:cubicBezTo>
                      <a:pt x="42" y="41"/>
                      <a:pt x="42" y="41"/>
                      <a:pt x="42" y="41"/>
                    </a:cubicBezTo>
                    <a:cubicBezTo>
                      <a:pt x="41" y="42"/>
                      <a:pt x="41" y="42"/>
                      <a:pt x="41" y="42"/>
                    </a:cubicBezTo>
                    <a:cubicBezTo>
                      <a:pt x="41" y="42"/>
                      <a:pt x="43" y="43"/>
                      <a:pt x="43" y="43"/>
                    </a:cubicBezTo>
                    <a:cubicBezTo>
                      <a:pt x="43" y="43"/>
                      <a:pt x="43" y="42"/>
                      <a:pt x="44" y="42"/>
                    </a:cubicBezTo>
                    <a:cubicBezTo>
                      <a:pt x="44" y="43"/>
                      <a:pt x="44" y="43"/>
                      <a:pt x="44" y="43"/>
                    </a:cubicBezTo>
                    <a:cubicBezTo>
                      <a:pt x="43" y="44"/>
                      <a:pt x="43" y="42"/>
                      <a:pt x="43" y="44"/>
                    </a:cubicBezTo>
                    <a:cubicBezTo>
                      <a:pt x="42" y="45"/>
                      <a:pt x="43" y="46"/>
                      <a:pt x="43" y="46"/>
                    </a:cubicBezTo>
                    <a:cubicBezTo>
                      <a:pt x="44" y="47"/>
                      <a:pt x="44" y="47"/>
                      <a:pt x="44" y="47"/>
                    </a:cubicBezTo>
                    <a:cubicBezTo>
                      <a:pt x="44" y="47"/>
                      <a:pt x="45" y="47"/>
                      <a:pt x="45" y="47"/>
                    </a:cubicBezTo>
                    <a:cubicBezTo>
                      <a:pt x="45" y="47"/>
                      <a:pt x="45" y="47"/>
                      <a:pt x="46" y="47"/>
                    </a:cubicBezTo>
                    <a:cubicBezTo>
                      <a:pt x="46" y="47"/>
                      <a:pt x="46" y="47"/>
                      <a:pt x="47" y="47"/>
                    </a:cubicBezTo>
                    <a:cubicBezTo>
                      <a:pt x="47" y="47"/>
                      <a:pt x="48" y="47"/>
                      <a:pt x="48" y="47"/>
                    </a:cubicBezTo>
                    <a:cubicBezTo>
                      <a:pt x="48" y="48"/>
                      <a:pt x="48" y="48"/>
                      <a:pt x="48" y="48"/>
                    </a:cubicBezTo>
                    <a:cubicBezTo>
                      <a:pt x="48" y="48"/>
                      <a:pt x="48" y="49"/>
                      <a:pt x="48" y="49"/>
                    </a:cubicBezTo>
                    <a:cubicBezTo>
                      <a:pt x="49" y="49"/>
                      <a:pt x="50" y="50"/>
                      <a:pt x="50" y="50"/>
                    </a:cubicBezTo>
                    <a:cubicBezTo>
                      <a:pt x="50" y="50"/>
                      <a:pt x="49" y="50"/>
                      <a:pt x="50" y="50"/>
                    </a:cubicBezTo>
                    <a:cubicBezTo>
                      <a:pt x="50" y="51"/>
                      <a:pt x="52" y="52"/>
                      <a:pt x="52" y="52"/>
                    </a:cubicBezTo>
                    <a:cubicBezTo>
                      <a:pt x="52" y="52"/>
                      <a:pt x="50" y="52"/>
                      <a:pt x="49" y="51"/>
                    </a:cubicBezTo>
                    <a:cubicBezTo>
                      <a:pt x="49" y="51"/>
                      <a:pt x="47" y="51"/>
                      <a:pt x="47" y="51"/>
                    </a:cubicBezTo>
                    <a:cubicBezTo>
                      <a:pt x="46" y="51"/>
                      <a:pt x="45" y="52"/>
                      <a:pt x="45" y="52"/>
                    </a:cubicBezTo>
                    <a:cubicBezTo>
                      <a:pt x="42" y="52"/>
                      <a:pt x="42" y="52"/>
                      <a:pt x="42" y="52"/>
                    </a:cubicBezTo>
                    <a:cubicBezTo>
                      <a:pt x="42" y="52"/>
                      <a:pt x="40" y="53"/>
                      <a:pt x="40" y="53"/>
                    </a:cubicBezTo>
                    <a:cubicBezTo>
                      <a:pt x="40" y="53"/>
                      <a:pt x="39" y="53"/>
                      <a:pt x="38" y="53"/>
                    </a:cubicBezTo>
                    <a:cubicBezTo>
                      <a:pt x="38" y="53"/>
                      <a:pt x="37" y="54"/>
                      <a:pt x="37" y="54"/>
                    </a:cubicBezTo>
                    <a:cubicBezTo>
                      <a:pt x="36" y="54"/>
                      <a:pt x="35" y="54"/>
                      <a:pt x="35" y="54"/>
                    </a:cubicBezTo>
                    <a:cubicBezTo>
                      <a:pt x="34" y="54"/>
                      <a:pt x="33" y="54"/>
                      <a:pt x="33" y="54"/>
                    </a:cubicBezTo>
                    <a:cubicBezTo>
                      <a:pt x="31" y="54"/>
                      <a:pt x="31" y="54"/>
                      <a:pt x="31" y="54"/>
                    </a:cubicBezTo>
                    <a:cubicBezTo>
                      <a:pt x="32" y="55"/>
                      <a:pt x="32" y="55"/>
                      <a:pt x="32" y="55"/>
                    </a:cubicBezTo>
                    <a:cubicBezTo>
                      <a:pt x="33" y="56"/>
                      <a:pt x="33" y="56"/>
                      <a:pt x="33" y="56"/>
                    </a:cubicBezTo>
                    <a:cubicBezTo>
                      <a:pt x="33" y="56"/>
                      <a:pt x="34" y="56"/>
                      <a:pt x="34" y="56"/>
                    </a:cubicBezTo>
                    <a:cubicBezTo>
                      <a:pt x="34" y="56"/>
                      <a:pt x="35" y="57"/>
                      <a:pt x="35" y="57"/>
                    </a:cubicBezTo>
                    <a:cubicBezTo>
                      <a:pt x="35" y="57"/>
                      <a:pt x="36" y="58"/>
                      <a:pt x="36" y="58"/>
                    </a:cubicBezTo>
                    <a:cubicBezTo>
                      <a:pt x="36" y="58"/>
                      <a:pt x="38" y="59"/>
                      <a:pt x="38" y="59"/>
                    </a:cubicBezTo>
                    <a:lnTo>
                      <a:pt x="39" y="60"/>
                    </a:lnTo>
                    <a:close/>
                  </a:path>
                </a:pathLst>
              </a:custGeom>
              <a:solidFill>
                <a:srgbClr val="0181C7"/>
              </a:solid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24" name="Freeform 69"/>
              <p:cNvSpPr>
                <a:spLocks/>
              </p:cNvSpPr>
              <p:nvPr/>
            </p:nvSpPr>
            <p:spPr bwMode="auto">
              <a:xfrm>
                <a:off x="3653" y="2241"/>
                <a:ext cx="249" cy="245"/>
              </a:xfrm>
              <a:custGeom>
                <a:avLst/>
                <a:gdLst>
                  <a:gd name="T0" fmla="*/ 88 w 124"/>
                  <a:gd name="T1" fmla="*/ 117 h 122"/>
                  <a:gd name="T2" fmla="*/ 86 w 124"/>
                  <a:gd name="T3" fmla="*/ 110 h 122"/>
                  <a:gd name="T4" fmla="*/ 90 w 124"/>
                  <a:gd name="T5" fmla="*/ 103 h 122"/>
                  <a:gd name="T6" fmla="*/ 94 w 124"/>
                  <a:gd name="T7" fmla="*/ 94 h 122"/>
                  <a:gd name="T8" fmla="*/ 92 w 124"/>
                  <a:gd name="T9" fmla="*/ 84 h 122"/>
                  <a:gd name="T10" fmla="*/ 92 w 124"/>
                  <a:gd name="T11" fmla="*/ 71 h 122"/>
                  <a:gd name="T12" fmla="*/ 99 w 124"/>
                  <a:gd name="T13" fmla="*/ 74 h 122"/>
                  <a:gd name="T14" fmla="*/ 103 w 124"/>
                  <a:gd name="T15" fmla="*/ 72 h 122"/>
                  <a:gd name="T16" fmla="*/ 109 w 124"/>
                  <a:gd name="T17" fmla="*/ 73 h 122"/>
                  <a:gd name="T18" fmla="*/ 114 w 124"/>
                  <a:gd name="T19" fmla="*/ 69 h 122"/>
                  <a:gd name="T20" fmla="*/ 124 w 124"/>
                  <a:gd name="T21" fmla="*/ 67 h 122"/>
                  <a:gd name="T22" fmla="*/ 115 w 124"/>
                  <a:gd name="T23" fmla="*/ 62 h 122"/>
                  <a:gd name="T24" fmla="*/ 113 w 124"/>
                  <a:gd name="T25" fmla="*/ 51 h 122"/>
                  <a:gd name="T26" fmla="*/ 105 w 124"/>
                  <a:gd name="T27" fmla="*/ 50 h 122"/>
                  <a:gd name="T28" fmla="*/ 100 w 124"/>
                  <a:gd name="T29" fmla="*/ 44 h 122"/>
                  <a:gd name="T30" fmla="*/ 98 w 124"/>
                  <a:gd name="T31" fmla="*/ 39 h 122"/>
                  <a:gd name="T32" fmla="*/ 93 w 124"/>
                  <a:gd name="T33" fmla="*/ 36 h 122"/>
                  <a:gd name="T34" fmla="*/ 86 w 124"/>
                  <a:gd name="T35" fmla="*/ 31 h 122"/>
                  <a:gd name="T36" fmla="*/ 83 w 124"/>
                  <a:gd name="T37" fmla="*/ 26 h 122"/>
                  <a:gd name="T38" fmla="*/ 80 w 124"/>
                  <a:gd name="T39" fmla="*/ 17 h 122"/>
                  <a:gd name="T40" fmla="*/ 75 w 124"/>
                  <a:gd name="T41" fmla="*/ 10 h 122"/>
                  <a:gd name="T42" fmla="*/ 67 w 124"/>
                  <a:gd name="T43" fmla="*/ 10 h 122"/>
                  <a:gd name="T44" fmla="*/ 56 w 124"/>
                  <a:gd name="T45" fmla="*/ 9 h 122"/>
                  <a:gd name="T46" fmla="*/ 53 w 124"/>
                  <a:gd name="T47" fmla="*/ 8 h 122"/>
                  <a:gd name="T48" fmla="*/ 52 w 124"/>
                  <a:gd name="T49" fmla="*/ 7 h 122"/>
                  <a:gd name="T50" fmla="*/ 47 w 124"/>
                  <a:gd name="T51" fmla="*/ 8 h 122"/>
                  <a:gd name="T52" fmla="*/ 43 w 124"/>
                  <a:gd name="T53" fmla="*/ 6 h 122"/>
                  <a:gd name="T54" fmla="*/ 35 w 124"/>
                  <a:gd name="T55" fmla="*/ 3 h 122"/>
                  <a:gd name="T56" fmla="*/ 27 w 124"/>
                  <a:gd name="T57" fmla="*/ 2 h 122"/>
                  <a:gd name="T58" fmla="*/ 23 w 124"/>
                  <a:gd name="T59" fmla="*/ 6 h 122"/>
                  <a:gd name="T60" fmla="*/ 19 w 124"/>
                  <a:gd name="T61" fmla="*/ 9 h 122"/>
                  <a:gd name="T62" fmla="*/ 13 w 124"/>
                  <a:gd name="T63" fmla="*/ 10 h 122"/>
                  <a:gd name="T64" fmla="*/ 7 w 124"/>
                  <a:gd name="T65" fmla="*/ 12 h 122"/>
                  <a:gd name="T66" fmla="*/ 6 w 124"/>
                  <a:gd name="T67" fmla="*/ 15 h 122"/>
                  <a:gd name="T68" fmla="*/ 0 w 124"/>
                  <a:gd name="T69" fmla="*/ 18 h 122"/>
                  <a:gd name="T70" fmla="*/ 8 w 124"/>
                  <a:gd name="T71" fmla="*/ 18 h 122"/>
                  <a:gd name="T72" fmla="*/ 13 w 124"/>
                  <a:gd name="T73" fmla="*/ 20 h 122"/>
                  <a:gd name="T74" fmla="*/ 16 w 124"/>
                  <a:gd name="T75" fmla="*/ 22 h 122"/>
                  <a:gd name="T76" fmla="*/ 21 w 124"/>
                  <a:gd name="T77" fmla="*/ 27 h 122"/>
                  <a:gd name="T78" fmla="*/ 23 w 124"/>
                  <a:gd name="T79" fmla="*/ 30 h 122"/>
                  <a:gd name="T80" fmla="*/ 26 w 124"/>
                  <a:gd name="T81" fmla="*/ 34 h 122"/>
                  <a:gd name="T82" fmla="*/ 30 w 124"/>
                  <a:gd name="T83" fmla="*/ 40 h 122"/>
                  <a:gd name="T84" fmla="*/ 35 w 124"/>
                  <a:gd name="T85" fmla="*/ 44 h 122"/>
                  <a:gd name="T86" fmla="*/ 40 w 124"/>
                  <a:gd name="T87" fmla="*/ 49 h 122"/>
                  <a:gd name="T88" fmla="*/ 50 w 124"/>
                  <a:gd name="T89" fmla="*/ 57 h 122"/>
                  <a:gd name="T90" fmla="*/ 61 w 124"/>
                  <a:gd name="T91" fmla="*/ 66 h 122"/>
                  <a:gd name="T92" fmla="*/ 67 w 124"/>
                  <a:gd name="T93" fmla="*/ 76 h 122"/>
                  <a:gd name="T94" fmla="*/ 69 w 124"/>
                  <a:gd name="T95" fmla="*/ 84 h 122"/>
                  <a:gd name="T96" fmla="*/ 68 w 124"/>
                  <a:gd name="T97" fmla="*/ 90 h 122"/>
                  <a:gd name="T98" fmla="*/ 69 w 124"/>
                  <a:gd name="T99" fmla="*/ 98 h 122"/>
                  <a:gd name="T100" fmla="*/ 73 w 124"/>
                  <a:gd name="T101" fmla="*/ 109 h 122"/>
                  <a:gd name="T102" fmla="*/ 76 w 124"/>
                  <a:gd name="T103" fmla="*/ 116 h 122"/>
                  <a:gd name="T104" fmla="*/ 77 w 124"/>
                  <a:gd name="T105" fmla="*/ 12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4" h="122">
                    <a:moveTo>
                      <a:pt x="79" y="122"/>
                    </a:moveTo>
                    <a:cubicBezTo>
                      <a:pt x="81" y="119"/>
                      <a:pt x="81" y="119"/>
                      <a:pt x="81" y="119"/>
                    </a:cubicBezTo>
                    <a:cubicBezTo>
                      <a:pt x="81" y="119"/>
                      <a:pt x="83" y="118"/>
                      <a:pt x="83" y="118"/>
                    </a:cubicBezTo>
                    <a:cubicBezTo>
                      <a:pt x="84" y="118"/>
                      <a:pt x="85" y="118"/>
                      <a:pt x="86" y="118"/>
                    </a:cubicBezTo>
                    <a:cubicBezTo>
                      <a:pt x="87" y="118"/>
                      <a:pt x="88" y="117"/>
                      <a:pt x="88" y="117"/>
                    </a:cubicBezTo>
                    <a:cubicBezTo>
                      <a:pt x="88" y="117"/>
                      <a:pt x="88" y="117"/>
                      <a:pt x="88" y="117"/>
                    </a:cubicBezTo>
                    <a:cubicBezTo>
                      <a:pt x="87" y="115"/>
                      <a:pt x="87" y="115"/>
                      <a:pt x="87" y="115"/>
                    </a:cubicBezTo>
                    <a:cubicBezTo>
                      <a:pt x="88" y="113"/>
                      <a:pt x="88" y="113"/>
                      <a:pt x="88" y="113"/>
                    </a:cubicBezTo>
                    <a:cubicBezTo>
                      <a:pt x="85" y="112"/>
                      <a:pt x="85" y="112"/>
                      <a:pt x="85" y="112"/>
                    </a:cubicBezTo>
                    <a:cubicBezTo>
                      <a:pt x="86" y="110"/>
                      <a:pt x="86" y="110"/>
                      <a:pt x="86" y="110"/>
                    </a:cubicBezTo>
                    <a:cubicBezTo>
                      <a:pt x="86" y="110"/>
                      <a:pt x="85" y="109"/>
                      <a:pt x="86" y="109"/>
                    </a:cubicBezTo>
                    <a:cubicBezTo>
                      <a:pt x="87" y="109"/>
                      <a:pt x="87" y="106"/>
                      <a:pt x="87" y="106"/>
                    </a:cubicBezTo>
                    <a:cubicBezTo>
                      <a:pt x="88" y="105"/>
                      <a:pt x="88" y="105"/>
                      <a:pt x="88" y="105"/>
                    </a:cubicBezTo>
                    <a:cubicBezTo>
                      <a:pt x="89" y="105"/>
                      <a:pt x="89" y="105"/>
                      <a:pt x="89" y="105"/>
                    </a:cubicBezTo>
                    <a:cubicBezTo>
                      <a:pt x="89" y="105"/>
                      <a:pt x="89" y="103"/>
                      <a:pt x="90" y="103"/>
                    </a:cubicBezTo>
                    <a:cubicBezTo>
                      <a:pt x="90" y="103"/>
                      <a:pt x="91" y="102"/>
                      <a:pt x="91" y="102"/>
                    </a:cubicBezTo>
                    <a:cubicBezTo>
                      <a:pt x="90" y="99"/>
                      <a:pt x="90" y="99"/>
                      <a:pt x="90" y="99"/>
                    </a:cubicBezTo>
                    <a:cubicBezTo>
                      <a:pt x="90" y="99"/>
                      <a:pt x="89" y="97"/>
                      <a:pt x="89" y="97"/>
                    </a:cubicBezTo>
                    <a:cubicBezTo>
                      <a:pt x="90" y="97"/>
                      <a:pt x="91" y="96"/>
                      <a:pt x="91" y="96"/>
                    </a:cubicBezTo>
                    <a:cubicBezTo>
                      <a:pt x="91" y="96"/>
                      <a:pt x="93" y="94"/>
                      <a:pt x="94" y="94"/>
                    </a:cubicBezTo>
                    <a:cubicBezTo>
                      <a:pt x="94" y="93"/>
                      <a:pt x="95" y="92"/>
                      <a:pt x="95" y="91"/>
                    </a:cubicBezTo>
                    <a:cubicBezTo>
                      <a:pt x="95" y="91"/>
                      <a:pt x="94" y="89"/>
                      <a:pt x="94" y="89"/>
                    </a:cubicBezTo>
                    <a:cubicBezTo>
                      <a:pt x="94" y="87"/>
                      <a:pt x="94" y="87"/>
                      <a:pt x="94" y="87"/>
                    </a:cubicBezTo>
                    <a:cubicBezTo>
                      <a:pt x="94" y="87"/>
                      <a:pt x="95" y="85"/>
                      <a:pt x="95" y="85"/>
                    </a:cubicBezTo>
                    <a:cubicBezTo>
                      <a:pt x="94" y="84"/>
                      <a:pt x="92" y="84"/>
                      <a:pt x="92" y="84"/>
                    </a:cubicBezTo>
                    <a:cubicBezTo>
                      <a:pt x="91" y="82"/>
                      <a:pt x="91" y="82"/>
                      <a:pt x="91" y="82"/>
                    </a:cubicBezTo>
                    <a:cubicBezTo>
                      <a:pt x="91" y="80"/>
                      <a:pt x="91" y="80"/>
                      <a:pt x="91" y="80"/>
                    </a:cubicBezTo>
                    <a:cubicBezTo>
                      <a:pt x="89" y="78"/>
                      <a:pt x="89" y="78"/>
                      <a:pt x="89" y="78"/>
                    </a:cubicBezTo>
                    <a:cubicBezTo>
                      <a:pt x="89" y="78"/>
                      <a:pt x="89" y="76"/>
                      <a:pt x="89" y="75"/>
                    </a:cubicBezTo>
                    <a:cubicBezTo>
                      <a:pt x="90" y="75"/>
                      <a:pt x="91" y="72"/>
                      <a:pt x="92" y="71"/>
                    </a:cubicBezTo>
                    <a:cubicBezTo>
                      <a:pt x="92" y="71"/>
                      <a:pt x="96" y="68"/>
                      <a:pt x="96" y="68"/>
                    </a:cubicBezTo>
                    <a:cubicBezTo>
                      <a:pt x="97" y="72"/>
                      <a:pt x="97" y="72"/>
                      <a:pt x="97" y="72"/>
                    </a:cubicBezTo>
                    <a:cubicBezTo>
                      <a:pt x="97" y="75"/>
                      <a:pt x="97" y="75"/>
                      <a:pt x="97" y="75"/>
                    </a:cubicBezTo>
                    <a:cubicBezTo>
                      <a:pt x="97" y="75"/>
                      <a:pt x="97" y="77"/>
                      <a:pt x="97" y="77"/>
                    </a:cubicBezTo>
                    <a:cubicBezTo>
                      <a:pt x="98" y="76"/>
                      <a:pt x="99" y="74"/>
                      <a:pt x="99" y="74"/>
                    </a:cubicBezTo>
                    <a:cubicBezTo>
                      <a:pt x="100" y="74"/>
                      <a:pt x="100" y="74"/>
                      <a:pt x="100" y="74"/>
                    </a:cubicBezTo>
                    <a:cubicBezTo>
                      <a:pt x="100" y="74"/>
                      <a:pt x="98" y="71"/>
                      <a:pt x="99" y="71"/>
                    </a:cubicBezTo>
                    <a:cubicBezTo>
                      <a:pt x="99" y="71"/>
                      <a:pt x="99" y="70"/>
                      <a:pt x="100" y="71"/>
                    </a:cubicBezTo>
                    <a:cubicBezTo>
                      <a:pt x="100" y="72"/>
                      <a:pt x="100" y="73"/>
                      <a:pt x="101" y="73"/>
                    </a:cubicBezTo>
                    <a:cubicBezTo>
                      <a:pt x="102" y="73"/>
                      <a:pt x="103" y="73"/>
                      <a:pt x="103" y="72"/>
                    </a:cubicBezTo>
                    <a:cubicBezTo>
                      <a:pt x="104" y="71"/>
                      <a:pt x="103" y="71"/>
                      <a:pt x="103" y="71"/>
                    </a:cubicBezTo>
                    <a:cubicBezTo>
                      <a:pt x="104" y="70"/>
                      <a:pt x="104" y="70"/>
                      <a:pt x="104" y="70"/>
                    </a:cubicBezTo>
                    <a:cubicBezTo>
                      <a:pt x="104" y="70"/>
                      <a:pt x="104" y="72"/>
                      <a:pt x="105" y="72"/>
                    </a:cubicBezTo>
                    <a:cubicBezTo>
                      <a:pt x="106" y="72"/>
                      <a:pt x="108" y="72"/>
                      <a:pt x="108" y="72"/>
                    </a:cubicBezTo>
                    <a:cubicBezTo>
                      <a:pt x="109" y="73"/>
                      <a:pt x="109" y="73"/>
                      <a:pt x="109" y="73"/>
                    </a:cubicBezTo>
                    <a:cubicBezTo>
                      <a:pt x="109" y="73"/>
                      <a:pt x="110" y="72"/>
                      <a:pt x="110" y="72"/>
                    </a:cubicBezTo>
                    <a:cubicBezTo>
                      <a:pt x="110" y="71"/>
                      <a:pt x="110" y="70"/>
                      <a:pt x="110" y="70"/>
                    </a:cubicBezTo>
                    <a:cubicBezTo>
                      <a:pt x="112" y="70"/>
                      <a:pt x="112" y="70"/>
                      <a:pt x="112" y="70"/>
                    </a:cubicBezTo>
                    <a:cubicBezTo>
                      <a:pt x="112" y="67"/>
                      <a:pt x="112" y="67"/>
                      <a:pt x="112" y="67"/>
                    </a:cubicBezTo>
                    <a:cubicBezTo>
                      <a:pt x="114" y="69"/>
                      <a:pt x="114" y="69"/>
                      <a:pt x="114" y="69"/>
                    </a:cubicBezTo>
                    <a:cubicBezTo>
                      <a:pt x="115" y="71"/>
                      <a:pt x="115" y="71"/>
                      <a:pt x="115" y="71"/>
                    </a:cubicBezTo>
                    <a:cubicBezTo>
                      <a:pt x="117" y="71"/>
                      <a:pt x="117" y="71"/>
                      <a:pt x="117" y="71"/>
                    </a:cubicBezTo>
                    <a:cubicBezTo>
                      <a:pt x="118" y="68"/>
                      <a:pt x="118" y="68"/>
                      <a:pt x="118" y="68"/>
                    </a:cubicBezTo>
                    <a:cubicBezTo>
                      <a:pt x="118" y="68"/>
                      <a:pt x="120" y="68"/>
                      <a:pt x="121" y="68"/>
                    </a:cubicBezTo>
                    <a:cubicBezTo>
                      <a:pt x="122" y="68"/>
                      <a:pt x="124" y="67"/>
                      <a:pt x="124" y="67"/>
                    </a:cubicBezTo>
                    <a:cubicBezTo>
                      <a:pt x="124" y="66"/>
                      <a:pt x="123" y="66"/>
                      <a:pt x="122" y="66"/>
                    </a:cubicBezTo>
                    <a:cubicBezTo>
                      <a:pt x="121" y="66"/>
                      <a:pt x="120" y="67"/>
                      <a:pt x="119" y="66"/>
                    </a:cubicBezTo>
                    <a:cubicBezTo>
                      <a:pt x="119" y="66"/>
                      <a:pt x="117" y="64"/>
                      <a:pt x="117" y="64"/>
                    </a:cubicBezTo>
                    <a:cubicBezTo>
                      <a:pt x="115" y="64"/>
                      <a:pt x="115" y="64"/>
                      <a:pt x="115" y="64"/>
                    </a:cubicBezTo>
                    <a:cubicBezTo>
                      <a:pt x="115" y="64"/>
                      <a:pt x="114" y="63"/>
                      <a:pt x="115" y="62"/>
                    </a:cubicBezTo>
                    <a:cubicBezTo>
                      <a:pt x="116" y="62"/>
                      <a:pt x="116" y="61"/>
                      <a:pt x="116" y="61"/>
                    </a:cubicBezTo>
                    <a:cubicBezTo>
                      <a:pt x="116" y="61"/>
                      <a:pt x="116" y="60"/>
                      <a:pt x="116" y="59"/>
                    </a:cubicBezTo>
                    <a:cubicBezTo>
                      <a:pt x="115" y="59"/>
                      <a:pt x="115" y="57"/>
                      <a:pt x="115" y="56"/>
                    </a:cubicBezTo>
                    <a:cubicBezTo>
                      <a:pt x="115" y="56"/>
                      <a:pt x="113" y="52"/>
                      <a:pt x="113" y="52"/>
                    </a:cubicBezTo>
                    <a:cubicBezTo>
                      <a:pt x="113" y="51"/>
                      <a:pt x="113" y="51"/>
                      <a:pt x="113" y="51"/>
                    </a:cubicBezTo>
                    <a:cubicBezTo>
                      <a:pt x="112" y="52"/>
                      <a:pt x="112" y="52"/>
                      <a:pt x="112" y="52"/>
                    </a:cubicBezTo>
                    <a:cubicBezTo>
                      <a:pt x="110" y="50"/>
                      <a:pt x="110" y="50"/>
                      <a:pt x="110" y="50"/>
                    </a:cubicBezTo>
                    <a:cubicBezTo>
                      <a:pt x="110" y="50"/>
                      <a:pt x="109" y="51"/>
                      <a:pt x="108" y="51"/>
                    </a:cubicBezTo>
                    <a:cubicBezTo>
                      <a:pt x="107" y="51"/>
                      <a:pt x="107" y="50"/>
                      <a:pt x="107" y="50"/>
                    </a:cubicBezTo>
                    <a:cubicBezTo>
                      <a:pt x="105" y="50"/>
                      <a:pt x="105" y="50"/>
                      <a:pt x="105" y="50"/>
                    </a:cubicBezTo>
                    <a:cubicBezTo>
                      <a:pt x="105" y="50"/>
                      <a:pt x="105" y="50"/>
                      <a:pt x="104" y="50"/>
                    </a:cubicBezTo>
                    <a:cubicBezTo>
                      <a:pt x="102" y="50"/>
                      <a:pt x="101" y="50"/>
                      <a:pt x="101" y="49"/>
                    </a:cubicBezTo>
                    <a:cubicBezTo>
                      <a:pt x="100" y="49"/>
                      <a:pt x="100" y="48"/>
                      <a:pt x="101" y="47"/>
                    </a:cubicBezTo>
                    <a:cubicBezTo>
                      <a:pt x="101" y="47"/>
                      <a:pt x="101" y="46"/>
                      <a:pt x="101" y="46"/>
                    </a:cubicBezTo>
                    <a:cubicBezTo>
                      <a:pt x="101" y="46"/>
                      <a:pt x="101" y="44"/>
                      <a:pt x="100" y="44"/>
                    </a:cubicBezTo>
                    <a:cubicBezTo>
                      <a:pt x="100" y="44"/>
                      <a:pt x="98" y="44"/>
                      <a:pt x="98" y="44"/>
                    </a:cubicBezTo>
                    <a:cubicBezTo>
                      <a:pt x="96" y="43"/>
                      <a:pt x="96" y="43"/>
                      <a:pt x="96" y="43"/>
                    </a:cubicBezTo>
                    <a:cubicBezTo>
                      <a:pt x="99" y="42"/>
                      <a:pt x="99" y="42"/>
                      <a:pt x="99" y="42"/>
                    </a:cubicBezTo>
                    <a:cubicBezTo>
                      <a:pt x="98" y="41"/>
                      <a:pt x="98" y="41"/>
                      <a:pt x="98" y="41"/>
                    </a:cubicBezTo>
                    <a:cubicBezTo>
                      <a:pt x="98" y="41"/>
                      <a:pt x="98" y="39"/>
                      <a:pt x="98" y="39"/>
                    </a:cubicBezTo>
                    <a:cubicBezTo>
                      <a:pt x="98" y="38"/>
                      <a:pt x="97" y="37"/>
                      <a:pt x="97" y="37"/>
                    </a:cubicBezTo>
                    <a:cubicBezTo>
                      <a:pt x="97" y="34"/>
                      <a:pt x="97" y="34"/>
                      <a:pt x="97" y="34"/>
                    </a:cubicBezTo>
                    <a:cubicBezTo>
                      <a:pt x="96" y="34"/>
                      <a:pt x="96" y="34"/>
                      <a:pt x="96" y="34"/>
                    </a:cubicBezTo>
                    <a:cubicBezTo>
                      <a:pt x="94" y="33"/>
                      <a:pt x="94" y="33"/>
                      <a:pt x="94" y="33"/>
                    </a:cubicBezTo>
                    <a:cubicBezTo>
                      <a:pt x="93" y="36"/>
                      <a:pt x="93" y="36"/>
                      <a:pt x="93" y="36"/>
                    </a:cubicBezTo>
                    <a:cubicBezTo>
                      <a:pt x="91" y="36"/>
                      <a:pt x="91" y="36"/>
                      <a:pt x="91" y="36"/>
                    </a:cubicBezTo>
                    <a:cubicBezTo>
                      <a:pt x="90" y="34"/>
                      <a:pt x="90" y="34"/>
                      <a:pt x="90" y="34"/>
                    </a:cubicBezTo>
                    <a:cubicBezTo>
                      <a:pt x="89" y="33"/>
                      <a:pt x="89" y="33"/>
                      <a:pt x="89" y="33"/>
                    </a:cubicBezTo>
                    <a:cubicBezTo>
                      <a:pt x="88" y="33"/>
                      <a:pt x="88" y="33"/>
                      <a:pt x="88" y="33"/>
                    </a:cubicBezTo>
                    <a:cubicBezTo>
                      <a:pt x="86" y="31"/>
                      <a:pt x="86" y="31"/>
                      <a:pt x="86" y="31"/>
                    </a:cubicBezTo>
                    <a:cubicBezTo>
                      <a:pt x="85" y="31"/>
                      <a:pt x="85" y="31"/>
                      <a:pt x="85" y="31"/>
                    </a:cubicBezTo>
                    <a:cubicBezTo>
                      <a:pt x="85" y="31"/>
                      <a:pt x="84" y="34"/>
                      <a:pt x="84" y="32"/>
                    </a:cubicBezTo>
                    <a:cubicBezTo>
                      <a:pt x="83" y="31"/>
                      <a:pt x="82" y="29"/>
                      <a:pt x="82" y="29"/>
                    </a:cubicBezTo>
                    <a:cubicBezTo>
                      <a:pt x="82" y="28"/>
                      <a:pt x="82" y="28"/>
                      <a:pt x="82" y="28"/>
                    </a:cubicBezTo>
                    <a:cubicBezTo>
                      <a:pt x="83" y="26"/>
                      <a:pt x="83" y="26"/>
                      <a:pt x="83" y="26"/>
                    </a:cubicBezTo>
                    <a:cubicBezTo>
                      <a:pt x="82" y="24"/>
                      <a:pt x="82" y="24"/>
                      <a:pt x="82" y="24"/>
                    </a:cubicBezTo>
                    <a:cubicBezTo>
                      <a:pt x="82" y="24"/>
                      <a:pt x="82" y="22"/>
                      <a:pt x="82" y="22"/>
                    </a:cubicBezTo>
                    <a:cubicBezTo>
                      <a:pt x="82" y="22"/>
                      <a:pt x="81" y="20"/>
                      <a:pt x="81" y="20"/>
                    </a:cubicBezTo>
                    <a:cubicBezTo>
                      <a:pt x="82" y="18"/>
                      <a:pt x="82" y="18"/>
                      <a:pt x="82" y="18"/>
                    </a:cubicBezTo>
                    <a:cubicBezTo>
                      <a:pt x="80" y="17"/>
                      <a:pt x="80" y="17"/>
                      <a:pt x="80" y="17"/>
                    </a:cubicBezTo>
                    <a:cubicBezTo>
                      <a:pt x="80" y="15"/>
                      <a:pt x="80" y="15"/>
                      <a:pt x="80" y="15"/>
                    </a:cubicBezTo>
                    <a:cubicBezTo>
                      <a:pt x="80" y="14"/>
                      <a:pt x="80" y="14"/>
                      <a:pt x="80" y="14"/>
                    </a:cubicBezTo>
                    <a:cubicBezTo>
                      <a:pt x="78" y="13"/>
                      <a:pt x="78" y="13"/>
                      <a:pt x="78" y="13"/>
                    </a:cubicBezTo>
                    <a:cubicBezTo>
                      <a:pt x="78" y="13"/>
                      <a:pt x="77" y="13"/>
                      <a:pt x="77" y="12"/>
                    </a:cubicBezTo>
                    <a:cubicBezTo>
                      <a:pt x="77" y="11"/>
                      <a:pt x="75" y="10"/>
                      <a:pt x="75" y="10"/>
                    </a:cubicBezTo>
                    <a:cubicBezTo>
                      <a:pt x="75" y="10"/>
                      <a:pt x="75" y="10"/>
                      <a:pt x="74" y="11"/>
                    </a:cubicBezTo>
                    <a:cubicBezTo>
                      <a:pt x="74" y="11"/>
                      <a:pt x="74" y="13"/>
                      <a:pt x="73" y="13"/>
                    </a:cubicBezTo>
                    <a:cubicBezTo>
                      <a:pt x="73" y="13"/>
                      <a:pt x="74" y="13"/>
                      <a:pt x="72" y="13"/>
                    </a:cubicBezTo>
                    <a:cubicBezTo>
                      <a:pt x="69" y="13"/>
                      <a:pt x="70" y="13"/>
                      <a:pt x="69" y="12"/>
                    </a:cubicBezTo>
                    <a:cubicBezTo>
                      <a:pt x="69" y="11"/>
                      <a:pt x="67" y="10"/>
                      <a:pt x="67" y="10"/>
                    </a:cubicBezTo>
                    <a:cubicBezTo>
                      <a:pt x="66" y="7"/>
                      <a:pt x="66" y="7"/>
                      <a:pt x="66" y="7"/>
                    </a:cubicBezTo>
                    <a:cubicBezTo>
                      <a:pt x="64" y="7"/>
                      <a:pt x="64" y="7"/>
                      <a:pt x="64" y="7"/>
                    </a:cubicBezTo>
                    <a:cubicBezTo>
                      <a:pt x="64" y="7"/>
                      <a:pt x="66" y="7"/>
                      <a:pt x="63" y="7"/>
                    </a:cubicBezTo>
                    <a:cubicBezTo>
                      <a:pt x="60" y="7"/>
                      <a:pt x="57" y="8"/>
                      <a:pt x="57" y="8"/>
                    </a:cubicBezTo>
                    <a:cubicBezTo>
                      <a:pt x="56" y="9"/>
                      <a:pt x="56" y="9"/>
                      <a:pt x="56" y="9"/>
                    </a:cubicBezTo>
                    <a:cubicBezTo>
                      <a:pt x="56" y="9"/>
                      <a:pt x="55" y="11"/>
                      <a:pt x="55" y="11"/>
                    </a:cubicBezTo>
                    <a:cubicBezTo>
                      <a:pt x="55" y="11"/>
                      <a:pt x="56" y="12"/>
                      <a:pt x="55" y="11"/>
                    </a:cubicBezTo>
                    <a:cubicBezTo>
                      <a:pt x="55" y="11"/>
                      <a:pt x="55" y="11"/>
                      <a:pt x="55" y="10"/>
                    </a:cubicBezTo>
                    <a:cubicBezTo>
                      <a:pt x="54" y="10"/>
                      <a:pt x="55" y="9"/>
                      <a:pt x="55" y="9"/>
                    </a:cubicBezTo>
                    <a:cubicBezTo>
                      <a:pt x="55" y="9"/>
                      <a:pt x="53" y="8"/>
                      <a:pt x="53" y="8"/>
                    </a:cubicBezTo>
                    <a:cubicBezTo>
                      <a:pt x="52" y="9"/>
                      <a:pt x="52" y="9"/>
                      <a:pt x="52" y="9"/>
                    </a:cubicBezTo>
                    <a:cubicBezTo>
                      <a:pt x="52" y="9"/>
                      <a:pt x="53" y="10"/>
                      <a:pt x="52" y="10"/>
                    </a:cubicBezTo>
                    <a:cubicBezTo>
                      <a:pt x="51" y="10"/>
                      <a:pt x="50" y="11"/>
                      <a:pt x="50" y="10"/>
                    </a:cubicBezTo>
                    <a:cubicBezTo>
                      <a:pt x="50" y="10"/>
                      <a:pt x="51" y="9"/>
                      <a:pt x="51" y="9"/>
                    </a:cubicBezTo>
                    <a:cubicBezTo>
                      <a:pt x="52" y="9"/>
                      <a:pt x="52" y="8"/>
                      <a:pt x="52" y="7"/>
                    </a:cubicBezTo>
                    <a:cubicBezTo>
                      <a:pt x="52" y="7"/>
                      <a:pt x="52" y="6"/>
                      <a:pt x="51" y="6"/>
                    </a:cubicBezTo>
                    <a:cubicBezTo>
                      <a:pt x="51" y="6"/>
                      <a:pt x="50" y="6"/>
                      <a:pt x="49" y="6"/>
                    </a:cubicBezTo>
                    <a:cubicBezTo>
                      <a:pt x="49" y="6"/>
                      <a:pt x="48" y="7"/>
                      <a:pt x="48" y="7"/>
                    </a:cubicBezTo>
                    <a:cubicBezTo>
                      <a:pt x="48" y="7"/>
                      <a:pt x="49" y="7"/>
                      <a:pt x="48" y="7"/>
                    </a:cubicBezTo>
                    <a:cubicBezTo>
                      <a:pt x="48" y="7"/>
                      <a:pt x="47" y="8"/>
                      <a:pt x="47" y="8"/>
                    </a:cubicBezTo>
                    <a:cubicBezTo>
                      <a:pt x="47" y="8"/>
                      <a:pt x="46" y="7"/>
                      <a:pt x="46" y="7"/>
                    </a:cubicBezTo>
                    <a:cubicBezTo>
                      <a:pt x="46" y="7"/>
                      <a:pt x="46" y="6"/>
                      <a:pt x="46" y="6"/>
                    </a:cubicBezTo>
                    <a:cubicBezTo>
                      <a:pt x="45" y="7"/>
                      <a:pt x="45" y="8"/>
                      <a:pt x="45" y="8"/>
                    </a:cubicBezTo>
                    <a:cubicBezTo>
                      <a:pt x="44" y="9"/>
                      <a:pt x="44" y="8"/>
                      <a:pt x="44" y="8"/>
                    </a:cubicBezTo>
                    <a:cubicBezTo>
                      <a:pt x="44" y="8"/>
                      <a:pt x="43" y="6"/>
                      <a:pt x="43" y="6"/>
                    </a:cubicBezTo>
                    <a:cubicBezTo>
                      <a:pt x="42" y="5"/>
                      <a:pt x="42" y="5"/>
                      <a:pt x="42" y="5"/>
                    </a:cubicBezTo>
                    <a:cubicBezTo>
                      <a:pt x="42" y="5"/>
                      <a:pt x="40" y="6"/>
                      <a:pt x="39" y="5"/>
                    </a:cubicBezTo>
                    <a:cubicBezTo>
                      <a:pt x="39" y="5"/>
                      <a:pt x="38" y="5"/>
                      <a:pt x="37" y="4"/>
                    </a:cubicBezTo>
                    <a:cubicBezTo>
                      <a:pt x="37" y="4"/>
                      <a:pt x="36" y="3"/>
                      <a:pt x="36" y="3"/>
                    </a:cubicBezTo>
                    <a:cubicBezTo>
                      <a:pt x="36" y="3"/>
                      <a:pt x="36" y="3"/>
                      <a:pt x="35" y="3"/>
                    </a:cubicBezTo>
                    <a:cubicBezTo>
                      <a:pt x="34" y="3"/>
                      <a:pt x="34" y="3"/>
                      <a:pt x="34" y="3"/>
                    </a:cubicBezTo>
                    <a:cubicBezTo>
                      <a:pt x="33" y="2"/>
                      <a:pt x="34" y="2"/>
                      <a:pt x="32" y="2"/>
                    </a:cubicBezTo>
                    <a:cubicBezTo>
                      <a:pt x="30" y="2"/>
                      <a:pt x="30" y="3"/>
                      <a:pt x="29" y="3"/>
                    </a:cubicBezTo>
                    <a:cubicBezTo>
                      <a:pt x="28" y="3"/>
                      <a:pt x="28" y="3"/>
                      <a:pt x="28" y="3"/>
                    </a:cubicBezTo>
                    <a:cubicBezTo>
                      <a:pt x="27" y="2"/>
                      <a:pt x="27" y="2"/>
                      <a:pt x="27" y="2"/>
                    </a:cubicBezTo>
                    <a:cubicBezTo>
                      <a:pt x="27" y="1"/>
                      <a:pt x="27" y="0"/>
                      <a:pt x="26" y="1"/>
                    </a:cubicBezTo>
                    <a:cubicBezTo>
                      <a:pt x="26" y="2"/>
                      <a:pt x="27" y="2"/>
                      <a:pt x="26" y="3"/>
                    </a:cubicBezTo>
                    <a:cubicBezTo>
                      <a:pt x="25" y="3"/>
                      <a:pt x="24" y="4"/>
                      <a:pt x="24" y="4"/>
                    </a:cubicBezTo>
                    <a:cubicBezTo>
                      <a:pt x="24" y="4"/>
                      <a:pt x="23" y="5"/>
                      <a:pt x="23" y="5"/>
                    </a:cubicBezTo>
                    <a:cubicBezTo>
                      <a:pt x="23" y="5"/>
                      <a:pt x="23" y="6"/>
                      <a:pt x="23" y="6"/>
                    </a:cubicBezTo>
                    <a:cubicBezTo>
                      <a:pt x="23" y="6"/>
                      <a:pt x="22" y="5"/>
                      <a:pt x="22" y="5"/>
                    </a:cubicBezTo>
                    <a:cubicBezTo>
                      <a:pt x="22" y="5"/>
                      <a:pt x="21" y="5"/>
                      <a:pt x="21" y="5"/>
                    </a:cubicBezTo>
                    <a:cubicBezTo>
                      <a:pt x="21" y="5"/>
                      <a:pt x="20" y="6"/>
                      <a:pt x="20" y="6"/>
                    </a:cubicBezTo>
                    <a:cubicBezTo>
                      <a:pt x="20" y="6"/>
                      <a:pt x="20" y="7"/>
                      <a:pt x="20" y="7"/>
                    </a:cubicBezTo>
                    <a:cubicBezTo>
                      <a:pt x="20" y="8"/>
                      <a:pt x="19" y="9"/>
                      <a:pt x="19" y="9"/>
                    </a:cubicBezTo>
                    <a:cubicBezTo>
                      <a:pt x="18" y="9"/>
                      <a:pt x="18" y="9"/>
                      <a:pt x="18" y="9"/>
                    </a:cubicBezTo>
                    <a:cubicBezTo>
                      <a:pt x="18" y="9"/>
                      <a:pt x="18" y="9"/>
                      <a:pt x="17" y="9"/>
                    </a:cubicBezTo>
                    <a:cubicBezTo>
                      <a:pt x="16" y="9"/>
                      <a:pt x="14" y="9"/>
                      <a:pt x="14" y="9"/>
                    </a:cubicBezTo>
                    <a:cubicBezTo>
                      <a:pt x="14" y="9"/>
                      <a:pt x="13" y="9"/>
                      <a:pt x="13" y="9"/>
                    </a:cubicBezTo>
                    <a:cubicBezTo>
                      <a:pt x="13" y="10"/>
                      <a:pt x="13" y="10"/>
                      <a:pt x="13" y="10"/>
                    </a:cubicBezTo>
                    <a:cubicBezTo>
                      <a:pt x="12" y="11"/>
                      <a:pt x="12" y="11"/>
                      <a:pt x="12" y="11"/>
                    </a:cubicBezTo>
                    <a:cubicBezTo>
                      <a:pt x="12" y="11"/>
                      <a:pt x="11" y="12"/>
                      <a:pt x="10" y="12"/>
                    </a:cubicBezTo>
                    <a:cubicBezTo>
                      <a:pt x="10" y="11"/>
                      <a:pt x="9" y="11"/>
                      <a:pt x="9" y="11"/>
                    </a:cubicBezTo>
                    <a:cubicBezTo>
                      <a:pt x="8" y="11"/>
                      <a:pt x="8" y="11"/>
                      <a:pt x="8" y="11"/>
                    </a:cubicBezTo>
                    <a:cubicBezTo>
                      <a:pt x="8" y="11"/>
                      <a:pt x="7" y="11"/>
                      <a:pt x="7" y="12"/>
                    </a:cubicBezTo>
                    <a:cubicBezTo>
                      <a:pt x="7" y="12"/>
                      <a:pt x="7" y="12"/>
                      <a:pt x="7" y="12"/>
                    </a:cubicBezTo>
                    <a:cubicBezTo>
                      <a:pt x="6" y="12"/>
                      <a:pt x="6" y="12"/>
                      <a:pt x="6" y="12"/>
                    </a:cubicBezTo>
                    <a:cubicBezTo>
                      <a:pt x="6" y="12"/>
                      <a:pt x="7" y="13"/>
                      <a:pt x="7" y="13"/>
                    </a:cubicBezTo>
                    <a:cubicBezTo>
                      <a:pt x="7" y="14"/>
                      <a:pt x="7" y="14"/>
                      <a:pt x="7" y="15"/>
                    </a:cubicBezTo>
                    <a:cubicBezTo>
                      <a:pt x="7" y="15"/>
                      <a:pt x="7" y="15"/>
                      <a:pt x="6" y="15"/>
                    </a:cubicBezTo>
                    <a:cubicBezTo>
                      <a:pt x="6" y="15"/>
                      <a:pt x="5" y="15"/>
                      <a:pt x="5" y="15"/>
                    </a:cubicBezTo>
                    <a:cubicBezTo>
                      <a:pt x="5" y="15"/>
                      <a:pt x="5" y="14"/>
                      <a:pt x="4" y="14"/>
                    </a:cubicBezTo>
                    <a:cubicBezTo>
                      <a:pt x="4" y="14"/>
                      <a:pt x="2" y="15"/>
                      <a:pt x="2" y="15"/>
                    </a:cubicBezTo>
                    <a:cubicBezTo>
                      <a:pt x="1" y="17"/>
                      <a:pt x="1" y="17"/>
                      <a:pt x="1" y="17"/>
                    </a:cubicBezTo>
                    <a:cubicBezTo>
                      <a:pt x="0" y="18"/>
                      <a:pt x="0" y="18"/>
                      <a:pt x="0" y="18"/>
                    </a:cubicBezTo>
                    <a:cubicBezTo>
                      <a:pt x="4" y="18"/>
                      <a:pt x="4" y="18"/>
                      <a:pt x="4" y="18"/>
                    </a:cubicBezTo>
                    <a:cubicBezTo>
                      <a:pt x="5" y="18"/>
                      <a:pt x="5" y="18"/>
                      <a:pt x="5" y="18"/>
                    </a:cubicBezTo>
                    <a:cubicBezTo>
                      <a:pt x="6" y="18"/>
                      <a:pt x="6" y="18"/>
                      <a:pt x="6" y="18"/>
                    </a:cubicBezTo>
                    <a:cubicBezTo>
                      <a:pt x="7" y="17"/>
                      <a:pt x="7" y="17"/>
                      <a:pt x="7" y="17"/>
                    </a:cubicBezTo>
                    <a:cubicBezTo>
                      <a:pt x="7" y="17"/>
                      <a:pt x="8" y="18"/>
                      <a:pt x="8" y="18"/>
                    </a:cubicBezTo>
                    <a:cubicBezTo>
                      <a:pt x="8" y="18"/>
                      <a:pt x="9" y="19"/>
                      <a:pt x="9" y="19"/>
                    </a:cubicBezTo>
                    <a:cubicBezTo>
                      <a:pt x="10" y="19"/>
                      <a:pt x="10" y="19"/>
                      <a:pt x="10" y="19"/>
                    </a:cubicBezTo>
                    <a:cubicBezTo>
                      <a:pt x="12" y="18"/>
                      <a:pt x="12" y="18"/>
                      <a:pt x="12" y="18"/>
                    </a:cubicBezTo>
                    <a:cubicBezTo>
                      <a:pt x="12" y="19"/>
                      <a:pt x="12" y="19"/>
                      <a:pt x="12" y="19"/>
                    </a:cubicBezTo>
                    <a:cubicBezTo>
                      <a:pt x="12" y="19"/>
                      <a:pt x="12" y="20"/>
                      <a:pt x="13" y="20"/>
                    </a:cubicBezTo>
                    <a:cubicBezTo>
                      <a:pt x="13" y="20"/>
                      <a:pt x="13" y="20"/>
                      <a:pt x="13" y="20"/>
                    </a:cubicBezTo>
                    <a:cubicBezTo>
                      <a:pt x="13" y="21"/>
                      <a:pt x="13" y="21"/>
                      <a:pt x="13" y="21"/>
                    </a:cubicBezTo>
                    <a:cubicBezTo>
                      <a:pt x="15" y="21"/>
                      <a:pt x="15" y="21"/>
                      <a:pt x="15" y="21"/>
                    </a:cubicBezTo>
                    <a:cubicBezTo>
                      <a:pt x="15" y="21"/>
                      <a:pt x="16" y="21"/>
                      <a:pt x="16" y="21"/>
                    </a:cubicBezTo>
                    <a:cubicBezTo>
                      <a:pt x="16" y="22"/>
                      <a:pt x="16" y="22"/>
                      <a:pt x="16" y="22"/>
                    </a:cubicBezTo>
                    <a:cubicBezTo>
                      <a:pt x="16" y="22"/>
                      <a:pt x="17" y="23"/>
                      <a:pt x="17" y="23"/>
                    </a:cubicBezTo>
                    <a:cubicBezTo>
                      <a:pt x="18" y="24"/>
                      <a:pt x="18" y="25"/>
                      <a:pt x="18" y="25"/>
                    </a:cubicBezTo>
                    <a:cubicBezTo>
                      <a:pt x="19" y="25"/>
                      <a:pt x="19" y="25"/>
                      <a:pt x="19" y="25"/>
                    </a:cubicBezTo>
                    <a:cubicBezTo>
                      <a:pt x="20" y="26"/>
                      <a:pt x="20" y="26"/>
                      <a:pt x="20" y="26"/>
                    </a:cubicBezTo>
                    <a:cubicBezTo>
                      <a:pt x="21" y="27"/>
                      <a:pt x="21" y="27"/>
                      <a:pt x="21" y="27"/>
                    </a:cubicBezTo>
                    <a:cubicBezTo>
                      <a:pt x="21" y="27"/>
                      <a:pt x="21" y="27"/>
                      <a:pt x="21" y="27"/>
                    </a:cubicBezTo>
                    <a:cubicBezTo>
                      <a:pt x="21" y="28"/>
                      <a:pt x="21" y="28"/>
                      <a:pt x="21" y="28"/>
                    </a:cubicBezTo>
                    <a:cubicBezTo>
                      <a:pt x="21" y="28"/>
                      <a:pt x="22" y="28"/>
                      <a:pt x="22" y="28"/>
                    </a:cubicBezTo>
                    <a:cubicBezTo>
                      <a:pt x="22" y="29"/>
                      <a:pt x="23" y="29"/>
                      <a:pt x="23" y="29"/>
                    </a:cubicBezTo>
                    <a:cubicBezTo>
                      <a:pt x="23" y="29"/>
                      <a:pt x="23" y="30"/>
                      <a:pt x="23" y="30"/>
                    </a:cubicBezTo>
                    <a:cubicBezTo>
                      <a:pt x="23" y="30"/>
                      <a:pt x="24" y="31"/>
                      <a:pt x="24" y="31"/>
                    </a:cubicBezTo>
                    <a:cubicBezTo>
                      <a:pt x="24" y="31"/>
                      <a:pt x="24" y="31"/>
                      <a:pt x="24" y="32"/>
                    </a:cubicBezTo>
                    <a:cubicBezTo>
                      <a:pt x="24" y="32"/>
                      <a:pt x="25" y="33"/>
                      <a:pt x="25" y="33"/>
                    </a:cubicBezTo>
                    <a:cubicBezTo>
                      <a:pt x="25" y="34"/>
                      <a:pt x="25" y="34"/>
                      <a:pt x="26" y="34"/>
                    </a:cubicBezTo>
                    <a:cubicBezTo>
                      <a:pt x="26" y="34"/>
                      <a:pt x="26" y="34"/>
                      <a:pt x="26" y="34"/>
                    </a:cubicBezTo>
                    <a:cubicBezTo>
                      <a:pt x="26" y="34"/>
                      <a:pt x="26" y="34"/>
                      <a:pt x="26" y="35"/>
                    </a:cubicBezTo>
                    <a:cubicBezTo>
                      <a:pt x="26" y="36"/>
                      <a:pt x="26" y="36"/>
                      <a:pt x="26" y="37"/>
                    </a:cubicBezTo>
                    <a:cubicBezTo>
                      <a:pt x="27" y="37"/>
                      <a:pt x="27" y="38"/>
                      <a:pt x="28" y="38"/>
                    </a:cubicBezTo>
                    <a:cubicBezTo>
                      <a:pt x="29" y="38"/>
                      <a:pt x="29" y="38"/>
                      <a:pt x="29" y="38"/>
                    </a:cubicBezTo>
                    <a:cubicBezTo>
                      <a:pt x="29" y="38"/>
                      <a:pt x="30" y="39"/>
                      <a:pt x="30" y="40"/>
                    </a:cubicBezTo>
                    <a:cubicBezTo>
                      <a:pt x="31" y="40"/>
                      <a:pt x="31" y="40"/>
                      <a:pt x="31" y="40"/>
                    </a:cubicBezTo>
                    <a:cubicBezTo>
                      <a:pt x="32" y="41"/>
                      <a:pt x="32" y="41"/>
                      <a:pt x="32" y="41"/>
                    </a:cubicBezTo>
                    <a:cubicBezTo>
                      <a:pt x="32" y="41"/>
                      <a:pt x="32" y="41"/>
                      <a:pt x="32" y="41"/>
                    </a:cubicBezTo>
                    <a:cubicBezTo>
                      <a:pt x="32" y="41"/>
                      <a:pt x="34" y="43"/>
                      <a:pt x="35" y="43"/>
                    </a:cubicBezTo>
                    <a:cubicBezTo>
                      <a:pt x="35" y="43"/>
                      <a:pt x="35" y="44"/>
                      <a:pt x="35" y="44"/>
                    </a:cubicBezTo>
                    <a:cubicBezTo>
                      <a:pt x="35" y="44"/>
                      <a:pt x="36" y="44"/>
                      <a:pt x="36" y="44"/>
                    </a:cubicBezTo>
                    <a:cubicBezTo>
                      <a:pt x="37" y="44"/>
                      <a:pt x="38" y="44"/>
                      <a:pt x="38" y="45"/>
                    </a:cubicBezTo>
                    <a:cubicBezTo>
                      <a:pt x="38" y="45"/>
                      <a:pt x="38" y="46"/>
                      <a:pt x="38" y="46"/>
                    </a:cubicBezTo>
                    <a:cubicBezTo>
                      <a:pt x="39" y="47"/>
                      <a:pt x="39" y="47"/>
                      <a:pt x="39" y="48"/>
                    </a:cubicBezTo>
                    <a:cubicBezTo>
                      <a:pt x="39" y="48"/>
                      <a:pt x="40" y="49"/>
                      <a:pt x="40" y="49"/>
                    </a:cubicBezTo>
                    <a:cubicBezTo>
                      <a:pt x="45" y="51"/>
                      <a:pt x="45" y="51"/>
                      <a:pt x="45" y="51"/>
                    </a:cubicBezTo>
                    <a:cubicBezTo>
                      <a:pt x="46" y="53"/>
                      <a:pt x="46" y="53"/>
                      <a:pt x="46" y="53"/>
                    </a:cubicBezTo>
                    <a:cubicBezTo>
                      <a:pt x="46" y="53"/>
                      <a:pt x="46" y="54"/>
                      <a:pt x="47" y="54"/>
                    </a:cubicBezTo>
                    <a:cubicBezTo>
                      <a:pt x="47" y="55"/>
                      <a:pt x="48" y="55"/>
                      <a:pt x="48" y="55"/>
                    </a:cubicBezTo>
                    <a:cubicBezTo>
                      <a:pt x="50" y="57"/>
                      <a:pt x="50" y="57"/>
                      <a:pt x="50" y="57"/>
                    </a:cubicBezTo>
                    <a:cubicBezTo>
                      <a:pt x="53" y="58"/>
                      <a:pt x="53" y="58"/>
                      <a:pt x="53" y="58"/>
                    </a:cubicBezTo>
                    <a:cubicBezTo>
                      <a:pt x="53" y="58"/>
                      <a:pt x="55" y="59"/>
                      <a:pt x="55" y="59"/>
                    </a:cubicBezTo>
                    <a:cubicBezTo>
                      <a:pt x="56" y="59"/>
                      <a:pt x="57" y="60"/>
                      <a:pt x="57" y="60"/>
                    </a:cubicBezTo>
                    <a:cubicBezTo>
                      <a:pt x="57" y="60"/>
                      <a:pt x="59" y="63"/>
                      <a:pt x="59" y="63"/>
                    </a:cubicBezTo>
                    <a:cubicBezTo>
                      <a:pt x="59" y="63"/>
                      <a:pt x="61" y="64"/>
                      <a:pt x="61" y="66"/>
                    </a:cubicBezTo>
                    <a:cubicBezTo>
                      <a:pt x="62" y="67"/>
                      <a:pt x="62" y="67"/>
                      <a:pt x="62" y="68"/>
                    </a:cubicBezTo>
                    <a:cubicBezTo>
                      <a:pt x="63" y="70"/>
                      <a:pt x="64" y="71"/>
                      <a:pt x="64" y="71"/>
                    </a:cubicBezTo>
                    <a:cubicBezTo>
                      <a:pt x="64" y="71"/>
                      <a:pt x="64" y="71"/>
                      <a:pt x="65" y="72"/>
                    </a:cubicBezTo>
                    <a:cubicBezTo>
                      <a:pt x="66" y="74"/>
                      <a:pt x="66" y="75"/>
                      <a:pt x="67" y="75"/>
                    </a:cubicBezTo>
                    <a:cubicBezTo>
                      <a:pt x="67" y="75"/>
                      <a:pt x="67" y="75"/>
                      <a:pt x="67" y="76"/>
                    </a:cubicBezTo>
                    <a:cubicBezTo>
                      <a:pt x="67" y="76"/>
                      <a:pt x="67" y="77"/>
                      <a:pt x="67" y="77"/>
                    </a:cubicBezTo>
                    <a:cubicBezTo>
                      <a:pt x="67" y="77"/>
                      <a:pt x="67" y="79"/>
                      <a:pt x="67" y="79"/>
                    </a:cubicBezTo>
                    <a:cubicBezTo>
                      <a:pt x="67" y="79"/>
                      <a:pt x="68" y="81"/>
                      <a:pt x="68" y="81"/>
                    </a:cubicBezTo>
                    <a:cubicBezTo>
                      <a:pt x="68" y="81"/>
                      <a:pt x="68" y="81"/>
                      <a:pt x="68" y="81"/>
                    </a:cubicBezTo>
                    <a:cubicBezTo>
                      <a:pt x="69" y="84"/>
                      <a:pt x="69" y="84"/>
                      <a:pt x="69" y="84"/>
                    </a:cubicBezTo>
                    <a:cubicBezTo>
                      <a:pt x="68" y="86"/>
                      <a:pt x="68" y="86"/>
                      <a:pt x="68" y="86"/>
                    </a:cubicBezTo>
                    <a:cubicBezTo>
                      <a:pt x="68" y="86"/>
                      <a:pt x="68" y="87"/>
                      <a:pt x="68" y="87"/>
                    </a:cubicBezTo>
                    <a:cubicBezTo>
                      <a:pt x="69" y="87"/>
                      <a:pt x="69" y="87"/>
                      <a:pt x="69" y="88"/>
                    </a:cubicBezTo>
                    <a:cubicBezTo>
                      <a:pt x="69" y="88"/>
                      <a:pt x="68" y="89"/>
                      <a:pt x="68" y="89"/>
                    </a:cubicBezTo>
                    <a:cubicBezTo>
                      <a:pt x="68" y="90"/>
                      <a:pt x="68" y="90"/>
                      <a:pt x="68" y="90"/>
                    </a:cubicBezTo>
                    <a:cubicBezTo>
                      <a:pt x="68" y="92"/>
                      <a:pt x="68" y="92"/>
                      <a:pt x="68" y="92"/>
                    </a:cubicBezTo>
                    <a:cubicBezTo>
                      <a:pt x="68" y="92"/>
                      <a:pt x="69" y="93"/>
                      <a:pt x="69" y="93"/>
                    </a:cubicBezTo>
                    <a:cubicBezTo>
                      <a:pt x="69" y="93"/>
                      <a:pt x="69" y="95"/>
                      <a:pt x="69" y="95"/>
                    </a:cubicBezTo>
                    <a:cubicBezTo>
                      <a:pt x="69" y="95"/>
                      <a:pt x="69" y="96"/>
                      <a:pt x="69" y="96"/>
                    </a:cubicBezTo>
                    <a:cubicBezTo>
                      <a:pt x="69" y="96"/>
                      <a:pt x="69" y="98"/>
                      <a:pt x="69" y="98"/>
                    </a:cubicBezTo>
                    <a:cubicBezTo>
                      <a:pt x="69" y="99"/>
                      <a:pt x="70" y="99"/>
                      <a:pt x="70" y="100"/>
                    </a:cubicBezTo>
                    <a:cubicBezTo>
                      <a:pt x="70" y="100"/>
                      <a:pt x="69" y="101"/>
                      <a:pt x="70" y="102"/>
                    </a:cubicBezTo>
                    <a:cubicBezTo>
                      <a:pt x="70" y="103"/>
                      <a:pt x="72" y="105"/>
                      <a:pt x="72" y="105"/>
                    </a:cubicBezTo>
                    <a:cubicBezTo>
                      <a:pt x="72" y="105"/>
                      <a:pt x="73" y="107"/>
                      <a:pt x="73" y="107"/>
                    </a:cubicBezTo>
                    <a:cubicBezTo>
                      <a:pt x="73" y="108"/>
                      <a:pt x="72" y="108"/>
                      <a:pt x="73" y="109"/>
                    </a:cubicBezTo>
                    <a:cubicBezTo>
                      <a:pt x="73" y="109"/>
                      <a:pt x="72" y="109"/>
                      <a:pt x="73" y="110"/>
                    </a:cubicBezTo>
                    <a:cubicBezTo>
                      <a:pt x="74" y="110"/>
                      <a:pt x="74" y="112"/>
                      <a:pt x="74" y="112"/>
                    </a:cubicBezTo>
                    <a:cubicBezTo>
                      <a:pt x="74" y="112"/>
                      <a:pt x="75" y="112"/>
                      <a:pt x="75" y="113"/>
                    </a:cubicBezTo>
                    <a:cubicBezTo>
                      <a:pt x="75" y="114"/>
                      <a:pt x="75" y="115"/>
                      <a:pt x="75" y="115"/>
                    </a:cubicBezTo>
                    <a:cubicBezTo>
                      <a:pt x="76" y="116"/>
                      <a:pt x="76" y="116"/>
                      <a:pt x="76" y="116"/>
                    </a:cubicBezTo>
                    <a:cubicBezTo>
                      <a:pt x="75" y="116"/>
                      <a:pt x="75" y="117"/>
                      <a:pt x="75" y="117"/>
                    </a:cubicBezTo>
                    <a:cubicBezTo>
                      <a:pt x="74" y="118"/>
                      <a:pt x="74" y="118"/>
                      <a:pt x="74" y="118"/>
                    </a:cubicBezTo>
                    <a:cubicBezTo>
                      <a:pt x="74" y="118"/>
                      <a:pt x="75" y="119"/>
                      <a:pt x="75" y="119"/>
                    </a:cubicBezTo>
                    <a:cubicBezTo>
                      <a:pt x="76" y="119"/>
                      <a:pt x="76" y="120"/>
                      <a:pt x="76" y="120"/>
                    </a:cubicBezTo>
                    <a:cubicBezTo>
                      <a:pt x="77" y="121"/>
                      <a:pt x="77" y="121"/>
                      <a:pt x="77" y="121"/>
                    </a:cubicBezTo>
                    <a:cubicBezTo>
                      <a:pt x="78" y="122"/>
                      <a:pt x="78" y="122"/>
                      <a:pt x="78" y="122"/>
                    </a:cubicBezTo>
                    <a:lnTo>
                      <a:pt x="79" y="122"/>
                    </a:lnTo>
                    <a:close/>
                  </a:path>
                </a:pathLst>
              </a:custGeom>
              <a:solidFill>
                <a:srgbClr val="BFBFBF"/>
              </a:solid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25" name="Freeform 70"/>
              <p:cNvSpPr>
                <a:spLocks/>
              </p:cNvSpPr>
              <p:nvPr/>
            </p:nvSpPr>
            <p:spPr bwMode="auto">
              <a:xfrm>
                <a:off x="2560" y="2455"/>
                <a:ext cx="4" cy="4"/>
              </a:xfrm>
              <a:custGeom>
                <a:avLst/>
                <a:gdLst>
                  <a:gd name="T0" fmla="*/ 0 w 2"/>
                  <a:gd name="T1" fmla="*/ 1 h 2"/>
                  <a:gd name="T2" fmla="*/ 0 w 2"/>
                  <a:gd name="T3" fmla="*/ 1 h 2"/>
                  <a:gd name="T4" fmla="*/ 0 w 2"/>
                  <a:gd name="T5" fmla="*/ 1 h 2"/>
                  <a:gd name="T6" fmla="*/ 1 w 2"/>
                  <a:gd name="T7" fmla="*/ 2 h 2"/>
                  <a:gd name="T8" fmla="*/ 2 w 2"/>
                  <a:gd name="T9" fmla="*/ 1 h 2"/>
                  <a:gd name="T10" fmla="*/ 1 w 2"/>
                  <a:gd name="T11" fmla="*/ 0 h 2"/>
                  <a:gd name="T12" fmla="*/ 0 w 2"/>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1"/>
                    </a:moveTo>
                    <a:cubicBezTo>
                      <a:pt x="0" y="1"/>
                      <a:pt x="0" y="1"/>
                      <a:pt x="0" y="1"/>
                    </a:cubicBezTo>
                    <a:cubicBezTo>
                      <a:pt x="0" y="1"/>
                      <a:pt x="0" y="1"/>
                      <a:pt x="0" y="1"/>
                    </a:cubicBezTo>
                    <a:cubicBezTo>
                      <a:pt x="1" y="2"/>
                      <a:pt x="1" y="2"/>
                      <a:pt x="1" y="2"/>
                    </a:cubicBezTo>
                    <a:cubicBezTo>
                      <a:pt x="2" y="1"/>
                      <a:pt x="2" y="1"/>
                      <a:pt x="2" y="1"/>
                    </a:cubicBezTo>
                    <a:cubicBezTo>
                      <a:pt x="1" y="1"/>
                      <a:pt x="1" y="1"/>
                      <a:pt x="1" y="0"/>
                    </a:cubicBezTo>
                    <a:cubicBezTo>
                      <a:pt x="1" y="1"/>
                      <a:pt x="1" y="1"/>
                      <a:pt x="0" y="1"/>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26" name="Freeform 71"/>
              <p:cNvSpPr>
                <a:spLocks/>
              </p:cNvSpPr>
              <p:nvPr/>
            </p:nvSpPr>
            <p:spPr bwMode="auto">
              <a:xfrm>
                <a:off x="2508" y="256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27" name="Freeform 72"/>
              <p:cNvSpPr>
                <a:spLocks noEditPoints="1"/>
              </p:cNvSpPr>
              <p:nvPr/>
            </p:nvSpPr>
            <p:spPr bwMode="auto">
              <a:xfrm>
                <a:off x="1838" y="2134"/>
                <a:ext cx="758" cy="765"/>
              </a:xfrm>
              <a:custGeom>
                <a:avLst/>
                <a:gdLst>
                  <a:gd name="T0" fmla="*/ 335 w 378"/>
                  <a:gd name="T1" fmla="*/ 89 h 381"/>
                  <a:gd name="T2" fmla="*/ 321 w 378"/>
                  <a:gd name="T3" fmla="*/ 75 h 381"/>
                  <a:gd name="T4" fmla="*/ 314 w 378"/>
                  <a:gd name="T5" fmla="*/ 76 h 381"/>
                  <a:gd name="T6" fmla="*/ 311 w 378"/>
                  <a:gd name="T7" fmla="*/ 72 h 381"/>
                  <a:gd name="T8" fmla="*/ 300 w 378"/>
                  <a:gd name="T9" fmla="*/ 69 h 381"/>
                  <a:gd name="T10" fmla="*/ 288 w 378"/>
                  <a:gd name="T11" fmla="*/ 61 h 381"/>
                  <a:gd name="T12" fmla="*/ 284 w 378"/>
                  <a:gd name="T13" fmla="*/ 44 h 381"/>
                  <a:gd name="T14" fmla="*/ 269 w 378"/>
                  <a:gd name="T15" fmla="*/ 52 h 381"/>
                  <a:gd name="T16" fmla="*/ 268 w 378"/>
                  <a:gd name="T17" fmla="*/ 39 h 381"/>
                  <a:gd name="T18" fmla="*/ 253 w 378"/>
                  <a:gd name="T19" fmla="*/ 34 h 381"/>
                  <a:gd name="T20" fmla="*/ 243 w 378"/>
                  <a:gd name="T21" fmla="*/ 23 h 381"/>
                  <a:gd name="T22" fmla="*/ 229 w 378"/>
                  <a:gd name="T23" fmla="*/ 14 h 381"/>
                  <a:gd name="T24" fmla="*/ 227 w 378"/>
                  <a:gd name="T25" fmla="*/ 0 h 381"/>
                  <a:gd name="T26" fmla="*/ 190 w 378"/>
                  <a:gd name="T27" fmla="*/ 37 h 381"/>
                  <a:gd name="T28" fmla="*/ 138 w 378"/>
                  <a:gd name="T29" fmla="*/ 70 h 381"/>
                  <a:gd name="T30" fmla="*/ 99 w 378"/>
                  <a:gd name="T31" fmla="*/ 48 h 381"/>
                  <a:gd name="T32" fmla="*/ 97 w 378"/>
                  <a:gd name="T33" fmla="*/ 67 h 381"/>
                  <a:gd name="T34" fmla="*/ 71 w 378"/>
                  <a:gd name="T35" fmla="*/ 89 h 381"/>
                  <a:gd name="T36" fmla="*/ 37 w 378"/>
                  <a:gd name="T37" fmla="*/ 79 h 381"/>
                  <a:gd name="T38" fmla="*/ 3 w 378"/>
                  <a:gd name="T39" fmla="*/ 90 h 381"/>
                  <a:gd name="T40" fmla="*/ 4 w 378"/>
                  <a:gd name="T41" fmla="*/ 106 h 381"/>
                  <a:gd name="T42" fmla="*/ 28 w 378"/>
                  <a:gd name="T43" fmla="*/ 121 h 381"/>
                  <a:gd name="T44" fmla="*/ 65 w 378"/>
                  <a:gd name="T45" fmla="*/ 138 h 381"/>
                  <a:gd name="T46" fmla="*/ 72 w 378"/>
                  <a:gd name="T47" fmla="*/ 162 h 381"/>
                  <a:gd name="T48" fmla="*/ 75 w 378"/>
                  <a:gd name="T49" fmla="*/ 181 h 381"/>
                  <a:gd name="T50" fmla="*/ 83 w 378"/>
                  <a:gd name="T51" fmla="*/ 195 h 381"/>
                  <a:gd name="T52" fmla="*/ 89 w 378"/>
                  <a:gd name="T53" fmla="*/ 208 h 381"/>
                  <a:gd name="T54" fmla="*/ 93 w 378"/>
                  <a:gd name="T55" fmla="*/ 224 h 381"/>
                  <a:gd name="T56" fmla="*/ 89 w 378"/>
                  <a:gd name="T57" fmla="*/ 232 h 381"/>
                  <a:gd name="T58" fmla="*/ 74 w 378"/>
                  <a:gd name="T59" fmla="*/ 297 h 381"/>
                  <a:gd name="T60" fmla="*/ 108 w 378"/>
                  <a:gd name="T61" fmla="*/ 354 h 381"/>
                  <a:gd name="T62" fmla="*/ 154 w 378"/>
                  <a:gd name="T63" fmla="*/ 366 h 381"/>
                  <a:gd name="T64" fmla="*/ 154 w 378"/>
                  <a:gd name="T65" fmla="*/ 370 h 381"/>
                  <a:gd name="T66" fmla="*/ 158 w 378"/>
                  <a:gd name="T67" fmla="*/ 371 h 381"/>
                  <a:gd name="T68" fmla="*/ 209 w 378"/>
                  <a:gd name="T69" fmla="*/ 375 h 381"/>
                  <a:gd name="T70" fmla="*/ 216 w 378"/>
                  <a:gd name="T71" fmla="*/ 341 h 381"/>
                  <a:gd name="T72" fmla="*/ 256 w 378"/>
                  <a:gd name="T73" fmla="*/ 335 h 381"/>
                  <a:gd name="T74" fmla="*/ 298 w 378"/>
                  <a:gd name="T75" fmla="*/ 351 h 381"/>
                  <a:gd name="T76" fmla="*/ 339 w 378"/>
                  <a:gd name="T77" fmla="*/ 332 h 381"/>
                  <a:gd name="T78" fmla="*/ 347 w 378"/>
                  <a:gd name="T79" fmla="*/ 327 h 381"/>
                  <a:gd name="T80" fmla="*/ 349 w 378"/>
                  <a:gd name="T81" fmla="*/ 327 h 381"/>
                  <a:gd name="T82" fmla="*/ 350 w 378"/>
                  <a:gd name="T83" fmla="*/ 326 h 381"/>
                  <a:gd name="T84" fmla="*/ 351 w 378"/>
                  <a:gd name="T85" fmla="*/ 326 h 381"/>
                  <a:gd name="T86" fmla="*/ 349 w 378"/>
                  <a:gd name="T87" fmla="*/ 310 h 381"/>
                  <a:gd name="T88" fmla="*/ 328 w 378"/>
                  <a:gd name="T89" fmla="*/ 271 h 381"/>
                  <a:gd name="T90" fmla="*/ 332 w 378"/>
                  <a:gd name="T91" fmla="*/ 238 h 381"/>
                  <a:gd name="T92" fmla="*/ 336 w 378"/>
                  <a:gd name="T93" fmla="*/ 224 h 381"/>
                  <a:gd name="T94" fmla="*/ 334 w 378"/>
                  <a:gd name="T95" fmla="*/ 213 h 381"/>
                  <a:gd name="T96" fmla="*/ 318 w 378"/>
                  <a:gd name="T97" fmla="*/ 212 h 381"/>
                  <a:gd name="T98" fmla="*/ 313 w 378"/>
                  <a:gd name="T99" fmla="*/ 223 h 381"/>
                  <a:gd name="T100" fmla="*/ 313 w 378"/>
                  <a:gd name="T101" fmla="*/ 218 h 381"/>
                  <a:gd name="T102" fmla="*/ 313 w 378"/>
                  <a:gd name="T103" fmla="*/ 206 h 381"/>
                  <a:gd name="T104" fmla="*/ 323 w 378"/>
                  <a:gd name="T105" fmla="*/ 195 h 381"/>
                  <a:gd name="T106" fmla="*/ 328 w 378"/>
                  <a:gd name="T107" fmla="*/ 187 h 381"/>
                  <a:gd name="T108" fmla="*/ 335 w 378"/>
                  <a:gd name="T109" fmla="*/ 179 h 381"/>
                  <a:gd name="T110" fmla="*/ 342 w 378"/>
                  <a:gd name="T111" fmla="*/ 169 h 381"/>
                  <a:gd name="T112" fmla="*/ 341 w 378"/>
                  <a:gd name="T113" fmla="*/ 166 h 381"/>
                  <a:gd name="T114" fmla="*/ 349 w 378"/>
                  <a:gd name="T115" fmla="*/ 167 h 381"/>
                  <a:gd name="T116" fmla="*/ 356 w 378"/>
                  <a:gd name="T117" fmla="*/ 162 h 381"/>
                  <a:gd name="T118" fmla="*/ 357 w 378"/>
                  <a:gd name="T119" fmla="*/ 151 h 381"/>
                  <a:gd name="T120" fmla="*/ 368 w 378"/>
                  <a:gd name="T121" fmla="*/ 97 h 381"/>
                  <a:gd name="T122" fmla="*/ 158 w 378"/>
                  <a:gd name="T123" fmla="*/ 371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8" h="381">
                    <a:moveTo>
                      <a:pt x="362" y="97"/>
                    </a:moveTo>
                    <a:cubicBezTo>
                      <a:pt x="359" y="95"/>
                      <a:pt x="359" y="95"/>
                      <a:pt x="359" y="95"/>
                    </a:cubicBezTo>
                    <a:cubicBezTo>
                      <a:pt x="356" y="91"/>
                      <a:pt x="356" y="91"/>
                      <a:pt x="356" y="91"/>
                    </a:cubicBezTo>
                    <a:cubicBezTo>
                      <a:pt x="353" y="92"/>
                      <a:pt x="353" y="92"/>
                      <a:pt x="353" y="92"/>
                    </a:cubicBezTo>
                    <a:cubicBezTo>
                      <a:pt x="351" y="94"/>
                      <a:pt x="351" y="94"/>
                      <a:pt x="351" y="94"/>
                    </a:cubicBezTo>
                    <a:cubicBezTo>
                      <a:pt x="345" y="92"/>
                      <a:pt x="345" y="92"/>
                      <a:pt x="345" y="92"/>
                    </a:cubicBezTo>
                    <a:cubicBezTo>
                      <a:pt x="341" y="89"/>
                      <a:pt x="341" y="89"/>
                      <a:pt x="341" y="89"/>
                    </a:cubicBezTo>
                    <a:cubicBezTo>
                      <a:pt x="338" y="91"/>
                      <a:pt x="338" y="91"/>
                      <a:pt x="338" y="91"/>
                    </a:cubicBezTo>
                    <a:cubicBezTo>
                      <a:pt x="335" y="89"/>
                      <a:pt x="335" y="89"/>
                      <a:pt x="335" y="89"/>
                    </a:cubicBezTo>
                    <a:cubicBezTo>
                      <a:pt x="333" y="85"/>
                      <a:pt x="333" y="85"/>
                      <a:pt x="333" y="85"/>
                    </a:cubicBezTo>
                    <a:cubicBezTo>
                      <a:pt x="332" y="81"/>
                      <a:pt x="332" y="81"/>
                      <a:pt x="332" y="81"/>
                    </a:cubicBezTo>
                    <a:cubicBezTo>
                      <a:pt x="328" y="77"/>
                      <a:pt x="328" y="77"/>
                      <a:pt x="328" y="77"/>
                    </a:cubicBezTo>
                    <a:cubicBezTo>
                      <a:pt x="326" y="78"/>
                      <a:pt x="326" y="78"/>
                      <a:pt x="326" y="78"/>
                    </a:cubicBezTo>
                    <a:cubicBezTo>
                      <a:pt x="326" y="78"/>
                      <a:pt x="326" y="78"/>
                      <a:pt x="326" y="78"/>
                    </a:cubicBezTo>
                    <a:cubicBezTo>
                      <a:pt x="325" y="78"/>
                      <a:pt x="323" y="77"/>
                      <a:pt x="323" y="77"/>
                    </a:cubicBezTo>
                    <a:cubicBezTo>
                      <a:pt x="323" y="76"/>
                      <a:pt x="323" y="76"/>
                      <a:pt x="323" y="76"/>
                    </a:cubicBezTo>
                    <a:cubicBezTo>
                      <a:pt x="322" y="75"/>
                      <a:pt x="322" y="75"/>
                      <a:pt x="322" y="75"/>
                    </a:cubicBezTo>
                    <a:cubicBezTo>
                      <a:pt x="321" y="75"/>
                      <a:pt x="321" y="75"/>
                      <a:pt x="321" y="75"/>
                    </a:cubicBezTo>
                    <a:cubicBezTo>
                      <a:pt x="319" y="76"/>
                      <a:pt x="319" y="76"/>
                      <a:pt x="319" y="76"/>
                    </a:cubicBezTo>
                    <a:cubicBezTo>
                      <a:pt x="319" y="77"/>
                      <a:pt x="319" y="77"/>
                      <a:pt x="319" y="77"/>
                    </a:cubicBezTo>
                    <a:cubicBezTo>
                      <a:pt x="318" y="77"/>
                      <a:pt x="318" y="77"/>
                      <a:pt x="318" y="77"/>
                    </a:cubicBezTo>
                    <a:cubicBezTo>
                      <a:pt x="317" y="78"/>
                      <a:pt x="317" y="78"/>
                      <a:pt x="317" y="78"/>
                    </a:cubicBezTo>
                    <a:cubicBezTo>
                      <a:pt x="317" y="77"/>
                      <a:pt x="317" y="77"/>
                      <a:pt x="317" y="77"/>
                    </a:cubicBezTo>
                    <a:cubicBezTo>
                      <a:pt x="317" y="77"/>
                      <a:pt x="317" y="78"/>
                      <a:pt x="317" y="78"/>
                    </a:cubicBezTo>
                    <a:cubicBezTo>
                      <a:pt x="316" y="78"/>
                      <a:pt x="315" y="78"/>
                      <a:pt x="315" y="78"/>
                    </a:cubicBezTo>
                    <a:cubicBezTo>
                      <a:pt x="314" y="78"/>
                      <a:pt x="314" y="78"/>
                      <a:pt x="314" y="78"/>
                    </a:cubicBezTo>
                    <a:cubicBezTo>
                      <a:pt x="314" y="76"/>
                      <a:pt x="314" y="76"/>
                      <a:pt x="314" y="76"/>
                    </a:cubicBezTo>
                    <a:cubicBezTo>
                      <a:pt x="314" y="76"/>
                      <a:pt x="314" y="76"/>
                      <a:pt x="314" y="76"/>
                    </a:cubicBezTo>
                    <a:cubicBezTo>
                      <a:pt x="313" y="75"/>
                      <a:pt x="313" y="75"/>
                      <a:pt x="313" y="75"/>
                    </a:cubicBezTo>
                    <a:cubicBezTo>
                      <a:pt x="312" y="75"/>
                      <a:pt x="312" y="75"/>
                      <a:pt x="312" y="75"/>
                    </a:cubicBezTo>
                    <a:cubicBezTo>
                      <a:pt x="312" y="75"/>
                      <a:pt x="311" y="74"/>
                      <a:pt x="311" y="74"/>
                    </a:cubicBezTo>
                    <a:cubicBezTo>
                      <a:pt x="311" y="74"/>
                      <a:pt x="310" y="74"/>
                      <a:pt x="310" y="74"/>
                    </a:cubicBezTo>
                    <a:cubicBezTo>
                      <a:pt x="309" y="73"/>
                      <a:pt x="309" y="73"/>
                      <a:pt x="309" y="73"/>
                    </a:cubicBezTo>
                    <a:cubicBezTo>
                      <a:pt x="311" y="73"/>
                      <a:pt x="311" y="73"/>
                      <a:pt x="311" y="73"/>
                    </a:cubicBezTo>
                    <a:cubicBezTo>
                      <a:pt x="311" y="73"/>
                      <a:pt x="311" y="72"/>
                      <a:pt x="311" y="72"/>
                    </a:cubicBezTo>
                    <a:cubicBezTo>
                      <a:pt x="311" y="72"/>
                      <a:pt x="311" y="72"/>
                      <a:pt x="311" y="72"/>
                    </a:cubicBezTo>
                    <a:cubicBezTo>
                      <a:pt x="311" y="72"/>
                      <a:pt x="310" y="72"/>
                      <a:pt x="310" y="72"/>
                    </a:cubicBezTo>
                    <a:cubicBezTo>
                      <a:pt x="308" y="72"/>
                      <a:pt x="308" y="72"/>
                      <a:pt x="308" y="72"/>
                    </a:cubicBezTo>
                    <a:cubicBezTo>
                      <a:pt x="308" y="73"/>
                      <a:pt x="308" y="73"/>
                      <a:pt x="308" y="73"/>
                    </a:cubicBezTo>
                    <a:cubicBezTo>
                      <a:pt x="306" y="73"/>
                      <a:pt x="306" y="73"/>
                      <a:pt x="306" y="73"/>
                    </a:cubicBezTo>
                    <a:cubicBezTo>
                      <a:pt x="305" y="73"/>
                      <a:pt x="305" y="73"/>
                      <a:pt x="305" y="73"/>
                    </a:cubicBezTo>
                    <a:cubicBezTo>
                      <a:pt x="302" y="73"/>
                      <a:pt x="302" y="73"/>
                      <a:pt x="302" y="73"/>
                    </a:cubicBezTo>
                    <a:cubicBezTo>
                      <a:pt x="301" y="72"/>
                      <a:pt x="301" y="72"/>
                      <a:pt x="301" y="72"/>
                    </a:cubicBezTo>
                    <a:cubicBezTo>
                      <a:pt x="301" y="70"/>
                      <a:pt x="301" y="70"/>
                      <a:pt x="301" y="70"/>
                    </a:cubicBezTo>
                    <a:cubicBezTo>
                      <a:pt x="300" y="69"/>
                      <a:pt x="300" y="69"/>
                      <a:pt x="300" y="69"/>
                    </a:cubicBezTo>
                    <a:cubicBezTo>
                      <a:pt x="299" y="69"/>
                      <a:pt x="299" y="69"/>
                      <a:pt x="299" y="69"/>
                    </a:cubicBezTo>
                    <a:cubicBezTo>
                      <a:pt x="297" y="69"/>
                      <a:pt x="297" y="69"/>
                      <a:pt x="297" y="69"/>
                    </a:cubicBezTo>
                    <a:cubicBezTo>
                      <a:pt x="297" y="67"/>
                      <a:pt x="297" y="67"/>
                      <a:pt x="297" y="67"/>
                    </a:cubicBezTo>
                    <a:cubicBezTo>
                      <a:pt x="297" y="67"/>
                      <a:pt x="297" y="65"/>
                      <a:pt x="296" y="65"/>
                    </a:cubicBezTo>
                    <a:cubicBezTo>
                      <a:pt x="296" y="65"/>
                      <a:pt x="295" y="66"/>
                      <a:pt x="295" y="66"/>
                    </a:cubicBezTo>
                    <a:cubicBezTo>
                      <a:pt x="293" y="63"/>
                      <a:pt x="293" y="63"/>
                      <a:pt x="293" y="63"/>
                    </a:cubicBezTo>
                    <a:cubicBezTo>
                      <a:pt x="293" y="63"/>
                      <a:pt x="293" y="63"/>
                      <a:pt x="293" y="63"/>
                    </a:cubicBezTo>
                    <a:cubicBezTo>
                      <a:pt x="292" y="62"/>
                      <a:pt x="291" y="61"/>
                      <a:pt x="291" y="61"/>
                    </a:cubicBezTo>
                    <a:cubicBezTo>
                      <a:pt x="290" y="61"/>
                      <a:pt x="288" y="61"/>
                      <a:pt x="288" y="61"/>
                    </a:cubicBezTo>
                    <a:cubicBezTo>
                      <a:pt x="288" y="61"/>
                      <a:pt x="288" y="60"/>
                      <a:pt x="287" y="60"/>
                    </a:cubicBezTo>
                    <a:cubicBezTo>
                      <a:pt x="287" y="60"/>
                      <a:pt x="284" y="60"/>
                      <a:pt x="284" y="60"/>
                    </a:cubicBezTo>
                    <a:cubicBezTo>
                      <a:pt x="284" y="60"/>
                      <a:pt x="284" y="58"/>
                      <a:pt x="285" y="57"/>
                    </a:cubicBezTo>
                    <a:cubicBezTo>
                      <a:pt x="285" y="57"/>
                      <a:pt x="285" y="54"/>
                      <a:pt x="285" y="54"/>
                    </a:cubicBezTo>
                    <a:cubicBezTo>
                      <a:pt x="284" y="53"/>
                      <a:pt x="284" y="53"/>
                      <a:pt x="284" y="53"/>
                    </a:cubicBezTo>
                    <a:cubicBezTo>
                      <a:pt x="284" y="53"/>
                      <a:pt x="284" y="53"/>
                      <a:pt x="284" y="51"/>
                    </a:cubicBezTo>
                    <a:cubicBezTo>
                      <a:pt x="285" y="50"/>
                      <a:pt x="285" y="50"/>
                      <a:pt x="285" y="48"/>
                    </a:cubicBezTo>
                    <a:cubicBezTo>
                      <a:pt x="286" y="46"/>
                      <a:pt x="286" y="45"/>
                      <a:pt x="286" y="45"/>
                    </a:cubicBezTo>
                    <a:cubicBezTo>
                      <a:pt x="284" y="44"/>
                      <a:pt x="284" y="44"/>
                      <a:pt x="284" y="44"/>
                    </a:cubicBezTo>
                    <a:cubicBezTo>
                      <a:pt x="284" y="44"/>
                      <a:pt x="284" y="44"/>
                      <a:pt x="283" y="45"/>
                    </a:cubicBezTo>
                    <a:cubicBezTo>
                      <a:pt x="283" y="46"/>
                      <a:pt x="282" y="46"/>
                      <a:pt x="282" y="46"/>
                    </a:cubicBezTo>
                    <a:cubicBezTo>
                      <a:pt x="281" y="48"/>
                      <a:pt x="281" y="48"/>
                      <a:pt x="281" y="48"/>
                    </a:cubicBezTo>
                    <a:cubicBezTo>
                      <a:pt x="280" y="51"/>
                      <a:pt x="280" y="51"/>
                      <a:pt x="280" y="51"/>
                    </a:cubicBezTo>
                    <a:cubicBezTo>
                      <a:pt x="280" y="51"/>
                      <a:pt x="281" y="52"/>
                      <a:pt x="279" y="52"/>
                    </a:cubicBezTo>
                    <a:cubicBezTo>
                      <a:pt x="277" y="52"/>
                      <a:pt x="276" y="52"/>
                      <a:pt x="276" y="52"/>
                    </a:cubicBezTo>
                    <a:cubicBezTo>
                      <a:pt x="276" y="52"/>
                      <a:pt x="277" y="53"/>
                      <a:pt x="275" y="53"/>
                    </a:cubicBezTo>
                    <a:cubicBezTo>
                      <a:pt x="273" y="53"/>
                      <a:pt x="271" y="53"/>
                      <a:pt x="271" y="53"/>
                    </a:cubicBezTo>
                    <a:cubicBezTo>
                      <a:pt x="269" y="52"/>
                      <a:pt x="269" y="52"/>
                      <a:pt x="269" y="52"/>
                    </a:cubicBezTo>
                    <a:cubicBezTo>
                      <a:pt x="266" y="52"/>
                      <a:pt x="266" y="52"/>
                      <a:pt x="266" y="52"/>
                    </a:cubicBezTo>
                    <a:cubicBezTo>
                      <a:pt x="266" y="52"/>
                      <a:pt x="266" y="52"/>
                      <a:pt x="266" y="50"/>
                    </a:cubicBezTo>
                    <a:cubicBezTo>
                      <a:pt x="266" y="49"/>
                      <a:pt x="265" y="48"/>
                      <a:pt x="266" y="48"/>
                    </a:cubicBezTo>
                    <a:cubicBezTo>
                      <a:pt x="267" y="48"/>
                      <a:pt x="268" y="47"/>
                      <a:pt x="268" y="47"/>
                    </a:cubicBezTo>
                    <a:cubicBezTo>
                      <a:pt x="267" y="45"/>
                      <a:pt x="267" y="45"/>
                      <a:pt x="267" y="45"/>
                    </a:cubicBezTo>
                    <a:cubicBezTo>
                      <a:pt x="267" y="45"/>
                      <a:pt x="267" y="45"/>
                      <a:pt x="267" y="45"/>
                    </a:cubicBezTo>
                    <a:cubicBezTo>
                      <a:pt x="267" y="45"/>
                      <a:pt x="266" y="44"/>
                      <a:pt x="266" y="44"/>
                    </a:cubicBezTo>
                    <a:cubicBezTo>
                      <a:pt x="266" y="43"/>
                      <a:pt x="267" y="41"/>
                      <a:pt x="267" y="41"/>
                    </a:cubicBezTo>
                    <a:cubicBezTo>
                      <a:pt x="268" y="41"/>
                      <a:pt x="268" y="39"/>
                      <a:pt x="268" y="39"/>
                    </a:cubicBezTo>
                    <a:cubicBezTo>
                      <a:pt x="267" y="39"/>
                      <a:pt x="267" y="39"/>
                      <a:pt x="267" y="39"/>
                    </a:cubicBezTo>
                    <a:cubicBezTo>
                      <a:pt x="267" y="39"/>
                      <a:pt x="266" y="40"/>
                      <a:pt x="265" y="38"/>
                    </a:cubicBezTo>
                    <a:cubicBezTo>
                      <a:pt x="265" y="37"/>
                      <a:pt x="264" y="35"/>
                      <a:pt x="264" y="35"/>
                    </a:cubicBezTo>
                    <a:cubicBezTo>
                      <a:pt x="264" y="35"/>
                      <a:pt x="263" y="35"/>
                      <a:pt x="263" y="35"/>
                    </a:cubicBezTo>
                    <a:cubicBezTo>
                      <a:pt x="262" y="35"/>
                      <a:pt x="262" y="35"/>
                      <a:pt x="261" y="35"/>
                    </a:cubicBezTo>
                    <a:cubicBezTo>
                      <a:pt x="261" y="36"/>
                      <a:pt x="258" y="35"/>
                      <a:pt x="258" y="35"/>
                    </a:cubicBezTo>
                    <a:cubicBezTo>
                      <a:pt x="258" y="35"/>
                      <a:pt x="257" y="35"/>
                      <a:pt x="256" y="35"/>
                    </a:cubicBezTo>
                    <a:cubicBezTo>
                      <a:pt x="256" y="35"/>
                      <a:pt x="255" y="36"/>
                      <a:pt x="255" y="36"/>
                    </a:cubicBezTo>
                    <a:cubicBezTo>
                      <a:pt x="253" y="34"/>
                      <a:pt x="253" y="34"/>
                      <a:pt x="253" y="34"/>
                    </a:cubicBezTo>
                    <a:cubicBezTo>
                      <a:pt x="254" y="32"/>
                      <a:pt x="254" y="32"/>
                      <a:pt x="254" y="32"/>
                    </a:cubicBezTo>
                    <a:cubicBezTo>
                      <a:pt x="254" y="32"/>
                      <a:pt x="252" y="30"/>
                      <a:pt x="252" y="30"/>
                    </a:cubicBezTo>
                    <a:cubicBezTo>
                      <a:pt x="252" y="29"/>
                      <a:pt x="251" y="28"/>
                      <a:pt x="251" y="28"/>
                    </a:cubicBezTo>
                    <a:cubicBezTo>
                      <a:pt x="250" y="28"/>
                      <a:pt x="250" y="28"/>
                      <a:pt x="250" y="28"/>
                    </a:cubicBezTo>
                    <a:cubicBezTo>
                      <a:pt x="249" y="26"/>
                      <a:pt x="249" y="26"/>
                      <a:pt x="249" y="26"/>
                    </a:cubicBezTo>
                    <a:cubicBezTo>
                      <a:pt x="249" y="26"/>
                      <a:pt x="247" y="27"/>
                      <a:pt x="247" y="27"/>
                    </a:cubicBezTo>
                    <a:cubicBezTo>
                      <a:pt x="246" y="27"/>
                      <a:pt x="246" y="27"/>
                      <a:pt x="245" y="27"/>
                    </a:cubicBezTo>
                    <a:cubicBezTo>
                      <a:pt x="245" y="27"/>
                      <a:pt x="244" y="26"/>
                      <a:pt x="244" y="25"/>
                    </a:cubicBezTo>
                    <a:cubicBezTo>
                      <a:pt x="244" y="24"/>
                      <a:pt x="244" y="24"/>
                      <a:pt x="243" y="23"/>
                    </a:cubicBezTo>
                    <a:cubicBezTo>
                      <a:pt x="243" y="22"/>
                      <a:pt x="242" y="20"/>
                      <a:pt x="242" y="20"/>
                    </a:cubicBezTo>
                    <a:cubicBezTo>
                      <a:pt x="242" y="19"/>
                      <a:pt x="243" y="18"/>
                      <a:pt x="242" y="18"/>
                    </a:cubicBezTo>
                    <a:cubicBezTo>
                      <a:pt x="242" y="17"/>
                      <a:pt x="241" y="16"/>
                      <a:pt x="241" y="16"/>
                    </a:cubicBezTo>
                    <a:cubicBezTo>
                      <a:pt x="239" y="14"/>
                      <a:pt x="239" y="14"/>
                      <a:pt x="239" y="14"/>
                    </a:cubicBezTo>
                    <a:cubicBezTo>
                      <a:pt x="239" y="14"/>
                      <a:pt x="237" y="15"/>
                      <a:pt x="236" y="15"/>
                    </a:cubicBezTo>
                    <a:cubicBezTo>
                      <a:pt x="236" y="15"/>
                      <a:pt x="234" y="15"/>
                      <a:pt x="234" y="15"/>
                    </a:cubicBezTo>
                    <a:cubicBezTo>
                      <a:pt x="234" y="16"/>
                      <a:pt x="234" y="17"/>
                      <a:pt x="234" y="17"/>
                    </a:cubicBezTo>
                    <a:cubicBezTo>
                      <a:pt x="233" y="18"/>
                      <a:pt x="231" y="17"/>
                      <a:pt x="231" y="16"/>
                    </a:cubicBezTo>
                    <a:cubicBezTo>
                      <a:pt x="230" y="16"/>
                      <a:pt x="230" y="15"/>
                      <a:pt x="229" y="14"/>
                    </a:cubicBezTo>
                    <a:cubicBezTo>
                      <a:pt x="229" y="14"/>
                      <a:pt x="229" y="13"/>
                      <a:pt x="228" y="13"/>
                    </a:cubicBezTo>
                    <a:cubicBezTo>
                      <a:pt x="228" y="13"/>
                      <a:pt x="226" y="13"/>
                      <a:pt x="226" y="12"/>
                    </a:cubicBezTo>
                    <a:cubicBezTo>
                      <a:pt x="226" y="11"/>
                      <a:pt x="227" y="9"/>
                      <a:pt x="227" y="9"/>
                    </a:cubicBezTo>
                    <a:cubicBezTo>
                      <a:pt x="226" y="7"/>
                      <a:pt x="226" y="7"/>
                      <a:pt x="226" y="7"/>
                    </a:cubicBezTo>
                    <a:cubicBezTo>
                      <a:pt x="226" y="7"/>
                      <a:pt x="227" y="5"/>
                      <a:pt x="226" y="5"/>
                    </a:cubicBezTo>
                    <a:cubicBezTo>
                      <a:pt x="226" y="4"/>
                      <a:pt x="225" y="3"/>
                      <a:pt x="225" y="3"/>
                    </a:cubicBezTo>
                    <a:cubicBezTo>
                      <a:pt x="225" y="1"/>
                      <a:pt x="225" y="1"/>
                      <a:pt x="225" y="1"/>
                    </a:cubicBezTo>
                    <a:cubicBezTo>
                      <a:pt x="226" y="0"/>
                      <a:pt x="226" y="0"/>
                      <a:pt x="226" y="0"/>
                    </a:cubicBezTo>
                    <a:cubicBezTo>
                      <a:pt x="226" y="0"/>
                      <a:pt x="226" y="0"/>
                      <a:pt x="227" y="0"/>
                    </a:cubicBezTo>
                    <a:cubicBezTo>
                      <a:pt x="209" y="3"/>
                      <a:pt x="209" y="3"/>
                      <a:pt x="209" y="3"/>
                    </a:cubicBezTo>
                    <a:cubicBezTo>
                      <a:pt x="200" y="3"/>
                      <a:pt x="200" y="3"/>
                      <a:pt x="200" y="3"/>
                    </a:cubicBezTo>
                    <a:cubicBezTo>
                      <a:pt x="197" y="7"/>
                      <a:pt x="197" y="7"/>
                      <a:pt x="197" y="7"/>
                    </a:cubicBezTo>
                    <a:cubicBezTo>
                      <a:pt x="196" y="11"/>
                      <a:pt x="196" y="11"/>
                      <a:pt x="196" y="11"/>
                    </a:cubicBezTo>
                    <a:cubicBezTo>
                      <a:pt x="196" y="18"/>
                      <a:pt x="196" y="18"/>
                      <a:pt x="196" y="18"/>
                    </a:cubicBezTo>
                    <a:cubicBezTo>
                      <a:pt x="194" y="22"/>
                      <a:pt x="194" y="22"/>
                      <a:pt x="194" y="22"/>
                    </a:cubicBezTo>
                    <a:cubicBezTo>
                      <a:pt x="194" y="27"/>
                      <a:pt x="194" y="27"/>
                      <a:pt x="194" y="27"/>
                    </a:cubicBezTo>
                    <a:cubicBezTo>
                      <a:pt x="193" y="34"/>
                      <a:pt x="193" y="34"/>
                      <a:pt x="193" y="34"/>
                    </a:cubicBezTo>
                    <a:cubicBezTo>
                      <a:pt x="190" y="37"/>
                      <a:pt x="190" y="37"/>
                      <a:pt x="190" y="37"/>
                    </a:cubicBezTo>
                    <a:cubicBezTo>
                      <a:pt x="184" y="42"/>
                      <a:pt x="184" y="42"/>
                      <a:pt x="184" y="42"/>
                    </a:cubicBezTo>
                    <a:cubicBezTo>
                      <a:pt x="176" y="45"/>
                      <a:pt x="176" y="45"/>
                      <a:pt x="176" y="45"/>
                    </a:cubicBezTo>
                    <a:cubicBezTo>
                      <a:pt x="166" y="48"/>
                      <a:pt x="166" y="48"/>
                      <a:pt x="166" y="48"/>
                    </a:cubicBezTo>
                    <a:cubicBezTo>
                      <a:pt x="157" y="50"/>
                      <a:pt x="157" y="50"/>
                      <a:pt x="157" y="50"/>
                    </a:cubicBezTo>
                    <a:cubicBezTo>
                      <a:pt x="151" y="54"/>
                      <a:pt x="151" y="54"/>
                      <a:pt x="151" y="54"/>
                    </a:cubicBezTo>
                    <a:cubicBezTo>
                      <a:pt x="149" y="60"/>
                      <a:pt x="149" y="60"/>
                      <a:pt x="149" y="60"/>
                    </a:cubicBezTo>
                    <a:cubicBezTo>
                      <a:pt x="148" y="67"/>
                      <a:pt x="148" y="67"/>
                      <a:pt x="148" y="67"/>
                    </a:cubicBezTo>
                    <a:cubicBezTo>
                      <a:pt x="143" y="69"/>
                      <a:pt x="143" y="69"/>
                      <a:pt x="143" y="69"/>
                    </a:cubicBezTo>
                    <a:cubicBezTo>
                      <a:pt x="143" y="69"/>
                      <a:pt x="140" y="71"/>
                      <a:pt x="138" y="70"/>
                    </a:cubicBezTo>
                    <a:cubicBezTo>
                      <a:pt x="136" y="70"/>
                      <a:pt x="131" y="68"/>
                      <a:pt x="131" y="68"/>
                    </a:cubicBezTo>
                    <a:cubicBezTo>
                      <a:pt x="131" y="68"/>
                      <a:pt x="125" y="65"/>
                      <a:pt x="123" y="65"/>
                    </a:cubicBezTo>
                    <a:cubicBezTo>
                      <a:pt x="121" y="65"/>
                      <a:pt x="117" y="60"/>
                      <a:pt x="117" y="60"/>
                    </a:cubicBezTo>
                    <a:cubicBezTo>
                      <a:pt x="113" y="64"/>
                      <a:pt x="113" y="64"/>
                      <a:pt x="113" y="64"/>
                    </a:cubicBezTo>
                    <a:cubicBezTo>
                      <a:pt x="113" y="64"/>
                      <a:pt x="110" y="62"/>
                      <a:pt x="110" y="60"/>
                    </a:cubicBezTo>
                    <a:cubicBezTo>
                      <a:pt x="110" y="59"/>
                      <a:pt x="110" y="59"/>
                      <a:pt x="110" y="57"/>
                    </a:cubicBezTo>
                    <a:cubicBezTo>
                      <a:pt x="110" y="55"/>
                      <a:pt x="110" y="51"/>
                      <a:pt x="110" y="51"/>
                    </a:cubicBezTo>
                    <a:cubicBezTo>
                      <a:pt x="104" y="49"/>
                      <a:pt x="104" y="49"/>
                      <a:pt x="104" y="49"/>
                    </a:cubicBezTo>
                    <a:cubicBezTo>
                      <a:pt x="99" y="48"/>
                      <a:pt x="99" y="48"/>
                      <a:pt x="99" y="48"/>
                    </a:cubicBezTo>
                    <a:cubicBezTo>
                      <a:pt x="99" y="48"/>
                      <a:pt x="99" y="49"/>
                      <a:pt x="97" y="48"/>
                    </a:cubicBezTo>
                    <a:cubicBezTo>
                      <a:pt x="95" y="46"/>
                      <a:pt x="95" y="43"/>
                      <a:pt x="95" y="43"/>
                    </a:cubicBezTo>
                    <a:cubicBezTo>
                      <a:pt x="90" y="41"/>
                      <a:pt x="90" y="41"/>
                      <a:pt x="90" y="41"/>
                    </a:cubicBezTo>
                    <a:cubicBezTo>
                      <a:pt x="88" y="47"/>
                      <a:pt x="88" y="47"/>
                      <a:pt x="88" y="47"/>
                    </a:cubicBezTo>
                    <a:cubicBezTo>
                      <a:pt x="94" y="52"/>
                      <a:pt x="94" y="52"/>
                      <a:pt x="94" y="52"/>
                    </a:cubicBezTo>
                    <a:cubicBezTo>
                      <a:pt x="96" y="55"/>
                      <a:pt x="96" y="55"/>
                      <a:pt x="96" y="55"/>
                    </a:cubicBezTo>
                    <a:cubicBezTo>
                      <a:pt x="94" y="60"/>
                      <a:pt x="94" y="60"/>
                      <a:pt x="94" y="60"/>
                    </a:cubicBezTo>
                    <a:cubicBezTo>
                      <a:pt x="96" y="64"/>
                      <a:pt x="96" y="64"/>
                      <a:pt x="96" y="64"/>
                    </a:cubicBezTo>
                    <a:cubicBezTo>
                      <a:pt x="97" y="67"/>
                      <a:pt x="97" y="67"/>
                      <a:pt x="97" y="67"/>
                    </a:cubicBezTo>
                    <a:cubicBezTo>
                      <a:pt x="97" y="67"/>
                      <a:pt x="98" y="67"/>
                      <a:pt x="97" y="69"/>
                    </a:cubicBezTo>
                    <a:cubicBezTo>
                      <a:pt x="97" y="71"/>
                      <a:pt x="96" y="79"/>
                      <a:pt x="96" y="79"/>
                    </a:cubicBezTo>
                    <a:cubicBezTo>
                      <a:pt x="97" y="86"/>
                      <a:pt x="97" y="86"/>
                      <a:pt x="97" y="86"/>
                    </a:cubicBezTo>
                    <a:cubicBezTo>
                      <a:pt x="99" y="92"/>
                      <a:pt x="99" y="92"/>
                      <a:pt x="99" y="92"/>
                    </a:cubicBezTo>
                    <a:cubicBezTo>
                      <a:pt x="99" y="92"/>
                      <a:pt x="95" y="94"/>
                      <a:pt x="93" y="94"/>
                    </a:cubicBezTo>
                    <a:cubicBezTo>
                      <a:pt x="92" y="94"/>
                      <a:pt x="88" y="93"/>
                      <a:pt x="88" y="93"/>
                    </a:cubicBezTo>
                    <a:cubicBezTo>
                      <a:pt x="86" y="88"/>
                      <a:pt x="86" y="88"/>
                      <a:pt x="86" y="88"/>
                    </a:cubicBezTo>
                    <a:cubicBezTo>
                      <a:pt x="77" y="89"/>
                      <a:pt x="77" y="89"/>
                      <a:pt x="77" y="89"/>
                    </a:cubicBezTo>
                    <a:cubicBezTo>
                      <a:pt x="71" y="89"/>
                      <a:pt x="71" y="89"/>
                      <a:pt x="71" y="89"/>
                    </a:cubicBezTo>
                    <a:cubicBezTo>
                      <a:pt x="66" y="92"/>
                      <a:pt x="66" y="92"/>
                      <a:pt x="66" y="92"/>
                    </a:cubicBezTo>
                    <a:cubicBezTo>
                      <a:pt x="63" y="91"/>
                      <a:pt x="63" y="91"/>
                      <a:pt x="63" y="91"/>
                    </a:cubicBezTo>
                    <a:cubicBezTo>
                      <a:pt x="60" y="88"/>
                      <a:pt x="60" y="88"/>
                      <a:pt x="60" y="88"/>
                    </a:cubicBezTo>
                    <a:cubicBezTo>
                      <a:pt x="59" y="83"/>
                      <a:pt x="59" y="83"/>
                      <a:pt x="59" y="83"/>
                    </a:cubicBezTo>
                    <a:cubicBezTo>
                      <a:pt x="57" y="79"/>
                      <a:pt x="57" y="79"/>
                      <a:pt x="57" y="79"/>
                    </a:cubicBezTo>
                    <a:cubicBezTo>
                      <a:pt x="54" y="75"/>
                      <a:pt x="54" y="75"/>
                      <a:pt x="54" y="75"/>
                    </a:cubicBezTo>
                    <a:cubicBezTo>
                      <a:pt x="43" y="76"/>
                      <a:pt x="43" y="76"/>
                      <a:pt x="43" y="76"/>
                    </a:cubicBezTo>
                    <a:cubicBezTo>
                      <a:pt x="40" y="76"/>
                      <a:pt x="40" y="76"/>
                      <a:pt x="40" y="76"/>
                    </a:cubicBezTo>
                    <a:cubicBezTo>
                      <a:pt x="37" y="79"/>
                      <a:pt x="37" y="79"/>
                      <a:pt x="37" y="79"/>
                    </a:cubicBezTo>
                    <a:cubicBezTo>
                      <a:pt x="32" y="78"/>
                      <a:pt x="32" y="78"/>
                      <a:pt x="32" y="78"/>
                    </a:cubicBezTo>
                    <a:cubicBezTo>
                      <a:pt x="31" y="81"/>
                      <a:pt x="31" y="81"/>
                      <a:pt x="31" y="81"/>
                    </a:cubicBezTo>
                    <a:cubicBezTo>
                      <a:pt x="25" y="79"/>
                      <a:pt x="25" y="79"/>
                      <a:pt x="25" y="79"/>
                    </a:cubicBezTo>
                    <a:cubicBezTo>
                      <a:pt x="20" y="79"/>
                      <a:pt x="20" y="79"/>
                      <a:pt x="20" y="79"/>
                    </a:cubicBezTo>
                    <a:cubicBezTo>
                      <a:pt x="15" y="79"/>
                      <a:pt x="15" y="79"/>
                      <a:pt x="15" y="79"/>
                    </a:cubicBezTo>
                    <a:cubicBezTo>
                      <a:pt x="8" y="81"/>
                      <a:pt x="8" y="81"/>
                      <a:pt x="8" y="81"/>
                    </a:cubicBezTo>
                    <a:cubicBezTo>
                      <a:pt x="4" y="84"/>
                      <a:pt x="4" y="84"/>
                      <a:pt x="4" y="84"/>
                    </a:cubicBezTo>
                    <a:cubicBezTo>
                      <a:pt x="0" y="90"/>
                      <a:pt x="0" y="90"/>
                      <a:pt x="0" y="90"/>
                    </a:cubicBezTo>
                    <a:cubicBezTo>
                      <a:pt x="0" y="90"/>
                      <a:pt x="2" y="90"/>
                      <a:pt x="3" y="90"/>
                    </a:cubicBezTo>
                    <a:cubicBezTo>
                      <a:pt x="4" y="91"/>
                      <a:pt x="11" y="91"/>
                      <a:pt x="11" y="91"/>
                    </a:cubicBezTo>
                    <a:cubicBezTo>
                      <a:pt x="13" y="93"/>
                      <a:pt x="13" y="93"/>
                      <a:pt x="13" y="93"/>
                    </a:cubicBezTo>
                    <a:cubicBezTo>
                      <a:pt x="8" y="96"/>
                      <a:pt x="8" y="96"/>
                      <a:pt x="8" y="96"/>
                    </a:cubicBezTo>
                    <a:cubicBezTo>
                      <a:pt x="12" y="97"/>
                      <a:pt x="12" y="97"/>
                      <a:pt x="12" y="97"/>
                    </a:cubicBezTo>
                    <a:cubicBezTo>
                      <a:pt x="13" y="99"/>
                      <a:pt x="13" y="99"/>
                      <a:pt x="13" y="99"/>
                    </a:cubicBezTo>
                    <a:cubicBezTo>
                      <a:pt x="13" y="102"/>
                      <a:pt x="13" y="102"/>
                      <a:pt x="13" y="102"/>
                    </a:cubicBezTo>
                    <a:cubicBezTo>
                      <a:pt x="4" y="103"/>
                      <a:pt x="4" y="103"/>
                      <a:pt x="4" y="103"/>
                    </a:cubicBezTo>
                    <a:cubicBezTo>
                      <a:pt x="4" y="103"/>
                      <a:pt x="2" y="102"/>
                      <a:pt x="1" y="103"/>
                    </a:cubicBezTo>
                    <a:cubicBezTo>
                      <a:pt x="1" y="105"/>
                      <a:pt x="4" y="106"/>
                      <a:pt x="4" y="106"/>
                    </a:cubicBezTo>
                    <a:cubicBezTo>
                      <a:pt x="8" y="108"/>
                      <a:pt x="8" y="108"/>
                      <a:pt x="8" y="108"/>
                    </a:cubicBezTo>
                    <a:cubicBezTo>
                      <a:pt x="7" y="116"/>
                      <a:pt x="7" y="116"/>
                      <a:pt x="7" y="116"/>
                    </a:cubicBezTo>
                    <a:cubicBezTo>
                      <a:pt x="11" y="116"/>
                      <a:pt x="11" y="116"/>
                      <a:pt x="11" y="116"/>
                    </a:cubicBezTo>
                    <a:cubicBezTo>
                      <a:pt x="15" y="116"/>
                      <a:pt x="15" y="116"/>
                      <a:pt x="15" y="116"/>
                    </a:cubicBezTo>
                    <a:cubicBezTo>
                      <a:pt x="15" y="116"/>
                      <a:pt x="16" y="114"/>
                      <a:pt x="18" y="114"/>
                    </a:cubicBezTo>
                    <a:cubicBezTo>
                      <a:pt x="21" y="113"/>
                      <a:pt x="23" y="114"/>
                      <a:pt x="23" y="114"/>
                    </a:cubicBezTo>
                    <a:cubicBezTo>
                      <a:pt x="23" y="114"/>
                      <a:pt x="23" y="113"/>
                      <a:pt x="24" y="117"/>
                    </a:cubicBezTo>
                    <a:cubicBezTo>
                      <a:pt x="25" y="120"/>
                      <a:pt x="25" y="120"/>
                      <a:pt x="25" y="120"/>
                    </a:cubicBezTo>
                    <a:cubicBezTo>
                      <a:pt x="28" y="121"/>
                      <a:pt x="28" y="121"/>
                      <a:pt x="28" y="121"/>
                    </a:cubicBezTo>
                    <a:cubicBezTo>
                      <a:pt x="30" y="121"/>
                      <a:pt x="30" y="121"/>
                      <a:pt x="30" y="121"/>
                    </a:cubicBezTo>
                    <a:cubicBezTo>
                      <a:pt x="30" y="121"/>
                      <a:pt x="33" y="124"/>
                      <a:pt x="34" y="124"/>
                    </a:cubicBezTo>
                    <a:cubicBezTo>
                      <a:pt x="36" y="125"/>
                      <a:pt x="40" y="128"/>
                      <a:pt x="40" y="128"/>
                    </a:cubicBezTo>
                    <a:cubicBezTo>
                      <a:pt x="41" y="129"/>
                      <a:pt x="41" y="129"/>
                      <a:pt x="41" y="129"/>
                    </a:cubicBezTo>
                    <a:cubicBezTo>
                      <a:pt x="41" y="133"/>
                      <a:pt x="41" y="133"/>
                      <a:pt x="41" y="133"/>
                    </a:cubicBezTo>
                    <a:cubicBezTo>
                      <a:pt x="41" y="133"/>
                      <a:pt x="45" y="134"/>
                      <a:pt x="47" y="134"/>
                    </a:cubicBezTo>
                    <a:cubicBezTo>
                      <a:pt x="49" y="134"/>
                      <a:pt x="54" y="133"/>
                      <a:pt x="54" y="133"/>
                    </a:cubicBezTo>
                    <a:cubicBezTo>
                      <a:pt x="56" y="136"/>
                      <a:pt x="56" y="136"/>
                      <a:pt x="56" y="136"/>
                    </a:cubicBezTo>
                    <a:cubicBezTo>
                      <a:pt x="58" y="136"/>
                      <a:pt x="65" y="138"/>
                      <a:pt x="65" y="138"/>
                    </a:cubicBezTo>
                    <a:cubicBezTo>
                      <a:pt x="63" y="141"/>
                      <a:pt x="63" y="141"/>
                      <a:pt x="63" y="141"/>
                    </a:cubicBezTo>
                    <a:cubicBezTo>
                      <a:pt x="60" y="144"/>
                      <a:pt x="60" y="144"/>
                      <a:pt x="60" y="144"/>
                    </a:cubicBezTo>
                    <a:cubicBezTo>
                      <a:pt x="60" y="147"/>
                      <a:pt x="60" y="147"/>
                      <a:pt x="60" y="147"/>
                    </a:cubicBezTo>
                    <a:cubicBezTo>
                      <a:pt x="60" y="147"/>
                      <a:pt x="60" y="146"/>
                      <a:pt x="63" y="147"/>
                    </a:cubicBezTo>
                    <a:cubicBezTo>
                      <a:pt x="66" y="148"/>
                      <a:pt x="69" y="150"/>
                      <a:pt x="69" y="150"/>
                    </a:cubicBezTo>
                    <a:cubicBezTo>
                      <a:pt x="68" y="154"/>
                      <a:pt x="68" y="154"/>
                      <a:pt x="68" y="154"/>
                    </a:cubicBezTo>
                    <a:cubicBezTo>
                      <a:pt x="71" y="157"/>
                      <a:pt x="71" y="157"/>
                      <a:pt x="71" y="157"/>
                    </a:cubicBezTo>
                    <a:cubicBezTo>
                      <a:pt x="71" y="157"/>
                      <a:pt x="73" y="159"/>
                      <a:pt x="73" y="160"/>
                    </a:cubicBezTo>
                    <a:cubicBezTo>
                      <a:pt x="73" y="161"/>
                      <a:pt x="72" y="162"/>
                      <a:pt x="72" y="162"/>
                    </a:cubicBezTo>
                    <a:cubicBezTo>
                      <a:pt x="70" y="162"/>
                      <a:pt x="70" y="162"/>
                      <a:pt x="70" y="162"/>
                    </a:cubicBezTo>
                    <a:cubicBezTo>
                      <a:pt x="70" y="162"/>
                      <a:pt x="70" y="163"/>
                      <a:pt x="69" y="162"/>
                    </a:cubicBezTo>
                    <a:cubicBezTo>
                      <a:pt x="68" y="160"/>
                      <a:pt x="66" y="159"/>
                      <a:pt x="66" y="159"/>
                    </a:cubicBezTo>
                    <a:cubicBezTo>
                      <a:pt x="66" y="161"/>
                      <a:pt x="66" y="161"/>
                      <a:pt x="66" y="161"/>
                    </a:cubicBezTo>
                    <a:cubicBezTo>
                      <a:pt x="66" y="161"/>
                      <a:pt x="67" y="165"/>
                      <a:pt x="68" y="166"/>
                    </a:cubicBezTo>
                    <a:cubicBezTo>
                      <a:pt x="69" y="166"/>
                      <a:pt x="70" y="165"/>
                      <a:pt x="69" y="167"/>
                    </a:cubicBezTo>
                    <a:cubicBezTo>
                      <a:pt x="69" y="169"/>
                      <a:pt x="70" y="173"/>
                      <a:pt x="71" y="174"/>
                    </a:cubicBezTo>
                    <a:cubicBezTo>
                      <a:pt x="71" y="176"/>
                      <a:pt x="71" y="179"/>
                      <a:pt x="73" y="180"/>
                    </a:cubicBezTo>
                    <a:cubicBezTo>
                      <a:pt x="74" y="180"/>
                      <a:pt x="75" y="181"/>
                      <a:pt x="75" y="181"/>
                    </a:cubicBezTo>
                    <a:cubicBezTo>
                      <a:pt x="76" y="183"/>
                      <a:pt x="76" y="183"/>
                      <a:pt x="76" y="183"/>
                    </a:cubicBezTo>
                    <a:cubicBezTo>
                      <a:pt x="81" y="187"/>
                      <a:pt x="81" y="187"/>
                      <a:pt x="81" y="187"/>
                    </a:cubicBezTo>
                    <a:cubicBezTo>
                      <a:pt x="81" y="187"/>
                      <a:pt x="84" y="189"/>
                      <a:pt x="86" y="190"/>
                    </a:cubicBezTo>
                    <a:cubicBezTo>
                      <a:pt x="88" y="191"/>
                      <a:pt x="89" y="191"/>
                      <a:pt x="89" y="191"/>
                    </a:cubicBezTo>
                    <a:cubicBezTo>
                      <a:pt x="92" y="195"/>
                      <a:pt x="92" y="195"/>
                      <a:pt x="92" y="195"/>
                    </a:cubicBezTo>
                    <a:cubicBezTo>
                      <a:pt x="92" y="195"/>
                      <a:pt x="95" y="199"/>
                      <a:pt x="94" y="199"/>
                    </a:cubicBezTo>
                    <a:cubicBezTo>
                      <a:pt x="93" y="199"/>
                      <a:pt x="94" y="199"/>
                      <a:pt x="92" y="199"/>
                    </a:cubicBezTo>
                    <a:cubicBezTo>
                      <a:pt x="90" y="200"/>
                      <a:pt x="91" y="201"/>
                      <a:pt x="89" y="200"/>
                    </a:cubicBezTo>
                    <a:cubicBezTo>
                      <a:pt x="87" y="198"/>
                      <a:pt x="86" y="195"/>
                      <a:pt x="83" y="195"/>
                    </a:cubicBezTo>
                    <a:cubicBezTo>
                      <a:pt x="81" y="196"/>
                      <a:pt x="81" y="196"/>
                      <a:pt x="81" y="196"/>
                    </a:cubicBezTo>
                    <a:cubicBezTo>
                      <a:pt x="85" y="200"/>
                      <a:pt x="85" y="200"/>
                      <a:pt x="85" y="200"/>
                    </a:cubicBezTo>
                    <a:cubicBezTo>
                      <a:pt x="87" y="201"/>
                      <a:pt x="87" y="201"/>
                      <a:pt x="87" y="201"/>
                    </a:cubicBezTo>
                    <a:cubicBezTo>
                      <a:pt x="91" y="203"/>
                      <a:pt x="91" y="203"/>
                      <a:pt x="91" y="203"/>
                    </a:cubicBezTo>
                    <a:cubicBezTo>
                      <a:pt x="92" y="203"/>
                      <a:pt x="92" y="203"/>
                      <a:pt x="92" y="203"/>
                    </a:cubicBezTo>
                    <a:cubicBezTo>
                      <a:pt x="92" y="203"/>
                      <a:pt x="92" y="206"/>
                      <a:pt x="92" y="206"/>
                    </a:cubicBezTo>
                    <a:cubicBezTo>
                      <a:pt x="92" y="207"/>
                      <a:pt x="91" y="209"/>
                      <a:pt x="91" y="210"/>
                    </a:cubicBezTo>
                    <a:cubicBezTo>
                      <a:pt x="91" y="212"/>
                      <a:pt x="91" y="213"/>
                      <a:pt x="91" y="213"/>
                    </a:cubicBezTo>
                    <a:cubicBezTo>
                      <a:pt x="89" y="208"/>
                      <a:pt x="89" y="208"/>
                      <a:pt x="89" y="208"/>
                    </a:cubicBezTo>
                    <a:cubicBezTo>
                      <a:pt x="89" y="208"/>
                      <a:pt x="89" y="206"/>
                      <a:pt x="87" y="206"/>
                    </a:cubicBezTo>
                    <a:cubicBezTo>
                      <a:pt x="86" y="205"/>
                      <a:pt x="84" y="206"/>
                      <a:pt x="84" y="206"/>
                    </a:cubicBezTo>
                    <a:cubicBezTo>
                      <a:pt x="84" y="206"/>
                      <a:pt x="84" y="208"/>
                      <a:pt x="85" y="209"/>
                    </a:cubicBezTo>
                    <a:cubicBezTo>
                      <a:pt x="86" y="209"/>
                      <a:pt x="87" y="210"/>
                      <a:pt x="87" y="211"/>
                    </a:cubicBezTo>
                    <a:cubicBezTo>
                      <a:pt x="87" y="212"/>
                      <a:pt x="88" y="212"/>
                      <a:pt x="88" y="212"/>
                    </a:cubicBezTo>
                    <a:cubicBezTo>
                      <a:pt x="88" y="212"/>
                      <a:pt x="89" y="213"/>
                      <a:pt x="89" y="214"/>
                    </a:cubicBezTo>
                    <a:cubicBezTo>
                      <a:pt x="90" y="216"/>
                      <a:pt x="89" y="219"/>
                      <a:pt x="89" y="219"/>
                    </a:cubicBezTo>
                    <a:cubicBezTo>
                      <a:pt x="89" y="219"/>
                      <a:pt x="87" y="219"/>
                      <a:pt x="89" y="220"/>
                    </a:cubicBezTo>
                    <a:cubicBezTo>
                      <a:pt x="91" y="222"/>
                      <a:pt x="92" y="223"/>
                      <a:pt x="93" y="224"/>
                    </a:cubicBezTo>
                    <a:cubicBezTo>
                      <a:pt x="94" y="224"/>
                      <a:pt x="97" y="228"/>
                      <a:pt x="97" y="228"/>
                    </a:cubicBezTo>
                    <a:cubicBezTo>
                      <a:pt x="100" y="232"/>
                      <a:pt x="100" y="232"/>
                      <a:pt x="100" y="232"/>
                    </a:cubicBezTo>
                    <a:cubicBezTo>
                      <a:pt x="100" y="232"/>
                      <a:pt x="100" y="233"/>
                      <a:pt x="99" y="233"/>
                    </a:cubicBezTo>
                    <a:cubicBezTo>
                      <a:pt x="99" y="233"/>
                      <a:pt x="98" y="234"/>
                      <a:pt x="98" y="234"/>
                    </a:cubicBezTo>
                    <a:cubicBezTo>
                      <a:pt x="98" y="234"/>
                      <a:pt x="96" y="233"/>
                      <a:pt x="96" y="232"/>
                    </a:cubicBezTo>
                    <a:cubicBezTo>
                      <a:pt x="95" y="231"/>
                      <a:pt x="93" y="228"/>
                      <a:pt x="93" y="228"/>
                    </a:cubicBezTo>
                    <a:cubicBezTo>
                      <a:pt x="91" y="228"/>
                      <a:pt x="91" y="228"/>
                      <a:pt x="91" y="228"/>
                    </a:cubicBezTo>
                    <a:cubicBezTo>
                      <a:pt x="90" y="228"/>
                      <a:pt x="90" y="228"/>
                      <a:pt x="90" y="228"/>
                    </a:cubicBezTo>
                    <a:cubicBezTo>
                      <a:pt x="90" y="228"/>
                      <a:pt x="89" y="231"/>
                      <a:pt x="89" y="232"/>
                    </a:cubicBezTo>
                    <a:cubicBezTo>
                      <a:pt x="89" y="233"/>
                      <a:pt x="86" y="237"/>
                      <a:pt x="86" y="237"/>
                    </a:cubicBezTo>
                    <a:cubicBezTo>
                      <a:pt x="84" y="247"/>
                      <a:pt x="84" y="247"/>
                      <a:pt x="84" y="247"/>
                    </a:cubicBezTo>
                    <a:cubicBezTo>
                      <a:pt x="84" y="247"/>
                      <a:pt x="84" y="258"/>
                      <a:pt x="84" y="259"/>
                    </a:cubicBezTo>
                    <a:cubicBezTo>
                      <a:pt x="84" y="260"/>
                      <a:pt x="81" y="268"/>
                      <a:pt x="81" y="268"/>
                    </a:cubicBezTo>
                    <a:cubicBezTo>
                      <a:pt x="81" y="268"/>
                      <a:pt x="80" y="268"/>
                      <a:pt x="80" y="271"/>
                    </a:cubicBezTo>
                    <a:cubicBezTo>
                      <a:pt x="80" y="273"/>
                      <a:pt x="79" y="278"/>
                      <a:pt x="79" y="278"/>
                    </a:cubicBezTo>
                    <a:cubicBezTo>
                      <a:pt x="79" y="278"/>
                      <a:pt x="78" y="281"/>
                      <a:pt x="78" y="282"/>
                    </a:cubicBezTo>
                    <a:cubicBezTo>
                      <a:pt x="78" y="284"/>
                      <a:pt x="75" y="290"/>
                      <a:pt x="75" y="290"/>
                    </a:cubicBezTo>
                    <a:cubicBezTo>
                      <a:pt x="74" y="297"/>
                      <a:pt x="74" y="297"/>
                      <a:pt x="74" y="297"/>
                    </a:cubicBezTo>
                    <a:cubicBezTo>
                      <a:pt x="68" y="311"/>
                      <a:pt x="68" y="311"/>
                      <a:pt x="68" y="311"/>
                    </a:cubicBezTo>
                    <a:cubicBezTo>
                      <a:pt x="63" y="315"/>
                      <a:pt x="63" y="315"/>
                      <a:pt x="63" y="315"/>
                    </a:cubicBezTo>
                    <a:cubicBezTo>
                      <a:pt x="60" y="317"/>
                      <a:pt x="60" y="317"/>
                      <a:pt x="60" y="317"/>
                    </a:cubicBezTo>
                    <a:cubicBezTo>
                      <a:pt x="62" y="318"/>
                      <a:pt x="65" y="319"/>
                      <a:pt x="65" y="321"/>
                    </a:cubicBezTo>
                    <a:cubicBezTo>
                      <a:pt x="67" y="325"/>
                      <a:pt x="70" y="332"/>
                      <a:pt x="70" y="332"/>
                    </a:cubicBezTo>
                    <a:cubicBezTo>
                      <a:pt x="80" y="335"/>
                      <a:pt x="80" y="335"/>
                      <a:pt x="80" y="335"/>
                    </a:cubicBezTo>
                    <a:cubicBezTo>
                      <a:pt x="80" y="335"/>
                      <a:pt x="86" y="340"/>
                      <a:pt x="87" y="341"/>
                    </a:cubicBezTo>
                    <a:cubicBezTo>
                      <a:pt x="88" y="342"/>
                      <a:pt x="100" y="347"/>
                      <a:pt x="100" y="347"/>
                    </a:cubicBezTo>
                    <a:cubicBezTo>
                      <a:pt x="108" y="354"/>
                      <a:pt x="108" y="354"/>
                      <a:pt x="108" y="354"/>
                    </a:cubicBezTo>
                    <a:cubicBezTo>
                      <a:pt x="120" y="354"/>
                      <a:pt x="120" y="354"/>
                      <a:pt x="120" y="354"/>
                    </a:cubicBezTo>
                    <a:cubicBezTo>
                      <a:pt x="128" y="356"/>
                      <a:pt x="128" y="356"/>
                      <a:pt x="128" y="356"/>
                    </a:cubicBezTo>
                    <a:cubicBezTo>
                      <a:pt x="132" y="351"/>
                      <a:pt x="132" y="351"/>
                      <a:pt x="132" y="351"/>
                    </a:cubicBezTo>
                    <a:cubicBezTo>
                      <a:pt x="132" y="351"/>
                      <a:pt x="152" y="360"/>
                      <a:pt x="153" y="360"/>
                    </a:cubicBezTo>
                    <a:cubicBezTo>
                      <a:pt x="153" y="360"/>
                      <a:pt x="154" y="363"/>
                      <a:pt x="154" y="365"/>
                    </a:cubicBezTo>
                    <a:cubicBezTo>
                      <a:pt x="154" y="365"/>
                      <a:pt x="154" y="365"/>
                      <a:pt x="154" y="365"/>
                    </a:cubicBezTo>
                    <a:cubicBezTo>
                      <a:pt x="154" y="366"/>
                      <a:pt x="154" y="366"/>
                      <a:pt x="154" y="366"/>
                    </a:cubicBezTo>
                    <a:cubicBezTo>
                      <a:pt x="154" y="366"/>
                      <a:pt x="154" y="366"/>
                      <a:pt x="154" y="366"/>
                    </a:cubicBezTo>
                    <a:cubicBezTo>
                      <a:pt x="154" y="366"/>
                      <a:pt x="154" y="366"/>
                      <a:pt x="154" y="366"/>
                    </a:cubicBezTo>
                    <a:cubicBezTo>
                      <a:pt x="155" y="368"/>
                      <a:pt x="155" y="368"/>
                      <a:pt x="155" y="368"/>
                    </a:cubicBezTo>
                    <a:cubicBezTo>
                      <a:pt x="154" y="368"/>
                      <a:pt x="154" y="368"/>
                      <a:pt x="154" y="368"/>
                    </a:cubicBezTo>
                    <a:cubicBezTo>
                      <a:pt x="154" y="368"/>
                      <a:pt x="154" y="368"/>
                      <a:pt x="154" y="368"/>
                    </a:cubicBezTo>
                    <a:cubicBezTo>
                      <a:pt x="154" y="368"/>
                      <a:pt x="153" y="369"/>
                      <a:pt x="154" y="369"/>
                    </a:cubicBezTo>
                    <a:cubicBezTo>
                      <a:pt x="154" y="369"/>
                      <a:pt x="154" y="369"/>
                      <a:pt x="154" y="369"/>
                    </a:cubicBezTo>
                    <a:cubicBezTo>
                      <a:pt x="154" y="369"/>
                      <a:pt x="154" y="369"/>
                      <a:pt x="154" y="369"/>
                    </a:cubicBezTo>
                    <a:cubicBezTo>
                      <a:pt x="154" y="369"/>
                      <a:pt x="154" y="369"/>
                      <a:pt x="154" y="369"/>
                    </a:cubicBezTo>
                    <a:cubicBezTo>
                      <a:pt x="154" y="370"/>
                      <a:pt x="154" y="370"/>
                      <a:pt x="154" y="370"/>
                    </a:cubicBezTo>
                    <a:cubicBezTo>
                      <a:pt x="154" y="370"/>
                      <a:pt x="154" y="370"/>
                      <a:pt x="154" y="370"/>
                    </a:cubicBezTo>
                    <a:cubicBezTo>
                      <a:pt x="154" y="371"/>
                      <a:pt x="154" y="371"/>
                      <a:pt x="154" y="371"/>
                    </a:cubicBezTo>
                    <a:cubicBezTo>
                      <a:pt x="154" y="371"/>
                      <a:pt x="155" y="371"/>
                      <a:pt x="155" y="371"/>
                    </a:cubicBezTo>
                    <a:cubicBezTo>
                      <a:pt x="155" y="371"/>
                      <a:pt x="156" y="372"/>
                      <a:pt x="156" y="372"/>
                    </a:cubicBezTo>
                    <a:cubicBezTo>
                      <a:pt x="156" y="372"/>
                      <a:pt x="157" y="372"/>
                      <a:pt x="157" y="372"/>
                    </a:cubicBezTo>
                    <a:cubicBezTo>
                      <a:pt x="157" y="372"/>
                      <a:pt x="157" y="372"/>
                      <a:pt x="157" y="372"/>
                    </a:cubicBezTo>
                    <a:cubicBezTo>
                      <a:pt x="157" y="372"/>
                      <a:pt x="157" y="372"/>
                      <a:pt x="157" y="372"/>
                    </a:cubicBezTo>
                    <a:cubicBezTo>
                      <a:pt x="158" y="372"/>
                      <a:pt x="158" y="372"/>
                      <a:pt x="158" y="372"/>
                    </a:cubicBezTo>
                    <a:cubicBezTo>
                      <a:pt x="158" y="372"/>
                      <a:pt x="158" y="371"/>
                      <a:pt x="158" y="371"/>
                    </a:cubicBezTo>
                    <a:cubicBezTo>
                      <a:pt x="158" y="371"/>
                      <a:pt x="158" y="371"/>
                      <a:pt x="158" y="371"/>
                    </a:cubicBezTo>
                    <a:cubicBezTo>
                      <a:pt x="169" y="373"/>
                      <a:pt x="169" y="373"/>
                      <a:pt x="169" y="373"/>
                    </a:cubicBezTo>
                    <a:cubicBezTo>
                      <a:pt x="171" y="374"/>
                      <a:pt x="171" y="376"/>
                      <a:pt x="174" y="377"/>
                    </a:cubicBezTo>
                    <a:cubicBezTo>
                      <a:pt x="180" y="375"/>
                      <a:pt x="180" y="375"/>
                      <a:pt x="180" y="375"/>
                    </a:cubicBezTo>
                    <a:cubicBezTo>
                      <a:pt x="188" y="381"/>
                      <a:pt x="188" y="381"/>
                      <a:pt x="188" y="381"/>
                    </a:cubicBezTo>
                    <a:cubicBezTo>
                      <a:pt x="195" y="378"/>
                      <a:pt x="195" y="378"/>
                      <a:pt x="195" y="378"/>
                    </a:cubicBezTo>
                    <a:cubicBezTo>
                      <a:pt x="203" y="378"/>
                      <a:pt x="203" y="378"/>
                      <a:pt x="203" y="378"/>
                    </a:cubicBezTo>
                    <a:cubicBezTo>
                      <a:pt x="203" y="377"/>
                      <a:pt x="206" y="377"/>
                      <a:pt x="208" y="378"/>
                    </a:cubicBezTo>
                    <a:cubicBezTo>
                      <a:pt x="208" y="378"/>
                      <a:pt x="208" y="378"/>
                      <a:pt x="208" y="378"/>
                    </a:cubicBezTo>
                    <a:cubicBezTo>
                      <a:pt x="209" y="375"/>
                      <a:pt x="209" y="375"/>
                      <a:pt x="209" y="375"/>
                    </a:cubicBezTo>
                    <a:cubicBezTo>
                      <a:pt x="209" y="375"/>
                      <a:pt x="209" y="371"/>
                      <a:pt x="208" y="370"/>
                    </a:cubicBezTo>
                    <a:cubicBezTo>
                      <a:pt x="208" y="369"/>
                      <a:pt x="206" y="368"/>
                      <a:pt x="206" y="368"/>
                    </a:cubicBezTo>
                    <a:cubicBezTo>
                      <a:pt x="206" y="368"/>
                      <a:pt x="207" y="365"/>
                      <a:pt x="207" y="364"/>
                    </a:cubicBezTo>
                    <a:cubicBezTo>
                      <a:pt x="207" y="362"/>
                      <a:pt x="207" y="359"/>
                      <a:pt x="207" y="359"/>
                    </a:cubicBezTo>
                    <a:cubicBezTo>
                      <a:pt x="207" y="358"/>
                      <a:pt x="207" y="355"/>
                      <a:pt x="208" y="354"/>
                    </a:cubicBezTo>
                    <a:cubicBezTo>
                      <a:pt x="208" y="354"/>
                      <a:pt x="207" y="354"/>
                      <a:pt x="208" y="352"/>
                    </a:cubicBezTo>
                    <a:cubicBezTo>
                      <a:pt x="210" y="350"/>
                      <a:pt x="210" y="349"/>
                      <a:pt x="210" y="349"/>
                    </a:cubicBezTo>
                    <a:cubicBezTo>
                      <a:pt x="213" y="344"/>
                      <a:pt x="213" y="344"/>
                      <a:pt x="213" y="344"/>
                    </a:cubicBezTo>
                    <a:cubicBezTo>
                      <a:pt x="213" y="344"/>
                      <a:pt x="215" y="341"/>
                      <a:pt x="216" y="341"/>
                    </a:cubicBezTo>
                    <a:cubicBezTo>
                      <a:pt x="217" y="341"/>
                      <a:pt x="220" y="340"/>
                      <a:pt x="221" y="340"/>
                    </a:cubicBezTo>
                    <a:cubicBezTo>
                      <a:pt x="222" y="340"/>
                      <a:pt x="225" y="343"/>
                      <a:pt x="227" y="340"/>
                    </a:cubicBezTo>
                    <a:cubicBezTo>
                      <a:pt x="228" y="338"/>
                      <a:pt x="229" y="336"/>
                      <a:pt x="229" y="335"/>
                    </a:cubicBezTo>
                    <a:cubicBezTo>
                      <a:pt x="230" y="334"/>
                      <a:pt x="231" y="332"/>
                      <a:pt x="233" y="332"/>
                    </a:cubicBezTo>
                    <a:cubicBezTo>
                      <a:pt x="235" y="332"/>
                      <a:pt x="241" y="331"/>
                      <a:pt x="241" y="331"/>
                    </a:cubicBezTo>
                    <a:cubicBezTo>
                      <a:pt x="244" y="332"/>
                      <a:pt x="244" y="332"/>
                      <a:pt x="244" y="332"/>
                    </a:cubicBezTo>
                    <a:cubicBezTo>
                      <a:pt x="250" y="335"/>
                      <a:pt x="250" y="335"/>
                      <a:pt x="250" y="335"/>
                    </a:cubicBezTo>
                    <a:cubicBezTo>
                      <a:pt x="250" y="335"/>
                      <a:pt x="253" y="335"/>
                      <a:pt x="254" y="335"/>
                    </a:cubicBezTo>
                    <a:cubicBezTo>
                      <a:pt x="255" y="335"/>
                      <a:pt x="256" y="335"/>
                      <a:pt x="256" y="335"/>
                    </a:cubicBezTo>
                    <a:cubicBezTo>
                      <a:pt x="258" y="338"/>
                      <a:pt x="258" y="338"/>
                      <a:pt x="258" y="338"/>
                    </a:cubicBezTo>
                    <a:cubicBezTo>
                      <a:pt x="258" y="338"/>
                      <a:pt x="261" y="339"/>
                      <a:pt x="262" y="339"/>
                    </a:cubicBezTo>
                    <a:cubicBezTo>
                      <a:pt x="263" y="339"/>
                      <a:pt x="269" y="338"/>
                      <a:pt x="269" y="338"/>
                    </a:cubicBezTo>
                    <a:cubicBezTo>
                      <a:pt x="269" y="338"/>
                      <a:pt x="272" y="337"/>
                      <a:pt x="272" y="338"/>
                    </a:cubicBezTo>
                    <a:cubicBezTo>
                      <a:pt x="273" y="338"/>
                      <a:pt x="276" y="340"/>
                      <a:pt x="276" y="340"/>
                    </a:cubicBezTo>
                    <a:cubicBezTo>
                      <a:pt x="276" y="341"/>
                      <a:pt x="283" y="344"/>
                      <a:pt x="284" y="345"/>
                    </a:cubicBezTo>
                    <a:cubicBezTo>
                      <a:pt x="285" y="346"/>
                      <a:pt x="288" y="345"/>
                      <a:pt x="288" y="345"/>
                    </a:cubicBezTo>
                    <a:cubicBezTo>
                      <a:pt x="290" y="349"/>
                      <a:pt x="290" y="349"/>
                      <a:pt x="290" y="349"/>
                    </a:cubicBezTo>
                    <a:cubicBezTo>
                      <a:pt x="298" y="351"/>
                      <a:pt x="298" y="351"/>
                      <a:pt x="298" y="351"/>
                    </a:cubicBezTo>
                    <a:cubicBezTo>
                      <a:pt x="302" y="351"/>
                      <a:pt x="302" y="351"/>
                      <a:pt x="302" y="351"/>
                    </a:cubicBezTo>
                    <a:cubicBezTo>
                      <a:pt x="313" y="356"/>
                      <a:pt x="313" y="356"/>
                      <a:pt x="313" y="356"/>
                    </a:cubicBezTo>
                    <a:cubicBezTo>
                      <a:pt x="320" y="350"/>
                      <a:pt x="320" y="350"/>
                      <a:pt x="320" y="350"/>
                    </a:cubicBezTo>
                    <a:cubicBezTo>
                      <a:pt x="320" y="350"/>
                      <a:pt x="322" y="350"/>
                      <a:pt x="323" y="350"/>
                    </a:cubicBezTo>
                    <a:cubicBezTo>
                      <a:pt x="323" y="351"/>
                      <a:pt x="325" y="344"/>
                      <a:pt x="325" y="344"/>
                    </a:cubicBezTo>
                    <a:cubicBezTo>
                      <a:pt x="325" y="344"/>
                      <a:pt x="324" y="343"/>
                      <a:pt x="326" y="343"/>
                    </a:cubicBezTo>
                    <a:cubicBezTo>
                      <a:pt x="327" y="343"/>
                      <a:pt x="333" y="341"/>
                      <a:pt x="333" y="340"/>
                    </a:cubicBezTo>
                    <a:cubicBezTo>
                      <a:pt x="333" y="339"/>
                      <a:pt x="332" y="336"/>
                      <a:pt x="334" y="335"/>
                    </a:cubicBezTo>
                    <a:cubicBezTo>
                      <a:pt x="336" y="335"/>
                      <a:pt x="339" y="332"/>
                      <a:pt x="339" y="332"/>
                    </a:cubicBezTo>
                    <a:cubicBezTo>
                      <a:pt x="340" y="331"/>
                      <a:pt x="339" y="330"/>
                      <a:pt x="341" y="329"/>
                    </a:cubicBezTo>
                    <a:cubicBezTo>
                      <a:pt x="342" y="329"/>
                      <a:pt x="345" y="328"/>
                      <a:pt x="346" y="328"/>
                    </a:cubicBezTo>
                    <a:cubicBezTo>
                      <a:pt x="346" y="328"/>
                      <a:pt x="346" y="328"/>
                      <a:pt x="346" y="328"/>
                    </a:cubicBezTo>
                    <a:cubicBezTo>
                      <a:pt x="347" y="328"/>
                      <a:pt x="347" y="328"/>
                      <a:pt x="347" y="328"/>
                    </a:cubicBezTo>
                    <a:cubicBezTo>
                      <a:pt x="347" y="328"/>
                      <a:pt x="347" y="328"/>
                      <a:pt x="347" y="328"/>
                    </a:cubicBezTo>
                    <a:cubicBezTo>
                      <a:pt x="347" y="328"/>
                      <a:pt x="347" y="328"/>
                      <a:pt x="347" y="328"/>
                    </a:cubicBezTo>
                    <a:cubicBezTo>
                      <a:pt x="347" y="328"/>
                      <a:pt x="347" y="328"/>
                      <a:pt x="347" y="328"/>
                    </a:cubicBezTo>
                    <a:cubicBezTo>
                      <a:pt x="347" y="328"/>
                      <a:pt x="347" y="328"/>
                      <a:pt x="347" y="327"/>
                    </a:cubicBezTo>
                    <a:cubicBezTo>
                      <a:pt x="347" y="327"/>
                      <a:pt x="347" y="327"/>
                      <a:pt x="347" y="327"/>
                    </a:cubicBezTo>
                    <a:cubicBezTo>
                      <a:pt x="347" y="327"/>
                      <a:pt x="347" y="327"/>
                      <a:pt x="347" y="327"/>
                    </a:cubicBezTo>
                    <a:cubicBezTo>
                      <a:pt x="347" y="327"/>
                      <a:pt x="347" y="327"/>
                      <a:pt x="347" y="327"/>
                    </a:cubicBezTo>
                    <a:cubicBezTo>
                      <a:pt x="348" y="327"/>
                      <a:pt x="348" y="327"/>
                      <a:pt x="348" y="327"/>
                    </a:cubicBezTo>
                    <a:cubicBezTo>
                      <a:pt x="348" y="327"/>
                      <a:pt x="348" y="327"/>
                      <a:pt x="348" y="327"/>
                    </a:cubicBezTo>
                    <a:cubicBezTo>
                      <a:pt x="348" y="327"/>
                      <a:pt x="348" y="327"/>
                      <a:pt x="348" y="327"/>
                    </a:cubicBezTo>
                    <a:cubicBezTo>
                      <a:pt x="348" y="327"/>
                      <a:pt x="348" y="327"/>
                      <a:pt x="348" y="327"/>
                    </a:cubicBezTo>
                    <a:cubicBezTo>
                      <a:pt x="348" y="327"/>
                      <a:pt x="349" y="327"/>
                      <a:pt x="349" y="327"/>
                    </a:cubicBezTo>
                    <a:cubicBezTo>
                      <a:pt x="349" y="327"/>
                      <a:pt x="349" y="327"/>
                      <a:pt x="349" y="327"/>
                    </a:cubicBezTo>
                    <a:cubicBezTo>
                      <a:pt x="349" y="327"/>
                      <a:pt x="349" y="327"/>
                      <a:pt x="349" y="327"/>
                    </a:cubicBezTo>
                    <a:cubicBezTo>
                      <a:pt x="349" y="327"/>
                      <a:pt x="349" y="327"/>
                      <a:pt x="349" y="327"/>
                    </a:cubicBezTo>
                    <a:cubicBezTo>
                      <a:pt x="349" y="327"/>
                      <a:pt x="349" y="327"/>
                      <a:pt x="349" y="327"/>
                    </a:cubicBezTo>
                    <a:cubicBezTo>
                      <a:pt x="349" y="327"/>
                      <a:pt x="349" y="327"/>
                      <a:pt x="349" y="327"/>
                    </a:cubicBezTo>
                    <a:cubicBezTo>
                      <a:pt x="349" y="327"/>
                      <a:pt x="349" y="327"/>
                      <a:pt x="349" y="327"/>
                    </a:cubicBezTo>
                    <a:cubicBezTo>
                      <a:pt x="349" y="326"/>
                      <a:pt x="349" y="326"/>
                      <a:pt x="349" y="326"/>
                    </a:cubicBezTo>
                    <a:cubicBezTo>
                      <a:pt x="349" y="326"/>
                      <a:pt x="349" y="326"/>
                      <a:pt x="349" y="326"/>
                    </a:cubicBezTo>
                    <a:cubicBezTo>
                      <a:pt x="349" y="326"/>
                      <a:pt x="349" y="326"/>
                      <a:pt x="349" y="326"/>
                    </a:cubicBezTo>
                    <a:cubicBezTo>
                      <a:pt x="349" y="326"/>
                      <a:pt x="349" y="326"/>
                      <a:pt x="349" y="326"/>
                    </a:cubicBezTo>
                    <a:cubicBezTo>
                      <a:pt x="350" y="326"/>
                      <a:pt x="350" y="326"/>
                      <a:pt x="350" y="326"/>
                    </a:cubicBezTo>
                    <a:cubicBezTo>
                      <a:pt x="350" y="326"/>
                      <a:pt x="350" y="326"/>
                      <a:pt x="350" y="326"/>
                    </a:cubicBezTo>
                    <a:cubicBezTo>
                      <a:pt x="350" y="326"/>
                      <a:pt x="350" y="326"/>
                      <a:pt x="350" y="326"/>
                    </a:cubicBezTo>
                    <a:cubicBezTo>
                      <a:pt x="350" y="326"/>
                      <a:pt x="350" y="326"/>
                      <a:pt x="350" y="326"/>
                    </a:cubicBezTo>
                    <a:cubicBezTo>
                      <a:pt x="350" y="326"/>
                      <a:pt x="350" y="326"/>
                      <a:pt x="350" y="326"/>
                    </a:cubicBezTo>
                    <a:cubicBezTo>
                      <a:pt x="350" y="326"/>
                      <a:pt x="350" y="326"/>
                      <a:pt x="350" y="326"/>
                    </a:cubicBezTo>
                    <a:cubicBezTo>
                      <a:pt x="350" y="326"/>
                      <a:pt x="350" y="326"/>
                      <a:pt x="350" y="326"/>
                    </a:cubicBezTo>
                    <a:cubicBezTo>
                      <a:pt x="350" y="326"/>
                      <a:pt x="350" y="326"/>
                      <a:pt x="350" y="326"/>
                    </a:cubicBezTo>
                    <a:cubicBezTo>
                      <a:pt x="350" y="326"/>
                      <a:pt x="350" y="326"/>
                      <a:pt x="350" y="326"/>
                    </a:cubicBezTo>
                    <a:cubicBezTo>
                      <a:pt x="351" y="326"/>
                      <a:pt x="351" y="326"/>
                      <a:pt x="351" y="326"/>
                    </a:cubicBezTo>
                    <a:cubicBezTo>
                      <a:pt x="351" y="326"/>
                      <a:pt x="351" y="326"/>
                      <a:pt x="351" y="326"/>
                    </a:cubicBezTo>
                    <a:cubicBezTo>
                      <a:pt x="351" y="326"/>
                      <a:pt x="351" y="326"/>
                      <a:pt x="351" y="326"/>
                    </a:cubicBezTo>
                    <a:cubicBezTo>
                      <a:pt x="351" y="326"/>
                      <a:pt x="351" y="326"/>
                      <a:pt x="351" y="326"/>
                    </a:cubicBezTo>
                    <a:cubicBezTo>
                      <a:pt x="351" y="326"/>
                      <a:pt x="351" y="326"/>
                      <a:pt x="351" y="326"/>
                    </a:cubicBezTo>
                    <a:cubicBezTo>
                      <a:pt x="352" y="325"/>
                      <a:pt x="352" y="325"/>
                      <a:pt x="352" y="325"/>
                    </a:cubicBezTo>
                    <a:cubicBezTo>
                      <a:pt x="357" y="321"/>
                      <a:pt x="357" y="321"/>
                      <a:pt x="357" y="321"/>
                    </a:cubicBezTo>
                    <a:cubicBezTo>
                      <a:pt x="359" y="312"/>
                      <a:pt x="359" y="312"/>
                      <a:pt x="359" y="312"/>
                    </a:cubicBezTo>
                    <a:cubicBezTo>
                      <a:pt x="356" y="309"/>
                      <a:pt x="356" y="309"/>
                      <a:pt x="356" y="309"/>
                    </a:cubicBezTo>
                    <a:cubicBezTo>
                      <a:pt x="349" y="310"/>
                      <a:pt x="349" y="310"/>
                      <a:pt x="349" y="310"/>
                    </a:cubicBezTo>
                    <a:cubicBezTo>
                      <a:pt x="341" y="306"/>
                      <a:pt x="341" y="306"/>
                      <a:pt x="341" y="306"/>
                    </a:cubicBezTo>
                    <a:cubicBezTo>
                      <a:pt x="337" y="300"/>
                      <a:pt x="337" y="300"/>
                      <a:pt x="337" y="300"/>
                    </a:cubicBezTo>
                    <a:cubicBezTo>
                      <a:pt x="334" y="300"/>
                      <a:pt x="334" y="300"/>
                      <a:pt x="334" y="300"/>
                    </a:cubicBezTo>
                    <a:cubicBezTo>
                      <a:pt x="334" y="294"/>
                      <a:pt x="332" y="297"/>
                      <a:pt x="335" y="293"/>
                    </a:cubicBezTo>
                    <a:cubicBezTo>
                      <a:pt x="338" y="288"/>
                      <a:pt x="338" y="288"/>
                      <a:pt x="338" y="288"/>
                    </a:cubicBezTo>
                    <a:cubicBezTo>
                      <a:pt x="338" y="280"/>
                      <a:pt x="338" y="280"/>
                      <a:pt x="338" y="280"/>
                    </a:cubicBezTo>
                    <a:cubicBezTo>
                      <a:pt x="335" y="277"/>
                      <a:pt x="335" y="277"/>
                      <a:pt x="335" y="277"/>
                    </a:cubicBezTo>
                    <a:cubicBezTo>
                      <a:pt x="331" y="276"/>
                      <a:pt x="331" y="276"/>
                      <a:pt x="331" y="276"/>
                    </a:cubicBezTo>
                    <a:cubicBezTo>
                      <a:pt x="331" y="276"/>
                      <a:pt x="328" y="272"/>
                      <a:pt x="328" y="271"/>
                    </a:cubicBezTo>
                    <a:cubicBezTo>
                      <a:pt x="328" y="271"/>
                      <a:pt x="328" y="270"/>
                      <a:pt x="328" y="269"/>
                    </a:cubicBezTo>
                    <a:cubicBezTo>
                      <a:pt x="327" y="269"/>
                      <a:pt x="330" y="269"/>
                      <a:pt x="331" y="269"/>
                    </a:cubicBezTo>
                    <a:cubicBezTo>
                      <a:pt x="331" y="269"/>
                      <a:pt x="334" y="268"/>
                      <a:pt x="334" y="268"/>
                    </a:cubicBezTo>
                    <a:cubicBezTo>
                      <a:pt x="335" y="268"/>
                      <a:pt x="338" y="265"/>
                      <a:pt x="338" y="265"/>
                    </a:cubicBezTo>
                    <a:cubicBezTo>
                      <a:pt x="338" y="265"/>
                      <a:pt x="340" y="262"/>
                      <a:pt x="342" y="261"/>
                    </a:cubicBezTo>
                    <a:cubicBezTo>
                      <a:pt x="343" y="260"/>
                      <a:pt x="344" y="253"/>
                      <a:pt x="344" y="253"/>
                    </a:cubicBezTo>
                    <a:cubicBezTo>
                      <a:pt x="344" y="252"/>
                      <a:pt x="342" y="249"/>
                      <a:pt x="342" y="249"/>
                    </a:cubicBezTo>
                    <a:cubicBezTo>
                      <a:pt x="335" y="245"/>
                      <a:pt x="336" y="244"/>
                      <a:pt x="332" y="242"/>
                    </a:cubicBezTo>
                    <a:cubicBezTo>
                      <a:pt x="332" y="238"/>
                      <a:pt x="332" y="238"/>
                      <a:pt x="332" y="238"/>
                    </a:cubicBezTo>
                    <a:cubicBezTo>
                      <a:pt x="337" y="235"/>
                      <a:pt x="337" y="235"/>
                      <a:pt x="337" y="235"/>
                    </a:cubicBezTo>
                    <a:cubicBezTo>
                      <a:pt x="338" y="234"/>
                      <a:pt x="339" y="234"/>
                      <a:pt x="340" y="233"/>
                    </a:cubicBezTo>
                    <a:cubicBezTo>
                      <a:pt x="340" y="232"/>
                      <a:pt x="340" y="232"/>
                      <a:pt x="340" y="232"/>
                    </a:cubicBezTo>
                    <a:cubicBezTo>
                      <a:pt x="340" y="232"/>
                      <a:pt x="339" y="230"/>
                      <a:pt x="339" y="230"/>
                    </a:cubicBezTo>
                    <a:cubicBezTo>
                      <a:pt x="339" y="230"/>
                      <a:pt x="338" y="229"/>
                      <a:pt x="338" y="229"/>
                    </a:cubicBezTo>
                    <a:cubicBezTo>
                      <a:pt x="337" y="229"/>
                      <a:pt x="337" y="228"/>
                      <a:pt x="337" y="228"/>
                    </a:cubicBezTo>
                    <a:cubicBezTo>
                      <a:pt x="337" y="228"/>
                      <a:pt x="336" y="228"/>
                      <a:pt x="335" y="228"/>
                    </a:cubicBezTo>
                    <a:cubicBezTo>
                      <a:pt x="335" y="228"/>
                      <a:pt x="336" y="226"/>
                      <a:pt x="336" y="226"/>
                    </a:cubicBezTo>
                    <a:cubicBezTo>
                      <a:pt x="336" y="226"/>
                      <a:pt x="336" y="224"/>
                      <a:pt x="336" y="224"/>
                    </a:cubicBezTo>
                    <a:cubicBezTo>
                      <a:pt x="336" y="224"/>
                      <a:pt x="334" y="224"/>
                      <a:pt x="333" y="223"/>
                    </a:cubicBezTo>
                    <a:cubicBezTo>
                      <a:pt x="333" y="223"/>
                      <a:pt x="333" y="223"/>
                      <a:pt x="333" y="223"/>
                    </a:cubicBezTo>
                    <a:cubicBezTo>
                      <a:pt x="333" y="223"/>
                      <a:pt x="333" y="221"/>
                      <a:pt x="334" y="220"/>
                    </a:cubicBezTo>
                    <a:cubicBezTo>
                      <a:pt x="335" y="220"/>
                      <a:pt x="334" y="219"/>
                      <a:pt x="334" y="219"/>
                    </a:cubicBezTo>
                    <a:cubicBezTo>
                      <a:pt x="334" y="219"/>
                      <a:pt x="334" y="218"/>
                      <a:pt x="335" y="217"/>
                    </a:cubicBezTo>
                    <a:cubicBezTo>
                      <a:pt x="335" y="216"/>
                      <a:pt x="335" y="216"/>
                      <a:pt x="335" y="216"/>
                    </a:cubicBezTo>
                    <a:cubicBezTo>
                      <a:pt x="335" y="216"/>
                      <a:pt x="333" y="215"/>
                      <a:pt x="333" y="215"/>
                    </a:cubicBezTo>
                    <a:cubicBezTo>
                      <a:pt x="332" y="215"/>
                      <a:pt x="332" y="215"/>
                      <a:pt x="333" y="214"/>
                    </a:cubicBezTo>
                    <a:cubicBezTo>
                      <a:pt x="334" y="213"/>
                      <a:pt x="334" y="213"/>
                      <a:pt x="334" y="213"/>
                    </a:cubicBezTo>
                    <a:cubicBezTo>
                      <a:pt x="334" y="211"/>
                      <a:pt x="334" y="211"/>
                      <a:pt x="334" y="211"/>
                    </a:cubicBezTo>
                    <a:cubicBezTo>
                      <a:pt x="332" y="211"/>
                      <a:pt x="332" y="211"/>
                      <a:pt x="332" y="211"/>
                    </a:cubicBezTo>
                    <a:cubicBezTo>
                      <a:pt x="330" y="210"/>
                      <a:pt x="330" y="210"/>
                      <a:pt x="330" y="210"/>
                    </a:cubicBezTo>
                    <a:cubicBezTo>
                      <a:pt x="330" y="210"/>
                      <a:pt x="327" y="210"/>
                      <a:pt x="327" y="210"/>
                    </a:cubicBezTo>
                    <a:cubicBezTo>
                      <a:pt x="327" y="210"/>
                      <a:pt x="325" y="210"/>
                      <a:pt x="325" y="210"/>
                    </a:cubicBezTo>
                    <a:cubicBezTo>
                      <a:pt x="323" y="210"/>
                      <a:pt x="323" y="210"/>
                      <a:pt x="323" y="210"/>
                    </a:cubicBezTo>
                    <a:cubicBezTo>
                      <a:pt x="322" y="211"/>
                      <a:pt x="322" y="211"/>
                      <a:pt x="322" y="211"/>
                    </a:cubicBezTo>
                    <a:cubicBezTo>
                      <a:pt x="320" y="212"/>
                      <a:pt x="320" y="212"/>
                      <a:pt x="320" y="212"/>
                    </a:cubicBezTo>
                    <a:cubicBezTo>
                      <a:pt x="318" y="212"/>
                      <a:pt x="318" y="212"/>
                      <a:pt x="318" y="212"/>
                    </a:cubicBezTo>
                    <a:cubicBezTo>
                      <a:pt x="318" y="212"/>
                      <a:pt x="317" y="214"/>
                      <a:pt x="316" y="214"/>
                    </a:cubicBezTo>
                    <a:cubicBezTo>
                      <a:pt x="316" y="215"/>
                      <a:pt x="316" y="216"/>
                      <a:pt x="316" y="216"/>
                    </a:cubicBezTo>
                    <a:cubicBezTo>
                      <a:pt x="317" y="217"/>
                      <a:pt x="317" y="217"/>
                      <a:pt x="317" y="217"/>
                    </a:cubicBezTo>
                    <a:cubicBezTo>
                      <a:pt x="317" y="218"/>
                      <a:pt x="317" y="218"/>
                      <a:pt x="317" y="218"/>
                    </a:cubicBezTo>
                    <a:cubicBezTo>
                      <a:pt x="318" y="218"/>
                      <a:pt x="318" y="218"/>
                      <a:pt x="318" y="218"/>
                    </a:cubicBezTo>
                    <a:cubicBezTo>
                      <a:pt x="318" y="219"/>
                      <a:pt x="318" y="219"/>
                      <a:pt x="318" y="219"/>
                    </a:cubicBezTo>
                    <a:cubicBezTo>
                      <a:pt x="318" y="219"/>
                      <a:pt x="316" y="220"/>
                      <a:pt x="316" y="221"/>
                    </a:cubicBezTo>
                    <a:cubicBezTo>
                      <a:pt x="315" y="221"/>
                      <a:pt x="315" y="222"/>
                      <a:pt x="315" y="222"/>
                    </a:cubicBezTo>
                    <a:cubicBezTo>
                      <a:pt x="313" y="223"/>
                      <a:pt x="313" y="223"/>
                      <a:pt x="313" y="223"/>
                    </a:cubicBezTo>
                    <a:cubicBezTo>
                      <a:pt x="311" y="222"/>
                      <a:pt x="311" y="222"/>
                      <a:pt x="311" y="222"/>
                    </a:cubicBezTo>
                    <a:cubicBezTo>
                      <a:pt x="310" y="223"/>
                      <a:pt x="310" y="223"/>
                      <a:pt x="310" y="223"/>
                    </a:cubicBezTo>
                    <a:cubicBezTo>
                      <a:pt x="309" y="223"/>
                      <a:pt x="309" y="223"/>
                      <a:pt x="309" y="223"/>
                    </a:cubicBezTo>
                    <a:cubicBezTo>
                      <a:pt x="309" y="221"/>
                      <a:pt x="309" y="221"/>
                      <a:pt x="309" y="221"/>
                    </a:cubicBezTo>
                    <a:cubicBezTo>
                      <a:pt x="308" y="221"/>
                      <a:pt x="308" y="221"/>
                      <a:pt x="308" y="221"/>
                    </a:cubicBezTo>
                    <a:cubicBezTo>
                      <a:pt x="308" y="220"/>
                      <a:pt x="308" y="220"/>
                      <a:pt x="308" y="220"/>
                    </a:cubicBezTo>
                    <a:cubicBezTo>
                      <a:pt x="308" y="220"/>
                      <a:pt x="309" y="219"/>
                      <a:pt x="310" y="219"/>
                    </a:cubicBezTo>
                    <a:cubicBezTo>
                      <a:pt x="310" y="219"/>
                      <a:pt x="311" y="218"/>
                      <a:pt x="311" y="218"/>
                    </a:cubicBezTo>
                    <a:cubicBezTo>
                      <a:pt x="313" y="218"/>
                      <a:pt x="313" y="218"/>
                      <a:pt x="313" y="218"/>
                    </a:cubicBezTo>
                    <a:cubicBezTo>
                      <a:pt x="313" y="217"/>
                      <a:pt x="313" y="217"/>
                      <a:pt x="313" y="217"/>
                    </a:cubicBezTo>
                    <a:cubicBezTo>
                      <a:pt x="313" y="215"/>
                      <a:pt x="313" y="215"/>
                      <a:pt x="313" y="215"/>
                    </a:cubicBezTo>
                    <a:cubicBezTo>
                      <a:pt x="314" y="213"/>
                      <a:pt x="314" y="213"/>
                      <a:pt x="314" y="213"/>
                    </a:cubicBezTo>
                    <a:cubicBezTo>
                      <a:pt x="313" y="212"/>
                      <a:pt x="313" y="212"/>
                      <a:pt x="313" y="212"/>
                    </a:cubicBezTo>
                    <a:cubicBezTo>
                      <a:pt x="312" y="211"/>
                      <a:pt x="312" y="211"/>
                      <a:pt x="312" y="211"/>
                    </a:cubicBezTo>
                    <a:cubicBezTo>
                      <a:pt x="312" y="210"/>
                      <a:pt x="312" y="210"/>
                      <a:pt x="312" y="210"/>
                    </a:cubicBezTo>
                    <a:cubicBezTo>
                      <a:pt x="312" y="208"/>
                      <a:pt x="312" y="208"/>
                      <a:pt x="312" y="208"/>
                    </a:cubicBezTo>
                    <a:cubicBezTo>
                      <a:pt x="312" y="207"/>
                      <a:pt x="312" y="207"/>
                      <a:pt x="312" y="207"/>
                    </a:cubicBezTo>
                    <a:cubicBezTo>
                      <a:pt x="312" y="207"/>
                      <a:pt x="313" y="207"/>
                      <a:pt x="313" y="206"/>
                    </a:cubicBezTo>
                    <a:cubicBezTo>
                      <a:pt x="314" y="206"/>
                      <a:pt x="314" y="205"/>
                      <a:pt x="314" y="204"/>
                    </a:cubicBezTo>
                    <a:cubicBezTo>
                      <a:pt x="314" y="204"/>
                      <a:pt x="313" y="204"/>
                      <a:pt x="313" y="204"/>
                    </a:cubicBezTo>
                    <a:cubicBezTo>
                      <a:pt x="316" y="201"/>
                      <a:pt x="316" y="201"/>
                      <a:pt x="316" y="201"/>
                    </a:cubicBezTo>
                    <a:cubicBezTo>
                      <a:pt x="319" y="199"/>
                      <a:pt x="319" y="199"/>
                      <a:pt x="319" y="199"/>
                    </a:cubicBezTo>
                    <a:cubicBezTo>
                      <a:pt x="319" y="199"/>
                      <a:pt x="320" y="198"/>
                      <a:pt x="320" y="198"/>
                    </a:cubicBezTo>
                    <a:cubicBezTo>
                      <a:pt x="320" y="198"/>
                      <a:pt x="322" y="198"/>
                      <a:pt x="322" y="198"/>
                    </a:cubicBezTo>
                    <a:cubicBezTo>
                      <a:pt x="322" y="198"/>
                      <a:pt x="322" y="197"/>
                      <a:pt x="323" y="197"/>
                    </a:cubicBezTo>
                    <a:cubicBezTo>
                      <a:pt x="323" y="197"/>
                      <a:pt x="323" y="196"/>
                      <a:pt x="323" y="196"/>
                    </a:cubicBezTo>
                    <a:cubicBezTo>
                      <a:pt x="323" y="196"/>
                      <a:pt x="323" y="195"/>
                      <a:pt x="323" y="195"/>
                    </a:cubicBezTo>
                    <a:cubicBezTo>
                      <a:pt x="323" y="195"/>
                      <a:pt x="323" y="194"/>
                      <a:pt x="323" y="194"/>
                    </a:cubicBezTo>
                    <a:cubicBezTo>
                      <a:pt x="323" y="194"/>
                      <a:pt x="323" y="193"/>
                      <a:pt x="323" y="193"/>
                    </a:cubicBezTo>
                    <a:cubicBezTo>
                      <a:pt x="323" y="193"/>
                      <a:pt x="324" y="192"/>
                      <a:pt x="324" y="192"/>
                    </a:cubicBezTo>
                    <a:cubicBezTo>
                      <a:pt x="324" y="191"/>
                      <a:pt x="324" y="191"/>
                      <a:pt x="324" y="191"/>
                    </a:cubicBezTo>
                    <a:cubicBezTo>
                      <a:pt x="324" y="191"/>
                      <a:pt x="323" y="190"/>
                      <a:pt x="323" y="189"/>
                    </a:cubicBezTo>
                    <a:cubicBezTo>
                      <a:pt x="323" y="189"/>
                      <a:pt x="323" y="189"/>
                      <a:pt x="323" y="188"/>
                    </a:cubicBezTo>
                    <a:cubicBezTo>
                      <a:pt x="324" y="188"/>
                      <a:pt x="324" y="187"/>
                      <a:pt x="324" y="187"/>
                    </a:cubicBezTo>
                    <a:cubicBezTo>
                      <a:pt x="326" y="187"/>
                      <a:pt x="326" y="187"/>
                      <a:pt x="326" y="187"/>
                    </a:cubicBezTo>
                    <a:cubicBezTo>
                      <a:pt x="326" y="187"/>
                      <a:pt x="327" y="187"/>
                      <a:pt x="328" y="187"/>
                    </a:cubicBezTo>
                    <a:cubicBezTo>
                      <a:pt x="328" y="186"/>
                      <a:pt x="329" y="186"/>
                      <a:pt x="329" y="186"/>
                    </a:cubicBezTo>
                    <a:cubicBezTo>
                      <a:pt x="330" y="185"/>
                      <a:pt x="330" y="185"/>
                      <a:pt x="330" y="185"/>
                    </a:cubicBezTo>
                    <a:cubicBezTo>
                      <a:pt x="331" y="184"/>
                      <a:pt x="331" y="184"/>
                      <a:pt x="331" y="184"/>
                    </a:cubicBezTo>
                    <a:cubicBezTo>
                      <a:pt x="331" y="183"/>
                      <a:pt x="331" y="183"/>
                      <a:pt x="331" y="183"/>
                    </a:cubicBezTo>
                    <a:cubicBezTo>
                      <a:pt x="331" y="182"/>
                      <a:pt x="331" y="182"/>
                      <a:pt x="331" y="182"/>
                    </a:cubicBezTo>
                    <a:cubicBezTo>
                      <a:pt x="333" y="181"/>
                      <a:pt x="333" y="181"/>
                      <a:pt x="333" y="181"/>
                    </a:cubicBezTo>
                    <a:cubicBezTo>
                      <a:pt x="333" y="180"/>
                      <a:pt x="333" y="180"/>
                      <a:pt x="333" y="180"/>
                    </a:cubicBezTo>
                    <a:cubicBezTo>
                      <a:pt x="334" y="180"/>
                      <a:pt x="334" y="180"/>
                      <a:pt x="334" y="180"/>
                    </a:cubicBezTo>
                    <a:cubicBezTo>
                      <a:pt x="335" y="179"/>
                      <a:pt x="335" y="179"/>
                      <a:pt x="335" y="179"/>
                    </a:cubicBezTo>
                    <a:cubicBezTo>
                      <a:pt x="336" y="178"/>
                      <a:pt x="336" y="178"/>
                      <a:pt x="336" y="178"/>
                    </a:cubicBezTo>
                    <a:cubicBezTo>
                      <a:pt x="337" y="177"/>
                      <a:pt x="337" y="177"/>
                      <a:pt x="337" y="177"/>
                    </a:cubicBezTo>
                    <a:cubicBezTo>
                      <a:pt x="337" y="177"/>
                      <a:pt x="339" y="175"/>
                      <a:pt x="339" y="175"/>
                    </a:cubicBezTo>
                    <a:cubicBezTo>
                      <a:pt x="339" y="174"/>
                      <a:pt x="339" y="174"/>
                      <a:pt x="339" y="173"/>
                    </a:cubicBezTo>
                    <a:cubicBezTo>
                      <a:pt x="339" y="173"/>
                      <a:pt x="340" y="173"/>
                      <a:pt x="340" y="172"/>
                    </a:cubicBezTo>
                    <a:cubicBezTo>
                      <a:pt x="341" y="172"/>
                      <a:pt x="341" y="171"/>
                      <a:pt x="341" y="171"/>
                    </a:cubicBezTo>
                    <a:cubicBezTo>
                      <a:pt x="342" y="171"/>
                      <a:pt x="342" y="171"/>
                      <a:pt x="342" y="171"/>
                    </a:cubicBezTo>
                    <a:cubicBezTo>
                      <a:pt x="342" y="170"/>
                      <a:pt x="342" y="170"/>
                      <a:pt x="342" y="170"/>
                    </a:cubicBezTo>
                    <a:cubicBezTo>
                      <a:pt x="342" y="169"/>
                      <a:pt x="342" y="169"/>
                      <a:pt x="342" y="169"/>
                    </a:cubicBezTo>
                    <a:cubicBezTo>
                      <a:pt x="342" y="169"/>
                      <a:pt x="340" y="170"/>
                      <a:pt x="340" y="170"/>
                    </a:cubicBezTo>
                    <a:cubicBezTo>
                      <a:pt x="340" y="170"/>
                      <a:pt x="339" y="170"/>
                      <a:pt x="339" y="170"/>
                    </a:cubicBezTo>
                    <a:cubicBezTo>
                      <a:pt x="338" y="170"/>
                      <a:pt x="337" y="170"/>
                      <a:pt x="337" y="170"/>
                    </a:cubicBezTo>
                    <a:cubicBezTo>
                      <a:pt x="336" y="169"/>
                      <a:pt x="337" y="169"/>
                      <a:pt x="337" y="169"/>
                    </a:cubicBezTo>
                    <a:cubicBezTo>
                      <a:pt x="337" y="169"/>
                      <a:pt x="338" y="169"/>
                      <a:pt x="338" y="168"/>
                    </a:cubicBezTo>
                    <a:cubicBezTo>
                      <a:pt x="338" y="168"/>
                      <a:pt x="338" y="167"/>
                      <a:pt x="338" y="167"/>
                    </a:cubicBezTo>
                    <a:cubicBezTo>
                      <a:pt x="339" y="167"/>
                      <a:pt x="339" y="167"/>
                      <a:pt x="339" y="167"/>
                    </a:cubicBezTo>
                    <a:cubicBezTo>
                      <a:pt x="340" y="166"/>
                      <a:pt x="340" y="166"/>
                      <a:pt x="340" y="166"/>
                    </a:cubicBezTo>
                    <a:cubicBezTo>
                      <a:pt x="340" y="166"/>
                      <a:pt x="340" y="166"/>
                      <a:pt x="341" y="166"/>
                    </a:cubicBezTo>
                    <a:cubicBezTo>
                      <a:pt x="341" y="166"/>
                      <a:pt x="340" y="165"/>
                      <a:pt x="340" y="165"/>
                    </a:cubicBezTo>
                    <a:cubicBezTo>
                      <a:pt x="340" y="164"/>
                      <a:pt x="340" y="164"/>
                      <a:pt x="340" y="164"/>
                    </a:cubicBezTo>
                    <a:cubicBezTo>
                      <a:pt x="342" y="164"/>
                      <a:pt x="342" y="164"/>
                      <a:pt x="342" y="164"/>
                    </a:cubicBezTo>
                    <a:cubicBezTo>
                      <a:pt x="344" y="164"/>
                      <a:pt x="344" y="164"/>
                      <a:pt x="344" y="164"/>
                    </a:cubicBezTo>
                    <a:cubicBezTo>
                      <a:pt x="345" y="164"/>
                      <a:pt x="345" y="164"/>
                      <a:pt x="345" y="164"/>
                    </a:cubicBezTo>
                    <a:cubicBezTo>
                      <a:pt x="345" y="164"/>
                      <a:pt x="346" y="165"/>
                      <a:pt x="346" y="165"/>
                    </a:cubicBezTo>
                    <a:cubicBezTo>
                      <a:pt x="345" y="166"/>
                      <a:pt x="346" y="166"/>
                      <a:pt x="346" y="166"/>
                    </a:cubicBezTo>
                    <a:cubicBezTo>
                      <a:pt x="346" y="167"/>
                      <a:pt x="348" y="167"/>
                      <a:pt x="348" y="167"/>
                    </a:cubicBezTo>
                    <a:cubicBezTo>
                      <a:pt x="348" y="167"/>
                      <a:pt x="348" y="167"/>
                      <a:pt x="349" y="167"/>
                    </a:cubicBezTo>
                    <a:cubicBezTo>
                      <a:pt x="349" y="167"/>
                      <a:pt x="350" y="167"/>
                      <a:pt x="350" y="167"/>
                    </a:cubicBezTo>
                    <a:cubicBezTo>
                      <a:pt x="350" y="167"/>
                      <a:pt x="351" y="167"/>
                      <a:pt x="351" y="167"/>
                    </a:cubicBezTo>
                    <a:cubicBezTo>
                      <a:pt x="351" y="167"/>
                      <a:pt x="352" y="166"/>
                      <a:pt x="353" y="166"/>
                    </a:cubicBezTo>
                    <a:cubicBezTo>
                      <a:pt x="353" y="166"/>
                      <a:pt x="353" y="166"/>
                      <a:pt x="353" y="166"/>
                    </a:cubicBezTo>
                    <a:cubicBezTo>
                      <a:pt x="353" y="166"/>
                      <a:pt x="353" y="165"/>
                      <a:pt x="353" y="165"/>
                    </a:cubicBezTo>
                    <a:cubicBezTo>
                      <a:pt x="353" y="165"/>
                      <a:pt x="354" y="164"/>
                      <a:pt x="354" y="164"/>
                    </a:cubicBezTo>
                    <a:cubicBezTo>
                      <a:pt x="354" y="164"/>
                      <a:pt x="355" y="164"/>
                      <a:pt x="355" y="164"/>
                    </a:cubicBezTo>
                    <a:cubicBezTo>
                      <a:pt x="355" y="164"/>
                      <a:pt x="355" y="164"/>
                      <a:pt x="355" y="163"/>
                    </a:cubicBezTo>
                    <a:cubicBezTo>
                      <a:pt x="355" y="163"/>
                      <a:pt x="356" y="163"/>
                      <a:pt x="356" y="162"/>
                    </a:cubicBezTo>
                    <a:cubicBezTo>
                      <a:pt x="356" y="162"/>
                      <a:pt x="355" y="162"/>
                      <a:pt x="355" y="162"/>
                    </a:cubicBezTo>
                    <a:cubicBezTo>
                      <a:pt x="355" y="162"/>
                      <a:pt x="356" y="162"/>
                      <a:pt x="356" y="162"/>
                    </a:cubicBezTo>
                    <a:cubicBezTo>
                      <a:pt x="356" y="161"/>
                      <a:pt x="356" y="161"/>
                      <a:pt x="356" y="161"/>
                    </a:cubicBezTo>
                    <a:cubicBezTo>
                      <a:pt x="356" y="161"/>
                      <a:pt x="358" y="160"/>
                      <a:pt x="358" y="160"/>
                    </a:cubicBezTo>
                    <a:cubicBezTo>
                      <a:pt x="358" y="160"/>
                      <a:pt x="358" y="160"/>
                      <a:pt x="358" y="160"/>
                    </a:cubicBezTo>
                    <a:cubicBezTo>
                      <a:pt x="360" y="159"/>
                      <a:pt x="360" y="159"/>
                      <a:pt x="360" y="159"/>
                    </a:cubicBezTo>
                    <a:cubicBezTo>
                      <a:pt x="360" y="159"/>
                      <a:pt x="360" y="160"/>
                      <a:pt x="360" y="160"/>
                    </a:cubicBezTo>
                    <a:cubicBezTo>
                      <a:pt x="359" y="158"/>
                      <a:pt x="356" y="155"/>
                      <a:pt x="356" y="155"/>
                    </a:cubicBezTo>
                    <a:cubicBezTo>
                      <a:pt x="357" y="151"/>
                      <a:pt x="357" y="151"/>
                      <a:pt x="357" y="151"/>
                    </a:cubicBezTo>
                    <a:cubicBezTo>
                      <a:pt x="357" y="151"/>
                      <a:pt x="359" y="145"/>
                      <a:pt x="359" y="144"/>
                    </a:cubicBezTo>
                    <a:cubicBezTo>
                      <a:pt x="359" y="143"/>
                      <a:pt x="358" y="139"/>
                      <a:pt x="358" y="139"/>
                    </a:cubicBezTo>
                    <a:cubicBezTo>
                      <a:pt x="358" y="139"/>
                      <a:pt x="356" y="138"/>
                      <a:pt x="358" y="135"/>
                    </a:cubicBezTo>
                    <a:cubicBezTo>
                      <a:pt x="360" y="132"/>
                      <a:pt x="362" y="128"/>
                      <a:pt x="362" y="128"/>
                    </a:cubicBezTo>
                    <a:cubicBezTo>
                      <a:pt x="363" y="120"/>
                      <a:pt x="363" y="120"/>
                      <a:pt x="363" y="120"/>
                    </a:cubicBezTo>
                    <a:cubicBezTo>
                      <a:pt x="363" y="120"/>
                      <a:pt x="360" y="118"/>
                      <a:pt x="363" y="116"/>
                    </a:cubicBezTo>
                    <a:cubicBezTo>
                      <a:pt x="366" y="114"/>
                      <a:pt x="372" y="106"/>
                      <a:pt x="372" y="106"/>
                    </a:cubicBezTo>
                    <a:cubicBezTo>
                      <a:pt x="378" y="100"/>
                      <a:pt x="378" y="100"/>
                      <a:pt x="378" y="100"/>
                    </a:cubicBezTo>
                    <a:cubicBezTo>
                      <a:pt x="368" y="97"/>
                      <a:pt x="368" y="97"/>
                      <a:pt x="368" y="97"/>
                    </a:cubicBezTo>
                    <a:lnTo>
                      <a:pt x="362" y="97"/>
                    </a:lnTo>
                    <a:close/>
                    <a:moveTo>
                      <a:pt x="157" y="372"/>
                    </a:moveTo>
                    <a:cubicBezTo>
                      <a:pt x="157" y="372"/>
                      <a:pt x="157" y="372"/>
                      <a:pt x="157" y="372"/>
                    </a:cubicBezTo>
                    <a:cubicBezTo>
                      <a:pt x="157" y="372"/>
                      <a:pt x="157" y="372"/>
                      <a:pt x="157" y="372"/>
                    </a:cubicBezTo>
                    <a:close/>
                    <a:moveTo>
                      <a:pt x="158" y="371"/>
                    </a:moveTo>
                    <a:cubicBezTo>
                      <a:pt x="158" y="371"/>
                      <a:pt x="158" y="371"/>
                      <a:pt x="158" y="371"/>
                    </a:cubicBezTo>
                    <a:cubicBezTo>
                      <a:pt x="158" y="371"/>
                      <a:pt x="158" y="371"/>
                      <a:pt x="158" y="371"/>
                    </a:cubicBezTo>
                    <a:cubicBezTo>
                      <a:pt x="158" y="371"/>
                      <a:pt x="158" y="371"/>
                      <a:pt x="158" y="371"/>
                    </a:cubicBezTo>
                    <a:cubicBezTo>
                      <a:pt x="158" y="371"/>
                      <a:pt x="158" y="371"/>
                      <a:pt x="158" y="371"/>
                    </a:cubicBezTo>
                    <a:close/>
                  </a:path>
                </a:pathLst>
              </a:custGeom>
              <a:solidFill>
                <a:srgbClr val="0181C7"/>
              </a:solid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28" name="Freeform 73"/>
              <p:cNvSpPr>
                <a:spLocks/>
              </p:cNvSpPr>
              <p:nvPr/>
            </p:nvSpPr>
            <p:spPr bwMode="auto">
              <a:xfrm>
                <a:off x="2614" y="2855"/>
                <a:ext cx="62" cy="144"/>
              </a:xfrm>
              <a:custGeom>
                <a:avLst/>
                <a:gdLst>
                  <a:gd name="T0" fmla="*/ 31 w 31"/>
                  <a:gd name="T1" fmla="*/ 35 h 72"/>
                  <a:gd name="T2" fmla="*/ 28 w 31"/>
                  <a:gd name="T3" fmla="*/ 30 h 72"/>
                  <a:gd name="T4" fmla="*/ 30 w 31"/>
                  <a:gd name="T5" fmla="*/ 21 h 72"/>
                  <a:gd name="T6" fmla="*/ 29 w 31"/>
                  <a:gd name="T7" fmla="*/ 19 h 72"/>
                  <a:gd name="T8" fmla="*/ 28 w 31"/>
                  <a:gd name="T9" fmla="*/ 17 h 72"/>
                  <a:gd name="T10" fmla="*/ 27 w 31"/>
                  <a:gd name="T11" fmla="*/ 10 h 72"/>
                  <a:gd name="T12" fmla="*/ 27 w 31"/>
                  <a:gd name="T13" fmla="*/ 0 h 72"/>
                  <a:gd name="T14" fmla="*/ 22 w 31"/>
                  <a:gd name="T15" fmla="*/ 1 h 72"/>
                  <a:gd name="T16" fmla="*/ 23 w 31"/>
                  <a:gd name="T17" fmla="*/ 5 h 72"/>
                  <a:gd name="T18" fmla="*/ 22 w 31"/>
                  <a:gd name="T19" fmla="*/ 13 h 72"/>
                  <a:gd name="T20" fmla="*/ 18 w 31"/>
                  <a:gd name="T21" fmla="*/ 14 h 72"/>
                  <a:gd name="T22" fmla="*/ 16 w 31"/>
                  <a:gd name="T23" fmla="*/ 14 h 72"/>
                  <a:gd name="T24" fmla="*/ 14 w 31"/>
                  <a:gd name="T25" fmla="*/ 17 h 72"/>
                  <a:gd name="T26" fmla="*/ 10 w 31"/>
                  <a:gd name="T27" fmla="*/ 18 h 72"/>
                  <a:gd name="T28" fmla="*/ 6 w 31"/>
                  <a:gd name="T29" fmla="*/ 20 h 72"/>
                  <a:gd name="T30" fmla="*/ 3 w 31"/>
                  <a:gd name="T31" fmla="*/ 25 h 72"/>
                  <a:gd name="T32" fmla="*/ 0 w 31"/>
                  <a:gd name="T33" fmla="*/ 27 h 72"/>
                  <a:gd name="T34" fmla="*/ 2 w 31"/>
                  <a:gd name="T35" fmla="*/ 30 h 72"/>
                  <a:gd name="T36" fmla="*/ 0 w 31"/>
                  <a:gd name="T37" fmla="*/ 41 h 72"/>
                  <a:gd name="T38" fmla="*/ 3 w 31"/>
                  <a:gd name="T39" fmla="*/ 40 h 72"/>
                  <a:gd name="T40" fmla="*/ 3 w 31"/>
                  <a:gd name="T41" fmla="*/ 45 h 72"/>
                  <a:gd name="T42" fmla="*/ 1 w 31"/>
                  <a:gd name="T43" fmla="*/ 48 h 72"/>
                  <a:gd name="T44" fmla="*/ 4 w 31"/>
                  <a:gd name="T45" fmla="*/ 50 h 72"/>
                  <a:gd name="T46" fmla="*/ 6 w 31"/>
                  <a:gd name="T47" fmla="*/ 50 h 72"/>
                  <a:gd name="T48" fmla="*/ 4 w 31"/>
                  <a:gd name="T49" fmla="*/ 55 h 72"/>
                  <a:gd name="T50" fmla="*/ 4 w 31"/>
                  <a:gd name="T51" fmla="*/ 57 h 72"/>
                  <a:gd name="T52" fmla="*/ 9 w 31"/>
                  <a:gd name="T53" fmla="*/ 59 h 72"/>
                  <a:gd name="T54" fmla="*/ 7 w 31"/>
                  <a:gd name="T55" fmla="*/ 61 h 72"/>
                  <a:gd name="T56" fmla="*/ 6 w 31"/>
                  <a:gd name="T57" fmla="*/ 64 h 72"/>
                  <a:gd name="T58" fmla="*/ 10 w 31"/>
                  <a:gd name="T59" fmla="*/ 66 h 72"/>
                  <a:gd name="T60" fmla="*/ 12 w 31"/>
                  <a:gd name="T61" fmla="*/ 68 h 72"/>
                  <a:gd name="T62" fmla="*/ 16 w 31"/>
                  <a:gd name="T63" fmla="*/ 71 h 72"/>
                  <a:gd name="T64" fmla="*/ 20 w 31"/>
                  <a:gd name="T65" fmla="*/ 72 h 72"/>
                  <a:gd name="T66" fmla="*/ 22 w 31"/>
                  <a:gd name="T67" fmla="*/ 68 h 72"/>
                  <a:gd name="T68" fmla="*/ 23 w 31"/>
                  <a:gd name="T69" fmla="*/ 61 h 72"/>
                  <a:gd name="T70" fmla="*/ 25 w 31"/>
                  <a:gd name="T71" fmla="*/ 55 h 72"/>
                  <a:gd name="T72" fmla="*/ 26 w 31"/>
                  <a:gd name="T73" fmla="*/ 51 h 72"/>
                  <a:gd name="T74" fmla="*/ 24 w 31"/>
                  <a:gd name="T75" fmla="*/ 46 h 72"/>
                  <a:gd name="T76" fmla="*/ 25 w 31"/>
                  <a:gd name="T77" fmla="*/ 45 h 72"/>
                  <a:gd name="T78" fmla="*/ 28 w 31"/>
                  <a:gd name="T79" fmla="*/ 42 h 72"/>
                  <a:gd name="T80" fmla="*/ 30 w 31"/>
                  <a:gd name="T81" fmla="*/ 39 h 72"/>
                  <a:gd name="T82" fmla="*/ 31 w 31"/>
                  <a:gd name="T83" fmla="*/ 3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 h="72">
                    <a:moveTo>
                      <a:pt x="31" y="35"/>
                    </a:moveTo>
                    <a:cubicBezTo>
                      <a:pt x="30" y="34"/>
                      <a:pt x="28" y="30"/>
                      <a:pt x="28" y="30"/>
                    </a:cubicBezTo>
                    <a:cubicBezTo>
                      <a:pt x="30" y="21"/>
                      <a:pt x="30" y="21"/>
                      <a:pt x="30" y="21"/>
                    </a:cubicBezTo>
                    <a:cubicBezTo>
                      <a:pt x="29" y="19"/>
                      <a:pt x="29" y="19"/>
                      <a:pt x="29" y="19"/>
                    </a:cubicBezTo>
                    <a:cubicBezTo>
                      <a:pt x="28" y="17"/>
                      <a:pt x="28" y="17"/>
                      <a:pt x="28" y="17"/>
                    </a:cubicBezTo>
                    <a:cubicBezTo>
                      <a:pt x="27" y="10"/>
                      <a:pt x="27" y="10"/>
                      <a:pt x="27" y="10"/>
                    </a:cubicBezTo>
                    <a:cubicBezTo>
                      <a:pt x="27" y="0"/>
                      <a:pt x="27" y="0"/>
                      <a:pt x="27" y="0"/>
                    </a:cubicBezTo>
                    <a:cubicBezTo>
                      <a:pt x="22" y="1"/>
                      <a:pt x="22" y="1"/>
                      <a:pt x="22" y="1"/>
                    </a:cubicBezTo>
                    <a:cubicBezTo>
                      <a:pt x="23" y="5"/>
                      <a:pt x="23" y="5"/>
                      <a:pt x="23" y="5"/>
                    </a:cubicBezTo>
                    <a:cubicBezTo>
                      <a:pt x="22" y="13"/>
                      <a:pt x="22" y="13"/>
                      <a:pt x="22" y="13"/>
                    </a:cubicBezTo>
                    <a:cubicBezTo>
                      <a:pt x="18" y="14"/>
                      <a:pt x="18" y="14"/>
                      <a:pt x="18" y="14"/>
                    </a:cubicBezTo>
                    <a:cubicBezTo>
                      <a:pt x="16" y="14"/>
                      <a:pt x="16" y="14"/>
                      <a:pt x="16" y="14"/>
                    </a:cubicBezTo>
                    <a:cubicBezTo>
                      <a:pt x="14" y="17"/>
                      <a:pt x="14" y="17"/>
                      <a:pt x="14" y="17"/>
                    </a:cubicBezTo>
                    <a:cubicBezTo>
                      <a:pt x="10" y="18"/>
                      <a:pt x="10" y="18"/>
                      <a:pt x="10" y="18"/>
                    </a:cubicBezTo>
                    <a:cubicBezTo>
                      <a:pt x="6" y="20"/>
                      <a:pt x="6" y="20"/>
                      <a:pt x="6" y="20"/>
                    </a:cubicBezTo>
                    <a:cubicBezTo>
                      <a:pt x="3" y="25"/>
                      <a:pt x="3" y="25"/>
                      <a:pt x="3" y="25"/>
                    </a:cubicBezTo>
                    <a:cubicBezTo>
                      <a:pt x="0" y="27"/>
                      <a:pt x="0" y="27"/>
                      <a:pt x="0" y="27"/>
                    </a:cubicBezTo>
                    <a:cubicBezTo>
                      <a:pt x="0" y="27"/>
                      <a:pt x="1" y="28"/>
                      <a:pt x="2" y="30"/>
                    </a:cubicBezTo>
                    <a:cubicBezTo>
                      <a:pt x="3" y="33"/>
                      <a:pt x="0" y="41"/>
                      <a:pt x="0" y="41"/>
                    </a:cubicBezTo>
                    <a:cubicBezTo>
                      <a:pt x="3" y="40"/>
                      <a:pt x="3" y="40"/>
                      <a:pt x="3" y="40"/>
                    </a:cubicBezTo>
                    <a:cubicBezTo>
                      <a:pt x="3" y="45"/>
                      <a:pt x="3" y="45"/>
                      <a:pt x="3" y="45"/>
                    </a:cubicBezTo>
                    <a:cubicBezTo>
                      <a:pt x="1" y="48"/>
                      <a:pt x="1" y="48"/>
                      <a:pt x="1" y="48"/>
                    </a:cubicBezTo>
                    <a:cubicBezTo>
                      <a:pt x="4" y="50"/>
                      <a:pt x="4" y="50"/>
                      <a:pt x="4" y="50"/>
                    </a:cubicBezTo>
                    <a:cubicBezTo>
                      <a:pt x="6" y="50"/>
                      <a:pt x="6" y="50"/>
                      <a:pt x="6" y="50"/>
                    </a:cubicBezTo>
                    <a:cubicBezTo>
                      <a:pt x="4" y="55"/>
                      <a:pt x="4" y="55"/>
                      <a:pt x="4" y="55"/>
                    </a:cubicBezTo>
                    <a:cubicBezTo>
                      <a:pt x="4" y="57"/>
                      <a:pt x="4" y="57"/>
                      <a:pt x="4" y="57"/>
                    </a:cubicBezTo>
                    <a:cubicBezTo>
                      <a:pt x="9" y="59"/>
                      <a:pt x="9" y="59"/>
                      <a:pt x="9" y="59"/>
                    </a:cubicBezTo>
                    <a:cubicBezTo>
                      <a:pt x="7" y="61"/>
                      <a:pt x="7" y="61"/>
                      <a:pt x="7" y="61"/>
                    </a:cubicBezTo>
                    <a:cubicBezTo>
                      <a:pt x="6" y="64"/>
                      <a:pt x="6" y="64"/>
                      <a:pt x="6" y="64"/>
                    </a:cubicBezTo>
                    <a:cubicBezTo>
                      <a:pt x="10" y="66"/>
                      <a:pt x="10" y="66"/>
                      <a:pt x="10" y="66"/>
                    </a:cubicBezTo>
                    <a:cubicBezTo>
                      <a:pt x="12" y="68"/>
                      <a:pt x="12" y="68"/>
                      <a:pt x="12" y="68"/>
                    </a:cubicBezTo>
                    <a:cubicBezTo>
                      <a:pt x="12" y="68"/>
                      <a:pt x="14" y="71"/>
                      <a:pt x="16" y="71"/>
                    </a:cubicBezTo>
                    <a:cubicBezTo>
                      <a:pt x="17" y="71"/>
                      <a:pt x="20" y="72"/>
                      <a:pt x="20" y="72"/>
                    </a:cubicBezTo>
                    <a:cubicBezTo>
                      <a:pt x="20" y="72"/>
                      <a:pt x="21" y="70"/>
                      <a:pt x="22" y="68"/>
                    </a:cubicBezTo>
                    <a:cubicBezTo>
                      <a:pt x="22" y="65"/>
                      <a:pt x="19" y="62"/>
                      <a:pt x="23" y="61"/>
                    </a:cubicBezTo>
                    <a:cubicBezTo>
                      <a:pt x="28" y="60"/>
                      <a:pt x="25" y="55"/>
                      <a:pt x="25" y="55"/>
                    </a:cubicBezTo>
                    <a:cubicBezTo>
                      <a:pt x="26" y="51"/>
                      <a:pt x="26" y="51"/>
                      <a:pt x="26" y="51"/>
                    </a:cubicBezTo>
                    <a:cubicBezTo>
                      <a:pt x="24" y="46"/>
                      <a:pt x="24" y="46"/>
                      <a:pt x="24" y="46"/>
                    </a:cubicBezTo>
                    <a:cubicBezTo>
                      <a:pt x="25" y="45"/>
                      <a:pt x="25" y="45"/>
                      <a:pt x="25" y="45"/>
                    </a:cubicBezTo>
                    <a:cubicBezTo>
                      <a:pt x="28" y="42"/>
                      <a:pt x="28" y="42"/>
                      <a:pt x="28" y="42"/>
                    </a:cubicBezTo>
                    <a:cubicBezTo>
                      <a:pt x="30" y="39"/>
                      <a:pt x="30" y="39"/>
                      <a:pt x="30" y="39"/>
                    </a:cubicBezTo>
                    <a:cubicBezTo>
                      <a:pt x="30" y="39"/>
                      <a:pt x="31" y="37"/>
                      <a:pt x="31" y="35"/>
                    </a:cubicBezTo>
                    <a:close/>
                  </a:path>
                </a:pathLst>
              </a:custGeom>
              <a:solidFill>
                <a:srgbClr val="0181C7"/>
              </a:solid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29" name="Freeform 75"/>
              <p:cNvSpPr>
                <a:spLocks noEditPoints="1"/>
              </p:cNvSpPr>
              <p:nvPr/>
            </p:nvSpPr>
            <p:spPr bwMode="auto">
              <a:xfrm>
                <a:off x="1783" y="1277"/>
                <a:ext cx="470" cy="889"/>
              </a:xfrm>
              <a:custGeom>
                <a:avLst/>
                <a:gdLst>
                  <a:gd name="T0" fmla="*/ 24 w 234"/>
                  <a:gd name="T1" fmla="*/ 434 h 443"/>
                  <a:gd name="T2" fmla="*/ 78 w 234"/>
                  <a:gd name="T3" fmla="*/ 436 h 443"/>
                  <a:gd name="T4" fmla="*/ 140 w 234"/>
                  <a:gd name="T5" fmla="*/ 427 h 443"/>
                  <a:gd name="T6" fmla="*/ 171 w 234"/>
                  <a:gd name="T7" fmla="*/ 429 h 443"/>
                  <a:gd name="T8" fmla="*/ 205 w 234"/>
                  <a:gd name="T9" fmla="*/ 408 h 443"/>
                  <a:gd name="T10" fmla="*/ 229 w 234"/>
                  <a:gd name="T11" fmla="*/ 377 h 443"/>
                  <a:gd name="T12" fmla="*/ 202 w 234"/>
                  <a:gd name="T13" fmla="*/ 328 h 443"/>
                  <a:gd name="T14" fmla="*/ 192 w 234"/>
                  <a:gd name="T15" fmla="*/ 297 h 443"/>
                  <a:gd name="T16" fmla="*/ 167 w 234"/>
                  <a:gd name="T17" fmla="*/ 227 h 443"/>
                  <a:gd name="T18" fmla="*/ 127 w 234"/>
                  <a:gd name="T19" fmla="*/ 196 h 443"/>
                  <a:gd name="T20" fmla="*/ 133 w 234"/>
                  <a:gd name="T21" fmla="*/ 183 h 443"/>
                  <a:gd name="T22" fmla="*/ 178 w 234"/>
                  <a:gd name="T23" fmla="*/ 139 h 443"/>
                  <a:gd name="T24" fmla="*/ 134 w 234"/>
                  <a:gd name="T25" fmla="*/ 127 h 443"/>
                  <a:gd name="T26" fmla="*/ 116 w 234"/>
                  <a:gd name="T27" fmla="*/ 126 h 443"/>
                  <a:gd name="T28" fmla="*/ 134 w 234"/>
                  <a:gd name="T29" fmla="*/ 110 h 443"/>
                  <a:gd name="T30" fmla="*/ 126 w 234"/>
                  <a:gd name="T31" fmla="*/ 87 h 443"/>
                  <a:gd name="T32" fmla="*/ 110 w 234"/>
                  <a:gd name="T33" fmla="*/ 86 h 443"/>
                  <a:gd name="T34" fmla="*/ 103 w 234"/>
                  <a:gd name="T35" fmla="*/ 111 h 443"/>
                  <a:gd name="T36" fmla="*/ 90 w 234"/>
                  <a:gd name="T37" fmla="*/ 115 h 443"/>
                  <a:gd name="T38" fmla="*/ 87 w 234"/>
                  <a:gd name="T39" fmla="*/ 133 h 443"/>
                  <a:gd name="T40" fmla="*/ 73 w 234"/>
                  <a:gd name="T41" fmla="*/ 116 h 443"/>
                  <a:gd name="T42" fmla="*/ 68 w 234"/>
                  <a:gd name="T43" fmla="*/ 128 h 443"/>
                  <a:gd name="T44" fmla="*/ 84 w 234"/>
                  <a:gd name="T45" fmla="*/ 139 h 443"/>
                  <a:gd name="T46" fmla="*/ 68 w 234"/>
                  <a:gd name="T47" fmla="*/ 154 h 443"/>
                  <a:gd name="T48" fmla="*/ 77 w 234"/>
                  <a:gd name="T49" fmla="*/ 169 h 443"/>
                  <a:gd name="T50" fmla="*/ 53 w 234"/>
                  <a:gd name="T51" fmla="*/ 195 h 443"/>
                  <a:gd name="T52" fmla="*/ 71 w 234"/>
                  <a:gd name="T53" fmla="*/ 187 h 443"/>
                  <a:gd name="T54" fmla="*/ 68 w 234"/>
                  <a:gd name="T55" fmla="*/ 206 h 443"/>
                  <a:gd name="T56" fmla="*/ 81 w 234"/>
                  <a:gd name="T57" fmla="*/ 191 h 443"/>
                  <a:gd name="T58" fmla="*/ 79 w 234"/>
                  <a:gd name="T59" fmla="*/ 247 h 443"/>
                  <a:gd name="T60" fmla="*/ 107 w 234"/>
                  <a:gd name="T61" fmla="*/ 247 h 443"/>
                  <a:gd name="T62" fmla="*/ 115 w 234"/>
                  <a:gd name="T63" fmla="*/ 271 h 443"/>
                  <a:gd name="T64" fmla="*/ 116 w 234"/>
                  <a:gd name="T65" fmla="*/ 308 h 443"/>
                  <a:gd name="T66" fmla="*/ 78 w 234"/>
                  <a:gd name="T67" fmla="*/ 303 h 443"/>
                  <a:gd name="T68" fmla="*/ 84 w 234"/>
                  <a:gd name="T69" fmla="*/ 340 h 443"/>
                  <a:gd name="T70" fmla="*/ 50 w 234"/>
                  <a:gd name="T71" fmla="*/ 371 h 443"/>
                  <a:gd name="T72" fmla="*/ 82 w 234"/>
                  <a:gd name="T73" fmla="*/ 380 h 443"/>
                  <a:gd name="T74" fmla="*/ 112 w 234"/>
                  <a:gd name="T75" fmla="*/ 388 h 443"/>
                  <a:gd name="T76" fmla="*/ 40 w 234"/>
                  <a:gd name="T77" fmla="*/ 214 h 443"/>
                  <a:gd name="T78" fmla="*/ 65 w 234"/>
                  <a:gd name="T79" fmla="*/ 253 h 443"/>
                  <a:gd name="T80" fmla="*/ 34 w 234"/>
                  <a:gd name="T81" fmla="*/ 261 h 443"/>
                  <a:gd name="T82" fmla="*/ 11 w 234"/>
                  <a:gd name="T83" fmla="*/ 232 h 443"/>
                  <a:gd name="T84" fmla="*/ 61 w 234"/>
                  <a:gd name="T85" fmla="*/ 183 h 443"/>
                  <a:gd name="T86" fmla="*/ 83 w 234"/>
                  <a:gd name="T87" fmla="*/ 212 h 443"/>
                  <a:gd name="T88" fmla="*/ 53 w 234"/>
                  <a:gd name="T89" fmla="*/ 160 h 443"/>
                  <a:gd name="T90" fmla="*/ 63 w 234"/>
                  <a:gd name="T91" fmla="*/ 138 h 443"/>
                  <a:gd name="T92" fmla="*/ 37 w 234"/>
                  <a:gd name="T93" fmla="*/ 143 h 443"/>
                  <a:gd name="T94" fmla="*/ 48 w 234"/>
                  <a:gd name="T95" fmla="*/ 128 h 443"/>
                  <a:gd name="T96" fmla="*/ 56 w 234"/>
                  <a:gd name="T97" fmla="*/ 107 h 443"/>
                  <a:gd name="T98" fmla="*/ 65 w 234"/>
                  <a:gd name="T99" fmla="*/ 86 h 443"/>
                  <a:gd name="T100" fmla="*/ 76 w 234"/>
                  <a:gd name="T101" fmla="*/ 94 h 443"/>
                  <a:gd name="T102" fmla="*/ 215 w 234"/>
                  <a:gd name="T103" fmla="*/ 12 h 443"/>
                  <a:gd name="T104" fmla="*/ 198 w 234"/>
                  <a:gd name="T105" fmla="*/ 22 h 443"/>
                  <a:gd name="T106" fmla="*/ 217 w 234"/>
                  <a:gd name="T107" fmla="*/ 2 h 443"/>
                  <a:gd name="T108" fmla="*/ 209 w 234"/>
                  <a:gd name="T109" fmla="*/ 24 h 443"/>
                  <a:gd name="T110" fmla="*/ 195 w 234"/>
                  <a:gd name="T111" fmla="*/ 52 h 443"/>
                  <a:gd name="T112" fmla="*/ 178 w 234"/>
                  <a:gd name="T113" fmla="*/ 58 h 443"/>
                  <a:gd name="T114" fmla="*/ 166 w 234"/>
                  <a:gd name="T115" fmla="*/ 65 h 443"/>
                  <a:gd name="T116" fmla="*/ 165 w 234"/>
                  <a:gd name="T117" fmla="*/ 61 h 443"/>
                  <a:gd name="T118" fmla="*/ 154 w 234"/>
                  <a:gd name="T119" fmla="*/ 74 h 443"/>
                  <a:gd name="T120" fmla="*/ 151 w 234"/>
                  <a:gd name="T121" fmla="*/ 75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4" h="443">
                    <a:moveTo>
                      <a:pt x="59" y="403"/>
                    </a:moveTo>
                    <a:cubicBezTo>
                      <a:pt x="56" y="406"/>
                      <a:pt x="56" y="406"/>
                      <a:pt x="56" y="406"/>
                    </a:cubicBezTo>
                    <a:cubicBezTo>
                      <a:pt x="56" y="409"/>
                      <a:pt x="56" y="409"/>
                      <a:pt x="56" y="409"/>
                    </a:cubicBezTo>
                    <a:cubicBezTo>
                      <a:pt x="54" y="412"/>
                      <a:pt x="54" y="412"/>
                      <a:pt x="54" y="412"/>
                    </a:cubicBezTo>
                    <a:cubicBezTo>
                      <a:pt x="54" y="412"/>
                      <a:pt x="53" y="413"/>
                      <a:pt x="52" y="413"/>
                    </a:cubicBezTo>
                    <a:cubicBezTo>
                      <a:pt x="52" y="414"/>
                      <a:pt x="49" y="417"/>
                      <a:pt x="49" y="417"/>
                    </a:cubicBezTo>
                    <a:cubicBezTo>
                      <a:pt x="49" y="417"/>
                      <a:pt x="48" y="417"/>
                      <a:pt x="48" y="418"/>
                    </a:cubicBezTo>
                    <a:cubicBezTo>
                      <a:pt x="47" y="418"/>
                      <a:pt x="42" y="420"/>
                      <a:pt x="42" y="420"/>
                    </a:cubicBezTo>
                    <a:cubicBezTo>
                      <a:pt x="40" y="423"/>
                      <a:pt x="40" y="423"/>
                      <a:pt x="40" y="423"/>
                    </a:cubicBezTo>
                    <a:cubicBezTo>
                      <a:pt x="36" y="424"/>
                      <a:pt x="36" y="424"/>
                      <a:pt x="36" y="424"/>
                    </a:cubicBezTo>
                    <a:cubicBezTo>
                      <a:pt x="34" y="428"/>
                      <a:pt x="34" y="428"/>
                      <a:pt x="34" y="428"/>
                    </a:cubicBezTo>
                    <a:cubicBezTo>
                      <a:pt x="30" y="430"/>
                      <a:pt x="30" y="430"/>
                      <a:pt x="30" y="430"/>
                    </a:cubicBezTo>
                    <a:cubicBezTo>
                      <a:pt x="27" y="430"/>
                      <a:pt x="27" y="430"/>
                      <a:pt x="27" y="430"/>
                    </a:cubicBezTo>
                    <a:cubicBezTo>
                      <a:pt x="24" y="429"/>
                      <a:pt x="24" y="429"/>
                      <a:pt x="24" y="429"/>
                    </a:cubicBezTo>
                    <a:cubicBezTo>
                      <a:pt x="21" y="430"/>
                      <a:pt x="21" y="430"/>
                      <a:pt x="21" y="430"/>
                    </a:cubicBezTo>
                    <a:cubicBezTo>
                      <a:pt x="19" y="432"/>
                      <a:pt x="19" y="432"/>
                      <a:pt x="19" y="432"/>
                    </a:cubicBezTo>
                    <a:cubicBezTo>
                      <a:pt x="20" y="435"/>
                      <a:pt x="20" y="435"/>
                      <a:pt x="20" y="435"/>
                    </a:cubicBezTo>
                    <a:cubicBezTo>
                      <a:pt x="23" y="437"/>
                      <a:pt x="23" y="437"/>
                      <a:pt x="23" y="437"/>
                    </a:cubicBezTo>
                    <a:cubicBezTo>
                      <a:pt x="24" y="434"/>
                      <a:pt x="24" y="434"/>
                      <a:pt x="24" y="434"/>
                    </a:cubicBezTo>
                    <a:cubicBezTo>
                      <a:pt x="29" y="437"/>
                      <a:pt x="29" y="437"/>
                      <a:pt x="29" y="437"/>
                    </a:cubicBezTo>
                    <a:cubicBezTo>
                      <a:pt x="29" y="437"/>
                      <a:pt x="31" y="439"/>
                      <a:pt x="31" y="440"/>
                    </a:cubicBezTo>
                    <a:cubicBezTo>
                      <a:pt x="31" y="440"/>
                      <a:pt x="31" y="443"/>
                      <a:pt x="32" y="442"/>
                    </a:cubicBezTo>
                    <a:cubicBezTo>
                      <a:pt x="33" y="442"/>
                      <a:pt x="36" y="439"/>
                      <a:pt x="36" y="439"/>
                    </a:cubicBezTo>
                    <a:cubicBezTo>
                      <a:pt x="35" y="436"/>
                      <a:pt x="35" y="436"/>
                      <a:pt x="35" y="436"/>
                    </a:cubicBezTo>
                    <a:cubicBezTo>
                      <a:pt x="35" y="436"/>
                      <a:pt x="38" y="435"/>
                      <a:pt x="39" y="435"/>
                    </a:cubicBezTo>
                    <a:cubicBezTo>
                      <a:pt x="41" y="436"/>
                      <a:pt x="42" y="436"/>
                      <a:pt x="43" y="435"/>
                    </a:cubicBezTo>
                    <a:cubicBezTo>
                      <a:pt x="43" y="434"/>
                      <a:pt x="45" y="433"/>
                      <a:pt x="45" y="433"/>
                    </a:cubicBezTo>
                    <a:cubicBezTo>
                      <a:pt x="45" y="433"/>
                      <a:pt x="47" y="432"/>
                      <a:pt x="47" y="431"/>
                    </a:cubicBezTo>
                    <a:cubicBezTo>
                      <a:pt x="47" y="430"/>
                      <a:pt x="50" y="429"/>
                      <a:pt x="50" y="429"/>
                    </a:cubicBezTo>
                    <a:cubicBezTo>
                      <a:pt x="50" y="429"/>
                      <a:pt x="55" y="431"/>
                      <a:pt x="56" y="431"/>
                    </a:cubicBezTo>
                    <a:cubicBezTo>
                      <a:pt x="57" y="431"/>
                      <a:pt x="62" y="430"/>
                      <a:pt x="62" y="430"/>
                    </a:cubicBezTo>
                    <a:cubicBezTo>
                      <a:pt x="65" y="432"/>
                      <a:pt x="65" y="432"/>
                      <a:pt x="65" y="432"/>
                    </a:cubicBezTo>
                    <a:cubicBezTo>
                      <a:pt x="65" y="432"/>
                      <a:pt x="65" y="434"/>
                      <a:pt x="66" y="434"/>
                    </a:cubicBezTo>
                    <a:cubicBezTo>
                      <a:pt x="68" y="435"/>
                      <a:pt x="69" y="434"/>
                      <a:pt x="69" y="434"/>
                    </a:cubicBezTo>
                    <a:cubicBezTo>
                      <a:pt x="71" y="437"/>
                      <a:pt x="71" y="437"/>
                      <a:pt x="71" y="437"/>
                    </a:cubicBezTo>
                    <a:cubicBezTo>
                      <a:pt x="74" y="440"/>
                      <a:pt x="74" y="440"/>
                      <a:pt x="74" y="440"/>
                    </a:cubicBezTo>
                    <a:cubicBezTo>
                      <a:pt x="74" y="440"/>
                      <a:pt x="76" y="439"/>
                      <a:pt x="76" y="439"/>
                    </a:cubicBezTo>
                    <a:cubicBezTo>
                      <a:pt x="76" y="438"/>
                      <a:pt x="77" y="436"/>
                      <a:pt x="78" y="436"/>
                    </a:cubicBezTo>
                    <a:cubicBezTo>
                      <a:pt x="78" y="435"/>
                      <a:pt x="81" y="435"/>
                      <a:pt x="81" y="435"/>
                    </a:cubicBezTo>
                    <a:cubicBezTo>
                      <a:pt x="81" y="435"/>
                      <a:pt x="81" y="433"/>
                      <a:pt x="81" y="432"/>
                    </a:cubicBezTo>
                    <a:cubicBezTo>
                      <a:pt x="81" y="431"/>
                      <a:pt x="81" y="428"/>
                      <a:pt x="81" y="428"/>
                    </a:cubicBezTo>
                    <a:cubicBezTo>
                      <a:pt x="82" y="427"/>
                      <a:pt x="84" y="424"/>
                      <a:pt x="84" y="424"/>
                    </a:cubicBezTo>
                    <a:cubicBezTo>
                      <a:pt x="88" y="423"/>
                      <a:pt x="88" y="423"/>
                      <a:pt x="88" y="423"/>
                    </a:cubicBezTo>
                    <a:cubicBezTo>
                      <a:pt x="98" y="422"/>
                      <a:pt x="98" y="422"/>
                      <a:pt x="98" y="422"/>
                    </a:cubicBezTo>
                    <a:cubicBezTo>
                      <a:pt x="101" y="422"/>
                      <a:pt x="101" y="422"/>
                      <a:pt x="101" y="422"/>
                    </a:cubicBezTo>
                    <a:cubicBezTo>
                      <a:pt x="105" y="426"/>
                      <a:pt x="105" y="426"/>
                      <a:pt x="105" y="426"/>
                    </a:cubicBezTo>
                    <a:cubicBezTo>
                      <a:pt x="109" y="430"/>
                      <a:pt x="109" y="430"/>
                      <a:pt x="109" y="430"/>
                    </a:cubicBezTo>
                    <a:cubicBezTo>
                      <a:pt x="109" y="430"/>
                      <a:pt x="112" y="433"/>
                      <a:pt x="112" y="432"/>
                    </a:cubicBezTo>
                    <a:cubicBezTo>
                      <a:pt x="112" y="431"/>
                      <a:pt x="113" y="427"/>
                      <a:pt x="114" y="427"/>
                    </a:cubicBezTo>
                    <a:cubicBezTo>
                      <a:pt x="114" y="427"/>
                      <a:pt x="117" y="431"/>
                      <a:pt x="117" y="431"/>
                    </a:cubicBezTo>
                    <a:cubicBezTo>
                      <a:pt x="120" y="431"/>
                      <a:pt x="120" y="431"/>
                      <a:pt x="120" y="431"/>
                    </a:cubicBezTo>
                    <a:cubicBezTo>
                      <a:pt x="123" y="431"/>
                      <a:pt x="123" y="431"/>
                      <a:pt x="123" y="431"/>
                    </a:cubicBezTo>
                    <a:cubicBezTo>
                      <a:pt x="125" y="429"/>
                      <a:pt x="125" y="429"/>
                      <a:pt x="125" y="429"/>
                    </a:cubicBezTo>
                    <a:cubicBezTo>
                      <a:pt x="123" y="427"/>
                      <a:pt x="123" y="427"/>
                      <a:pt x="123" y="427"/>
                    </a:cubicBezTo>
                    <a:cubicBezTo>
                      <a:pt x="127" y="428"/>
                      <a:pt x="127" y="428"/>
                      <a:pt x="127" y="428"/>
                    </a:cubicBezTo>
                    <a:cubicBezTo>
                      <a:pt x="135" y="428"/>
                      <a:pt x="135" y="428"/>
                      <a:pt x="135" y="428"/>
                    </a:cubicBezTo>
                    <a:cubicBezTo>
                      <a:pt x="140" y="427"/>
                      <a:pt x="140" y="427"/>
                      <a:pt x="140" y="427"/>
                    </a:cubicBezTo>
                    <a:cubicBezTo>
                      <a:pt x="143" y="426"/>
                      <a:pt x="143" y="426"/>
                      <a:pt x="143" y="426"/>
                    </a:cubicBezTo>
                    <a:cubicBezTo>
                      <a:pt x="142" y="428"/>
                      <a:pt x="142" y="428"/>
                      <a:pt x="142" y="428"/>
                    </a:cubicBezTo>
                    <a:cubicBezTo>
                      <a:pt x="138" y="430"/>
                      <a:pt x="138" y="430"/>
                      <a:pt x="138" y="430"/>
                    </a:cubicBezTo>
                    <a:cubicBezTo>
                      <a:pt x="138" y="430"/>
                      <a:pt x="136" y="430"/>
                      <a:pt x="137" y="431"/>
                    </a:cubicBezTo>
                    <a:cubicBezTo>
                      <a:pt x="137" y="432"/>
                      <a:pt x="141" y="434"/>
                      <a:pt x="141" y="434"/>
                    </a:cubicBezTo>
                    <a:cubicBezTo>
                      <a:pt x="141" y="434"/>
                      <a:pt x="139" y="435"/>
                      <a:pt x="142" y="435"/>
                    </a:cubicBezTo>
                    <a:cubicBezTo>
                      <a:pt x="145" y="435"/>
                      <a:pt x="146" y="434"/>
                      <a:pt x="146" y="434"/>
                    </a:cubicBezTo>
                    <a:cubicBezTo>
                      <a:pt x="149" y="431"/>
                      <a:pt x="149" y="431"/>
                      <a:pt x="149" y="431"/>
                    </a:cubicBezTo>
                    <a:cubicBezTo>
                      <a:pt x="147" y="430"/>
                      <a:pt x="147" y="430"/>
                      <a:pt x="147" y="430"/>
                    </a:cubicBezTo>
                    <a:cubicBezTo>
                      <a:pt x="143" y="429"/>
                      <a:pt x="143" y="429"/>
                      <a:pt x="143" y="429"/>
                    </a:cubicBezTo>
                    <a:cubicBezTo>
                      <a:pt x="144" y="426"/>
                      <a:pt x="144" y="426"/>
                      <a:pt x="144" y="426"/>
                    </a:cubicBezTo>
                    <a:cubicBezTo>
                      <a:pt x="145" y="425"/>
                      <a:pt x="145" y="425"/>
                      <a:pt x="145" y="425"/>
                    </a:cubicBezTo>
                    <a:cubicBezTo>
                      <a:pt x="147" y="428"/>
                      <a:pt x="147" y="428"/>
                      <a:pt x="147" y="428"/>
                    </a:cubicBezTo>
                    <a:cubicBezTo>
                      <a:pt x="150" y="426"/>
                      <a:pt x="150" y="426"/>
                      <a:pt x="150" y="426"/>
                    </a:cubicBezTo>
                    <a:cubicBezTo>
                      <a:pt x="153" y="427"/>
                      <a:pt x="153" y="427"/>
                      <a:pt x="153" y="427"/>
                    </a:cubicBezTo>
                    <a:cubicBezTo>
                      <a:pt x="155" y="431"/>
                      <a:pt x="155" y="431"/>
                      <a:pt x="155" y="431"/>
                    </a:cubicBezTo>
                    <a:cubicBezTo>
                      <a:pt x="155" y="431"/>
                      <a:pt x="157" y="432"/>
                      <a:pt x="158" y="431"/>
                    </a:cubicBezTo>
                    <a:cubicBezTo>
                      <a:pt x="159" y="430"/>
                      <a:pt x="161" y="429"/>
                      <a:pt x="161" y="429"/>
                    </a:cubicBezTo>
                    <a:cubicBezTo>
                      <a:pt x="171" y="429"/>
                      <a:pt x="171" y="429"/>
                      <a:pt x="171" y="429"/>
                    </a:cubicBezTo>
                    <a:cubicBezTo>
                      <a:pt x="171" y="429"/>
                      <a:pt x="175" y="429"/>
                      <a:pt x="176" y="430"/>
                    </a:cubicBezTo>
                    <a:cubicBezTo>
                      <a:pt x="177" y="431"/>
                      <a:pt x="180" y="433"/>
                      <a:pt x="180" y="433"/>
                    </a:cubicBezTo>
                    <a:cubicBezTo>
                      <a:pt x="184" y="434"/>
                      <a:pt x="184" y="434"/>
                      <a:pt x="184" y="434"/>
                    </a:cubicBezTo>
                    <a:cubicBezTo>
                      <a:pt x="188" y="433"/>
                      <a:pt x="188" y="433"/>
                      <a:pt x="188" y="433"/>
                    </a:cubicBezTo>
                    <a:cubicBezTo>
                      <a:pt x="188" y="433"/>
                      <a:pt x="189" y="432"/>
                      <a:pt x="190" y="432"/>
                    </a:cubicBezTo>
                    <a:cubicBezTo>
                      <a:pt x="191" y="431"/>
                      <a:pt x="194" y="430"/>
                      <a:pt x="195" y="430"/>
                    </a:cubicBezTo>
                    <a:cubicBezTo>
                      <a:pt x="196" y="430"/>
                      <a:pt x="200" y="429"/>
                      <a:pt x="201" y="429"/>
                    </a:cubicBezTo>
                    <a:cubicBezTo>
                      <a:pt x="202" y="429"/>
                      <a:pt x="202" y="430"/>
                      <a:pt x="204" y="429"/>
                    </a:cubicBezTo>
                    <a:cubicBezTo>
                      <a:pt x="205" y="429"/>
                      <a:pt x="207" y="425"/>
                      <a:pt x="207" y="425"/>
                    </a:cubicBezTo>
                    <a:cubicBezTo>
                      <a:pt x="207" y="425"/>
                      <a:pt x="208" y="424"/>
                      <a:pt x="210" y="423"/>
                    </a:cubicBezTo>
                    <a:cubicBezTo>
                      <a:pt x="211" y="423"/>
                      <a:pt x="213" y="424"/>
                      <a:pt x="214" y="422"/>
                    </a:cubicBezTo>
                    <a:cubicBezTo>
                      <a:pt x="215" y="421"/>
                      <a:pt x="216" y="420"/>
                      <a:pt x="217" y="419"/>
                    </a:cubicBezTo>
                    <a:cubicBezTo>
                      <a:pt x="217" y="418"/>
                      <a:pt x="219" y="416"/>
                      <a:pt x="219" y="415"/>
                    </a:cubicBezTo>
                    <a:cubicBezTo>
                      <a:pt x="219" y="414"/>
                      <a:pt x="219" y="411"/>
                      <a:pt x="219" y="411"/>
                    </a:cubicBezTo>
                    <a:cubicBezTo>
                      <a:pt x="219" y="411"/>
                      <a:pt x="216" y="411"/>
                      <a:pt x="216" y="411"/>
                    </a:cubicBezTo>
                    <a:cubicBezTo>
                      <a:pt x="215" y="411"/>
                      <a:pt x="212" y="411"/>
                      <a:pt x="211" y="411"/>
                    </a:cubicBezTo>
                    <a:cubicBezTo>
                      <a:pt x="211" y="411"/>
                      <a:pt x="207" y="410"/>
                      <a:pt x="207" y="410"/>
                    </a:cubicBezTo>
                    <a:cubicBezTo>
                      <a:pt x="207" y="409"/>
                      <a:pt x="207" y="409"/>
                      <a:pt x="207" y="409"/>
                    </a:cubicBezTo>
                    <a:cubicBezTo>
                      <a:pt x="207" y="409"/>
                      <a:pt x="205" y="408"/>
                      <a:pt x="205" y="408"/>
                    </a:cubicBezTo>
                    <a:cubicBezTo>
                      <a:pt x="204" y="408"/>
                      <a:pt x="204" y="407"/>
                      <a:pt x="203" y="407"/>
                    </a:cubicBezTo>
                    <a:cubicBezTo>
                      <a:pt x="202" y="406"/>
                      <a:pt x="201" y="405"/>
                      <a:pt x="201" y="405"/>
                    </a:cubicBezTo>
                    <a:cubicBezTo>
                      <a:pt x="198" y="404"/>
                      <a:pt x="198" y="404"/>
                      <a:pt x="198" y="404"/>
                    </a:cubicBezTo>
                    <a:cubicBezTo>
                      <a:pt x="195" y="404"/>
                      <a:pt x="195" y="404"/>
                      <a:pt x="195" y="404"/>
                    </a:cubicBezTo>
                    <a:cubicBezTo>
                      <a:pt x="198" y="403"/>
                      <a:pt x="198" y="403"/>
                      <a:pt x="198" y="403"/>
                    </a:cubicBezTo>
                    <a:cubicBezTo>
                      <a:pt x="198" y="403"/>
                      <a:pt x="201" y="403"/>
                      <a:pt x="202" y="403"/>
                    </a:cubicBezTo>
                    <a:cubicBezTo>
                      <a:pt x="203" y="403"/>
                      <a:pt x="207" y="403"/>
                      <a:pt x="207" y="403"/>
                    </a:cubicBezTo>
                    <a:cubicBezTo>
                      <a:pt x="207" y="402"/>
                      <a:pt x="209" y="399"/>
                      <a:pt x="209" y="399"/>
                    </a:cubicBezTo>
                    <a:cubicBezTo>
                      <a:pt x="209" y="396"/>
                      <a:pt x="209" y="396"/>
                      <a:pt x="209" y="396"/>
                    </a:cubicBezTo>
                    <a:cubicBezTo>
                      <a:pt x="207" y="395"/>
                      <a:pt x="207" y="395"/>
                      <a:pt x="207" y="395"/>
                    </a:cubicBezTo>
                    <a:cubicBezTo>
                      <a:pt x="203" y="395"/>
                      <a:pt x="203" y="395"/>
                      <a:pt x="203" y="395"/>
                    </a:cubicBezTo>
                    <a:cubicBezTo>
                      <a:pt x="208" y="393"/>
                      <a:pt x="208" y="393"/>
                      <a:pt x="208" y="393"/>
                    </a:cubicBezTo>
                    <a:cubicBezTo>
                      <a:pt x="210" y="391"/>
                      <a:pt x="210" y="391"/>
                      <a:pt x="210" y="391"/>
                    </a:cubicBezTo>
                    <a:cubicBezTo>
                      <a:pt x="212" y="393"/>
                      <a:pt x="212" y="393"/>
                      <a:pt x="212" y="393"/>
                    </a:cubicBezTo>
                    <a:cubicBezTo>
                      <a:pt x="212" y="393"/>
                      <a:pt x="217" y="393"/>
                      <a:pt x="217" y="393"/>
                    </a:cubicBezTo>
                    <a:cubicBezTo>
                      <a:pt x="217" y="392"/>
                      <a:pt x="218" y="390"/>
                      <a:pt x="218" y="390"/>
                    </a:cubicBezTo>
                    <a:cubicBezTo>
                      <a:pt x="219" y="388"/>
                      <a:pt x="219" y="388"/>
                      <a:pt x="219" y="388"/>
                    </a:cubicBezTo>
                    <a:cubicBezTo>
                      <a:pt x="226" y="382"/>
                      <a:pt x="226" y="382"/>
                      <a:pt x="226" y="382"/>
                    </a:cubicBezTo>
                    <a:cubicBezTo>
                      <a:pt x="229" y="377"/>
                      <a:pt x="229" y="377"/>
                      <a:pt x="229" y="377"/>
                    </a:cubicBezTo>
                    <a:cubicBezTo>
                      <a:pt x="230" y="373"/>
                      <a:pt x="230" y="373"/>
                      <a:pt x="230" y="373"/>
                    </a:cubicBezTo>
                    <a:cubicBezTo>
                      <a:pt x="234" y="365"/>
                      <a:pt x="234" y="365"/>
                      <a:pt x="234" y="365"/>
                    </a:cubicBezTo>
                    <a:cubicBezTo>
                      <a:pt x="234" y="356"/>
                      <a:pt x="234" y="356"/>
                      <a:pt x="234" y="356"/>
                    </a:cubicBezTo>
                    <a:cubicBezTo>
                      <a:pt x="229" y="349"/>
                      <a:pt x="229" y="349"/>
                      <a:pt x="229" y="349"/>
                    </a:cubicBezTo>
                    <a:cubicBezTo>
                      <a:pt x="229" y="349"/>
                      <a:pt x="225" y="345"/>
                      <a:pt x="223" y="345"/>
                    </a:cubicBezTo>
                    <a:cubicBezTo>
                      <a:pt x="222" y="344"/>
                      <a:pt x="213" y="343"/>
                      <a:pt x="213" y="343"/>
                    </a:cubicBezTo>
                    <a:cubicBezTo>
                      <a:pt x="206" y="341"/>
                      <a:pt x="206" y="341"/>
                      <a:pt x="206" y="341"/>
                    </a:cubicBezTo>
                    <a:cubicBezTo>
                      <a:pt x="203" y="342"/>
                      <a:pt x="203" y="342"/>
                      <a:pt x="203" y="342"/>
                    </a:cubicBezTo>
                    <a:cubicBezTo>
                      <a:pt x="202" y="345"/>
                      <a:pt x="202" y="345"/>
                      <a:pt x="202" y="345"/>
                    </a:cubicBezTo>
                    <a:cubicBezTo>
                      <a:pt x="200" y="346"/>
                      <a:pt x="200" y="346"/>
                      <a:pt x="200" y="346"/>
                    </a:cubicBezTo>
                    <a:cubicBezTo>
                      <a:pt x="200" y="346"/>
                      <a:pt x="198" y="348"/>
                      <a:pt x="197" y="348"/>
                    </a:cubicBezTo>
                    <a:cubicBezTo>
                      <a:pt x="197" y="348"/>
                      <a:pt x="195" y="345"/>
                      <a:pt x="195" y="345"/>
                    </a:cubicBezTo>
                    <a:cubicBezTo>
                      <a:pt x="195" y="345"/>
                      <a:pt x="193" y="343"/>
                      <a:pt x="192" y="343"/>
                    </a:cubicBezTo>
                    <a:cubicBezTo>
                      <a:pt x="192" y="343"/>
                      <a:pt x="189" y="342"/>
                      <a:pt x="189" y="342"/>
                    </a:cubicBezTo>
                    <a:cubicBezTo>
                      <a:pt x="193" y="340"/>
                      <a:pt x="193" y="340"/>
                      <a:pt x="193" y="340"/>
                    </a:cubicBezTo>
                    <a:cubicBezTo>
                      <a:pt x="196" y="338"/>
                      <a:pt x="196" y="338"/>
                      <a:pt x="196" y="338"/>
                    </a:cubicBezTo>
                    <a:cubicBezTo>
                      <a:pt x="196" y="338"/>
                      <a:pt x="198" y="336"/>
                      <a:pt x="198" y="336"/>
                    </a:cubicBezTo>
                    <a:cubicBezTo>
                      <a:pt x="199" y="336"/>
                      <a:pt x="201" y="334"/>
                      <a:pt x="201" y="334"/>
                    </a:cubicBezTo>
                    <a:cubicBezTo>
                      <a:pt x="202" y="328"/>
                      <a:pt x="202" y="328"/>
                      <a:pt x="202" y="328"/>
                    </a:cubicBezTo>
                    <a:cubicBezTo>
                      <a:pt x="200" y="321"/>
                      <a:pt x="200" y="321"/>
                      <a:pt x="200" y="321"/>
                    </a:cubicBezTo>
                    <a:cubicBezTo>
                      <a:pt x="197" y="318"/>
                      <a:pt x="197" y="318"/>
                      <a:pt x="197" y="318"/>
                    </a:cubicBezTo>
                    <a:cubicBezTo>
                      <a:pt x="196" y="315"/>
                      <a:pt x="196" y="315"/>
                      <a:pt x="196" y="315"/>
                    </a:cubicBezTo>
                    <a:cubicBezTo>
                      <a:pt x="194" y="314"/>
                      <a:pt x="194" y="314"/>
                      <a:pt x="194" y="314"/>
                    </a:cubicBezTo>
                    <a:cubicBezTo>
                      <a:pt x="191" y="312"/>
                      <a:pt x="191" y="312"/>
                      <a:pt x="191" y="312"/>
                    </a:cubicBezTo>
                    <a:cubicBezTo>
                      <a:pt x="189" y="309"/>
                      <a:pt x="189" y="309"/>
                      <a:pt x="189" y="309"/>
                    </a:cubicBezTo>
                    <a:cubicBezTo>
                      <a:pt x="187" y="307"/>
                      <a:pt x="187" y="307"/>
                      <a:pt x="187" y="307"/>
                    </a:cubicBezTo>
                    <a:cubicBezTo>
                      <a:pt x="188" y="305"/>
                      <a:pt x="188" y="305"/>
                      <a:pt x="188" y="305"/>
                    </a:cubicBezTo>
                    <a:cubicBezTo>
                      <a:pt x="189" y="306"/>
                      <a:pt x="189" y="306"/>
                      <a:pt x="189" y="306"/>
                    </a:cubicBezTo>
                    <a:cubicBezTo>
                      <a:pt x="189" y="306"/>
                      <a:pt x="190" y="308"/>
                      <a:pt x="190" y="308"/>
                    </a:cubicBezTo>
                    <a:cubicBezTo>
                      <a:pt x="190" y="308"/>
                      <a:pt x="191" y="309"/>
                      <a:pt x="191" y="310"/>
                    </a:cubicBezTo>
                    <a:cubicBezTo>
                      <a:pt x="192" y="310"/>
                      <a:pt x="195" y="311"/>
                      <a:pt x="195" y="311"/>
                    </a:cubicBezTo>
                    <a:cubicBezTo>
                      <a:pt x="197" y="311"/>
                      <a:pt x="197" y="311"/>
                      <a:pt x="197" y="311"/>
                    </a:cubicBezTo>
                    <a:cubicBezTo>
                      <a:pt x="198" y="314"/>
                      <a:pt x="198" y="314"/>
                      <a:pt x="198" y="314"/>
                    </a:cubicBezTo>
                    <a:cubicBezTo>
                      <a:pt x="198" y="314"/>
                      <a:pt x="199" y="312"/>
                      <a:pt x="199" y="312"/>
                    </a:cubicBezTo>
                    <a:cubicBezTo>
                      <a:pt x="199" y="311"/>
                      <a:pt x="197" y="308"/>
                      <a:pt x="197" y="308"/>
                    </a:cubicBezTo>
                    <a:cubicBezTo>
                      <a:pt x="196" y="307"/>
                      <a:pt x="195" y="305"/>
                      <a:pt x="195" y="304"/>
                    </a:cubicBezTo>
                    <a:cubicBezTo>
                      <a:pt x="195" y="304"/>
                      <a:pt x="193" y="299"/>
                      <a:pt x="193" y="299"/>
                    </a:cubicBezTo>
                    <a:cubicBezTo>
                      <a:pt x="193" y="299"/>
                      <a:pt x="192" y="297"/>
                      <a:pt x="192" y="297"/>
                    </a:cubicBezTo>
                    <a:cubicBezTo>
                      <a:pt x="192" y="296"/>
                      <a:pt x="192" y="292"/>
                      <a:pt x="192" y="292"/>
                    </a:cubicBezTo>
                    <a:cubicBezTo>
                      <a:pt x="194" y="291"/>
                      <a:pt x="194" y="291"/>
                      <a:pt x="194" y="291"/>
                    </a:cubicBezTo>
                    <a:cubicBezTo>
                      <a:pt x="195" y="290"/>
                      <a:pt x="195" y="290"/>
                      <a:pt x="195" y="290"/>
                    </a:cubicBezTo>
                    <a:cubicBezTo>
                      <a:pt x="195" y="290"/>
                      <a:pt x="194" y="290"/>
                      <a:pt x="194" y="289"/>
                    </a:cubicBezTo>
                    <a:cubicBezTo>
                      <a:pt x="194" y="288"/>
                      <a:pt x="192" y="286"/>
                      <a:pt x="192" y="286"/>
                    </a:cubicBezTo>
                    <a:cubicBezTo>
                      <a:pt x="192" y="286"/>
                      <a:pt x="190" y="285"/>
                      <a:pt x="190" y="284"/>
                    </a:cubicBezTo>
                    <a:cubicBezTo>
                      <a:pt x="189" y="283"/>
                      <a:pt x="188" y="281"/>
                      <a:pt x="188" y="281"/>
                    </a:cubicBezTo>
                    <a:cubicBezTo>
                      <a:pt x="188" y="280"/>
                      <a:pt x="187" y="275"/>
                      <a:pt x="187" y="275"/>
                    </a:cubicBezTo>
                    <a:cubicBezTo>
                      <a:pt x="184" y="271"/>
                      <a:pt x="184" y="271"/>
                      <a:pt x="184" y="271"/>
                    </a:cubicBezTo>
                    <a:cubicBezTo>
                      <a:pt x="184" y="271"/>
                      <a:pt x="182" y="269"/>
                      <a:pt x="182" y="269"/>
                    </a:cubicBezTo>
                    <a:cubicBezTo>
                      <a:pt x="181" y="269"/>
                      <a:pt x="179" y="268"/>
                      <a:pt x="179" y="268"/>
                    </a:cubicBezTo>
                    <a:cubicBezTo>
                      <a:pt x="178" y="268"/>
                      <a:pt x="174" y="266"/>
                      <a:pt x="174" y="266"/>
                    </a:cubicBezTo>
                    <a:cubicBezTo>
                      <a:pt x="174" y="266"/>
                      <a:pt x="171" y="262"/>
                      <a:pt x="171" y="261"/>
                    </a:cubicBezTo>
                    <a:cubicBezTo>
                      <a:pt x="171" y="260"/>
                      <a:pt x="169" y="256"/>
                      <a:pt x="169" y="256"/>
                    </a:cubicBezTo>
                    <a:cubicBezTo>
                      <a:pt x="169" y="252"/>
                      <a:pt x="169" y="252"/>
                      <a:pt x="169" y="252"/>
                    </a:cubicBezTo>
                    <a:cubicBezTo>
                      <a:pt x="168" y="246"/>
                      <a:pt x="168" y="246"/>
                      <a:pt x="168" y="246"/>
                    </a:cubicBezTo>
                    <a:cubicBezTo>
                      <a:pt x="167" y="239"/>
                      <a:pt x="167" y="239"/>
                      <a:pt x="167" y="239"/>
                    </a:cubicBezTo>
                    <a:cubicBezTo>
                      <a:pt x="167" y="233"/>
                      <a:pt x="167" y="233"/>
                      <a:pt x="167" y="233"/>
                    </a:cubicBezTo>
                    <a:cubicBezTo>
                      <a:pt x="167" y="227"/>
                      <a:pt x="167" y="227"/>
                      <a:pt x="167" y="227"/>
                    </a:cubicBezTo>
                    <a:cubicBezTo>
                      <a:pt x="166" y="223"/>
                      <a:pt x="166" y="223"/>
                      <a:pt x="166" y="223"/>
                    </a:cubicBezTo>
                    <a:cubicBezTo>
                      <a:pt x="163" y="217"/>
                      <a:pt x="163" y="217"/>
                      <a:pt x="163" y="217"/>
                    </a:cubicBezTo>
                    <a:cubicBezTo>
                      <a:pt x="161" y="213"/>
                      <a:pt x="161" y="213"/>
                      <a:pt x="161" y="213"/>
                    </a:cubicBezTo>
                    <a:cubicBezTo>
                      <a:pt x="156" y="208"/>
                      <a:pt x="156" y="208"/>
                      <a:pt x="156" y="208"/>
                    </a:cubicBezTo>
                    <a:cubicBezTo>
                      <a:pt x="153" y="204"/>
                      <a:pt x="153" y="204"/>
                      <a:pt x="153" y="204"/>
                    </a:cubicBezTo>
                    <a:cubicBezTo>
                      <a:pt x="151" y="203"/>
                      <a:pt x="151" y="203"/>
                      <a:pt x="151" y="203"/>
                    </a:cubicBezTo>
                    <a:cubicBezTo>
                      <a:pt x="147" y="199"/>
                      <a:pt x="147" y="199"/>
                      <a:pt x="147" y="199"/>
                    </a:cubicBezTo>
                    <a:cubicBezTo>
                      <a:pt x="143" y="197"/>
                      <a:pt x="143" y="197"/>
                      <a:pt x="143" y="197"/>
                    </a:cubicBezTo>
                    <a:cubicBezTo>
                      <a:pt x="140" y="199"/>
                      <a:pt x="140" y="199"/>
                      <a:pt x="140" y="199"/>
                    </a:cubicBezTo>
                    <a:cubicBezTo>
                      <a:pt x="137" y="200"/>
                      <a:pt x="137" y="200"/>
                      <a:pt x="137" y="200"/>
                    </a:cubicBezTo>
                    <a:cubicBezTo>
                      <a:pt x="134" y="201"/>
                      <a:pt x="134" y="201"/>
                      <a:pt x="134" y="201"/>
                    </a:cubicBezTo>
                    <a:cubicBezTo>
                      <a:pt x="129" y="198"/>
                      <a:pt x="129" y="198"/>
                      <a:pt x="129" y="198"/>
                    </a:cubicBezTo>
                    <a:cubicBezTo>
                      <a:pt x="126" y="196"/>
                      <a:pt x="126" y="196"/>
                      <a:pt x="126" y="196"/>
                    </a:cubicBezTo>
                    <a:cubicBezTo>
                      <a:pt x="122" y="195"/>
                      <a:pt x="122" y="195"/>
                      <a:pt x="122" y="195"/>
                    </a:cubicBezTo>
                    <a:cubicBezTo>
                      <a:pt x="121" y="195"/>
                      <a:pt x="121" y="195"/>
                      <a:pt x="121" y="195"/>
                    </a:cubicBezTo>
                    <a:cubicBezTo>
                      <a:pt x="121" y="195"/>
                      <a:pt x="121" y="194"/>
                      <a:pt x="121" y="194"/>
                    </a:cubicBezTo>
                    <a:cubicBezTo>
                      <a:pt x="121" y="195"/>
                      <a:pt x="123" y="194"/>
                      <a:pt x="123" y="194"/>
                    </a:cubicBezTo>
                    <a:cubicBezTo>
                      <a:pt x="123" y="194"/>
                      <a:pt x="125" y="195"/>
                      <a:pt x="125" y="195"/>
                    </a:cubicBezTo>
                    <a:cubicBezTo>
                      <a:pt x="125" y="195"/>
                      <a:pt x="127" y="196"/>
                      <a:pt x="127" y="196"/>
                    </a:cubicBezTo>
                    <a:cubicBezTo>
                      <a:pt x="127" y="196"/>
                      <a:pt x="128" y="197"/>
                      <a:pt x="129" y="197"/>
                    </a:cubicBezTo>
                    <a:cubicBezTo>
                      <a:pt x="130" y="197"/>
                      <a:pt x="132" y="197"/>
                      <a:pt x="132" y="197"/>
                    </a:cubicBezTo>
                    <a:cubicBezTo>
                      <a:pt x="135" y="195"/>
                      <a:pt x="135" y="195"/>
                      <a:pt x="135" y="195"/>
                    </a:cubicBezTo>
                    <a:cubicBezTo>
                      <a:pt x="136" y="193"/>
                      <a:pt x="136" y="193"/>
                      <a:pt x="136" y="193"/>
                    </a:cubicBezTo>
                    <a:cubicBezTo>
                      <a:pt x="138" y="192"/>
                      <a:pt x="138" y="192"/>
                      <a:pt x="138" y="192"/>
                    </a:cubicBezTo>
                    <a:cubicBezTo>
                      <a:pt x="140" y="191"/>
                      <a:pt x="140" y="191"/>
                      <a:pt x="140" y="191"/>
                    </a:cubicBezTo>
                    <a:cubicBezTo>
                      <a:pt x="141" y="191"/>
                      <a:pt x="141" y="191"/>
                      <a:pt x="141" y="191"/>
                    </a:cubicBezTo>
                    <a:cubicBezTo>
                      <a:pt x="141" y="191"/>
                      <a:pt x="142" y="192"/>
                      <a:pt x="143" y="192"/>
                    </a:cubicBezTo>
                    <a:cubicBezTo>
                      <a:pt x="145" y="192"/>
                      <a:pt x="146" y="191"/>
                      <a:pt x="146" y="191"/>
                    </a:cubicBezTo>
                    <a:cubicBezTo>
                      <a:pt x="146" y="191"/>
                      <a:pt x="149" y="189"/>
                      <a:pt x="149" y="189"/>
                    </a:cubicBezTo>
                    <a:cubicBezTo>
                      <a:pt x="149" y="189"/>
                      <a:pt x="148" y="188"/>
                      <a:pt x="148" y="188"/>
                    </a:cubicBezTo>
                    <a:cubicBezTo>
                      <a:pt x="148" y="187"/>
                      <a:pt x="146" y="186"/>
                      <a:pt x="146" y="186"/>
                    </a:cubicBezTo>
                    <a:cubicBezTo>
                      <a:pt x="146" y="186"/>
                      <a:pt x="145" y="186"/>
                      <a:pt x="145" y="185"/>
                    </a:cubicBezTo>
                    <a:cubicBezTo>
                      <a:pt x="145" y="184"/>
                      <a:pt x="145" y="182"/>
                      <a:pt x="145" y="182"/>
                    </a:cubicBezTo>
                    <a:cubicBezTo>
                      <a:pt x="144" y="181"/>
                      <a:pt x="144" y="181"/>
                      <a:pt x="144" y="181"/>
                    </a:cubicBezTo>
                    <a:cubicBezTo>
                      <a:pt x="144" y="181"/>
                      <a:pt x="143" y="180"/>
                      <a:pt x="142" y="181"/>
                    </a:cubicBezTo>
                    <a:cubicBezTo>
                      <a:pt x="141" y="181"/>
                      <a:pt x="140" y="181"/>
                      <a:pt x="140" y="181"/>
                    </a:cubicBezTo>
                    <a:cubicBezTo>
                      <a:pt x="137" y="182"/>
                      <a:pt x="137" y="182"/>
                      <a:pt x="137" y="182"/>
                    </a:cubicBezTo>
                    <a:cubicBezTo>
                      <a:pt x="133" y="183"/>
                      <a:pt x="133" y="183"/>
                      <a:pt x="133" y="183"/>
                    </a:cubicBezTo>
                    <a:cubicBezTo>
                      <a:pt x="133" y="182"/>
                      <a:pt x="133" y="182"/>
                      <a:pt x="133" y="182"/>
                    </a:cubicBezTo>
                    <a:cubicBezTo>
                      <a:pt x="137" y="181"/>
                      <a:pt x="137" y="181"/>
                      <a:pt x="137" y="181"/>
                    </a:cubicBezTo>
                    <a:cubicBezTo>
                      <a:pt x="139" y="180"/>
                      <a:pt x="139" y="180"/>
                      <a:pt x="139" y="180"/>
                    </a:cubicBezTo>
                    <a:cubicBezTo>
                      <a:pt x="139" y="180"/>
                      <a:pt x="139" y="179"/>
                      <a:pt x="140" y="179"/>
                    </a:cubicBezTo>
                    <a:cubicBezTo>
                      <a:pt x="141" y="179"/>
                      <a:pt x="143" y="180"/>
                      <a:pt x="144" y="180"/>
                    </a:cubicBezTo>
                    <a:cubicBezTo>
                      <a:pt x="144" y="180"/>
                      <a:pt x="147" y="180"/>
                      <a:pt x="147" y="180"/>
                    </a:cubicBezTo>
                    <a:cubicBezTo>
                      <a:pt x="147" y="180"/>
                      <a:pt x="150" y="178"/>
                      <a:pt x="150" y="178"/>
                    </a:cubicBezTo>
                    <a:cubicBezTo>
                      <a:pt x="151" y="177"/>
                      <a:pt x="154" y="175"/>
                      <a:pt x="154" y="175"/>
                    </a:cubicBezTo>
                    <a:cubicBezTo>
                      <a:pt x="154" y="173"/>
                      <a:pt x="154" y="173"/>
                      <a:pt x="154" y="173"/>
                    </a:cubicBezTo>
                    <a:cubicBezTo>
                      <a:pt x="154" y="173"/>
                      <a:pt x="155" y="171"/>
                      <a:pt x="156" y="171"/>
                    </a:cubicBezTo>
                    <a:cubicBezTo>
                      <a:pt x="156" y="171"/>
                      <a:pt x="159" y="169"/>
                      <a:pt x="159" y="169"/>
                    </a:cubicBezTo>
                    <a:cubicBezTo>
                      <a:pt x="162" y="165"/>
                      <a:pt x="162" y="165"/>
                      <a:pt x="162" y="165"/>
                    </a:cubicBezTo>
                    <a:cubicBezTo>
                      <a:pt x="164" y="161"/>
                      <a:pt x="164" y="161"/>
                      <a:pt x="164" y="161"/>
                    </a:cubicBezTo>
                    <a:cubicBezTo>
                      <a:pt x="166" y="158"/>
                      <a:pt x="166" y="158"/>
                      <a:pt x="166" y="158"/>
                    </a:cubicBezTo>
                    <a:cubicBezTo>
                      <a:pt x="166" y="158"/>
                      <a:pt x="168" y="156"/>
                      <a:pt x="168" y="155"/>
                    </a:cubicBezTo>
                    <a:cubicBezTo>
                      <a:pt x="168" y="154"/>
                      <a:pt x="168" y="151"/>
                      <a:pt x="168" y="151"/>
                    </a:cubicBezTo>
                    <a:cubicBezTo>
                      <a:pt x="168" y="151"/>
                      <a:pt x="170" y="149"/>
                      <a:pt x="171" y="149"/>
                    </a:cubicBezTo>
                    <a:cubicBezTo>
                      <a:pt x="171" y="148"/>
                      <a:pt x="177" y="144"/>
                      <a:pt x="177" y="144"/>
                    </a:cubicBezTo>
                    <a:cubicBezTo>
                      <a:pt x="178" y="139"/>
                      <a:pt x="178" y="139"/>
                      <a:pt x="178" y="139"/>
                    </a:cubicBezTo>
                    <a:cubicBezTo>
                      <a:pt x="177" y="138"/>
                      <a:pt x="177" y="138"/>
                      <a:pt x="177" y="138"/>
                    </a:cubicBezTo>
                    <a:cubicBezTo>
                      <a:pt x="176" y="135"/>
                      <a:pt x="176" y="135"/>
                      <a:pt x="176" y="135"/>
                    </a:cubicBezTo>
                    <a:cubicBezTo>
                      <a:pt x="174" y="133"/>
                      <a:pt x="174" y="133"/>
                      <a:pt x="174" y="133"/>
                    </a:cubicBezTo>
                    <a:cubicBezTo>
                      <a:pt x="172" y="131"/>
                      <a:pt x="172" y="131"/>
                      <a:pt x="172" y="131"/>
                    </a:cubicBezTo>
                    <a:cubicBezTo>
                      <a:pt x="170" y="131"/>
                      <a:pt x="170" y="131"/>
                      <a:pt x="170" y="131"/>
                    </a:cubicBezTo>
                    <a:cubicBezTo>
                      <a:pt x="170" y="131"/>
                      <a:pt x="169" y="132"/>
                      <a:pt x="168" y="132"/>
                    </a:cubicBezTo>
                    <a:cubicBezTo>
                      <a:pt x="168" y="131"/>
                      <a:pt x="166" y="130"/>
                      <a:pt x="166" y="130"/>
                    </a:cubicBezTo>
                    <a:cubicBezTo>
                      <a:pt x="163" y="131"/>
                      <a:pt x="163" y="131"/>
                      <a:pt x="163" y="131"/>
                    </a:cubicBezTo>
                    <a:cubicBezTo>
                      <a:pt x="159" y="130"/>
                      <a:pt x="159" y="130"/>
                      <a:pt x="159" y="130"/>
                    </a:cubicBezTo>
                    <a:cubicBezTo>
                      <a:pt x="158" y="129"/>
                      <a:pt x="158" y="129"/>
                      <a:pt x="158" y="129"/>
                    </a:cubicBezTo>
                    <a:cubicBezTo>
                      <a:pt x="155" y="128"/>
                      <a:pt x="155" y="128"/>
                      <a:pt x="155" y="128"/>
                    </a:cubicBezTo>
                    <a:cubicBezTo>
                      <a:pt x="153" y="127"/>
                      <a:pt x="153" y="127"/>
                      <a:pt x="153" y="127"/>
                    </a:cubicBezTo>
                    <a:cubicBezTo>
                      <a:pt x="150" y="128"/>
                      <a:pt x="150" y="128"/>
                      <a:pt x="150" y="128"/>
                    </a:cubicBezTo>
                    <a:cubicBezTo>
                      <a:pt x="147" y="129"/>
                      <a:pt x="147" y="129"/>
                      <a:pt x="147" y="129"/>
                    </a:cubicBezTo>
                    <a:cubicBezTo>
                      <a:pt x="146" y="127"/>
                      <a:pt x="146" y="127"/>
                      <a:pt x="146" y="127"/>
                    </a:cubicBezTo>
                    <a:cubicBezTo>
                      <a:pt x="144" y="126"/>
                      <a:pt x="144" y="126"/>
                      <a:pt x="144" y="126"/>
                    </a:cubicBezTo>
                    <a:cubicBezTo>
                      <a:pt x="138" y="125"/>
                      <a:pt x="138" y="125"/>
                      <a:pt x="138" y="125"/>
                    </a:cubicBezTo>
                    <a:cubicBezTo>
                      <a:pt x="138" y="127"/>
                      <a:pt x="138" y="127"/>
                      <a:pt x="138" y="127"/>
                    </a:cubicBezTo>
                    <a:cubicBezTo>
                      <a:pt x="134" y="127"/>
                      <a:pt x="134" y="127"/>
                      <a:pt x="134" y="127"/>
                    </a:cubicBezTo>
                    <a:cubicBezTo>
                      <a:pt x="134" y="127"/>
                      <a:pt x="134" y="126"/>
                      <a:pt x="133" y="127"/>
                    </a:cubicBezTo>
                    <a:cubicBezTo>
                      <a:pt x="133" y="127"/>
                      <a:pt x="131" y="128"/>
                      <a:pt x="131" y="128"/>
                    </a:cubicBezTo>
                    <a:cubicBezTo>
                      <a:pt x="130" y="129"/>
                      <a:pt x="130" y="129"/>
                      <a:pt x="130" y="129"/>
                    </a:cubicBezTo>
                    <a:cubicBezTo>
                      <a:pt x="128" y="128"/>
                      <a:pt x="128" y="128"/>
                      <a:pt x="128" y="128"/>
                    </a:cubicBezTo>
                    <a:cubicBezTo>
                      <a:pt x="125" y="128"/>
                      <a:pt x="125" y="128"/>
                      <a:pt x="125" y="128"/>
                    </a:cubicBezTo>
                    <a:cubicBezTo>
                      <a:pt x="123" y="130"/>
                      <a:pt x="123" y="130"/>
                      <a:pt x="123" y="130"/>
                    </a:cubicBezTo>
                    <a:cubicBezTo>
                      <a:pt x="121" y="131"/>
                      <a:pt x="121" y="131"/>
                      <a:pt x="121" y="131"/>
                    </a:cubicBezTo>
                    <a:cubicBezTo>
                      <a:pt x="119" y="133"/>
                      <a:pt x="119" y="133"/>
                      <a:pt x="119" y="133"/>
                    </a:cubicBezTo>
                    <a:cubicBezTo>
                      <a:pt x="120" y="131"/>
                      <a:pt x="120" y="131"/>
                      <a:pt x="120" y="131"/>
                    </a:cubicBezTo>
                    <a:cubicBezTo>
                      <a:pt x="121" y="129"/>
                      <a:pt x="121" y="129"/>
                      <a:pt x="121" y="129"/>
                    </a:cubicBezTo>
                    <a:cubicBezTo>
                      <a:pt x="123" y="129"/>
                      <a:pt x="123" y="129"/>
                      <a:pt x="123" y="129"/>
                    </a:cubicBezTo>
                    <a:cubicBezTo>
                      <a:pt x="125" y="126"/>
                      <a:pt x="125" y="126"/>
                      <a:pt x="125" y="126"/>
                    </a:cubicBezTo>
                    <a:cubicBezTo>
                      <a:pt x="125" y="126"/>
                      <a:pt x="127" y="125"/>
                      <a:pt x="127" y="125"/>
                    </a:cubicBezTo>
                    <a:cubicBezTo>
                      <a:pt x="128" y="124"/>
                      <a:pt x="129" y="123"/>
                      <a:pt x="129" y="123"/>
                    </a:cubicBezTo>
                    <a:cubicBezTo>
                      <a:pt x="127" y="122"/>
                      <a:pt x="127" y="122"/>
                      <a:pt x="127" y="122"/>
                    </a:cubicBezTo>
                    <a:cubicBezTo>
                      <a:pt x="124" y="124"/>
                      <a:pt x="124" y="124"/>
                      <a:pt x="124" y="124"/>
                    </a:cubicBezTo>
                    <a:cubicBezTo>
                      <a:pt x="124" y="124"/>
                      <a:pt x="123" y="123"/>
                      <a:pt x="123" y="123"/>
                    </a:cubicBezTo>
                    <a:cubicBezTo>
                      <a:pt x="123" y="123"/>
                      <a:pt x="121" y="125"/>
                      <a:pt x="121" y="125"/>
                    </a:cubicBezTo>
                    <a:cubicBezTo>
                      <a:pt x="116" y="126"/>
                      <a:pt x="116" y="126"/>
                      <a:pt x="116" y="126"/>
                    </a:cubicBezTo>
                    <a:cubicBezTo>
                      <a:pt x="120" y="123"/>
                      <a:pt x="120" y="123"/>
                      <a:pt x="120" y="123"/>
                    </a:cubicBezTo>
                    <a:cubicBezTo>
                      <a:pt x="120" y="123"/>
                      <a:pt x="122" y="122"/>
                      <a:pt x="123" y="122"/>
                    </a:cubicBezTo>
                    <a:cubicBezTo>
                      <a:pt x="123" y="122"/>
                      <a:pt x="125" y="121"/>
                      <a:pt x="125" y="121"/>
                    </a:cubicBezTo>
                    <a:cubicBezTo>
                      <a:pt x="126" y="121"/>
                      <a:pt x="127" y="121"/>
                      <a:pt x="128" y="121"/>
                    </a:cubicBezTo>
                    <a:cubicBezTo>
                      <a:pt x="128" y="121"/>
                      <a:pt x="130" y="122"/>
                      <a:pt x="131" y="121"/>
                    </a:cubicBezTo>
                    <a:cubicBezTo>
                      <a:pt x="131" y="121"/>
                      <a:pt x="132" y="120"/>
                      <a:pt x="132" y="119"/>
                    </a:cubicBezTo>
                    <a:cubicBezTo>
                      <a:pt x="132" y="119"/>
                      <a:pt x="134" y="117"/>
                      <a:pt x="134" y="117"/>
                    </a:cubicBezTo>
                    <a:cubicBezTo>
                      <a:pt x="129" y="117"/>
                      <a:pt x="129" y="117"/>
                      <a:pt x="129" y="117"/>
                    </a:cubicBezTo>
                    <a:cubicBezTo>
                      <a:pt x="129" y="117"/>
                      <a:pt x="128" y="118"/>
                      <a:pt x="127" y="118"/>
                    </a:cubicBezTo>
                    <a:cubicBezTo>
                      <a:pt x="127" y="117"/>
                      <a:pt x="125" y="117"/>
                      <a:pt x="125" y="117"/>
                    </a:cubicBezTo>
                    <a:cubicBezTo>
                      <a:pt x="124" y="116"/>
                      <a:pt x="123" y="116"/>
                      <a:pt x="123" y="115"/>
                    </a:cubicBezTo>
                    <a:cubicBezTo>
                      <a:pt x="123" y="115"/>
                      <a:pt x="121" y="114"/>
                      <a:pt x="121" y="114"/>
                    </a:cubicBezTo>
                    <a:cubicBezTo>
                      <a:pt x="122" y="113"/>
                      <a:pt x="122" y="113"/>
                      <a:pt x="122" y="113"/>
                    </a:cubicBezTo>
                    <a:cubicBezTo>
                      <a:pt x="123" y="115"/>
                      <a:pt x="123" y="115"/>
                      <a:pt x="123" y="115"/>
                    </a:cubicBezTo>
                    <a:cubicBezTo>
                      <a:pt x="123" y="115"/>
                      <a:pt x="124" y="116"/>
                      <a:pt x="125" y="116"/>
                    </a:cubicBezTo>
                    <a:cubicBezTo>
                      <a:pt x="126" y="115"/>
                      <a:pt x="127" y="115"/>
                      <a:pt x="128" y="115"/>
                    </a:cubicBezTo>
                    <a:cubicBezTo>
                      <a:pt x="129" y="115"/>
                      <a:pt x="130" y="113"/>
                      <a:pt x="130" y="113"/>
                    </a:cubicBezTo>
                    <a:cubicBezTo>
                      <a:pt x="130" y="113"/>
                      <a:pt x="129" y="113"/>
                      <a:pt x="131" y="112"/>
                    </a:cubicBezTo>
                    <a:cubicBezTo>
                      <a:pt x="133" y="111"/>
                      <a:pt x="133" y="111"/>
                      <a:pt x="134" y="110"/>
                    </a:cubicBezTo>
                    <a:cubicBezTo>
                      <a:pt x="136" y="109"/>
                      <a:pt x="140" y="107"/>
                      <a:pt x="140" y="107"/>
                    </a:cubicBezTo>
                    <a:cubicBezTo>
                      <a:pt x="144" y="105"/>
                      <a:pt x="144" y="105"/>
                      <a:pt x="144" y="105"/>
                    </a:cubicBezTo>
                    <a:cubicBezTo>
                      <a:pt x="148" y="101"/>
                      <a:pt x="148" y="101"/>
                      <a:pt x="148" y="101"/>
                    </a:cubicBezTo>
                    <a:cubicBezTo>
                      <a:pt x="150" y="101"/>
                      <a:pt x="150" y="101"/>
                      <a:pt x="150" y="101"/>
                    </a:cubicBezTo>
                    <a:cubicBezTo>
                      <a:pt x="153" y="98"/>
                      <a:pt x="153" y="98"/>
                      <a:pt x="153" y="98"/>
                    </a:cubicBezTo>
                    <a:cubicBezTo>
                      <a:pt x="155" y="96"/>
                      <a:pt x="155" y="96"/>
                      <a:pt x="155" y="96"/>
                    </a:cubicBezTo>
                    <a:cubicBezTo>
                      <a:pt x="154" y="92"/>
                      <a:pt x="154" y="92"/>
                      <a:pt x="154" y="92"/>
                    </a:cubicBezTo>
                    <a:cubicBezTo>
                      <a:pt x="156" y="89"/>
                      <a:pt x="156" y="89"/>
                      <a:pt x="156" y="89"/>
                    </a:cubicBezTo>
                    <a:cubicBezTo>
                      <a:pt x="155" y="87"/>
                      <a:pt x="155" y="87"/>
                      <a:pt x="155" y="87"/>
                    </a:cubicBezTo>
                    <a:cubicBezTo>
                      <a:pt x="153" y="86"/>
                      <a:pt x="153" y="86"/>
                      <a:pt x="153" y="86"/>
                    </a:cubicBezTo>
                    <a:cubicBezTo>
                      <a:pt x="149" y="86"/>
                      <a:pt x="149" y="86"/>
                      <a:pt x="149" y="86"/>
                    </a:cubicBezTo>
                    <a:cubicBezTo>
                      <a:pt x="149" y="86"/>
                      <a:pt x="148" y="88"/>
                      <a:pt x="147" y="88"/>
                    </a:cubicBezTo>
                    <a:cubicBezTo>
                      <a:pt x="147" y="88"/>
                      <a:pt x="143" y="85"/>
                      <a:pt x="143" y="85"/>
                    </a:cubicBezTo>
                    <a:cubicBezTo>
                      <a:pt x="143" y="85"/>
                      <a:pt x="140" y="87"/>
                      <a:pt x="140" y="87"/>
                    </a:cubicBezTo>
                    <a:cubicBezTo>
                      <a:pt x="138" y="87"/>
                      <a:pt x="138" y="87"/>
                      <a:pt x="138" y="87"/>
                    </a:cubicBezTo>
                    <a:cubicBezTo>
                      <a:pt x="138" y="87"/>
                      <a:pt x="137" y="87"/>
                      <a:pt x="136" y="87"/>
                    </a:cubicBezTo>
                    <a:cubicBezTo>
                      <a:pt x="134" y="87"/>
                      <a:pt x="131" y="86"/>
                      <a:pt x="131" y="86"/>
                    </a:cubicBezTo>
                    <a:cubicBezTo>
                      <a:pt x="128" y="87"/>
                      <a:pt x="128" y="87"/>
                      <a:pt x="128" y="87"/>
                    </a:cubicBezTo>
                    <a:cubicBezTo>
                      <a:pt x="126" y="87"/>
                      <a:pt x="126" y="87"/>
                      <a:pt x="126" y="87"/>
                    </a:cubicBezTo>
                    <a:cubicBezTo>
                      <a:pt x="123" y="89"/>
                      <a:pt x="123" y="89"/>
                      <a:pt x="123" y="89"/>
                    </a:cubicBezTo>
                    <a:cubicBezTo>
                      <a:pt x="124" y="88"/>
                      <a:pt x="124" y="88"/>
                      <a:pt x="124" y="88"/>
                    </a:cubicBezTo>
                    <a:cubicBezTo>
                      <a:pt x="125" y="85"/>
                      <a:pt x="125" y="85"/>
                      <a:pt x="125" y="85"/>
                    </a:cubicBezTo>
                    <a:cubicBezTo>
                      <a:pt x="125" y="85"/>
                      <a:pt x="124" y="84"/>
                      <a:pt x="124" y="84"/>
                    </a:cubicBezTo>
                    <a:cubicBezTo>
                      <a:pt x="123" y="84"/>
                      <a:pt x="122" y="83"/>
                      <a:pt x="122" y="83"/>
                    </a:cubicBezTo>
                    <a:cubicBezTo>
                      <a:pt x="120" y="86"/>
                      <a:pt x="120" y="86"/>
                      <a:pt x="120" y="86"/>
                    </a:cubicBezTo>
                    <a:cubicBezTo>
                      <a:pt x="117" y="87"/>
                      <a:pt x="117" y="87"/>
                      <a:pt x="117" y="87"/>
                    </a:cubicBezTo>
                    <a:cubicBezTo>
                      <a:pt x="118" y="86"/>
                      <a:pt x="118" y="86"/>
                      <a:pt x="118" y="86"/>
                    </a:cubicBezTo>
                    <a:cubicBezTo>
                      <a:pt x="120" y="85"/>
                      <a:pt x="120" y="85"/>
                      <a:pt x="120" y="85"/>
                    </a:cubicBezTo>
                    <a:cubicBezTo>
                      <a:pt x="120" y="83"/>
                      <a:pt x="120" y="83"/>
                      <a:pt x="120" y="83"/>
                    </a:cubicBezTo>
                    <a:cubicBezTo>
                      <a:pt x="120" y="83"/>
                      <a:pt x="120" y="83"/>
                      <a:pt x="119" y="83"/>
                    </a:cubicBezTo>
                    <a:cubicBezTo>
                      <a:pt x="119" y="83"/>
                      <a:pt x="118" y="83"/>
                      <a:pt x="118" y="83"/>
                    </a:cubicBezTo>
                    <a:cubicBezTo>
                      <a:pt x="116" y="82"/>
                      <a:pt x="116" y="82"/>
                      <a:pt x="116" y="82"/>
                    </a:cubicBezTo>
                    <a:cubicBezTo>
                      <a:pt x="115" y="80"/>
                      <a:pt x="115" y="80"/>
                      <a:pt x="115" y="80"/>
                    </a:cubicBezTo>
                    <a:cubicBezTo>
                      <a:pt x="113" y="81"/>
                      <a:pt x="113" y="81"/>
                      <a:pt x="113" y="81"/>
                    </a:cubicBezTo>
                    <a:cubicBezTo>
                      <a:pt x="112" y="82"/>
                      <a:pt x="112" y="82"/>
                      <a:pt x="112" y="82"/>
                    </a:cubicBezTo>
                    <a:cubicBezTo>
                      <a:pt x="111" y="83"/>
                      <a:pt x="111" y="83"/>
                      <a:pt x="111" y="83"/>
                    </a:cubicBezTo>
                    <a:cubicBezTo>
                      <a:pt x="109" y="84"/>
                      <a:pt x="109" y="84"/>
                      <a:pt x="109" y="84"/>
                    </a:cubicBezTo>
                    <a:cubicBezTo>
                      <a:pt x="110" y="86"/>
                      <a:pt x="110" y="86"/>
                      <a:pt x="110" y="86"/>
                    </a:cubicBezTo>
                    <a:cubicBezTo>
                      <a:pt x="109" y="88"/>
                      <a:pt x="109" y="88"/>
                      <a:pt x="109" y="88"/>
                    </a:cubicBezTo>
                    <a:cubicBezTo>
                      <a:pt x="107" y="88"/>
                      <a:pt x="107" y="88"/>
                      <a:pt x="107" y="88"/>
                    </a:cubicBezTo>
                    <a:cubicBezTo>
                      <a:pt x="107" y="88"/>
                      <a:pt x="107" y="91"/>
                      <a:pt x="107" y="91"/>
                    </a:cubicBezTo>
                    <a:cubicBezTo>
                      <a:pt x="107" y="92"/>
                      <a:pt x="109" y="93"/>
                      <a:pt x="109" y="93"/>
                    </a:cubicBezTo>
                    <a:cubicBezTo>
                      <a:pt x="108" y="95"/>
                      <a:pt x="108" y="95"/>
                      <a:pt x="108" y="95"/>
                    </a:cubicBezTo>
                    <a:cubicBezTo>
                      <a:pt x="109" y="95"/>
                      <a:pt x="109" y="95"/>
                      <a:pt x="109" y="95"/>
                    </a:cubicBezTo>
                    <a:cubicBezTo>
                      <a:pt x="109" y="95"/>
                      <a:pt x="108" y="96"/>
                      <a:pt x="108" y="96"/>
                    </a:cubicBezTo>
                    <a:cubicBezTo>
                      <a:pt x="107" y="96"/>
                      <a:pt x="106" y="94"/>
                      <a:pt x="106" y="94"/>
                    </a:cubicBezTo>
                    <a:cubicBezTo>
                      <a:pt x="104" y="94"/>
                      <a:pt x="104" y="94"/>
                      <a:pt x="104" y="94"/>
                    </a:cubicBezTo>
                    <a:cubicBezTo>
                      <a:pt x="102" y="94"/>
                      <a:pt x="102" y="94"/>
                      <a:pt x="102" y="94"/>
                    </a:cubicBezTo>
                    <a:cubicBezTo>
                      <a:pt x="101" y="96"/>
                      <a:pt x="101" y="96"/>
                      <a:pt x="101" y="96"/>
                    </a:cubicBezTo>
                    <a:cubicBezTo>
                      <a:pt x="102" y="98"/>
                      <a:pt x="102" y="98"/>
                      <a:pt x="102" y="98"/>
                    </a:cubicBezTo>
                    <a:cubicBezTo>
                      <a:pt x="101" y="100"/>
                      <a:pt x="101" y="100"/>
                      <a:pt x="101" y="100"/>
                    </a:cubicBezTo>
                    <a:cubicBezTo>
                      <a:pt x="101" y="101"/>
                      <a:pt x="101" y="101"/>
                      <a:pt x="101" y="101"/>
                    </a:cubicBezTo>
                    <a:cubicBezTo>
                      <a:pt x="101" y="101"/>
                      <a:pt x="100" y="102"/>
                      <a:pt x="100" y="103"/>
                    </a:cubicBezTo>
                    <a:cubicBezTo>
                      <a:pt x="100" y="103"/>
                      <a:pt x="100" y="106"/>
                      <a:pt x="100" y="106"/>
                    </a:cubicBezTo>
                    <a:cubicBezTo>
                      <a:pt x="100" y="106"/>
                      <a:pt x="101" y="107"/>
                      <a:pt x="101" y="108"/>
                    </a:cubicBezTo>
                    <a:cubicBezTo>
                      <a:pt x="102" y="108"/>
                      <a:pt x="103" y="109"/>
                      <a:pt x="103" y="109"/>
                    </a:cubicBezTo>
                    <a:cubicBezTo>
                      <a:pt x="103" y="111"/>
                      <a:pt x="103" y="111"/>
                      <a:pt x="103" y="111"/>
                    </a:cubicBezTo>
                    <a:cubicBezTo>
                      <a:pt x="102" y="109"/>
                      <a:pt x="102" y="109"/>
                      <a:pt x="102" y="109"/>
                    </a:cubicBezTo>
                    <a:cubicBezTo>
                      <a:pt x="102" y="109"/>
                      <a:pt x="101" y="108"/>
                      <a:pt x="100" y="108"/>
                    </a:cubicBezTo>
                    <a:cubicBezTo>
                      <a:pt x="100" y="107"/>
                      <a:pt x="100" y="106"/>
                      <a:pt x="99" y="106"/>
                    </a:cubicBezTo>
                    <a:cubicBezTo>
                      <a:pt x="99" y="106"/>
                      <a:pt x="98" y="107"/>
                      <a:pt x="98" y="107"/>
                    </a:cubicBezTo>
                    <a:cubicBezTo>
                      <a:pt x="98" y="107"/>
                      <a:pt x="97" y="107"/>
                      <a:pt x="97" y="107"/>
                    </a:cubicBezTo>
                    <a:cubicBezTo>
                      <a:pt x="98" y="108"/>
                      <a:pt x="96" y="109"/>
                      <a:pt x="96" y="109"/>
                    </a:cubicBezTo>
                    <a:cubicBezTo>
                      <a:pt x="96" y="109"/>
                      <a:pt x="94" y="110"/>
                      <a:pt x="94" y="109"/>
                    </a:cubicBezTo>
                    <a:cubicBezTo>
                      <a:pt x="94" y="108"/>
                      <a:pt x="94" y="107"/>
                      <a:pt x="93" y="107"/>
                    </a:cubicBezTo>
                    <a:cubicBezTo>
                      <a:pt x="93" y="106"/>
                      <a:pt x="92" y="107"/>
                      <a:pt x="92" y="107"/>
                    </a:cubicBezTo>
                    <a:cubicBezTo>
                      <a:pt x="92" y="108"/>
                      <a:pt x="91" y="109"/>
                      <a:pt x="91" y="109"/>
                    </a:cubicBezTo>
                    <a:cubicBezTo>
                      <a:pt x="92" y="110"/>
                      <a:pt x="92" y="110"/>
                      <a:pt x="92" y="110"/>
                    </a:cubicBezTo>
                    <a:cubicBezTo>
                      <a:pt x="92" y="110"/>
                      <a:pt x="91" y="112"/>
                      <a:pt x="91" y="112"/>
                    </a:cubicBezTo>
                    <a:cubicBezTo>
                      <a:pt x="91" y="112"/>
                      <a:pt x="90" y="110"/>
                      <a:pt x="90" y="109"/>
                    </a:cubicBezTo>
                    <a:cubicBezTo>
                      <a:pt x="90" y="109"/>
                      <a:pt x="90" y="107"/>
                      <a:pt x="90" y="108"/>
                    </a:cubicBezTo>
                    <a:cubicBezTo>
                      <a:pt x="89" y="108"/>
                      <a:pt x="88" y="109"/>
                      <a:pt x="88" y="109"/>
                    </a:cubicBezTo>
                    <a:cubicBezTo>
                      <a:pt x="88" y="109"/>
                      <a:pt x="87" y="109"/>
                      <a:pt x="87" y="110"/>
                    </a:cubicBezTo>
                    <a:cubicBezTo>
                      <a:pt x="88" y="110"/>
                      <a:pt x="87" y="113"/>
                      <a:pt x="88" y="113"/>
                    </a:cubicBezTo>
                    <a:cubicBezTo>
                      <a:pt x="89" y="114"/>
                      <a:pt x="88" y="114"/>
                      <a:pt x="89" y="114"/>
                    </a:cubicBezTo>
                    <a:cubicBezTo>
                      <a:pt x="90" y="114"/>
                      <a:pt x="90" y="115"/>
                      <a:pt x="90" y="115"/>
                    </a:cubicBezTo>
                    <a:cubicBezTo>
                      <a:pt x="87" y="115"/>
                      <a:pt x="87" y="115"/>
                      <a:pt x="87" y="115"/>
                    </a:cubicBezTo>
                    <a:cubicBezTo>
                      <a:pt x="87" y="115"/>
                      <a:pt x="86" y="116"/>
                      <a:pt x="86" y="116"/>
                    </a:cubicBezTo>
                    <a:cubicBezTo>
                      <a:pt x="86" y="117"/>
                      <a:pt x="87" y="118"/>
                      <a:pt x="87" y="118"/>
                    </a:cubicBezTo>
                    <a:cubicBezTo>
                      <a:pt x="87" y="118"/>
                      <a:pt x="88" y="119"/>
                      <a:pt x="88" y="120"/>
                    </a:cubicBezTo>
                    <a:cubicBezTo>
                      <a:pt x="88" y="120"/>
                      <a:pt x="87" y="121"/>
                      <a:pt x="87" y="121"/>
                    </a:cubicBezTo>
                    <a:cubicBezTo>
                      <a:pt x="87" y="121"/>
                      <a:pt x="86" y="120"/>
                      <a:pt x="85" y="120"/>
                    </a:cubicBezTo>
                    <a:cubicBezTo>
                      <a:pt x="85" y="120"/>
                      <a:pt x="85" y="120"/>
                      <a:pt x="84" y="121"/>
                    </a:cubicBezTo>
                    <a:cubicBezTo>
                      <a:pt x="84" y="121"/>
                      <a:pt x="83" y="122"/>
                      <a:pt x="83" y="123"/>
                    </a:cubicBezTo>
                    <a:cubicBezTo>
                      <a:pt x="83" y="123"/>
                      <a:pt x="84" y="123"/>
                      <a:pt x="84" y="125"/>
                    </a:cubicBezTo>
                    <a:cubicBezTo>
                      <a:pt x="84" y="126"/>
                      <a:pt x="83" y="127"/>
                      <a:pt x="83" y="127"/>
                    </a:cubicBezTo>
                    <a:cubicBezTo>
                      <a:pt x="83" y="127"/>
                      <a:pt x="83" y="128"/>
                      <a:pt x="83" y="128"/>
                    </a:cubicBezTo>
                    <a:cubicBezTo>
                      <a:pt x="84" y="129"/>
                      <a:pt x="86" y="129"/>
                      <a:pt x="86" y="129"/>
                    </a:cubicBezTo>
                    <a:cubicBezTo>
                      <a:pt x="87" y="129"/>
                      <a:pt x="87" y="129"/>
                      <a:pt x="88" y="129"/>
                    </a:cubicBezTo>
                    <a:cubicBezTo>
                      <a:pt x="88" y="129"/>
                      <a:pt x="89" y="129"/>
                      <a:pt x="89" y="130"/>
                    </a:cubicBezTo>
                    <a:cubicBezTo>
                      <a:pt x="90" y="130"/>
                      <a:pt x="91" y="130"/>
                      <a:pt x="91" y="130"/>
                    </a:cubicBezTo>
                    <a:cubicBezTo>
                      <a:pt x="91" y="130"/>
                      <a:pt x="90" y="132"/>
                      <a:pt x="89" y="131"/>
                    </a:cubicBezTo>
                    <a:cubicBezTo>
                      <a:pt x="88" y="130"/>
                      <a:pt x="87" y="130"/>
                      <a:pt x="86" y="130"/>
                    </a:cubicBezTo>
                    <a:cubicBezTo>
                      <a:pt x="85" y="130"/>
                      <a:pt x="85" y="132"/>
                      <a:pt x="85" y="132"/>
                    </a:cubicBezTo>
                    <a:cubicBezTo>
                      <a:pt x="87" y="133"/>
                      <a:pt x="87" y="133"/>
                      <a:pt x="87" y="133"/>
                    </a:cubicBezTo>
                    <a:cubicBezTo>
                      <a:pt x="87" y="133"/>
                      <a:pt x="88" y="134"/>
                      <a:pt x="87" y="134"/>
                    </a:cubicBezTo>
                    <a:cubicBezTo>
                      <a:pt x="86" y="134"/>
                      <a:pt x="84" y="133"/>
                      <a:pt x="84" y="133"/>
                    </a:cubicBezTo>
                    <a:cubicBezTo>
                      <a:pt x="84" y="133"/>
                      <a:pt x="84" y="133"/>
                      <a:pt x="83" y="133"/>
                    </a:cubicBezTo>
                    <a:cubicBezTo>
                      <a:pt x="83" y="133"/>
                      <a:pt x="82" y="134"/>
                      <a:pt x="82" y="134"/>
                    </a:cubicBezTo>
                    <a:cubicBezTo>
                      <a:pt x="81" y="134"/>
                      <a:pt x="81" y="134"/>
                      <a:pt x="80" y="134"/>
                    </a:cubicBezTo>
                    <a:cubicBezTo>
                      <a:pt x="80" y="133"/>
                      <a:pt x="78" y="132"/>
                      <a:pt x="78" y="132"/>
                    </a:cubicBezTo>
                    <a:cubicBezTo>
                      <a:pt x="78" y="132"/>
                      <a:pt x="77" y="131"/>
                      <a:pt x="77" y="131"/>
                    </a:cubicBezTo>
                    <a:cubicBezTo>
                      <a:pt x="77" y="130"/>
                      <a:pt x="77" y="128"/>
                      <a:pt x="78" y="128"/>
                    </a:cubicBezTo>
                    <a:cubicBezTo>
                      <a:pt x="78" y="128"/>
                      <a:pt x="78" y="127"/>
                      <a:pt x="79" y="127"/>
                    </a:cubicBezTo>
                    <a:cubicBezTo>
                      <a:pt x="79" y="127"/>
                      <a:pt x="82" y="127"/>
                      <a:pt x="80" y="126"/>
                    </a:cubicBezTo>
                    <a:cubicBezTo>
                      <a:pt x="79" y="125"/>
                      <a:pt x="79" y="124"/>
                      <a:pt x="78" y="125"/>
                    </a:cubicBezTo>
                    <a:cubicBezTo>
                      <a:pt x="78" y="125"/>
                      <a:pt x="76" y="126"/>
                      <a:pt x="76" y="126"/>
                    </a:cubicBezTo>
                    <a:cubicBezTo>
                      <a:pt x="76" y="126"/>
                      <a:pt x="76" y="125"/>
                      <a:pt x="76" y="123"/>
                    </a:cubicBezTo>
                    <a:cubicBezTo>
                      <a:pt x="77" y="120"/>
                      <a:pt x="76" y="120"/>
                      <a:pt x="77" y="119"/>
                    </a:cubicBezTo>
                    <a:cubicBezTo>
                      <a:pt x="78" y="119"/>
                      <a:pt x="78" y="118"/>
                      <a:pt x="78" y="118"/>
                    </a:cubicBezTo>
                    <a:cubicBezTo>
                      <a:pt x="78" y="118"/>
                      <a:pt x="78" y="117"/>
                      <a:pt x="77" y="116"/>
                    </a:cubicBezTo>
                    <a:cubicBezTo>
                      <a:pt x="76" y="114"/>
                      <a:pt x="76" y="113"/>
                      <a:pt x="75" y="112"/>
                    </a:cubicBezTo>
                    <a:cubicBezTo>
                      <a:pt x="74" y="112"/>
                      <a:pt x="73" y="113"/>
                      <a:pt x="73" y="113"/>
                    </a:cubicBezTo>
                    <a:cubicBezTo>
                      <a:pt x="73" y="114"/>
                      <a:pt x="72" y="115"/>
                      <a:pt x="73" y="116"/>
                    </a:cubicBezTo>
                    <a:cubicBezTo>
                      <a:pt x="73" y="117"/>
                      <a:pt x="73" y="118"/>
                      <a:pt x="72" y="118"/>
                    </a:cubicBezTo>
                    <a:cubicBezTo>
                      <a:pt x="72" y="119"/>
                      <a:pt x="72" y="119"/>
                      <a:pt x="71" y="119"/>
                    </a:cubicBezTo>
                    <a:cubicBezTo>
                      <a:pt x="70" y="118"/>
                      <a:pt x="70" y="118"/>
                      <a:pt x="70" y="117"/>
                    </a:cubicBezTo>
                    <a:cubicBezTo>
                      <a:pt x="69" y="117"/>
                      <a:pt x="69" y="117"/>
                      <a:pt x="69" y="116"/>
                    </a:cubicBezTo>
                    <a:cubicBezTo>
                      <a:pt x="68" y="116"/>
                      <a:pt x="67" y="115"/>
                      <a:pt x="67" y="115"/>
                    </a:cubicBezTo>
                    <a:cubicBezTo>
                      <a:pt x="67" y="115"/>
                      <a:pt x="65" y="114"/>
                      <a:pt x="65" y="115"/>
                    </a:cubicBezTo>
                    <a:cubicBezTo>
                      <a:pt x="65" y="115"/>
                      <a:pt x="65" y="116"/>
                      <a:pt x="66" y="116"/>
                    </a:cubicBezTo>
                    <a:cubicBezTo>
                      <a:pt x="66" y="117"/>
                      <a:pt x="66" y="117"/>
                      <a:pt x="66" y="118"/>
                    </a:cubicBezTo>
                    <a:cubicBezTo>
                      <a:pt x="66" y="118"/>
                      <a:pt x="66" y="119"/>
                      <a:pt x="66" y="119"/>
                    </a:cubicBezTo>
                    <a:cubicBezTo>
                      <a:pt x="66" y="119"/>
                      <a:pt x="65" y="118"/>
                      <a:pt x="64" y="118"/>
                    </a:cubicBezTo>
                    <a:cubicBezTo>
                      <a:pt x="64" y="118"/>
                      <a:pt x="62" y="120"/>
                      <a:pt x="62" y="120"/>
                    </a:cubicBezTo>
                    <a:cubicBezTo>
                      <a:pt x="62" y="120"/>
                      <a:pt x="62" y="120"/>
                      <a:pt x="62" y="121"/>
                    </a:cubicBezTo>
                    <a:cubicBezTo>
                      <a:pt x="63" y="121"/>
                      <a:pt x="62" y="122"/>
                      <a:pt x="63" y="123"/>
                    </a:cubicBezTo>
                    <a:cubicBezTo>
                      <a:pt x="63" y="124"/>
                      <a:pt x="63" y="125"/>
                      <a:pt x="64" y="125"/>
                    </a:cubicBezTo>
                    <a:cubicBezTo>
                      <a:pt x="65" y="126"/>
                      <a:pt x="69" y="124"/>
                      <a:pt x="69" y="124"/>
                    </a:cubicBezTo>
                    <a:cubicBezTo>
                      <a:pt x="69" y="124"/>
                      <a:pt x="71" y="126"/>
                      <a:pt x="71" y="126"/>
                    </a:cubicBezTo>
                    <a:cubicBezTo>
                      <a:pt x="71" y="126"/>
                      <a:pt x="71" y="128"/>
                      <a:pt x="71" y="128"/>
                    </a:cubicBezTo>
                    <a:cubicBezTo>
                      <a:pt x="71" y="128"/>
                      <a:pt x="71" y="128"/>
                      <a:pt x="70" y="128"/>
                    </a:cubicBezTo>
                    <a:cubicBezTo>
                      <a:pt x="69" y="128"/>
                      <a:pt x="68" y="127"/>
                      <a:pt x="68" y="128"/>
                    </a:cubicBezTo>
                    <a:cubicBezTo>
                      <a:pt x="68" y="129"/>
                      <a:pt x="68" y="131"/>
                      <a:pt x="68" y="131"/>
                    </a:cubicBezTo>
                    <a:cubicBezTo>
                      <a:pt x="69" y="132"/>
                      <a:pt x="69" y="134"/>
                      <a:pt x="70" y="134"/>
                    </a:cubicBezTo>
                    <a:cubicBezTo>
                      <a:pt x="72" y="135"/>
                      <a:pt x="72" y="135"/>
                      <a:pt x="73" y="135"/>
                    </a:cubicBezTo>
                    <a:cubicBezTo>
                      <a:pt x="74" y="134"/>
                      <a:pt x="73" y="133"/>
                      <a:pt x="74" y="134"/>
                    </a:cubicBezTo>
                    <a:cubicBezTo>
                      <a:pt x="75" y="134"/>
                      <a:pt x="76" y="134"/>
                      <a:pt x="77" y="135"/>
                    </a:cubicBezTo>
                    <a:cubicBezTo>
                      <a:pt x="77" y="136"/>
                      <a:pt x="76" y="136"/>
                      <a:pt x="76" y="136"/>
                    </a:cubicBezTo>
                    <a:cubicBezTo>
                      <a:pt x="76" y="136"/>
                      <a:pt x="75" y="136"/>
                      <a:pt x="75" y="136"/>
                    </a:cubicBezTo>
                    <a:cubicBezTo>
                      <a:pt x="75" y="137"/>
                      <a:pt x="74" y="137"/>
                      <a:pt x="75" y="137"/>
                    </a:cubicBezTo>
                    <a:cubicBezTo>
                      <a:pt x="77" y="138"/>
                      <a:pt x="78" y="137"/>
                      <a:pt x="78" y="137"/>
                    </a:cubicBezTo>
                    <a:cubicBezTo>
                      <a:pt x="78" y="137"/>
                      <a:pt x="79" y="136"/>
                      <a:pt x="79" y="137"/>
                    </a:cubicBezTo>
                    <a:cubicBezTo>
                      <a:pt x="79" y="137"/>
                      <a:pt x="78" y="138"/>
                      <a:pt x="78" y="138"/>
                    </a:cubicBezTo>
                    <a:cubicBezTo>
                      <a:pt x="77" y="139"/>
                      <a:pt x="77" y="139"/>
                      <a:pt x="77" y="140"/>
                    </a:cubicBezTo>
                    <a:cubicBezTo>
                      <a:pt x="77" y="140"/>
                      <a:pt x="76" y="141"/>
                      <a:pt x="76" y="141"/>
                    </a:cubicBezTo>
                    <a:cubicBezTo>
                      <a:pt x="76" y="142"/>
                      <a:pt x="74" y="145"/>
                      <a:pt x="77" y="143"/>
                    </a:cubicBezTo>
                    <a:cubicBezTo>
                      <a:pt x="80" y="141"/>
                      <a:pt x="80" y="141"/>
                      <a:pt x="80" y="140"/>
                    </a:cubicBezTo>
                    <a:cubicBezTo>
                      <a:pt x="80" y="140"/>
                      <a:pt x="80" y="140"/>
                      <a:pt x="81" y="139"/>
                    </a:cubicBezTo>
                    <a:cubicBezTo>
                      <a:pt x="83" y="138"/>
                      <a:pt x="84" y="138"/>
                      <a:pt x="84" y="138"/>
                    </a:cubicBezTo>
                    <a:cubicBezTo>
                      <a:pt x="84" y="137"/>
                      <a:pt x="85" y="137"/>
                      <a:pt x="85" y="138"/>
                    </a:cubicBezTo>
                    <a:cubicBezTo>
                      <a:pt x="84" y="139"/>
                      <a:pt x="84" y="138"/>
                      <a:pt x="84" y="139"/>
                    </a:cubicBezTo>
                    <a:cubicBezTo>
                      <a:pt x="85" y="140"/>
                      <a:pt x="85" y="140"/>
                      <a:pt x="86" y="140"/>
                    </a:cubicBezTo>
                    <a:cubicBezTo>
                      <a:pt x="86" y="140"/>
                      <a:pt x="87" y="141"/>
                      <a:pt x="87" y="141"/>
                    </a:cubicBezTo>
                    <a:cubicBezTo>
                      <a:pt x="87" y="141"/>
                      <a:pt x="85" y="140"/>
                      <a:pt x="84" y="140"/>
                    </a:cubicBezTo>
                    <a:cubicBezTo>
                      <a:pt x="84" y="140"/>
                      <a:pt x="83" y="140"/>
                      <a:pt x="83" y="140"/>
                    </a:cubicBezTo>
                    <a:cubicBezTo>
                      <a:pt x="83" y="140"/>
                      <a:pt x="82" y="141"/>
                      <a:pt x="82" y="141"/>
                    </a:cubicBezTo>
                    <a:cubicBezTo>
                      <a:pt x="82" y="142"/>
                      <a:pt x="82" y="142"/>
                      <a:pt x="82" y="142"/>
                    </a:cubicBezTo>
                    <a:cubicBezTo>
                      <a:pt x="82" y="142"/>
                      <a:pt x="83" y="143"/>
                      <a:pt x="83" y="143"/>
                    </a:cubicBezTo>
                    <a:cubicBezTo>
                      <a:pt x="83" y="144"/>
                      <a:pt x="83" y="144"/>
                      <a:pt x="82" y="144"/>
                    </a:cubicBezTo>
                    <a:cubicBezTo>
                      <a:pt x="81" y="144"/>
                      <a:pt x="82" y="143"/>
                      <a:pt x="80" y="143"/>
                    </a:cubicBezTo>
                    <a:cubicBezTo>
                      <a:pt x="79" y="144"/>
                      <a:pt x="79" y="142"/>
                      <a:pt x="78" y="144"/>
                    </a:cubicBezTo>
                    <a:cubicBezTo>
                      <a:pt x="78" y="147"/>
                      <a:pt x="77" y="147"/>
                      <a:pt x="77" y="147"/>
                    </a:cubicBezTo>
                    <a:cubicBezTo>
                      <a:pt x="77" y="147"/>
                      <a:pt x="77" y="147"/>
                      <a:pt x="77" y="148"/>
                    </a:cubicBezTo>
                    <a:cubicBezTo>
                      <a:pt x="77" y="148"/>
                      <a:pt x="77" y="148"/>
                      <a:pt x="79" y="149"/>
                    </a:cubicBezTo>
                    <a:cubicBezTo>
                      <a:pt x="80" y="150"/>
                      <a:pt x="81" y="151"/>
                      <a:pt x="81" y="151"/>
                    </a:cubicBezTo>
                    <a:cubicBezTo>
                      <a:pt x="81" y="151"/>
                      <a:pt x="80" y="151"/>
                      <a:pt x="79" y="151"/>
                    </a:cubicBezTo>
                    <a:cubicBezTo>
                      <a:pt x="78" y="152"/>
                      <a:pt x="77" y="152"/>
                      <a:pt x="76" y="152"/>
                    </a:cubicBezTo>
                    <a:cubicBezTo>
                      <a:pt x="76" y="153"/>
                      <a:pt x="75" y="153"/>
                      <a:pt x="74" y="153"/>
                    </a:cubicBezTo>
                    <a:cubicBezTo>
                      <a:pt x="74" y="153"/>
                      <a:pt x="72" y="153"/>
                      <a:pt x="71" y="153"/>
                    </a:cubicBezTo>
                    <a:cubicBezTo>
                      <a:pt x="70" y="153"/>
                      <a:pt x="69" y="153"/>
                      <a:pt x="68" y="154"/>
                    </a:cubicBezTo>
                    <a:cubicBezTo>
                      <a:pt x="68" y="154"/>
                      <a:pt x="68" y="155"/>
                      <a:pt x="68" y="155"/>
                    </a:cubicBezTo>
                    <a:cubicBezTo>
                      <a:pt x="68" y="155"/>
                      <a:pt x="67" y="155"/>
                      <a:pt x="68" y="156"/>
                    </a:cubicBezTo>
                    <a:cubicBezTo>
                      <a:pt x="69" y="156"/>
                      <a:pt x="72" y="156"/>
                      <a:pt x="72" y="156"/>
                    </a:cubicBezTo>
                    <a:cubicBezTo>
                      <a:pt x="73" y="156"/>
                      <a:pt x="73" y="157"/>
                      <a:pt x="73" y="157"/>
                    </a:cubicBezTo>
                    <a:cubicBezTo>
                      <a:pt x="71" y="157"/>
                      <a:pt x="71" y="157"/>
                      <a:pt x="71" y="157"/>
                    </a:cubicBezTo>
                    <a:cubicBezTo>
                      <a:pt x="71" y="157"/>
                      <a:pt x="70" y="156"/>
                      <a:pt x="69" y="156"/>
                    </a:cubicBezTo>
                    <a:cubicBezTo>
                      <a:pt x="69" y="157"/>
                      <a:pt x="66" y="157"/>
                      <a:pt x="66" y="157"/>
                    </a:cubicBezTo>
                    <a:cubicBezTo>
                      <a:pt x="66" y="157"/>
                      <a:pt x="65" y="159"/>
                      <a:pt x="65" y="159"/>
                    </a:cubicBezTo>
                    <a:cubicBezTo>
                      <a:pt x="65" y="160"/>
                      <a:pt x="65" y="161"/>
                      <a:pt x="66" y="162"/>
                    </a:cubicBezTo>
                    <a:cubicBezTo>
                      <a:pt x="67" y="163"/>
                      <a:pt x="67" y="164"/>
                      <a:pt x="67" y="164"/>
                    </a:cubicBezTo>
                    <a:cubicBezTo>
                      <a:pt x="67" y="165"/>
                      <a:pt x="67" y="164"/>
                      <a:pt x="67" y="165"/>
                    </a:cubicBezTo>
                    <a:cubicBezTo>
                      <a:pt x="67" y="166"/>
                      <a:pt x="65" y="167"/>
                      <a:pt x="65" y="167"/>
                    </a:cubicBezTo>
                    <a:cubicBezTo>
                      <a:pt x="65" y="167"/>
                      <a:pt x="65" y="167"/>
                      <a:pt x="65" y="168"/>
                    </a:cubicBezTo>
                    <a:cubicBezTo>
                      <a:pt x="64" y="170"/>
                      <a:pt x="63" y="172"/>
                      <a:pt x="64" y="172"/>
                    </a:cubicBezTo>
                    <a:cubicBezTo>
                      <a:pt x="65" y="172"/>
                      <a:pt x="65" y="173"/>
                      <a:pt x="67" y="172"/>
                    </a:cubicBezTo>
                    <a:cubicBezTo>
                      <a:pt x="69" y="172"/>
                      <a:pt x="66" y="171"/>
                      <a:pt x="70" y="172"/>
                    </a:cubicBezTo>
                    <a:cubicBezTo>
                      <a:pt x="73" y="172"/>
                      <a:pt x="73" y="172"/>
                      <a:pt x="74" y="172"/>
                    </a:cubicBezTo>
                    <a:cubicBezTo>
                      <a:pt x="75" y="171"/>
                      <a:pt x="75" y="171"/>
                      <a:pt x="76" y="171"/>
                    </a:cubicBezTo>
                    <a:cubicBezTo>
                      <a:pt x="76" y="170"/>
                      <a:pt x="74" y="170"/>
                      <a:pt x="77" y="169"/>
                    </a:cubicBezTo>
                    <a:cubicBezTo>
                      <a:pt x="79" y="168"/>
                      <a:pt x="79" y="168"/>
                      <a:pt x="79" y="168"/>
                    </a:cubicBezTo>
                    <a:cubicBezTo>
                      <a:pt x="79" y="168"/>
                      <a:pt x="78" y="166"/>
                      <a:pt x="80" y="168"/>
                    </a:cubicBezTo>
                    <a:cubicBezTo>
                      <a:pt x="82" y="170"/>
                      <a:pt x="81" y="170"/>
                      <a:pt x="81" y="170"/>
                    </a:cubicBezTo>
                    <a:cubicBezTo>
                      <a:pt x="80" y="172"/>
                      <a:pt x="80" y="172"/>
                      <a:pt x="80" y="172"/>
                    </a:cubicBezTo>
                    <a:cubicBezTo>
                      <a:pt x="80" y="173"/>
                      <a:pt x="80" y="173"/>
                      <a:pt x="80" y="173"/>
                    </a:cubicBezTo>
                    <a:cubicBezTo>
                      <a:pt x="80" y="173"/>
                      <a:pt x="79" y="173"/>
                      <a:pt x="78" y="174"/>
                    </a:cubicBezTo>
                    <a:cubicBezTo>
                      <a:pt x="77" y="176"/>
                      <a:pt x="75" y="179"/>
                      <a:pt x="74" y="179"/>
                    </a:cubicBezTo>
                    <a:cubicBezTo>
                      <a:pt x="74" y="179"/>
                      <a:pt x="75" y="179"/>
                      <a:pt x="73" y="180"/>
                    </a:cubicBezTo>
                    <a:cubicBezTo>
                      <a:pt x="72" y="181"/>
                      <a:pt x="71" y="182"/>
                      <a:pt x="69" y="183"/>
                    </a:cubicBezTo>
                    <a:cubicBezTo>
                      <a:pt x="68" y="184"/>
                      <a:pt x="68" y="183"/>
                      <a:pt x="67" y="184"/>
                    </a:cubicBezTo>
                    <a:cubicBezTo>
                      <a:pt x="67" y="184"/>
                      <a:pt x="67" y="186"/>
                      <a:pt x="67" y="186"/>
                    </a:cubicBezTo>
                    <a:cubicBezTo>
                      <a:pt x="66" y="187"/>
                      <a:pt x="66" y="187"/>
                      <a:pt x="66" y="187"/>
                    </a:cubicBezTo>
                    <a:cubicBezTo>
                      <a:pt x="63" y="188"/>
                      <a:pt x="63" y="188"/>
                      <a:pt x="63" y="188"/>
                    </a:cubicBezTo>
                    <a:cubicBezTo>
                      <a:pt x="61" y="187"/>
                      <a:pt x="61" y="187"/>
                      <a:pt x="61" y="187"/>
                    </a:cubicBezTo>
                    <a:cubicBezTo>
                      <a:pt x="59" y="189"/>
                      <a:pt x="59" y="189"/>
                      <a:pt x="59" y="189"/>
                    </a:cubicBezTo>
                    <a:cubicBezTo>
                      <a:pt x="59" y="189"/>
                      <a:pt x="57" y="188"/>
                      <a:pt x="56" y="188"/>
                    </a:cubicBezTo>
                    <a:cubicBezTo>
                      <a:pt x="55" y="188"/>
                      <a:pt x="55" y="189"/>
                      <a:pt x="55" y="189"/>
                    </a:cubicBezTo>
                    <a:cubicBezTo>
                      <a:pt x="55" y="189"/>
                      <a:pt x="54" y="190"/>
                      <a:pt x="54" y="191"/>
                    </a:cubicBezTo>
                    <a:cubicBezTo>
                      <a:pt x="53" y="192"/>
                      <a:pt x="53" y="195"/>
                      <a:pt x="53" y="195"/>
                    </a:cubicBezTo>
                    <a:cubicBezTo>
                      <a:pt x="51" y="196"/>
                      <a:pt x="51" y="196"/>
                      <a:pt x="51" y="196"/>
                    </a:cubicBezTo>
                    <a:cubicBezTo>
                      <a:pt x="51" y="196"/>
                      <a:pt x="51" y="198"/>
                      <a:pt x="52" y="197"/>
                    </a:cubicBezTo>
                    <a:cubicBezTo>
                      <a:pt x="53" y="196"/>
                      <a:pt x="54" y="195"/>
                      <a:pt x="55" y="194"/>
                    </a:cubicBezTo>
                    <a:cubicBezTo>
                      <a:pt x="56" y="194"/>
                      <a:pt x="57" y="193"/>
                      <a:pt x="57" y="193"/>
                    </a:cubicBezTo>
                    <a:cubicBezTo>
                      <a:pt x="57" y="195"/>
                      <a:pt x="57" y="195"/>
                      <a:pt x="57" y="195"/>
                    </a:cubicBezTo>
                    <a:cubicBezTo>
                      <a:pt x="56" y="198"/>
                      <a:pt x="56" y="198"/>
                      <a:pt x="56" y="198"/>
                    </a:cubicBezTo>
                    <a:cubicBezTo>
                      <a:pt x="55" y="199"/>
                      <a:pt x="55" y="199"/>
                      <a:pt x="55" y="199"/>
                    </a:cubicBezTo>
                    <a:cubicBezTo>
                      <a:pt x="54" y="200"/>
                      <a:pt x="54" y="200"/>
                      <a:pt x="54" y="200"/>
                    </a:cubicBezTo>
                    <a:cubicBezTo>
                      <a:pt x="54" y="200"/>
                      <a:pt x="53" y="204"/>
                      <a:pt x="54" y="203"/>
                    </a:cubicBezTo>
                    <a:cubicBezTo>
                      <a:pt x="56" y="202"/>
                      <a:pt x="55" y="202"/>
                      <a:pt x="57" y="202"/>
                    </a:cubicBezTo>
                    <a:cubicBezTo>
                      <a:pt x="58" y="201"/>
                      <a:pt x="58" y="200"/>
                      <a:pt x="61" y="200"/>
                    </a:cubicBezTo>
                    <a:cubicBezTo>
                      <a:pt x="63" y="200"/>
                      <a:pt x="63" y="198"/>
                      <a:pt x="63" y="198"/>
                    </a:cubicBezTo>
                    <a:cubicBezTo>
                      <a:pt x="63" y="197"/>
                      <a:pt x="63" y="196"/>
                      <a:pt x="63" y="196"/>
                    </a:cubicBezTo>
                    <a:cubicBezTo>
                      <a:pt x="63" y="195"/>
                      <a:pt x="62" y="194"/>
                      <a:pt x="64" y="194"/>
                    </a:cubicBezTo>
                    <a:cubicBezTo>
                      <a:pt x="66" y="193"/>
                      <a:pt x="65" y="194"/>
                      <a:pt x="66" y="193"/>
                    </a:cubicBezTo>
                    <a:cubicBezTo>
                      <a:pt x="66" y="193"/>
                      <a:pt x="66" y="194"/>
                      <a:pt x="67" y="192"/>
                    </a:cubicBezTo>
                    <a:cubicBezTo>
                      <a:pt x="67" y="190"/>
                      <a:pt x="67" y="191"/>
                      <a:pt x="68" y="189"/>
                    </a:cubicBezTo>
                    <a:cubicBezTo>
                      <a:pt x="70" y="188"/>
                      <a:pt x="69" y="188"/>
                      <a:pt x="70" y="188"/>
                    </a:cubicBezTo>
                    <a:cubicBezTo>
                      <a:pt x="70" y="187"/>
                      <a:pt x="70" y="187"/>
                      <a:pt x="71" y="187"/>
                    </a:cubicBezTo>
                    <a:cubicBezTo>
                      <a:pt x="72" y="186"/>
                      <a:pt x="72" y="186"/>
                      <a:pt x="72" y="185"/>
                    </a:cubicBezTo>
                    <a:cubicBezTo>
                      <a:pt x="72" y="185"/>
                      <a:pt x="75" y="183"/>
                      <a:pt x="75" y="183"/>
                    </a:cubicBezTo>
                    <a:cubicBezTo>
                      <a:pt x="75" y="182"/>
                      <a:pt x="75" y="182"/>
                      <a:pt x="75" y="182"/>
                    </a:cubicBezTo>
                    <a:cubicBezTo>
                      <a:pt x="78" y="179"/>
                      <a:pt x="78" y="179"/>
                      <a:pt x="78" y="179"/>
                    </a:cubicBezTo>
                    <a:cubicBezTo>
                      <a:pt x="78" y="179"/>
                      <a:pt x="79" y="179"/>
                      <a:pt x="78" y="180"/>
                    </a:cubicBezTo>
                    <a:cubicBezTo>
                      <a:pt x="78" y="181"/>
                      <a:pt x="77" y="182"/>
                      <a:pt x="77" y="182"/>
                    </a:cubicBezTo>
                    <a:cubicBezTo>
                      <a:pt x="77" y="184"/>
                      <a:pt x="77" y="184"/>
                      <a:pt x="77" y="184"/>
                    </a:cubicBezTo>
                    <a:cubicBezTo>
                      <a:pt x="75" y="186"/>
                      <a:pt x="75" y="186"/>
                      <a:pt x="75" y="186"/>
                    </a:cubicBezTo>
                    <a:cubicBezTo>
                      <a:pt x="75" y="186"/>
                      <a:pt x="76" y="187"/>
                      <a:pt x="75" y="187"/>
                    </a:cubicBezTo>
                    <a:cubicBezTo>
                      <a:pt x="74" y="188"/>
                      <a:pt x="73" y="189"/>
                      <a:pt x="73" y="189"/>
                    </a:cubicBezTo>
                    <a:cubicBezTo>
                      <a:pt x="73" y="191"/>
                      <a:pt x="73" y="191"/>
                      <a:pt x="73" y="191"/>
                    </a:cubicBezTo>
                    <a:cubicBezTo>
                      <a:pt x="73" y="191"/>
                      <a:pt x="73" y="191"/>
                      <a:pt x="73" y="191"/>
                    </a:cubicBezTo>
                    <a:cubicBezTo>
                      <a:pt x="72" y="194"/>
                      <a:pt x="72" y="194"/>
                      <a:pt x="72" y="194"/>
                    </a:cubicBezTo>
                    <a:cubicBezTo>
                      <a:pt x="74" y="196"/>
                      <a:pt x="74" y="196"/>
                      <a:pt x="74" y="196"/>
                    </a:cubicBezTo>
                    <a:cubicBezTo>
                      <a:pt x="74" y="197"/>
                      <a:pt x="74" y="197"/>
                      <a:pt x="74" y="197"/>
                    </a:cubicBezTo>
                    <a:cubicBezTo>
                      <a:pt x="74" y="197"/>
                      <a:pt x="73" y="198"/>
                      <a:pt x="73" y="199"/>
                    </a:cubicBezTo>
                    <a:cubicBezTo>
                      <a:pt x="72" y="199"/>
                      <a:pt x="70" y="202"/>
                      <a:pt x="70" y="202"/>
                    </a:cubicBezTo>
                    <a:cubicBezTo>
                      <a:pt x="69" y="204"/>
                      <a:pt x="69" y="204"/>
                      <a:pt x="69" y="204"/>
                    </a:cubicBezTo>
                    <a:cubicBezTo>
                      <a:pt x="68" y="206"/>
                      <a:pt x="68" y="206"/>
                      <a:pt x="68" y="206"/>
                    </a:cubicBezTo>
                    <a:cubicBezTo>
                      <a:pt x="67" y="209"/>
                      <a:pt x="67" y="209"/>
                      <a:pt x="67" y="209"/>
                    </a:cubicBezTo>
                    <a:cubicBezTo>
                      <a:pt x="66" y="212"/>
                      <a:pt x="66" y="212"/>
                      <a:pt x="66" y="212"/>
                    </a:cubicBezTo>
                    <a:cubicBezTo>
                      <a:pt x="65" y="213"/>
                      <a:pt x="65" y="213"/>
                      <a:pt x="65" y="213"/>
                    </a:cubicBezTo>
                    <a:cubicBezTo>
                      <a:pt x="65" y="213"/>
                      <a:pt x="64" y="215"/>
                      <a:pt x="66" y="215"/>
                    </a:cubicBezTo>
                    <a:cubicBezTo>
                      <a:pt x="67" y="216"/>
                      <a:pt x="67" y="216"/>
                      <a:pt x="68" y="216"/>
                    </a:cubicBezTo>
                    <a:cubicBezTo>
                      <a:pt x="70" y="216"/>
                      <a:pt x="69" y="216"/>
                      <a:pt x="70" y="216"/>
                    </a:cubicBezTo>
                    <a:cubicBezTo>
                      <a:pt x="70" y="216"/>
                      <a:pt x="72" y="216"/>
                      <a:pt x="72" y="214"/>
                    </a:cubicBezTo>
                    <a:cubicBezTo>
                      <a:pt x="72" y="213"/>
                      <a:pt x="72" y="211"/>
                      <a:pt x="72" y="211"/>
                    </a:cubicBezTo>
                    <a:cubicBezTo>
                      <a:pt x="72" y="210"/>
                      <a:pt x="74" y="208"/>
                      <a:pt x="74" y="208"/>
                    </a:cubicBezTo>
                    <a:cubicBezTo>
                      <a:pt x="74" y="205"/>
                      <a:pt x="74" y="205"/>
                      <a:pt x="74" y="205"/>
                    </a:cubicBezTo>
                    <a:cubicBezTo>
                      <a:pt x="74" y="205"/>
                      <a:pt x="73" y="204"/>
                      <a:pt x="75" y="202"/>
                    </a:cubicBezTo>
                    <a:cubicBezTo>
                      <a:pt x="77" y="201"/>
                      <a:pt x="76" y="202"/>
                      <a:pt x="77" y="201"/>
                    </a:cubicBezTo>
                    <a:cubicBezTo>
                      <a:pt x="77" y="201"/>
                      <a:pt x="78" y="200"/>
                      <a:pt x="78" y="199"/>
                    </a:cubicBezTo>
                    <a:cubicBezTo>
                      <a:pt x="79" y="198"/>
                      <a:pt x="79" y="198"/>
                      <a:pt x="79" y="198"/>
                    </a:cubicBezTo>
                    <a:cubicBezTo>
                      <a:pt x="80" y="197"/>
                      <a:pt x="80" y="197"/>
                      <a:pt x="80" y="197"/>
                    </a:cubicBezTo>
                    <a:cubicBezTo>
                      <a:pt x="79" y="191"/>
                      <a:pt x="79" y="191"/>
                      <a:pt x="79" y="191"/>
                    </a:cubicBezTo>
                    <a:cubicBezTo>
                      <a:pt x="79" y="191"/>
                      <a:pt x="80" y="189"/>
                      <a:pt x="80" y="189"/>
                    </a:cubicBezTo>
                    <a:cubicBezTo>
                      <a:pt x="81" y="188"/>
                      <a:pt x="82" y="189"/>
                      <a:pt x="82" y="189"/>
                    </a:cubicBezTo>
                    <a:cubicBezTo>
                      <a:pt x="82" y="189"/>
                      <a:pt x="82" y="189"/>
                      <a:pt x="81" y="191"/>
                    </a:cubicBezTo>
                    <a:cubicBezTo>
                      <a:pt x="81" y="192"/>
                      <a:pt x="82" y="195"/>
                      <a:pt x="82" y="195"/>
                    </a:cubicBezTo>
                    <a:cubicBezTo>
                      <a:pt x="87" y="200"/>
                      <a:pt x="87" y="200"/>
                      <a:pt x="87" y="200"/>
                    </a:cubicBezTo>
                    <a:cubicBezTo>
                      <a:pt x="87" y="200"/>
                      <a:pt x="90" y="204"/>
                      <a:pt x="90" y="204"/>
                    </a:cubicBezTo>
                    <a:cubicBezTo>
                      <a:pt x="90" y="205"/>
                      <a:pt x="94" y="208"/>
                      <a:pt x="94" y="208"/>
                    </a:cubicBezTo>
                    <a:cubicBezTo>
                      <a:pt x="94" y="208"/>
                      <a:pt x="94" y="209"/>
                      <a:pt x="94" y="210"/>
                    </a:cubicBezTo>
                    <a:cubicBezTo>
                      <a:pt x="94" y="210"/>
                      <a:pt x="95" y="211"/>
                      <a:pt x="94" y="212"/>
                    </a:cubicBezTo>
                    <a:cubicBezTo>
                      <a:pt x="94" y="213"/>
                      <a:pt x="93" y="215"/>
                      <a:pt x="93" y="215"/>
                    </a:cubicBezTo>
                    <a:cubicBezTo>
                      <a:pt x="91" y="216"/>
                      <a:pt x="91" y="216"/>
                      <a:pt x="91" y="216"/>
                    </a:cubicBezTo>
                    <a:cubicBezTo>
                      <a:pt x="89" y="218"/>
                      <a:pt x="89" y="218"/>
                      <a:pt x="89" y="218"/>
                    </a:cubicBezTo>
                    <a:cubicBezTo>
                      <a:pt x="88" y="222"/>
                      <a:pt x="88" y="222"/>
                      <a:pt x="88" y="222"/>
                    </a:cubicBezTo>
                    <a:cubicBezTo>
                      <a:pt x="86" y="224"/>
                      <a:pt x="86" y="224"/>
                      <a:pt x="86" y="224"/>
                    </a:cubicBezTo>
                    <a:cubicBezTo>
                      <a:pt x="83" y="226"/>
                      <a:pt x="83" y="226"/>
                      <a:pt x="83" y="226"/>
                    </a:cubicBezTo>
                    <a:cubicBezTo>
                      <a:pt x="79" y="230"/>
                      <a:pt x="79" y="230"/>
                      <a:pt x="79" y="230"/>
                    </a:cubicBezTo>
                    <a:cubicBezTo>
                      <a:pt x="78" y="233"/>
                      <a:pt x="78" y="233"/>
                      <a:pt x="78" y="233"/>
                    </a:cubicBezTo>
                    <a:cubicBezTo>
                      <a:pt x="75" y="236"/>
                      <a:pt x="75" y="236"/>
                      <a:pt x="75" y="236"/>
                    </a:cubicBezTo>
                    <a:cubicBezTo>
                      <a:pt x="75" y="239"/>
                      <a:pt x="75" y="239"/>
                      <a:pt x="75" y="239"/>
                    </a:cubicBezTo>
                    <a:cubicBezTo>
                      <a:pt x="75" y="239"/>
                      <a:pt x="77" y="242"/>
                      <a:pt x="77" y="242"/>
                    </a:cubicBezTo>
                    <a:cubicBezTo>
                      <a:pt x="78" y="242"/>
                      <a:pt x="79" y="243"/>
                      <a:pt x="79" y="243"/>
                    </a:cubicBezTo>
                    <a:cubicBezTo>
                      <a:pt x="79" y="247"/>
                      <a:pt x="79" y="247"/>
                      <a:pt x="79" y="247"/>
                    </a:cubicBezTo>
                    <a:cubicBezTo>
                      <a:pt x="79" y="247"/>
                      <a:pt x="80" y="249"/>
                      <a:pt x="80" y="249"/>
                    </a:cubicBezTo>
                    <a:cubicBezTo>
                      <a:pt x="81" y="249"/>
                      <a:pt x="82" y="246"/>
                      <a:pt x="82" y="246"/>
                    </a:cubicBezTo>
                    <a:cubicBezTo>
                      <a:pt x="82" y="246"/>
                      <a:pt x="80" y="244"/>
                      <a:pt x="80" y="242"/>
                    </a:cubicBezTo>
                    <a:cubicBezTo>
                      <a:pt x="80" y="241"/>
                      <a:pt x="81" y="238"/>
                      <a:pt x="81" y="238"/>
                    </a:cubicBezTo>
                    <a:cubicBezTo>
                      <a:pt x="83" y="238"/>
                      <a:pt x="83" y="238"/>
                      <a:pt x="83" y="238"/>
                    </a:cubicBezTo>
                    <a:cubicBezTo>
                      <a:pt x="83" y="238"/>
                      <a:pt x="83" y="238"/>
                      <a:pt x="84" y="239"/>
                    </a:cubicBezTo>
                    <a:cubicBezTo>
                      <a:pt x="84" y="240"/>
                      <a:pt x="84" y="239"/>
                      <a:pt x="85" y="240"/>
                    </a:cubicBezTo>
                    <a:cubicBezTo>
                      <a:pt x="85" y="241"/>
                      <a:pt x="88" y="243"/>
                      <a:pt x="88" y="243"/>
                    </a:cubicBezTo>
                    <a:cubicBezTo>
                      <a:pt x="88" y="243"/>
                      <a:pt x="90" y="246"/>
                      <a:pt x="90" y="246"/>
                    </a:cubicBezTo>
                    <a:cubicBezTo>
                      <a:pt x="91" y="247"/>
                      <a:pt x="92" y="249"/>
                      <a:pt x="93" y="249"/>
                    </a:cubicBezTo>
                    <a:cubicBezTo>
                      <a:pt x="94" y="248"/>
                      <a:pt x="94" y="249"/>
                      <a:pt x="95" y="247"/>
                    </a:cubicBezTo>
                    <a:cubicBezTo>
                      <a:pt x="95" y="245"/>
                      <a:pt x="95" y="245"/>
                      <a:pt x="95" y="244"/>
                    </a:cubicBezTo>
                    <a:cubicBezTo>
                      <a:pt x="95" y="243"/>
                      <a:pt x="95" y="241"/>
                      <a:pt x="95" y="241"/>
                    </a:cubicBezTo>
                    <a:cubicBezTo>
                      <a:pt x="95" y="241"/>
                      <a:pt x="94" y="240"/>
                      <a:pt x="96" y="240"/>
                    </a:cubicBezTo>
                    <a:cubicBezTo>
                      <a:pt x="97" y="240"/>
                      <a:pt x="97" y="242"/>
                      <a:pt x="97" y="242"/>
                    </a:cubicBezTo>
                    <a:cubicBezTo>
                      <a:pt x="97" y="242"/>
                      <a:pt x="98" y="244"/>
                      <a:pt x="99" y="245"/>
                    </a:cubicBezTo>
                    <a:cubicBezTo>
                      <a:pt x="100" y="245"/>
                      <a:pt x="100" y="245"/>
                      <a:pt x="101" y="246"/>
                    </a:cubicBezTo>
                    <a:cubicBezTo>
                      <a:pt x="102" y="247"/>
                      <a:pt x="106" y="248"/>
                      <a:pt x="106" y="248"/>
                    </a:cubicBezTo>
                    <a:cubicBezTo>
                      <a:pt x="106" y="248"/>
                      <a:pt x="106" y="247"/>
                      <a:pt x="107" y="247"/>
                    </a:cubicBezTo>
                    <a:cubicBezTo>
                      <a:pt x="108" y="246"/>
                      <a:pt x="109" y="245"/>
                      <a:pt x="109" y="245"/>
                    </a:cubicBezTo>
                    <a:cubicBezTo>
                      <a:pt x="109" y="245"/>
                      <a:pt x="109" y="244"/>
                      <a:pt x="110" y="245"/>
                    </a:cubicBezTo>
                    <a:cubicBezTo>
                      <a:pt x="112" y="245"/>
                      <a:pt x="113" y="245"/>
                      <a:pt x="113" y="245"/>
                    </a:cubicBezTo>
                    <a:cubicBezTo>
                      <a:pt x="114" y="244"/>
                      <a:pt x="115" y="241"/>
                      <a:pt x="115" y="241"/>
                    </a:cubicBezTo>
                    <a:cubicBezTo>
                      <a:pt x="115" y="241"/>
                      <a:pt x="115" y="239"/>
                      <a:pt x="117" y="240"/>
                    </a:cubicBezTo>
                    <a:cubicBezTo>
                      <a:pt x="118" y="241"/>
                      <a:pt x="128" y="243"/>
                      <a:pt x="128" y="243"/>
                    </a:cubicBezTo>
                    <a:cubicBezTo>
                      <a:pt x="127" y="244"/>
                      <a:pt x="127" y="244"/>
                      <a:pt x="127" y="244"/>
                    </a:cubicBezTo>
                    <a:cubicBezTo>
                      <a:pt x="123" y="244"/>
                      <a:pt x="123" y="244"/>
                      <a:pt x="123" y="244"/>
                    </a:cubicBezTo>
                    <a:cubicBezTo>
                      <a:pt x="121" y="244"/>
                      <a:pt x="121" y="244"/>
                      <a:pt x="121" y="244"/>
                    </a:cubicBezTo>
                    <a:cubicBezTo>
                      <a:pt x="121" y="244"/>
                      <a:pt x="120" y="244"/>
                      <a:pt x="120" y="245"/>
                    </a:cubicBezTo>
                    <a:cubicBezTo>
                      <a:pt x="120" y="246"/>
                      <a:pt x="119" y="247"/>
                      <a:pt x="119" y="248"/>
                    </a:cubicBezTo>
                    <a:cubicBezTo>
                      <a:pt x="118" y="249"/>
                      <a:pt x="118" y="249"/>
                      <a:pt x="117" y="250"/>
                    </a:cubicBezTo>
                    <a:cubicBezTo>
                      <a:pt x="117" y="251"/>
                      <a:pt x="114" y="253"/>
                      <a:pt x="114" y="253"/>
                    </a:cubicBezTo>
                    <a:cubicBezTo>
                      <a:pt x="112" y="255"/>
                      <a:pt x="112" y="255"/>
                      <a:pt x="112" y="255"/>
                    </a:cubicBezTo>
                    <a:cubicBezTo>
                      <a:pt x="110" y="259"/>
                      <a:pt x="110" y="259"/>
                      <a:pt x="110" y="259"/>
                    </a:cubicBezTo>
                    <a:cubicBezTo>
                      <a:pt x="110" y="259"/>
                      <a:pt x="111" y="263"/>
                      <a:pt x="111" y="263"/>
                    </a:cubicBezTo>
                    <a:cubicBezTo>
                      <a:pt x="112" y="263"/>
                      <a:pt x="114" y="266"/>
                      <a:pt x="114" y="266"/>
                    </a:cubicBezTo>
                    <a:cubicBezTo>
                      <a:pt x="114" y="266"/>
                      <a:pt x="114" y="267"/>
                      <a:pt x="114" y="268"/>
                    </a:cubicBezTo>
                    <a:cubicBezTo>
                      <a:pt x="114" y="269"/>
                      <a:pt x="114" y="270"/>
                      <a:pt x="115" y="271"/>
                    </a:cubicBezTo>
                    <a:cubicBezTo>
                      <a:pt x="115" y="272"/>
                      <a:pt x="116" y="275"/>
                      <a:pt x="116" y="275"/>
                    </a:cubicBezTo>
                    <a:cubicBezTo>
                      <a:pt x="117" y="276"/>
                      <a:pt x="117" y="276"/>
                      <a:pt x="117" y="276"/>
                    </a:cubicBezTo>
                    <a:cubicBezTo>
                      <a:pt x="117" y="278"/>
                      <a:pt x="117" y="278"/>
                      <a:pt x="117" y="278"/>
                    </a:cubicBezTo>
                    <a:cubicBezTo>
                      <a:pt x="117" y="278"/>
                      <a:pt x="117" y="280"/>
                      <a:pt x="118" y="280"/>
                    </a:cubicBezTo>
                    <a:cubicBezTo>
                      <a:pt x="119" y="280"/>
                      <a:pt x="122" y="278"/>
                      <a:pt x="122" y="278"/>
                    </a:cubicBezTo>
                    <a:cubicBezTo>
                      <a:pt x="128" y="277"/>
                      <a:pt x="128" y="277"/>
                      <a:pt x="128" y="277"/>
                    </a:cubicBezTo>
                    <a:cubicBezTo>
                      <a:pt x="128" y="277"/>
                      <a:pt x="128" y="280"/>
                      <a:pt x="127" y="281"/>
                    </a:cubicBezTo>
                    <a:cubicBezTo>
                      <a:pt x="127" y="282"/>
                      <a:pt x="126" y="282"/>
                      <a:pt x="125" y="283"/>
                    </a:cubicBezTo>
                    <a:cubicBezTo>
                      <a:pt x="125" y="283"/>
                      <a:pt x="125" y="285"/>
                      <a:pt x="125" y="285"/>
                    </a:cubicBezTo>
                    <a:cubicBezTo>
                      <a:pt x="125" y="285"/>
                      <a:pt x="125" y="286"/>
                      <a:pt x="123" y="287"/>
                    </a:cubicBezTo>
                    <a:cubicBezTo>
                      <a:pt x="122" y="287"/>
                      <a:pt x="121" y="287"/>
                      <a:pt x="121" y="287"/>
                    </a:cubicBezTo>
                    <a:cubicBezTo>
                      <a:pt x="121" y="287"/>
                      <a:pt x="119" y="286"/>
                      <a:pt x="119" y="288"/>
                    </a:cubicBezTo>
                    <a:cubicBezTo>
                      <a:pt x="119" y="290"/>
                      <a:pt x="118" y="291"/>
                      <a:pt x="118" y="292"/>
                    </a:cubicBezTo>
                    <a:cubicBezTo>
                      <a:pt x="118" y="293"/>
                      <a:pt x="116" y="294"/>
                      <a:pt x="118" y="295"/>
                    </a:cubicBezTo>
                    <a:cubicBezTo>
                      <a:pt x="120" y="295"/>
                      <a:pt x="120" y="297"/>
                      <a:pt x="120" y="297"/>
                    </a:cubicBezTo>
                    <a:cubicBezTo>
                      <a:pt x="120" y="297"/>
                      <a:pt x="119" y="299"/>
                      <a:pt x="118" y="300"/>
                    </a:cubicBezTo>
                    <a:cubicBezTo>
                      <a:pt x="117" y="300"/>
                      <a:pt x="116" y="300"/>
                      <a:pt x="116" y="301"/>
                    </a:cubicBezTo>
                    <a:cubicBezTo>
                      <a:pt x="116" y="302"/>
                      <a:pt x="117" y="306"/>
                      <a:pt x="117" y="306"/>
                    </a:cubicBezTo>
                    <a:cubicBezTo>
                      <a:pt x="117" y="306"/>
                      <a:pt x="118" y="308"/>
                      <a:pt x="116" y="308"/>
                    </a:cubicBezTo>
                    <a:cubicBezTo>
                      <a:pt x="115" y="307"/>
                      <a:pt x="115" y="307"/>
                      <a:pt x="114" y="307"/>
                    </a:cubicBezTo>
                    <a:cubicBezTo>
                      <a:pt x="113" y="307"/>
                      <a:pt x="113" y="308"/>
                      <a:pt x="113" y="308"/>
                    </a:cubicBezTo>
                    <a:cubicBezTo>
                      <a:pt x="113" y="308"/>
                      <a:pt x="113" y="308"/>
                      <a:pt x="113" y="310"/>
                    </a:cubicBezTo>
                    <a:cubicBezTo>
                      <a:pt x="113" y="311"/>
                      <a:pt x="113" y="313"/>
                      <a:pt x="113" y="313"/>
                    </a:cubicBezTo>
                    <a:cubicBezTo>
                      <a:pt x="111" y="313"/>
                      <a:pt x="111" y="313"/>
                      <a:pt x="111" y="313"/>
                    </a:cubicBezTo>
                    <a:cubicBezTo>
                      <a:pt x="109" y="310"/>
                      <a:pt x="109" y="310"/>
                      <a:pt x="109" y="310"/>
                    </a:cubicBezTo>
                    <a:cubicBezTo>
                      <a:pt x="109" y="310"/>
                      <a:pt x="106" y="310"/>
                      <a:pt x="105" y="310"/>
                    </a:cubicBezTo>
                    <a:cubicBezTo>
                      <a:pt x="104" y="310"/>
                      <a:pt x="102" y="311"/>
                      <a:pt x="102" y="311"/>
                    </a:cubicBezTo>
                    <a:cubicBezTo>
                      <a:pt x="102" y="311"/>
                      <a:pt x="98" y="309"/>
                      <a:pt x="97" y="308"/>
                    </a:cubicBezTo>
                    <a:cubicBezTo>
                      <a:pt x="97" y="308"/>
                      <a:pt x="97" y="307"/>
                      <a:pt x="96" y="308"/>
                    </a:cubicBezTo>
                    <a:cubicBezTo>
                      <a:pt x="96" y="309"/>
                      <a:pt x="97" y="308"/>
                      <a:pt x="96" y="309"/>
                    </a:cubicBezTo>
                    <a:cubicBezTo>
                      <a:pt x="95" y="309"/>
                      <a:pt x="97" y="309"/>
                      <a:pt x="94" y="309"/>
                    </a:cubicBezTo>
                    <a:cubicBezTo>
                      <a:pt x="91" y="310"/>
                      <a:pt x="87" y="311"/>
                      <a:pt x="87" y="311"/>
                    </a:cubicBezTo>
                    <a:cubicBezTo>
                      <a:pt x="87" y="311"/>
                      <a:pt x="90" y="308"/>
                      <a:pt x="89" y="308"/>
                    </a:cubicBezTo>
                    <a:cubicBezTo>
                      <a:pt x="88" y="307"/>
                      <a:pt x="89" y="307"/>
                      <a:pt x="88" y="307"/>
                    </a:cubicBezTo>
                    <a:cubicBezTo>
                      <a:pt x="86" y="306"/>
                      <a:pt x="85" y="304"/>
                      <a:pt x="85" y="304"/>
                    </a:cubicBezTo>
                    <a:cubicBezTo>
                      <a:pt x="85" y="303"/>
                      <a:pt x="85" y="301"/>
                      <a:pt x="84" y="301"/>
                    </a:cubicBezTo>
                    <a:cubicBezTo>
                      <a:pt x="82" y="301"/>
                      <a:pt x="82" y="299"/>
                      <a:pt x="80" y="301"/>
                    </a:cubicBezTo>
                    <a:cubicBezTo>
                      <a:pt x="79" y="302"/>
                      <a:pt x="79" y="302"/>
                      <a:pt x="78" y="303"/>
                    </a:cubicBezTo>
                    <a:cubicBezTo>
                      <a:pt x="78" y="304"/>
                      <a:pt x="74" y="304"/>
                      <a:pt x="74" y="304"/>
                    </a:cubicBezTo>
                    <a:cubicBezTo>
                      <a:pt x="74" y="304"/>
                      <a:pt x="77" y="308"/>
                      <a:pt x="77" y="309"/>
                    </a:cubicBezTo>
                    <a:cubicBezTo>
                      <a:pt x="77" y="309"/>
                      <a:pt x="78" y="313"/>
                      <a:pt x="78" y="313"/>
                    </a:cubicBezTo>
                    <a:cubicBezTo>
                      <a:pt x="84" y="312"/>
                      <a:pt x="84" y="312"/>
                      <a:pt x="84" y="312"/>
                    </a:cubicBezTo>
                    <a:cubicBezTo>
                      <a:pt x="84" y="312"/>
                      <a:pt x="80" y="314"/>
                      <a:pt x="80" y="315"/>
                    </a:cubicBezTo>
                    <a:cubicBezTo>
                      <a:pt x="79" y="317"/>
                      <a:pt x="79" y="317"/>
                      <a:pt x="79" y="318"/>
                    </a:cubicBezTo>
                    <a:cubicBezTo>
                      <a:pt x="78" y="319"/>
                      <a:pt x="78" y="320"/>
                      <a:pt x="76" y="320"/>
                    </a:cubicBezTo>
                    <a:cubicBezTo>
                      <a:pt x="74" y="321"/>
                      <a:pt x="71" y="321"/>
                      <a:pt x="70" y="322"/>
                    </a:cubicBezTo>
                    <a:cubicBezTo>
                      <a:pt x="69" y="323"/>
                      <a:pt x="68" y="323"/>
                      <a:pt x="68" y="324"/>
                    </a:cubicBezTo>
                    <a:cubicBezTo>
                      <a:pt x="68" y="325"/>
                      <a:pt x="64" y="325"/>
                      <a:pt x="68" y="326"/>
                    </a:cubicBezTo>
                    <a:cubicBezTo>
                      <a:pt x="73" y="327"/>
                      <a:pt x="74" y="327"/>
                      <a:pt x="74" y="327"/>
                    </a:cubicBezTo>
                    <a:cubicBezTo>
                      <a:pt x="74" y="327"/>
                      <a:pt x="76" y="325"/>
                      <a:pt x="77" y="324"/>
                    </a:cubicBezTo>
                    <a:cubicBezTo>
                      <a:pt x="79" y="323"/>
                      <a:pt x="79" y="323"/>
                      <a:pt x="82" y="323"/>
                    </a:cubicBezTo>
                    <a:cubicBezTo>
                      <a:pt x="85" y="324"/>
                      <a:pt x="85" y="323"/>
                      <a:pt x="85" y="324"/>
                    </a:cubicBezTo>
                    <a:cubicBezTo>
                      <a:pt x="85" y="325"/>
                      <a:pt x="85" y="326"/>
                      <a:pt x="85" y="327"/>
                    </a:cubicBezTo>
                    <a:cubicBezTo>
                      <a:pt x="84" y="329"/>
                      <a:pt x="83" y="330"/>
                      <a:pt x="84" y="332"/>
                    </a:cubicBezTo>
                    <a:cubicBezTo>
                      <a:pt x="86" y="334"/>
                      <a:pt x="83" y="336"/>
                      <a:pt x="83" y="336"/>
                    </a:cubicBezTo>
                    <a:cubicBezTo>
                      <a:pt x="83" y="336"/>
                      <a:pt x="82" y="339"/>
                      <a:pt x="83" y="339"/>
                    </a:cubicBezTo>
                    <a:cubicBezTo>
                      <a:pt x="83" y="339"/>
                      <a:pt x="84" y="340"/>
                      <a:pt x="84" y="340"/>
                    </a:cubicBezTo>
                    <a:cubicBezTo>
                      <a:pt x="84" y="340"/>
                      <a:pt x="82" y="344"/>
                      <a:pt x="82" y="344"/>
                    </a:cubicBezTo>
                    <a:cubicBezTo>
                      <a:pt x="82" y="345"/>
                      <a:pt x="79" y="350"/>
                      <a:pt x="79" y="350"/>
                    </a:cubicBezTo>
                    <a:cubicBezTo>
                      <a:pt x="78" y="350"/>
                      <a:pt x="79" y="350"/>
                      <a:pt x="75" y="352"/>
                    </a:cubicBezTo>
                    <a:cubicBezTo>
                      <a:pt x="70" y="353"/>
                      <a:pt x="67" y="354"/>
                      <a:pt x="67" y="354"/>
                    </a:cubicBezTo>
                    <a:cubicBezTo>
                      <a:pt x="63" y="355"/>
                      <a:pt x="63" y="355"/>
                      <a:pt x="63" y="355"/>
                    </a:cubicBezTo>
                    <a:cubicBezTo>
                      <a:pt x="60" y="357"/>
                      <a:pt x="60" y="357"/>
                      <a:pt x="60" y="357"/>
                    </a:cubicBezTo>
                    <a:cubicBezTo>
                      <a:pt x="58" y="357"/>
                      <a:pt x="58" y="357"/>
                      <a:pt x="58" y="357"/>
                    </a:cubicBezTo>
                    <a:cubicBezTo>
                      <a:pt x="54" y="357"/>
                      <a:pt x="54" y="357"/>
                      <a:pt x="54" y="357"/>
                    </a:cubicBezTo>
                    <a:cubicBezTo>
                      <a:pt x="54" y="357"/>
                      <a:pt x="50" y="359"/>
                      <a:pt x="50" y="360"/>
                    </a:cubicBezTo>
                    <a:cubicBezTo>
                      <a:pt x="49" y="360"/>
                      <a:pt x="47" y="361"/>
                      <a:pt x="47" y="361"/>
                    </a:cubicBezTo>
                    <a:cubicBezTo>
                      <a:pt x="46" y="362"/>
                      <a:pt x="50" y="364"/>
                      <a:pt x="50" y="364"/>
                    </a:cubicBezTo>
                    <a:cubicBezTo>
                      <a:pt x="51" y="366"/>
                      <a:pt x="51" y="366"/>
                      <a:pt x="51" y="366"/>
                    </a:cubicBezTo>
                    <a:cubicBezTo>
                      <a:pt x="49" y="366"/>
                      <a:pt x="49" y="366"/>
                      <a:pt x="49" y="366"/>
                    </a:cubicBezTo>
                    <a:cubicBezTo>
                      <a:pt x="47" y="367"/>
                      <a:pt x="47" y="367"/>
                      <a:pt x="47" y="367"/>
                    </a:cubicBezTo>
                    <a:cubicBezTo>
                      <a:pt x="46" y="369"/>
                      <a:pt x="46" y="369"/>
                      <a:pt x="46" y="369"/>
                    </a:cubicBezTo>
                    <a:cubicBezTo>
                      <a:pt x="48" y="370"/>
                      <a:pt x="48" y="370"/>
                      <a:pt x="48" y="370"/>
                    </a:cubicBezTo>
                    <a:cubicBezTo>
                      <a:pt x="48" y="370"/>
                      <a:pt x="49" y="370"/>
                      <a:pt x="50" y="370"/>
                    </a:cubicBezTo>
                    <a:cubicBezTo>
                      <a:pt x="51" y="370"/>
                      <a:pt x="54" y="369"/>
                      <a:pt x="54" y="369"/>
                    </a:cubicBezTo>
                    <a:cubicBezTo>
                      <a:pt x="50" y="371"/>
                      <a:pt x="50" y="371"/>
                      <a:pt x="50" y="371"/>
                    </a:cubicBezTo>
                    <a:cubicBezTo>
                      <a:pt x="50" y="374"/>
                      <a:pt x="50" y="374"/>
                      <a:pt x="50" y="374"/>
                    </a:cubicBezTo>
                    <a:cubicBezTo>
                      <a:pt x="50" y="374"/>
                      <a:pt x="49" y="375"/>
                      <a:pt x="50" y="375"/>
                    </a:cubicBezTo>
                    <a:cubicBezTo>
                      <a:pt x="52" y="375"/>
                      <a:pt x="53" y="375"/>
                      <a:pt x="53" y="375"/>
                    </a:cubicBezTo>
                    <a:cubicBezTo>
                      <a:pt x="53" y="375"/>
                      <a:pt x="55" y="374"/>
                      <a:pt x="56" y="374"/>
                    </a:cubicBezTo>
                    <a:cubicBezTo>
                      <a:pt x="58" y="374"/>
                      <a:pt x="59" y="374"/>
                      <a:pt x="59" y="374"/>
                    </a:cubicBezTo>
                    <a:cubicBezTo>
                      <a:pt x="59" y="374"/>
                      <a:pt x="59" y="372"/>
                      <a:pt x="60" y="372"/>
                    </a:cubicBezTo>
                    <a:cubicBezTo>
                      <a:pt x="60" y="372"/>
                      <a:pt x="59" y="372"/>
                      <a:pt x="61" y="372"/>
                    </a:cubicBezTo>
                    <a:cubicBezTo>
                      <a:pt x="63" y="372"/>
                      <a:pt x="69" y="372"/>
                      <a:pt x="69" y="372"/>
                    </a:cubicBezTo>
                    <a:cubicBezTo>
                      <a:pt x="69" y="372"/>
                      <a:pt x="69" y="372"/>
                      <a:pt x="70" y="373"/>
                    </a:cubicBezTo>
                    <a:cubicBezTo>
                      <a:pt x="70" y="374"/>
                      <a:pt x="71" y="375"/>
                      <a:pt x="72" y="376"/>
                    </a:cubicBezTo>
                    <a:cubicBezTo>
                      <a:pt x="74" y="377"/>
                      <a:pt x="77" y="377"/>
                      <a:pt x="77" y="377"/>
                    </a:cubicBezTo>
                    <a:cubicBezTo>
                      <a:pt x="75" y="378"/>
                      <a:pt x="75" y="378"/>
                      <a:pt x="75" y="378"/>
                    </a:cubicBezTo>
                    <a:cubicBezTo>
                      <a:pt x="72" y="378"/>
                      <a:pt x="72" y="378"/>
                      <a:pt x="72" y="378"/>
                    </a:cubicBezTo>
                    <a:cubicBezTo>
                      <a:pt x="72" y="378"/>
                      <a:pt x="70" y="377"/>
                      <a:pt x="70" y="378"/>
                    </a:cubicBezTo>
                    <a:cubicBezTo>
                      <a:pt x="70" y="379"/>
                      <a:pt x="68" y="381"/>
                      <a:pt x="69" y="382"/>
                    </a:cubicBezTo>
                    <a:cubicBezTo>
                      <a:pt x="70" y="382"/>
                      <a:pt x="74" y="383"/>
                      <a:pt x="74" y="383"/>
                    </a:cubicBezTo>
                    <a:cubicBezTo>
                      <a:pt x="78" y="382"/>
                      <a:pt x="78" y="382"/>
                      <a:pt x="78" y="382"/>
                    </a:cubicBezTo>
                    <a:cubicBezTo>
                      <a:pt x="79" y="381"/>
                      <a:pt x="79" y="381"/>
                      <a:pt x="79" y="381"/>
                    </a:cubicBezTo>
                    <a:cubicBezTo>
                      <a:pt x="82" y="380"/>
                      <a:pt x="82" y="380"/>
                      <a:pt x="82" y="380"/>
                    </a:cubicBezTo>
                    <a:cubicBezTo>
                      <a:pt x="82" y="380"/>
                      <a:pt x="82" y="381"/>
                      <a:pt x="82" y="382"/>
                    </a:cubicBezTo>
                    <a:cubicBezTo>
                      <a:pt x="82" y="382"/>
                      <a:pt x="82" y="384"/>
                      <a:pt x="82" y="384"/>
                    </a:cubicBezTo>
                    <a:cubicBezTo>
                      <a:pt x="82" y="384"/>
                      <a:pt x="83" y="386"/>
                      <a:pt x="83" y="386"/>
                    </a:cubicBezTo>
                    <a:cubicBezTo>
                      <a:pt x="84" y="387"/>
                      <a:pt x="86" y="388"/>
                      <a:pt x="86" y="388"/>
                    </a:cubicBezTo>
                    <a:cubicBezTo>
                      <a:pt x="87" y="391"/>
                      <a:pt x="87" y="391"/>
                      <a:pt x="87" y="391"/>
                    </a:cubicBezTo>
                    <a:cubicBezTo>
                      <a:pt x="90" y="392"/>
                      <a:pt x="90" y="392"/>
                      <a:pt x="90" y="392"/>
                    </a:cubicBezTo>
                    <a:cubicBezTo>
                      <a:pt x="90" y="392"/>
                      <a:pt x="93" y="392"/>
                      <a:pt x="93" y="392"/>
                    </a:cubicBezTo>
                    <a:cubicBezTo>
                      <a:pt x="94" y="392"/>
                      <a:pt x="96" y="393"/>
                      <a:pt x="96" y="393"/>
                    </a:cubicBezTo>
                    <a:cubicBezTo>
                      <a:pt x="97" y="392"/>
                      <a:pt x="99" y="390"/>
                      <a:pt x="99" y="390"/>
                    </a:cubicBezTo>
                    <a:cubicBezTo>
                      <a:pt x="102" y="388"/>
                      <a:pt x="102" y="388"/>
                      <a:pt x="102" y="388"/>
                    </a:cubicBezTo>
                    <a:cubicBezTo>
                      <a:pt x="102" y="388"/>
                      <a:pt x="104" y="388"/>
                      <a:pt x="105" y="388"/>
                    </a:cubicBezTo>
                    <a:cubicBezTo>
                      <a:pt x="106" y="388"/>
                      <a:pt x="111" y="387"/>
                      <a:pt x="111" y="387"/>
                    </a:cubicBezTo>
                    <a:cubicBezTo>
                      <a:pt x="111" y="387"/>
                      <a:pt x="112" y="385"/>
                      <a:pt x="114" y="385"/>
                    </a:cubicBezTo>
                    <a:cubicBezTo>
                      <a:pt x="115" y="384"/>
                      <a:pt x="118" y="382"/>
                      <a:pt x="118" y="382"/>
                    </a:cubicBezTo>
                    <a:cubicBezTo>
                      <a:pt x="124" y="381"/>
                      <a:pt x="124" y="381"/>
                      <a:pt x="124" y="381"/>
                    </a:cubicBezTo>
                    <a:cubicBezTo>
                      <a:pt x="119" y="383"/>
                      <a:pt x="119" y="383"/>
                      <a:pt x="119" y="383"/>
                    </a:cubicBezTo>
                    <a:cubicBezTo>
                      <a:pt x="117" y="384"/>
                      <a:pt x="117" y="384"/>
                      <a:pt x="117" y="384"/>
                    </a:cubicBezTo>
                    <a:cubicBezTo>
                      <a:pt x="114" y="387"/>
                      <a:pt x="114" y="387"/>
                      <a:pt x="114" y="387"/>
                    </a:cubicBezTo>
                    <a:cubicBezTo>
                      <a:pt x="112" y="388"/>
                      <a:pt x="112" y="388"/>
                      <a:pt x="112" y="388"/>
                    </a:cubicBezTo>
                    <a:cubicBezTo>
                      <a:pt x="112" y="388"/>
                      <a:pt x="110" y="389"/>
                      <a:pt x="110" y="389"/>
                    </a:cubicBezTo>
                    <a:cubicBezTo>
                      <a:pt x="110" y="390"/>
                      <a:pt x="107" y="394"/>
                      <a:pt x="107" y="394"/>
                    </a:cubicBezTo>
                    <a:cubicBezTo>
                      <a:pt x="105" y="394"/>
                      <a:pt x="105" y="394"/>
                      <a:pt x="105" y="394"/>
                    </a:cubicBezTo>
                    <a:cubicBezTo>
                      <a:pt x="105" y="394"/>
                      <a:pt x="103" y="396"/>
                      <a:pt x="102" y="397"/>
                    </a:cubicBezTo>
                    <a:cubicBezTo>
                      <a:pt x="101" y="399"/>
                      <a:pt x="100" y="399"/>
                      <a:pt x="100" y="399"/>
                    </a:cubicBezTo>
                    <a:cubicBezTo>
                      <a:pt x="100" y="399"/>
                      <a:pt x="101" y="401"/>
                      <a:pt x="97" y="401"/>
                    </a:cubicBezTo>
                    <a:cubicBezTo>
                      <a:pt x="93" y="400"/>
                      <a:pt x="90" y="399"/>
                      <a:pt x="90" y="399"/>
                    </a:cubicBezTo>
                    <a:cubicBezTo>
                      <a:pt x="90" y="399"/>
                      <a:pt x="85" y="398"/>
                      <a:pt x="85" y="398"/>
                    </a:cubicBezTo>
                    <a:cubicBezTo>
                      <a:pt x="84" y="398"/>
                      <a:pt x="84" y="398"/>
                      <a:pt x="82" y="398"/>
                    </a:cubicBezTo>
                    <a:cubicBezTo>
                      <a:pt x="80" y="397"/>
                      <a:pt x="72" y="395"/>
                      <a:pt x="72" y="395"/>
                    </a:cubicBezTo>
                    <a:cubicBezTo>
                      <a:pt x="72" y="395"/>
                      <a:pt x="70" y="395"/>
                      <a:pt x="69" y="396"/>
                    </a:cubicBezTo>
                    <a:cubicBezTo>
                      <a:pt x="69" y="396"/>
                      <a:pt x="67" y="397"/>
                      <a:pt x="67" y="398"/>
                    </a:cubicBezTo>
                    <a:cubicBezTo>
                      <a:pt x="67" y="399"/>
                      <a:pt x="67" y="400"/>
                      <a:pt x="67" y="400"/>
                    </a:cubicBezTo>
                    <a:cubicBezTo>
                      <a:pt x="67" y="402"/>
                      <a:pt x="67" y="402"/>
                      <a:pt x="67" y="402"/>
                    </a:cubicBezTo>
                    <a:cubicBezTo>
                      <a:pt x="64" y="403"/>
                      <a:pt x="64" y="403"/>
                      <a:pt x="64" y="403"/>
                    </a:cubicBezTo>
                    <a:cubicBezTo>
                      <a:pt x="59" y="403"/>
                      <a:pt x="59" y="403"/>
                      <a:pt x="59" y="403"/>
                    </a:cubicBezTo>
                    <a:close/>
                    <a:moveTo>
                      <a:pt x="35" y="214"/>
                    </a:moveTo>
                    <a:cubicBezTo>
                      <a:pt x="35" y="214"/>
                      <a:pt x="35" y="214"/>
                      <a:pt x="35" y="214"/>
                    </a:cubicBezTo>
                    <a:cubicBezTo>
                      <a:pt x="36" y="215"/>
                      <a:pt x="40" y="214"/>
                      <a:pt x="40" y="214"/>
                    </a:cubicBezTo>
                    <a:cubicBezTo>
                      <a:pt x="44" y="214"/>
                      <a:pt x="44" y="214"/>
                      <a:pt x="44" y="214"/>
                    </a:cubicBezTo>
                    <a:cubicBezTo>
                      <a:pt x="44" y="214"/>
                      <a:pt x="48" y="214"/>
                      <a:pt x="48" y="214"/>
                    </a:cubicBezTo>
                    <a:cubicBezTo>
                      <a:pt x="49" y="215"/>
                      <a:pt x="50" y="215"/>
                      <a:pt x="50" y="215"/>
                    </a:cubicBezTo>
                    <a:cubicBezTo>
                      <a:pt x="50" y="215"/>
                      <a:pt x="52" y="214"/>
                      <a:pt x="53" y="214"/>
                    </a:cubicBezTo>
                    <a:cubicBezTo>
                      <a:pt x="54" y="215"/>
                      <a:pt x="56" y="217"/>
                      <a:pt x="56" y="217"/>
                    </a:cubicBezTo>
                    <a:cubicBezTo>
                      <a:pt x="56" y="221"/>
                      <a:pt x="56" y="221"/>
                      <a:pt x="56" y="221"/>
                    </a:cubicBezTo>
                    <a:cubicBezTo>
                      <a:pt x="57" y="225"/>
                      <a:pt x="57" y="225"/>
                      <a:pt x="57" y="225"/>
                    </a:cubicBezTo>
                    <a:cubicBezTo>
                      <a:pt x="59" y="229"/>
                      <a:pt x="59" y="229"/>
                      <a:pt x="59" y="229"/>
                    </a:cubicBezTo>
                    <a:cubicBezTo>
                      <a:pt x="62" y="233"/>
                      <a:pt x="62" y="233"/>
                      <a:pt x="62" y="233"/>
                    </a:cubicBezTo>
                    <a:cubicBezTo>
                      <a:pt x="60" y="236"/>
                      <a:pt x="60" y="236"/>
                      <a:pt x="60" y="236"/>
                    </a:cubicBezTo>
                    <a:cubicBezTo>
                      <a:pt x="60" y="236"/>
                      <a:pt x="60" y="239"/>
                      <a:pt x="60" y="239"/>
                    </a:cubicBezTo>
                    <a:cubicBezTo>
                      <a:pt x="59" y="239"/>
                      <a:pt x="57" y="240"/>
                      <a:pt x="56" y="240"/>
                    </a:cubicBezTo>
                    <a:cubicBezTo>
                      <a:pt x="56" y="241"/>
                      <a:pt x="55" y="243"/>
                      <a:pt x="55" y="243"/>
                    </a:cubicBezTo>
                    <a:cubicBezTo>
                      <a:pt x="55" y="243"/>
                      <a:pt x="59" y="240"/>
                      <a:pt x="59" y="241"/>
                    </a:cubicBezTo>
                    <a:cubicBezTo>
                      <a:pt x="60" y="241"/>
                      <a:pt x="62" y="241"/>
                      <a:pt x="62" y="241"/>
                    </a:cubicBezTo>
                    <a:cubicBezTo>
                      <a:pt x="64" y="242"/>
                      <a:pt x="64" y="242"/>
                      <a:pt x="64" y="242"/>
                    </a:cubicBezTo>
                    <a:cubicBezTo>
                      <a:pt x="65" y="246"/>
                      <a:pt x="65" y="246"/>
                      <a:pt x="65" y="246"/>
                    </a:cubicBezTo>
                    <a:cubicBezTo>
                      <a:pt x="65" y="250"/>
                      <a:pt x="65" y="250"/>
                      <a:pt x="65" y="250"/>
                    </a:cubicBezTo>
                    <a:cubicBezTo>
                      <a:pt x="65" y="250"/>
                      <a:pt x="65" y="253"/>
                      <a:pt x="65" y="253"/>
                    </a:cubicBezTo>
                    <a:cubicBezTo>
                      <a:pt x="65" y="254"/>
                      <a:pt x="64" y="255"/>
                      <a:pt x="64" y="254"/>
                    </a:cubicBezTo>
                    <a:cubicBezTo>
                      <a:pt x="63" y="254"/>
                      <a:pt x="62" y="254"/>
                      <a:pt x="62" y="253"/>
                    </a:cubicBezTo>
                    <a:cubicBezTo>
                      <a:pt x="62" y="251"/>
                      <a:pt x="63" y="250"/>
                      <a:pt x="63" y="249"/>
                    </a:cubicBezTo>
                    <a:cubicBezTo>
                      <a:pt x="63" y="249"/>
                      <a:pt x="64" y="246"/>
                      <a:pt x="63" y="246"/>
                    </a:cubicBezTo>
                    <a:cubicBezTo>
                      <a:pt x="62" y="246"/>
                      <a:pt x="61" y="244"/>
                      <a:pt x="61" y="246"/>
                    </a:cubicBezTo>
                    <a:cubicBezTo>
                      <a:pt x="60" y="247"/>
                      <a:pt x="61" y="249"/>
                      <a:pt x="61" y="249"/>
                    </a:cubicBezTo>
                    <a:cubicBezTo>
                      <a:pt x="61" y="249"/>
                      <a:pt x="62" y="250"/>
                      <a:pt x="61" y="251"/>
                    </a:cubicBezTo>
                    <a:cubicBezTo>
                      <a:pt x="61" y="252"/>
                      <a:pt x="61" y="252"/>
                      <a:pt x="60" y="253"/>
                    </a:cubicBezTo>
                    <a:cubicBezTo>
                      <a:pt x="59" y="254"/>
                      <a:pt x="61" y="255"/>
                      <a:pt x="61" y="255"/>
                    </a:cubicBezTo>
                    <a:cubicBezTo>
                      <a:pt x="61" y="256"/>
                      <a:pt x="61" y="256"/>
                      <a:pt x="61" y="256"/>
                    </a:cubicBezTo>
                    <a:cubicBezTo>
                      <a:pt x="61" y="256"/>
                      <a:pt x="62" y="259"/>
                      <a:pt x="61" y="259"/>
                    </a:cubicBezTo>
                    <a:cubicBezTo>
                      <a:pt x="60" y="259"/>
                      <a:pt x="60" y="260"/>
                      <a:pt x="57" y="259"/>
                    </a:cubicBezTo>
                    <a:cubicBezTo>
                      <a:pt x="54" y="257"/>
                      <a:pt x="52" y="257"/>
                      <a:pt x="52" y="257"/>
                    </a:cubicBezTo>
                    <a:cubicBezTo>
                      <a:pt x="52" y="261"/>
                      <a:pt x="52" y="261"/>
                      <a:pt x="52" y="261"/>
                    </a:cubicBezTo>
                    <a:cubicBezTo>
                      <a:pt x="50" y="264"/>
                      <a:pt x="50" y="264"/>
                      <a:pt x="50" y="264"/>
                    </a:cubicBezTo>
                    <a:cubicBezTo>
                      <a:pt x="44" y="266"/>
                      <a:pt x="44" y="266"/>
                      <a:pt x="44" y="266"/>
                    </a:cubicBezTo>
                    <a:cubicBezTo>
                      <a:pt x="41" y="262"/>
                      <a:pt x="41" y="262"/>
                      <a:pt x="41" y="262"/>
                    </a:cubicBezTo>
                    <a:cubicBezTo>
                      <a:pt x="41" y="262"/>
                      <a:pt x="39" y="262"/>
                      <a:pt x="38" y="262"/>
                    </a:cubicBezTo>
                    <a:cubicBezTo>
                      <a:pt x="38" y="262"/>
                      <a:pt x="34" y="261"/>
                      <a:pt x="34" y="261"/>
                    </a:cubicBezTo>
                    <a:cubicBezTo>
                      <a:pt x="33" y="257"/>
                      <a:pt x="33" y="257"/>
                      <a:pt x="33" y="257"/>
                    </a:cubicBezTo>
                    <a:cubicBezTo>
                      <a:pt x="29" y="253"/>
                      <a:pt x="29" y="253"/>
                      <a:pt x="29" y="253"/>
                    </a:cubicBezTo>
                    <a:cubicBezTo>
                      <a:pt x="29" y="250"/>
                      <a:pt x="29" y="250"/>
                      <a:pt x="29" y="250"/>
                    </a:cubicBezTo>
                    <a:cubicBezTo>
                      <a:pt x="27" y="245"/>
                      <a:pt x="27" y="245"/>
                      <a:pt x="27" y="245"/>
                    </a:cubicBezTo>
                    <a:cubicBezTo>
                      <a:pt x="22" y="246"/>
                      <a:pt x="22" y="246"/>
                      <a:pt x="22" y="246"/>
                    </a:cubicBezTo>
                    <a:cubicBezTo>
                      <a:pt x="21" y="250"/>
                      <a:pt x="21" y="250"/>
                      <a:pt x="21" y="250"/>
                    </a:cubicBezTo>
                    <a:cubicBezTo>
                      <a:pt x="21" y="250"/>
                      <a:pt x="22" y="251"/>
                      <a:pt x="20" y="252"/>
                    </a:cubicBezTo>
                    <a:cubicBezTo>
                      <a:pt x="19" y="252"/>
                      <a:pt x="16" y="253"/>
                      <a:pt x="16" y="253"/>
                    </a:cubicBezTo>
                    <a:cubicBezTo>
                      <a:pt x="16" y="253"/>
                      <a:pt x="12" y="254"/>
                      <a:pt x="11" y="253"/>
                    </a:cubicBezTo>
                    <a:cubicBezTo>
                      <a:pt x="11" y="253"/>
                      <a:pt x="8" y="249"/>
                      <a:pt x="8" y="249"/>
                    </a:cubicBezTo>
                    <a:cubicBezTo>
                      <a:pt x="8" y="249"/>
                      <a:pt x="6" y="249"/>
                      <a:pt x="6" y="249"/>
                    </a:cubicBezTo>
                    <a:cubicBezTo>
                      <a:pt x="5" y="249"/>
                      <a:pt x="4" y="250"/>
                      <a:pt x="4" y="248"/>
                    </a:cubicBezTo>
                    <a:cubicBezTo>
                      <a:pt x="4" y="246"/>
                      <a:pt x="4" y="244"/>
                      <a:pt x="4" y="244"/>
                    </a:cubicBezTo>
                    <a:cubicBezTo>
                      <a:pt x="4" y="244"/>
                      <a:pt x="6" y="247"/>
                      <a:pt x="4" y="243"/>
                    </a:cubicBezTo>
                    <a:cubicBezTo>
                      <a:pt x="1" y="240"/>
                      <a:pt x="0" y="237"/>
                      <a:pt x="0" y="237"/>
                    </a:cubicBezTo>
                    <a:cubicBezTo>
                      <a:pt x="5" y="235"/>
                      <a:pt x="5" y="235"/>
                      <a:pt x="5" y="235"/>
                    </a:cubicBezTo>
                    <a:cubicBezTo>
                      <a:pt x="5" y="235"/>
                      <a:pt x="9" y="235"/>
                      <a:pt x="9" y="235"/>
                    </a:cubicBezTo>
                    <a:cubicBezTo>
                      <a:pt x="10" y="235"/>
                      <a:pt x="11" y="233"/>
                      <a:pt x="11" y="233"/>
                    </a:cubicBezTo>
                    <a:cubicBezTo>
                      <a:pt x="11" y="233"/>
                      <a:pt x="12" y="232"/>
                      <a:pt x="11" y="232"/>
                    </a:cubicBezTo>
                    <a:cubicBezTo>
                      <a:pt x="10" y="231"/>
                      <a:pt x="8" y="230"/>
                      <a:pt x="8" y="230"/>
                    </a:cubicBezTo>
                    <a:cubicBezTo>
                      <a:pt x="8" y="230"/>
                      <a:pt x="7" y="228"/>
                      <a:pt x="9" y="227"/>
                    </a:cubicBezTo>
                    <a:cubicBezTo>
                      <a:pt x="12" y="227"/>
                      <a:pt x="12" y="227"/>
                      <a:pt x="13" y="227"/>
                    </a:cubicBezTo>
                    <a:cubicBezTo>
                      <a:pt x="15" y="228"/>
                      <a:pt x="16" y="230"/>
                      <a:pt x="17" y="227"/>
                    </a:cubicBezTo>
                    <a:cubicBezTo>
                      <a:pt x="18" y="225"/>
                      <a:pt x="16" y="225"/>
                      <a:pt x="18" y="224"/>
                    </a:cubicBezTo>
                    <a:cubicBezTo>
                      <a:pt x="21" y="224"/>
                      <a:pt x="22" y="223"/>
                      <a:pt x="22" y="222"/>
                    </a:cubicBezTo>
                    <a:cubicBezTo>
                      <a:pt x="22" y="222"/>
                      <a:pt x="23" y="219"/>
                      <a:pt x="23" y="219"/>
                    </a:cubicBezTo>
                    <a:cubicBezTo>
                      <a:pt x="24" y="219"/>
                      <a:pt x="28" y="219"/>
                      <a:pt x="28" y="219"/>
                    </a:cubicBezTo>
                    <a:cubicBezTo>
                      <a:pt x="28" y="219"/>
                      <a:pt x="29" y="218"/>
                      <a:pt x="31" y="218"/>
                    </a:cubicBezTo>
                    <a:cubicBezTo>
                      <a:pt x="33" y="219"/>
                      <a:pt x="33" y="218"/>
                      <a:pt x="33" y="218"/>
                    </a:cubicBezTo>
                    <a:cubicBezTo>
                      <a:pt x="33" y="218"/>
                      <a:pt x="35" y="215"/>
                      <a:pt x="35" y="214"/>
                    </a:cubicBezTo>
                    <a:close/>
                    <a:moveTo>
                      <a:pt x="60" y="183"/>
                    </a:moveTo>
                    <a:cubicBezTo>
                      <a:pt x="60" y="183"/>
                      <a:pt x="60" y="183"/>
                      <a:pt x="60" y="183"/>
                    </a:cubicBezTo>
                    <a:cubicBezTo>
                      <a:pt x="60" y="183"/>
                      <a:pt x="59" y="180"/>
                      <a:pt x="60" y="181"/>
                    </a:cubicBezTo>
                    <a:cubicBezTo>
                      <a:pt x="61" y="181"/>
                      <a:pt x="63" y="180"/>
                      <a:pt x="63" y="180"/>
                    </a:cubicBezTo>
                    <a:cubicBezTo>
                      <a:pt x="63" y="180"/>
                      <a:pt x="64" y="179"/>
                      <a:pt x="64" y="179"/>
                    </a:cubicBezTo>
                    <a:cubicBezTo>
                      <a:pt x="65" y="179"/>
                      <a:pt x="65" y="181"/>
                      <a:pt x="64" y="181"/>
                    </a:cubicBezTo>
                    <a:cubicBezTo>
                      <a:pt x="64" y="181"/>
                      <a:pt x="63" y="182"/>
                      <a:pt x="62" y="182"/>
                    </a:cubicBezTo>
                    <a:cubicBezTo>
                      <a:pt x="62" y="182"/>
                      <a:pt x="61" y="183"/>
                      <a:pt x="61" y="183"/>
                    </a:cubicBezTo>
                    <a:cubicBezTo>
                      <a:pt x="60" y="183"/>
                      <a:pt x="60" y="183"/>
                      <a:pt x="60" y="183"/>
                    </a:cubicBezTo>
                    <a:close/>
                    <a:moveTo>
                      <a:pt x="71" y="200"/>
                    </a:moveTo>
                    <a:cubicBezTo>
                      <a:pt x="71" y="200"/>
                      <a:pt x="71" y="200"/>
                      <a:pt x="71" y="200"/>
                    </a:cubicBezTo>
                    <a:cubicBezTo>
                      <a:pt x="71" y="200"/>
                      <a:pt x="70" y="200"/>
                      <a:pt x="70" y="201"/>
                    </a:cubicBezTo>
                    <a:cubicBezTo>
                      <a:pt x="69" y="201"/>
                      <a:pt x="67" y="200"/>
                      <a:pt x="67" y="200"/>
                    </a:cubicBezTo>
                    <a:cubicBezTo>
                      <a:pt x="67" y="200"/>
                      <a:pt x="68" y="199"/>
                      <a:pt x="68" y="198"/>
                    </a:cubicBezTo>
                    <a:cubicBezTo>
                      <a:pt x="69" y="198"/>
                      <a:pt x="70" y="197"/>
                      <a:pt x="70" y="197"/>
                    </a:cubicBezTo>
                    <a:cubicBezTo>
                      <a:pt x="70" y="197"/>
                      <a:pt x="70" y="196"/>
                      <a:pt x="70" y="196"/>
                    </a:cubicBezTo>
                    <a:cubicBezTo>
                      <a:pt x="70" y="197"/>
                      <a:pt x="71" y="199"/>
                      <a:pt x="71" y="199"/>
                    </a:cubicBezTo>
                    <a:cubicBezTo>
                      <a:pt x="71" y="200"/>
                      <a:pt x="71" y="200"/>
                      <a:pt x="71" y="200"/>
                    </a:cubicBezTo>
                    <a:close/>
                    <a:moveTo>
                      <a:pt x="77" y="205"/>
                    </a:moveTo>
                    <a:cubicBezTo>
                      <a:pt x="77" y="205"/>
                      <a:pt x="77" y="205"/>
                      <a:pt x="77" y="205"/>
                    </a:cubicBezTo>
                    <a:cubicBezTo>
                      <a:pt x="77" y="205"/>
                      <a:pt x="78" y="203"/>
                      <a:pt x="79" y="203"/>
                    </a:cubicBezTo>
                    <a:cubicBezTo>
                      <a:pt x="79" y="202"/>
                      <a:pt x="79" y="202"/>
                      <a:pt x="80" y="201"/>
                    </a:cubicBezTo>
                    <a:cubicBezTo>
                      <a:pt x="80" y="201"/>
                      <a:pt x="81" y="200"/>
                      <a:pt x="82" y="201"/>
                    </a:cubicBezTo>
                    <a:cubicBezTo>
                      <a:pt x="83" y="201"/>
                      <a:pt x="85" y="203"/>
                      <a:pt x="84" y="203"/>
                    </a:cubicBezTo>
                    <a:cubicBezTo>
                      <a:pt x="84" y="204"/>
                      <a:pt x="83" y="203"/>
                      <a:pt x="83" y="206"/>
                    </a:cubicBezTo>
                    <a:cubicBezTo>
                      <a:pt x="83" y="208"/>
                      <a:pt x="84" y="208"/>
                      <a:pt x="84" y="209"/>
                    </a:cubicBezTo>
                    <a:cubicBezTo>
                      <a:pt x="84" y="209"/>
                      <a:pt x="83" y="212"/>
                      <a:pt x="83" y="212"/>
                    </a:cubicBezTo>
                    <a:cubicBezTo>
                      <a:pt x="83" y="212"/>
                      <a:pt x="83" y="214"/>
                      <a:pt x="82" y="213"/>
                    </a:cubicBezTo>
                    <a:cubicBezTo>
                      <a:pt x="82" y="213"/>
                      <a:pt x="82" y="213"/>
                      <a:pt x="80" y="213"/>
                    </a:cubicBezTo>
                    <a:cubicBezTo>
                      <a:pt x="79" y="213"/>
                      <a:pt x="77" y="211"/>
                      <a:pt x="77" y="211"/>
                    </a:cubicBezTo>
                    <a:cubicBezTo>
                      <a:pt x="77" y="211"/>
                      <a:pt x="77" y="207"/>
                      <a:pt x="77" y="207"/>
                    </a:cubicBezTo>
                    <a:cubicBezTo>
                      <a:pt x="77" y="207"/>
                      <a:pt x="76" y="205"/>
                      <a:pt x="76" y="205"/>
                    </a:cubicBezTo>
                    <a:cubicBezTo>
                      <a:pt x="77" y="205"/>
                      <a:pt x="77" y="205"/>
                      <a:pt x="77" y="205"/>
                    </a:cubicBezTo>
                    <a:close/>
                    <a:moveTo>
                      <a:pt x="60" y="169"/>
                    </a:moveTo>
                    <a:cubicBezTo>
                      <a:pt x="60" y="169"/>
                      <a:pt x="60" y="169"/>
                      <a:pt x="60" y="169"/>
                    </a:cubicBezTo>
                    <a:cubicBezTo>
                      <a:pt x="60" y="169"/>
                      <a:pt x="60" y="168"/>
                      <a:pt x="61" y="169"/>
                    </a:cubicBezTo>
                    <a:cubicBezTo>
                      <a:pt x="62" y="169"/>
                      <a:pt x="63" y="170"/>
                      <a:pt x="63" y="171"/>
                    </a:cubicBezTo>
                    <a:cubicBezTo>
                      <a:pt x="63" y="171"/>
                      <a:pt x="65" y="172"/>
                      <a:pt x="64" y="173"/>
                    </a:cubicBezTo>
                    <a:cubicBezTo>
                      <a:pt x="63" y="173"/>
                      <a:pt x="62" y="174"/>
                      <a:pt x="62" y="173"/>
                    </a:cubicBezTo>
                    <a:cubicBezTo>
                      <a:pt x="61" y="173"/>
                      <a:pt x="61" y="173"/>
                      <a:pt x="61" y="173"/>
                    </a:cubicBezTo>
                    <a:cubicBezTo>
                      <a:pt x="61" y="172"/>
                      <a:pt x="59" y="171"/>
                      <a:pt x="59" y="171"/>
                    </a:cubicBezTo>
                    <a:cubicBezTo>
                      <a:pt x="59" y="171"/>
                      <a:pt x="60" y="169"/>
                      <a:pt x="60" y="169"/>
                    </a:cubicBezTo>
                    <a:close/>
                    <a:moveTo>
                      <a:pt x="50" y="158"/>
                    </a:moveTo>
                    <a:cubicBezTo>
                      <a:pt x="50" y="158"/>
                      <a:pt x="50" y="158"/>
                      <a:pt x="50" y="158"/>
                    </a:cubicBezTo>
                    <a:cubicBezTo>
                      <a:pt x="51" y="159"/>
                      <a:pt x="52" y="158"/>
                      <a:pt x="52" y="159"/>
                    </a:cubicBezTo>
                    <a:cubicBezTo>
                      <a:pt x="52" y="159"/>
                      <a:pt x="54" y="159"/>
                      <a:pt x="53" y="160"/>
                    </a:cubicBezTo>
                    <a:cubicBezTo>
                      <a:pt x="52" y="161"/>
                      <a:pt x="51" y="161"/>
                      <a:pt x="50" y="161"/>
                    </a:cubicBezTo>
                    <a:cubicBezTo>
                      <a:pt x="49" y="161"/>
                      <a:pt x="51" y="161"/>
                      <a:pt x="49" y="161"/>
                    </a:cubicBezTo>
                    <a:cubicBezTo>
                      <a:pt x="47" y="161"/>
                      <a:pt x="45" y="163"/>
                      <a:pt x="46" y="161"/>
                    </a:cubicBezTo>
                    <a:cubicBezTo>
                      <a:pt x="48" y="159"/>
                      <a:pt x="50" y="158"/>
                      <a:pt x="50" y="158"/>
                    </a:cubicBezTo>
                    <a:close/>
                    <a:moveTo>
                      <a:pt x="59" y="154"/>
                    </a:moveTo>
                    <a:cubicBezTo>
                      <a:pt x="59" y="154"/>
                      <a:pt x="59" y="154"/>
                      <a:pt x="59" y="154"/>
                    </a:cubicBezTo>
                    <a:cubicBezTo>
                      <a:pt x="59" y="154"/>
                      <a:pt x="60" y="152"/>
                      <a:pt x="61" y="153"/>
                    </a:cubicBezTo>
                    <a:cubicBezTo>
                      <a:pt x="62" y="154"/>
                      <a:pt x="63" y="155"/>
                      <a:pt x="62" y="156"/>
                    </a:cubicBezTo>
                    <a:cubicBezTo>
                      <a:pt x="60" y="157"/>
                      <a:pt x="60" y="157"/>
                      <a:pt x="59" y="157"/>
                    </a:cubicBezTo>
                    <a:cubicBezTo>
                      <a:pt x="58" y="158"/>
                      <a:pt x="56" y="159"/>
                      <a:pt x="55" y="159"/>
                    </a:cubicBezTo>
                    <a:cubicBezTo>
                      <a:pt x="55" y="159"/>
                      <a:pt x="53" y="158"/>
                      <a:pt x="54" y="157"/>
                    </a:cubicBezTo>
                    <a:cubicBezTo>
                      <a:pt x="55" y="157"/>
                      <a:pt x="56" y="157"/>
                      <a:pt x="56" y="156"/>
                    </a:cubicBezTo>
                    <a:cubicBezTo>
                      <a:pt x="57" y="156"/>
                      <a:pt x="59" y="154"/>
                      <a:pt x="59" y="154"/>
                    </a:cubicBezTo>
                    <a:close/>
                    <a:moveTo>
                      <a:pt x="63" y="138"/>
                    </a:moveTo>
                    <a:cubicBezTo>
                      <a:pt x="63" y="138"/>
                      <a:pt x="63" y="138"/>
                      <a:pt x="63" y="138"/>
                    </a:cubicBezTo>
                    <a:cubicBezTo>
                      <a:pt x="63" y="138"/>
                      <a:pt x="63" y="135"/>
                      <a:pt x="64" y="136"/>
                    </a:cubicBezTo>
                    <a:cubicBezTo>
                      <a:pt x="66" y="137"/>
                      <a:pt x="66" y="136"/>
                      <a:pt x="66" y="137"/>
                    </a:cubicBezTo>
                    <a:cubicBezTo>
                      <a:pt x="66" y="138"/>
                      <a:pt x="67" y="137"/>
                      <a:pt x="66" y="138"/>
                    </a:cubicBezTo>
                    <a:cubicBezTo>
                      <a:pt x="65" y="138"/>
                      <a:pt x="63" y="138"/>
                      <a:pt x="63" y="138"/>
                    </a:cubicBezTo>
                    <a:close/>
                    <a:moveTo>
                      <a:pt x="70" y="146"/>
                    </a:moveTo>
                    <a:cubicBezTo>
                      <a:pt x="70" y="146"/>
                      <a:pt x="70" y="146"/>
                      <a:pt x="70" y="146"/>
                    </a:cubicBezTo>
                    <a:cubicBezTo>
                      <a:pt x="70" y="146"/>
                      <a:pt x="71" y="144"/>
                      <a:pt x="72" y="145"/>
                    </a:cubicBezTo>
                    <a:cubicBezTo>
                      <a:pt x="72" y="145"/>
                      <a:pt x="73" y="144"/>
                      <a:pt x="73" y="145"/>
                    </a:cubicBezTo>
                    <a:cubicBezTo>
                      <a:pt x="73" y="146"/>
                      <a:pt x="73" y="147"/>
                      <a:pt x="72" y="148"/>
                    </a:cubicBezTo>
                    <a:cubicBezTo>
                      <a:pt x="71" y="148"/>
                      <a:pt x="71" y="148"/>
                      <a:pt x="70" y="148"/>
                    </a:cubicBezTo>
                    <a:cubicBezTo>
                      <a:pt x="70" y="147"/>
                      <a:pt x="70" y="146"/>
                      <a:pt x="70" y="146"/>
                    </a:cubicBezTo>
                    <a:close/>
                    <a:moveTo>
                      <a:pt x="66" y="143"/>
                    </a:moveTo>
                    <a:cubicBezTo>
                      <a:pt x="66" y="143"/>
                      <a:pt x="66" y="143"/>
                      <a:pt x="66" y="143"/>
                    </a:cubicBezTo>
                    <a:cubicBezTo>
                      <a:pt x="66" y="143"/>
                      <a:pt x="66" y="140"/>
                      <a:pt x="67" y="139"/>
                    </a:cubicBezTo>
                    <a:cubicBezTo>
                      <a:pt x="68" y="139"/>
                      <a:pt x="69" y="139"/>
                      <a:pt x="69" y="139"/>
                    </a:cubicBezTo>
                    <a:cubicBezTo>
                      <a:pt x="69" y="139"/>
                      <a:pt x="72" y="142"/>
                      <a:pt x="72" y="142"/>
                    </a:cubicBezTo>
                    <a:cubicBezTo>
                      <a:pt x="72" y="143"/>
                      <a:pt x="71" y="143"/>
                      <a:pt x="70" y="144"/>
                    </a:cubicBezTo>
                    <a:cubicBezTo>
                      <a:pt x="69" y="144"/>
                      <a:pt x="68" y="144"/>
                      <a:pt x="68" y="144"/>
                    </a:cubicBezTo>
                    <a:cubicBezTo>
                      <a:pt x="67" y="143"/>
                      <a:pt x="66" y="143"/>
                      <a:pt x="66" y="143"/>
                    </a:cubicBezTo>
                    <a:close/>
                    <a:moveTo>
                      <a:pt x="37" y="140"/>
                    </a:moveTo>
                    <a:cubicBezTo>
                      <a:pt x="37" y="140"/>
                      <a:pt x="37" y="140"/>
                      <a:pt x="37" y="140"/>
                    </a:cubicBezTo>
                    <a:cubicBezTo>
                      <a:pt x="37" y="141"/>
                      <a:pt x="37" y="140"/>
                      <a:pt x="38" y="141"/>
                    </a:cubicBezTo>
                    <a:cubicBezTo>
                      <a:pt x="38" y="142"/>
                      <a:pt x="37" y="143"/>
                      <a:pt x="37" y="143"/>
                    </a:cubicBezTo>
                    <a:cubicBezTo>
                      <a:pt x="37" y="143"/>
                      <a:pt x="36" y="144"/>
                      <a:pt x="36" y="144"/>
                    </a:cubicBezTo>
                    <a:cubicBezTo>
                      <a:pt x="35" y="143"/>
                      <a:pt x="35" y="142"/>
                      <a:pt x="35" y="142"/>
                    </a:cubicBezTo>
                    <a:cubicBezTo>
                      <a:pt x="37" y="140"/>
                      <a:pt x="37" y="140"/>
                      <a:pt x="37" y="140"/>
                    </a:cubicBezTo>
                    <a:close/>
                    <a:moveTo>
                      <a:pt x="43" y="133"/>
                    </a:moveTo>
                    <a:cubicBezTo>
                      <a:pt x="43" y="133"/>
                      <a:pt x="43" y="133"/>
                      <a:pt x="43" y="133"/>
                    </a:cubicBezTo>
                    <a:cubicBezTo>
                      <a:pt x="44" y="133"/>
                      <a:pt x="45" y="135"/>
                      <a:pt x="45" y="135"/>
                    </a:cubicBezTo>
                    <a:cubicBezTo>
                      <a:pt x="43" y="137"/>
                      <a:pt x="43" y="137"/>
                      <a:pt x="43" y="137"/>
                    </a:cubicBezTo>
                    <a:cubicBezTo>
                      <a:pt x="43" y="137"/>
                      <a:pt x="41" y="138"/>
                      <a:pt x="40" y="138"/>
                    </a:cubicBezTo>
                    <a:cubicBezTo>
                      <a:pt x="40" y="139"/>
                      <a:pt x="41" y="141"/>
                      <a:pt x="40" y="140"/>
                    </a:cubicBezTo>
                    <a:cubicBezTo>
                      <a:pt x="38" y="140"/>
                      <a:pt x="38" y="138"/>
                      <a:pt x="38" y="138"/>
                    </a:cubicBezTo>
                    <a:cubicBezTo>
                      <a:pt x="39" y="137"/>
                      <a:pt x="39" y="137"/>
                      <a:pt x="40" y="136"/>
                    </a:cubicBezTo>
                    <a:cubicBezTo>
                      <a:pt x="40" y="136"/>
                      <a:pt x="42" y="133"/>
                      <a:pt x="42" y="133"/>
                    </a:cubicBezTo>
                    <a:cubicBezTo>
                      <a:pt x="43" y="133"/>
                      <a:pt x="43" y="133"/>
                      <a:pt x="43" y="133"/>
                    </a:cubicBezTo>
                    <a:close/>
                    <a:moveTo>
                      <a:pt x="47" y="121"/>
                    </a:moveTo>
                    <a:cubicBezTo>
                      <a:pt x="47" y="121"/>
                      <a:pt x="47" y="121"/>
                      <a:pt x="47" y="121"/>
                    </a:cubicBezTo>
                    <a:cubicBezTo>
                      <a:pt x="47" y="121"/>
                      <a:pt x="49" y="121"/>
                      <a:pt x="49" y="122"/>
                    </a:cubicBezTo>
                    <a:cubicBezTo>
                      <a:pt x="50" y="122"/>
                      <a:pt x="50" y="124"/>
                      <a:pt x="50" y="124"/>
                    </a:cubicBezTo>
                    <a:cubicBezTo>
                      <a:pt x="50" y="124"/>
                      <a:pt x="51" y="125"/>
                      <a:pt x="50" y="126"/>
                    </a:cubicBezTo>
                    <a:cubicBezTo>
                      <a:pt x="50" y="127"/>
                      <a:pt x="48" y="128"/>
                      <a:pt x="48" y="128"/>
                    </a:cubicBezTo>
                    <a:cubicBezTo>
                      <a:pt x="48" y="132"/>
                      <a:pt x="48" y="132"/>
                      <a:pt x="48" y="132"/>
                    </a:cubicBezTo>
                    <a:cubicBezTo>
                      <a:pt x="47" y="133"/>
                      <a:pt x="47" y="133"/>
                      <a:pt x="47" y="133"/>
                    </a:cubicBezTo>
                    <a:cubicBezTo>
                      <a:pt x="45" y="132"/>
                      <a:pt x="45" y="132"/>
                      <a:pt x="45" y="132"/>
                    </a:cubicBezTo>
                    <a:cubicBezTo>
                      <a:pt x="45" y="128"/>
                      <a:pt x="45" y="128"/>
                      <a:pt x="45" y="128"/>
                    </a:cubicBezTo>
                    <a:cubicBezTo>
                      <a:pt x="44" y="125"/>
                      <a:pt x="44" y="125"/>
                      <a:pt x="44" y="125"/>
                    </a:cubicBezTo>
                    <a:cubicBezTo>
                      <a:pt x="46" y="123"/>
                      <a:pt x="46" y="123"/>
                      <a:pt x="46" y="123"/>
                    </a:cubicBezTo>
                    <a:cubicBezTo>
                      <a:pt x="47" y="121"/>
                      <a:pt x="47" y="121"/>
                      <a:pt x="47" y="121"/>
                    </a:cubicBezTo>
                    <a:close/>
                    <a:moveTo>
                      <a:pt x="49" y="115"/>
                    </a:moveTo>
                    <a:cubicBezTo>
                      <a:pt x="49" y="115"/>
                      <a:pt x="49" y="115"/>
                      <a:pt x="49" y="115"/>
                    </a:cubicBezTo>
                    <a:cubicBezTo>
                      <a:pt x="49" y="115"/>
                      <a:pt x="51" y="114"/>
                      <a:pt x="52" y="115"/>
                    </a:cubicBezTo>
                    <a:cubicBezTo>
                      <a:pt x="52" y="115"/>
                      <a:pt x="52" y="114"/>
                      <a:pt x="53" y="116"/>
                    </a:cubicBezTo>
                    <a:cubicBezTo>
                      <a:pt x="53" y="118"/>
                      <a:pt x="54" y="117"/>
                      <a:pt x="54" y="118"/>
                    </a:cubicBezTo>
                    <a:cubicBezTo>
                      <a:pt x="53" y="119"/>
                      <a:pt x="53" y="120"/>
                      <a:pt x="53" y="120"/>
                    </a:cubicBezTo>
                    <a:cubicBezTo>
                      <a:pt x="52" y="121"/>
                      <a:pt x="53" y="122"/>
                      <a:pt x="51" y="121"/>
                    </a:cubicBezTo>
                    <a:cubicBezTo>
                      <a:pt x="49" y="120"/>
                      <a:pt x="49" y="120"/>
                      <a:pt x="49" y="120"/>
                    </a:cubicBezTo>
                    <a:cubicBezTo>
                      <a:pt x="48" y="119"/>
                      <a:pt x="48" y="119"/>
                      <a:pt x="48" y="119"/>
                    </a:cubicBezTo>
                    <a:cubicBezTo>
                      <a:pt x="49" y="115"/>
                      <a:pt x="49" y="115"/>
                      <a:pt x="49" y="115"/>
                    </a:cubicBezTo>
                    <a:close/>
                    <a:moveTo>
                      <a:pt x="56" y="107"/>
                    </a:moveTo>
                    <a:cubicBezTo>
                      <a:pt x="56" y="107"/>
                      <a:pt x="56" y="107"/>
                      <a:pt x="56" y="107"/>
                    </a:cubicBezTo>
                    <a:cubicBezTo>
                      <a:pt x="56" y="107"/>
                      <a:pt x="57" y="106"/>
                      <a:pt x="56" y="108"/>
                    </a:cubicBezTo>
                    <a:cubicBezTo>
                      <a:pt x="55" y="110"/>
                      <a:pt x="54" y="110"/>
                      <a:pt x="55" y="111"/>
                    </a:cubicBezTo>
                    <a:cubicBezTo>
                      <a:pt x="55" y="111"/>
                      <a:pt x="56" y="111"/>
                      <a:pt x="56" y="111"/>
                    </a:cubicBezTo>
                    <a:cubicBezTo>
                      <a:pt x="56" y="114"/>
                      <a:pt x="56" y="114"/>
                      <a:pt x="56" y="114"/>
                    </a:cubicBezTo>
                    <a:cubicBezTo>
                      <a:pt x="56" y="114"/>
                      <a:pt x="56" y="114"/>
                      <a:pt x="54" y="114"/>
                    </a:cubicBezTo>
                    <a:cubicBezTo>
                      <a:pt x="52" y="114"/>
                      <a:pt x="50" y="113"/>
                      <a:pt x="50" y="113"/>
                    </a:cubicBezTo>
                    <a:cubicBezTo>
                      <a:pt x="47" y="111"/>
                      <a:pt x="47" y="111"/>
                      <a:pt x="47" y="111"/>
                    </a:cubicBezTo>
                    <a:cubicBezTo>
                      <a:pt x="47" y="111"/>
                      <a:pt x="47" y="110"/>
                      <a:pt x="48" y="108"/>
                    </a:cubicBezTo>
                    <a:cubicBezTo>
                      <a:pt x="49" y="107"/>
                      <a:pt x="51" y="107"/>
                      <a:pt x="51" y="107"/>
                    </a:cubicBezTo>
                    <a:cubicBezTo>
                      <a:pt x="51" y="107"/>
                      <a:pt x="52" y="109"/>
                      <a:pt x="53" y="107"/>
                    </a:cubicBezTo>
                    <a:cubicBezTo>
                      <a:pt x="54" y="106"/>
                      <a:pt x="54" y="104"/>
                      <a:pt x="54" y="105"/>
                    </a:cubicBezTo>
                    <a:cubicBezTo>
                      <a:pt x="55" y="106"/>
                      <a:pt x="56" y="107"/>
                      <a:pt x="56" y="107"/>
                    </a:cubicBezTo>
                    <a:close/>
                    <a:moveTo>
                      <a:pt x="63" y="98"/>
                    </a:moveTo>
                    <a:cubicBezTo>
                      <a:pt x="63" y="98"/>
                      <a:pt x="63" y="98"/>
                      <a:pt x="63" y="98"/>
                    </a:cubicBezTo>
                    <a:cubicBezTo>
                      <a:pt x="62" y="97"/>
                      <a:pt x="61" y="96"/>
                      <a:pt x="61" y="96"/>
                    </a:cubicBezTo>
                    <a:cubicBezTo>
                      <a:pt x="63" y="94"/>
                      <a:pt x="63" y="94"/>
                      <a:pt x="63" y="94"/>
                    </a:cubicBezTo>
                    <a:cubicBezTo>
                      <a:pt x="63" y="94"/>
                      <a:pt x="61" y="92"/>
                      <a:pt x="61" y="91"/>
                    </a:cubicBezTo>
                    <a:cubicBezTo>
                      <a:pt x="61" y="90"/>
                      <a:pt x="61" y="89"/>
                      <a:pt x="62" y="88"/>
                    </a:cubicBezTo>
                    <a:cubicBezTo>
                      <a:pt x="63" y="87"/>
                      <a:pt x="64" y="86"/>
                      <a:pt x="65" y="86"/>
                    </a:cubicBezTo>
                    <a:cubicBezTo>
                      <a:pt x="65" y="86"/>
                      <a:pt x="65" y="86"/>
                      <a:pt x="66" y="88"/>
                    </a:cubicBezTo>
                    <a:cubicBezTo>
                      <a:pt x="66" y="89"/>
                      <a:pt x="66" y="90"/>
                      <a:pt x="67" y="90"/>
                    </a:cubicBezTo>
                    <a:cubicBezTo>
                      <a:pt x="68" y="89"/>
                      <a:pt x="68" y="88"/>
                      <a:pt x="69" y="87"/>
                    </a:cubicBezTo>
                    <a:cubicBezTo>
                      <a:pt x="70" y="86"/>
                      <a:pt x="70" y="84"/>
                      <a:pt x="70" y="84"/>
                    </a:cubicBezTo>
                    <a:cubicBezTo>
                      <a:pt x="70" y="84"/>
                      <a:pt x="72" y="85"/>
                      <a:pt x="73" y="84"/>
                    </a:cubicBezTo>
                    <a:cubicBezTo>
                      <a:pt x="74" y="83"/>
                      <a:pt x="73" y="84"/>
                      <a:pt x="76" y="83"/>
                    </a:cubicBezTo>
                    <a:cubicBezTo>
                      <a:pt x="78" y="82"/>
                      <a:pt x="78" y="82"/>
                      <a:pt x="79" y="81"/>
                    </a:cubicBezTo>
                    <a:cubicBezTo>
                      <a:pt x="80" y="80"/>
                      <a:pt x="80" y="81"/>
                      <a:pt x="81" y="80"/>
                    </a:cubicBezTo>
                    <a:cubicBezTo>
                      <a:pt x="81" y="80"/>
                      <a:pt x="82" y="78"/>
                      <a:pt x="83" y="79"/>
                    </a:cubicBezTo>
                    <a:cubicBezTo>
                      <a:pt x="84" y="79"/>
                      <a:pt x="85" y="80"/>
                      <a:pt x="85" y="81"/>
                    </a:cubicBezTo>
                    <a:cubicBezTo>
                      <a:pt x="85" y="82"/>
                      <a:pt x="86" y="83"/>
                      <a:pt x="85" y="84"/>
                    </a:cubicBezTo>
                    <a:cubicBezTo>
                      <a:pt x="84" y="85"/>
                      <a:pt x="84" y="86"/>
                      <a:pt x="84" y="86"/>
                    </a:cubicBezTo>
                    <a:cubicBezTo>
                      <a:pt x="83" y="87"/>
                      <a:pt x="80" y="89"/>
                      <a:pt x="80" y="89"/>
                    </a:cubicBezTo>
                    <a:cubicBezTo>
                      <a:pt x="80" y="89"/>
                      <a:pt x="80" y="90"/>
                      <a:pt x="81" y="90"/>
                    </a:cubicBezTo>
                    <a:cubicBezTo>
                      <a:pt x="82" y="90"/>
                      <a:pt x="83" y="88"/>
                      <a:pt x="83" y="89"/>
                    </a:cubicBezTo>
                    <a:cubicBezTo>
                      <a:pt x="83" y="90"/>
                      <a:pt x="85" y="92"/>
                      <a:pt x="83" y="92"/>
                    </a:cubicBezTo>
                    <a:cubicBezTo>
                      <a:pt x="81" y="92"/>
                      <a:pt x="79" y="92"/>
                      <a:pt x="79" y="92"/>
                    </a:cubicBezTo>
                    <a:cubicBezTo>
                      <a:pt x="78" y="94"/>
                      <a:pt x="78" y="94"/>
                      <a:pt x="78" y="94"/>
                    </a:cubicBezTo>
                    <a:cubicBezTo>
                      <a:pt x="78" y="94"/>
                      <a:pt x="76" y="93"/>
                      <a:pt x="76" y="94"/>
                    </a:cubicBezTo>
                    <a:cubicBezTo>
                      <a:pt x="76" y="95"/>
                      <a:pt x="77" y="96"/>
                      <a:pt x="77" y="96"/>
                    </a:cubicBezTo>
                    <a:cubicBezTo>
                      <a:pt x="75" y="98"/>
                      <a:pt x="75" y="98"/>
                      <a:pt x="75" y="98"/>
                    </a:cubicBezTo>
                    <a:cubicBezTo>
                      <a:pt x="75" y="98"/>
                      <a:pt x="73" y="97"/>
                      <a:pt x="73" y="98"/>
                    </a:cubicBezTo>
                    <a:cubicBezTo>
                      <a:pt x="73" y="99"/>
                      <a:pt x="74" y="101"/>
                      <a:pt x="74" y="101"/>
                    </a:cubicBezTo>
                    <a:cubicBezTo>
                      <a:pt x="74" y="101"/>
                      <a:pt x="74" y="102"/>
                      <a:pt x="73" y="102"/>
                    </a:cubicBezTo>
                    <a:cubicBezTo>
                      <a:pt x="72" y="102"/>
                      <a:pt x="70" y="102"/>
                      <a:pt x="69" y="102"/>
                    </a:cubicBezTo>
                    <a:cubicBezTo>
                      <a:pt x="68" y="101"/>
                      <a:pt x="68" y="101"/>
                      <a:pt x="68" y="101"/>
                    </a:cubicBezTo>
                    <a:cubicBezTo>
                      <a:pt x="67" y="104"/>
                      <a:pt x="67" y="104"/>
                      <a:pt x="67" y="104"/>
                    </a:cubicBezTo>
                    <a:cubicBezTo>
                      <a:pt x="67" y="104"/>
                      <a:pt x="68" y="104"/>
                      <a:pt x="67" y="105"/>
                    </a:cubicBezTo>
                    <a:cubicBezTo>
                      <a:pt x="66" y="106"/>
                      <a:pt x="64" y="106"/>
                      <a:pt x="64" y="106"/>
                    </a:cubicBezTo>
                    <a:cubicBezTo>
                      <a:pt x="64" y="106"/>
                      <a:pt x="63" y="106"/>
                      <a:pt x="63" y="106"/>
                    </a:cubicBezTo>
                    <a:cubicBezTo>
                      <a:pt x="63" y="107"/>
                      <a:pt x="62" y="108"/>
                      <a:pt x="62" y="108"/>
                    </a:cubicBezTo>
                    <a:cubicBezTo>
                      <a:pt x="61" y="108"/>
                      <a:pt x="59" y="106"/>
                      <a:pt x="59" y="106"/>
                    </a:cubicBezTo>
                    <a:cubicBezTo>
                      <a:pt x="59" y="105"/>
                      <a:pt x="58" y="102"/>
                      <a:pt x="59" y="102"/>
                    </a:cubicBezTo>
                    <a:cubicBezTo>
                      <a:pt x="61" y="103"/>
                      <a:pt x="62" y="103"/>
                      <a:pt x="62" y="102"/>
                    </a:cubicBezTo>
                    <a:cubicBezTo>
                      <a:pt x="62" y="100"/>
                      <a:pt x="62" y="99"/>
                      <a:pt x="62" y="99"/>
                    </a:cubicBezTo>
                    <a:cubicBezTo>
                      <a:pt x="63" y="98"/>
                      <a:pt x="63" y="98"/>
                      <a:pt x="63" y="98"/>
                    </a:cubicBezTo>
                    <a:close/>
                    <a:moveTo>
                      <a:pt x="215" y="12"/>
                    </a:moveTo>
                    <a:cubicBezTo>
                      <a:pt x="215" y="12"/>
                      <a:pt x="215" y="12"/>
                      <a:pt x="215" y="12"/>
                    </a:cubicBezTo>
                    <a:cubicBezTo>
                      <a:pt x="216" y="13"/>
                      <a:pt x="218" y="14"/>
                      <a:pt x="218" y="13"/>
                    </a:cubicBezTo>
                    <a:cubicBezTo>
                      <a:pt x="219" y="12"/>
                      <a:pt x="219" y="11"/>
                      <a:pt x="219" y="11"/>
                    </a:cubicBezTo>
                    <a:cubicBezTo>
                      <a:pt x="219" y="10"/>
                      <a:pt x="217" y="10"/>
                      <a:pt x="217" y="10"/>
                    </a:cubicBezTo>
                    <a:cubicBezTo>
                      <a:pt x="216" y="10"/>
                      <a:pt x="215" y="11"/>
                      <a:pt x="215" y="11"/>
                    </a:cubicBezTo>
                    <a:cubicBezTo>
                      <a:pt x="215" y="12"/>
                      <a:pt x="215" y="12"/>
                      <a:pt x="215" y="12"/>
                    </a:cubicBezTo>
                    <a:close/>
                    <a:moveTo>
                      <a:pt x="190" y="26"/>
                    </a:moveTo>
                    <a:cubicBezTo>
                      <a:pt x="190" y="26"/>
                      <a:pt x="190" y="26"/>
                      <a:pt x="190" y="26"/>
                    </a:cubicBezTo>
                    <a:cubicBezTo>
                      <a:pt x="190" y="26"/>
                      <a:pt x="191" y="25"/>
                      <a:pt x="191" y="26"/>
                    </a:cubicBezTo>
                    <a:cubicBezTo>
                      <a:pt x="191" y="27"/>
                      <a:pt x="191" y="27"/>
                      <a:pt x="191" y="28"/>
                    </a:cubicBezTo>
                    <a:cubicBezTo>
                      <a:pt x="190" y="28"/>
                      <a:pt x="188" y="30"/>
                      <a:pt x="188" y="29"/>
                    </a:cubicBezTo>
                    <a:cubicBezTo>
                      <a:pt x="187" y="28"/>
                      <a:pt x="188" y="26"/>
                      <a:pt x="188" y="26"/>
                    </a:cubicBezTo>
                    <a:cubicBezTo>
                      <a:pt x="190" y="26"/>
                      <a:pt x="190" y="26"/>
                      <a:pt x="190" y="26"/>
                    </a:cubicBezTo>
                    <a:close/>
                    <a:moveTo>
                      <a:pt x="204" y="28"/>
                    </a:moveTo>
                    <a:cubicBezTo>
                      <a:pt x="204" y="28"/>
                      <a:pt x="204" y="28"/>
                      <a:pt x="204" y="28"/>
                    </a:cubicBezTo>
                    <a:cubicBezTo>
                      <a:pt x="204" y="28"/>
                      <a:pt x="205" y="28"/>
                      <a:pt x="203" y="28"/>
                    </a:cubicBezTo>
                    <a:cubicBezTo>
                      <a:pt x="201" y="28"/>
                      <a:pt x="200" y="29"/>
                      <a:pt x="200" y="27"/>
                    </a:cubicBezTo>
                    <a:cubicBezTo>
                      <a:pt x="200" y="26"/>
                      <a:pt x="201" y="25"/>
                      <a:pt x="199" y="25"/>
                    </a:cubicBezTo>
                    <a:cubicBezTo>
                      <a:pt x="198" y="25"/>
                      <a:pt x="198" y="25"/>
                      <a:pt x="198" y="25"/>
                    </a:cubicBezTo>
                    <a:cubicBezTo>
                      <a:pt x="197" y="25"/>
                      <a:pt x="197" y="23"/>
                      <a:pt x="198" y="22"/>
                    </a:cubicBezTo>
                    <a:cubicBezTo>
                      <a:pt x="199" y="21"/>
                      <a:pt x="199" y="21"/>
                      <a:pt x="200" y="21"/>
                    </a:cubicBezTo>
                    <a:cubicBezTo>
                      <a:pt x="201" y="22"/>
                      <a:pt x="201" y="22"/>
                      <a:pt x="202" y="22"/>
                    </a:cubicBezTo>
                    <a:cubicBezTo>
                      <a:pt x="204" y="22"/>
                      <a:pt x="204" y="23"/>
                      <a:pt x="204" y="22"/>
                    </a:cubicBezTo>
                    <a:cubicBezTo>
                      <a:pt x="205" y="21"/>
                      <a:pt x="205" y="20"/>
                      <a:pt x="204" y="19"/>
                    </a:cubicBezTo>
                    <a:cubicBezTo>
                      <a:pt x="203" y="18"/>
                      <a:pt x="203" y="18"/>
                      <a:pt x="202" y="17"/>
                    </a:cubicBezTo>
                    <a:cubicBezTo>
                      <a:pt x="202" y="16"/>
                      <a:pt x="200" y="14"/>
                      <a:pt x="200" y="13"/>
                    </a:cubicBezTo>
                    <a:cubicBezTo>
                      <a:pt x="200" y="13"/>
                      <a:pt x="200" y="12"/>
                      <a:pt x="202" y="11"/>
                    </a:cubicBezTo>
                    <a:cubicBezTo>
                      <a:pt x="203" y="10"/>
                      <a:pt x="205" y="8"/>
                      <a:pt x="206" y="8"/>
                    </a:cubicBezTo>
                    <a:cubicBezTo>
                      <a:pt x="207" y="9"/>
                      <a:pt x="208" y="8"/>
                      <a:pt x="208" y="10"/>
                    </a:cubicBezTo>
                    <a:cubicBezTo>
                      <a:pt x="208" y="11"/>
                      <a:pt x="208" y="12"/>
                      <a:pt x="207" y="13"/>
                    </a:cubicBezTo>
                    <a:cubicBezTo>
                      <a:pt x="207" y="13"/>
                      <a:pt x="206" y="14"/>
                      <a:pt x="206" y="14"/>
                    </a:cubicBezTo>
                    <a:cubicBezTo>
                      <a:pt x="206" y="14"/>
                      <a:pt x="206" y="16"/>
                      <a:pt x="207" y="16"/>
                    </a:cubicBezTo>
                    <a:cubicBezTo>
                      <a:pt x="209" y="15"/>
                      <a:pt x="210" y="14"/>
                      <a:pt x="210" y="13"/>
                    </a:cubicBezTo>
                    <a:cubicBezTo>
                      <a:pt x="210" y="12"/>
                      <a:pt x="211" y="13"/>
                      <a:pt x="211" y="11"/>
                    </a:cubicBezTo>
                    <a:cubicBezTo>
                      <a:pt x="210" y="9"/>
                      <a:pt x="209" y="9"/>
                      <a:pt x="210" y="9"/>
                    </a:cubicBezTo>
                    <a:cubicBezTo>
                      <a:pt x="211" y="9"/>
                      <a:pt x="212" y="10"/>
                      <a:pt x="213" y="8"/>
                    </a:cubicBezTo>
                    <a:cubicBezTo>
                      <a:pt x="214" y="6"/>
                      <a:pt x="214" y="5"/>
                      <a:pt x="214" y="5"/>
                    </a:cubicBezTo>
                    <a:cubicBezTo>
                      <a:pt x="214" y="5"/>
                      <a:pt x="214" y="6"/>
                      <a:pt x="215" y="5"/>
                    </a:cubicBezTo>
                    <a:cubicBezTo>
                      <a:pt x="217" y="4"/>
                      <a:pt x="216" y="3"/>
                      <a:pt x="217" y="2"/>
                    </a:cubicBezTo>
                    <a:cubicBezTo>
                      <a:pt x="217" y="2"/>
                      <a:pt x="216" y="0"/>
                      <a:pt x="218" y="1"/>
                    </a:cubicBezTo>
                    <a:cubicBezTo>
                      <a:pt x="220" y="1"/>
                      <a:pt x="220" y="1"/>
                      <a:pt x="221" y="2"/>
                    </a:cubicBezTo>
                    <a:cubicBezTo>
                      <a:pt x="221" y="3"/>
                      <a:pt x="220" y="5"/>
                      <a:pt x="219" y="5"/>
                    </a:cubicBezTo>
                    <a:cubicBezTo>
                      <a:pt x="219" y="5"/>
                      <a:pt x="218" y="5"/>
                      <a:pt x="217" y="6"/>
                    </a:cubicBezTo>
                    <a:cubicBezTo>
                      <a:pt x="216" y="7"/>
                      <a:pt x="217" y="8"/>
                      <a:pt x="217" y="9"/>
                    </a:cubicBezTo>
                    <a:cubicBezTo>
                      <a:pt x="216" y="9"/>
                      <a:pt x="215" y="9"/>
                      <a:pt x="215" y="10"/>
                    </a:cubicBezTo>
                    <a:cubicBezTo>
                      <a:pt x="214" y="10"/>
                      <a:pt x="213" y="11"/>
                      <a:pt x="213" y="11"/>
                    </a:cubicBezTo>
                    <a:cubicBezTo>
                      <a:pt x="214" y="12"/>
                      <a:pt x="213" y="13"/>
                      <a:pt x="212" y="13"/>
                    </a:cubicBezTo>
                    <a:cubicBezTo>
                      <a:pt x="212" y="14"/>
                      <a:pt x="209" y="12"/>
                      <a:pt x="212" y="14"/>
                    </a:cubicBezTo>
                    <a:cubicBezTo>
                      <a:pt x="214" y="15"/>
                      <a:pt x="215" y="15"/>
                      <a:pt x="214" y="16"/>
                    </a:cubicBezTo>
                    <a:cubicBezTo>
                      <a:pt x="213" y="16"/>
                      <a:pt x="212" y="16"/>
                      <a:pt x="211" y="16"/>
                    </a:cubicBezTo>
                    <a:cubicBezTo>
                      <a:pt x="210" y="17"/>
                      <a:pt x="210" y="18"/>
                      <a:pt x="211" y="18"/>
                    </a:cubicBezTo>
                    <a:cubicBezTo>
                      <a:pt x="213" y="19"/>
                      <a:pt x="212" y="19"/>
                      <a:pt x="213" y="19"/>
                    </a:cubicBezTo>
                    <a:cubicBezTo>
                      <a:pt x="214" y="19"/>
                      <a:pt x="218" y="19"/>
                      <a:pt x="217" y="20"/>
                    </a:cubicBezTo>
                    <a:cubicBezTo>
                      <a:pt x="217" y="20"/>
                      <a:pt x="217" y="21"/>
                      <a:pt x="216" y="21"/>
                    </a:cubicBezTo>
                    <a:cubicBezTo>
                      <a:pt x="214" y="22"/>
                      <a:pt x="212" y="22"/>
                      <a:pt x="211" y="21"/>
                    </a:cubicBezTo>
                    <a:cubicBezTo>
                      <a:pt x="210" y="20"/>
                      <a:pt x="210" y="19"/>
                      <a:pt x="210" y="21"/>
                    </a:cubicBezTo>
                    <a:cubicBezTo>
                      <a:pt x="211" y="24"/>
                      <a:pt x="213" y="24"/>
                      <a:pt x="212" y="24"/>
                    </a:cubicBezTo>
                    <a:cubicBezTo>
                      <a:pt x="210" y="24"/>
                      <a:pt x="209" y="24"/>
                      <a:pt x="209" y="24"/>
                    </a:cubicBezTo>
                    <a:cubicBezTo>
                      <a:pt x="209" y="24"/>
                      <a:pt x="208" y="23"/>
                      <a:pt x="209" y="25"/>
                    </a:cubicBezTo>
                    <a:cubicBezTo>
                      <a:pt x="209" y="27"/>
                      <a:pt x="209" y="27"/>
                      <a:pt x="209" y="27"/>
                    </a:cubicBezTo>
                    <a:cubicBezTo>
                      <a:pt x="209" y="27"/>
                      <a:pt x="208" y="28"/>
                      <a:pt x="208" y="28"/>
                    </a:cubicBezTo>
                    <a:cubicBezTo>
                      <a:pt x="208" y="29"/>
                      <a:pt x="209" y="30"/>
                      <a:pt x="209" y="31"/>
                    </a:cubicBezTo>
                    <a:cubicBezTo>
                      <a:pt x="210" y="32"/>
                      <a:pt x="209" y="34"/>
                      <a:pt x="208" y="34"/>
                    </a:cubicBezTo>
                    <a:cubicBezTo>
                      <a:pt x="208" y="35"/>
                      <a:pt x="207" y="35"/>
                      <a:pt x="207" y="36"/>
                    </a:cubicBezTo>
                    <a:cubicBezTo>
                      <a:pt x="206" y="37"/>
                      <a:pt x="206" y="38"/>
                      <a:pt x="206" y="38"/>
                    </a:cubicBezTo>
                    <a:cubicBezTo>
                      <a:pt x="204" y="42"/>
                      <a:pt x="204" y="42"/>
                      <a:pt x="204" y="42"/>
                    </a:cubicBezTo>
                    <a:cubicBezTo>
                      <a:pt x="204" y="42"/>
                      <a:pt x="203" y="44"/>
                      <a:pt x="203" y="42"/>
                    </a:cubicBezTo>
                    <a:cubicBezTo>
                      <a:pt x="202" y="40"/>
                      <a:pt x="202" y="41"/>
                      <a:pt x="202" y="40"/>
                    </a:cubicBezTo>
                    <a:cubicBezTo>
                      <a:pt x="203" y="40"/>
                      <a:pt x="203" y="38"/>
                      <a:pt x="204" y="38"/>
                    </a:cubicBezTo>
                    <a:cubicBezTo>
                      <a:pt x="204" y="37"/>
                      <a:pt x="205" y="34"/>
                      <a:pt x="205" y="34"/>
                    </a:cubicBezTo>
                    <a:cubicBezTo>
                      <a:pt x="205" y="34"/>
                      <a:pt x="206" y="33"/>
                      <a:pt x="207" y="33"/>
                    </a:cubicBezTo>
                    <a:cubicBezTo>
                      <a:pt x="207" y="33"/>
                      <a:pt x="205" y="30"/>
                      <a:pt x="205" y="30"/>
                    </a:cubicBezTo>
                    <a:cubicBezTo>
                      <a:pt x="206" y="28"/>
                      <a:pt x="206" y="28"/>
                      <a:pt x="206" y="28"/>
                    </a:cubicBezTo>
                    <a:cubicBezTo>
                      <a:pt x="204" y="28"/>
                      <a:pt x="204" y="28"/>
                      <a:pt x="204" y="28"/>
                    </a:cubicBezTo>
                    <a:close/>
                    <a:moveTo>
                      <a:pt x="193" y="55"/>
                    </a:moveTo>
                    <a:cubicBezTo>
                      <a:pt x="193" y="55"/>
                      <a:pt x="193" y="55"/>
                      <a:pt x="193" y="55"/>
                    </a:cubicBezTo>
                    <a:cubicBezTo>
                      <a:pt x="193" y="55"/>
                      <a:pt x="195" y="52"/>
                      <a:pt x="195" y="52"/>
                    </a:cubicBezTo>
                    <a:cubicBezTo>
                      <a:pt x="196" y="52"/>
                      <a:pt x="196" y="53"/>
                      <a:pt x="196" y="53"/>
                    </a:cubicBezTo>
                    <a:cubicBezTo>
                      <a:pt x="196" y="54"/>
                      <a:pt x="196" y="56"/>
                      <a:pt x="196" y="55"/>
                    </a:cubicBezTo>
                    <a:cubicBezTo>
                      <a:pt x="195" y="55"/>
                      <a:pt x="194" y="55"/>
                      <a:pt x="194" y="55"/>
                    </a:cubicBezTo>
                    <a:cubicBezTo>
                      <a:pt x="193" y="55"/>
                      <a:pt x="193" y="55"/>
                      <a:pt x="193" y="55"/>
                    </a:cubicBezTo>
                    <a:close/>
                    <a:moveTo>
                      <a:pt x="158" y="79"/>
                    </a:moveTo>
                    <a:cubicBezTo>
                      <a:pt x="158" y="79"/>
                      <a:pt x="158" y="79"/>
                      <a:pt x="158" y="79"/>
                    </a:cubicBezTo>
                    <a:cubicBezTo>
                      <a:pt x="160" y="78"/>
                      <a:pt x="160" y="78"/>
                      <a:pt x="160" y="78"/>
                    </a:cubicBezTo>
                    <a:cubicBezTo>
                      <a:pt x="162" y="78"/>
                      <a:pt x="162" y="78"/>
                      <a:pt x="162" y="78"/>
                    </a:cubicBezTo>
                    <a:cubicBezTo>
                      <a:pt x="162" y="78"/>
                      <a:pt x="163" y="77"/>
                      <a:pt x="163" y="79"/>
                    </a:cubicBezTo>
                    <a:cubicBezTo>
                      <a:pt x="162" y="80"/>
                      <a:pt x="160" y="83"/>
                      <a:pt x="160" y="83"/>
                    </a:cubicBezTo>
                    <a:cubicBezTo>
                      <a:pt x="160" y="83"/>
                      <a:pt x="161" y="83"/>
                      <a:pt x="160" y="83"/>
                    </a:cubicBezTo>
                    <a:cubicBezTo>
                      <a:pt x="158" y="84"/>
                      <a:pt x="158" y="85"/>
                      <a:pt x="157" y="84"/>
                    </a:cubicBezTo>
                    <a:cubicBezTo>
                      <a:pt x="156" y="83"/>
                      <a:pt x="156" y="83"/>
                      <a:pt x="156" y="82"/>
                    </a:cubicBezTo>
                    <a:cubicBezTo>
                      <a:pt x="156" y="81"/>
                      <a:pt x="156" y="79"/>
                      <a:pt x="156" y="79"/>
                    </a:cubicBezTo>
                    <a:cubicBezTo>
                      <a:pt x="158" y="79"/>
                      <a:pt x="158" y="79"/>
                      <a:pt x="158" y="79"/>
                    </a:cubicBezTo>
                    <a:close/>
                    <a:moveTo>
                      <a:pt x="175" y="59"/>
                    </a:moveTo>
                    <a:cubicBezTo>
                      <a:pt x="175" y="59"/>
                      <a:pt x="175" y="59"/>
                      <a:pt x="175" y="59"/>
                    </a:cubicBezTo>
                    <a:cubicBezTo>
                      <a:pt x="175" y="58"/>
                      <a:pt x="176" y="57"/>
                      <a:pt x="177" y="57"/>
                    </a:cubicBezTo>
                    <a:cubicBezTo>
                      <a:pt x="177" y="57"/>
                      <a:pt x="178" y="57"/>
                      <a:pt x="178" y="58"/>
                    </a:cubicBezTo>
                    <a:cubicBezTo>
                      <a:pt x="177" y="59"/>
                      <a:pt x="177" y="60"/>
                      <a:pt x="176" y="60"/>
                    </a:cubicBezTo>
                    <a:cubicBezTo>
                      <a:pt x="175" y="60"/>
                      <a:pt x="175" y="59"/>
                      <a:pt x="175" y="59"/>
                    </a:cubicBezTo>
                    <a:close/>
                    <a:moveTo>
                      <a:pt x="172" y="62"/>
                    </a:moveTo>
                    <a:cubicBezTo>
                      <a:pt x="172" y="62"/>
                      <a:pt x="172" y="62"/>
                      <a:pt x="172" y="62"/>
                    </a:cubicBezTo>
                    <a:cubicBezTo>
                      <a:pt x="172" y="62"/>
                      <a:pt x="174" y="61"/>
                      <a:pt x="174" y="61"/>
                    </a:cubicBezTo>
                    <a:cubicBezTo>
                      <a:pt x="174" y="62"/>
                      <a:pt x="175" y="61"/>
                      <a:pt x="174" y="62"/>
                    </a:cubicBezTo>
                    <a:cubicBezTo>
                      <a:pt x="174" y="63"/>
                      <a:pt x="176" y="63"/>
                      <a:pt x="174" y="64"/>
                    </a:cubicBezTo>
                    <a:cubicBezTo>
                      <a:pt x="172" y="65"/>
                      <a:pt x="172" y="66"/>
                      <a:pt x="171" y="65"/>
                    </a:cubicBezTo>
                    <a:cubicBezTo>
                      <a:pt x="170" y="64"/>
                      <a:pt x="170" y="63"/>
                      <a:pt x="170" y="63"/>
                    </a:cubicBezTo>
                    <a:cubicBezTo>
                      <a:pt x="170" y="62"/>
                      <a:pt x="171" y="61"/>
                      <a:pt x="171" y="61"/>
                    </a:cubicBezTo>
                    <a:cubicBezTo>
                      <a:pt x="171" y="61"/>
                      <a:pt x="172" y="62"/>
                      <a:pt x="172" y="62"/>
                    </a:cubicBezTo>
                    <a:close/>
                    <a:moveTo>
                      <a:pt x="166" y="65"/>
                    </a:moveTo>
                    <a:cubicBezTo>
                      <a:pt x="166" y="65"/>
                      <a:pt x="166" y="65"/>
                      <a:pt x="166" y="65"/>
                    </a:cubicBezTo>
                    <a:cubicBezTo>
                      <a:pt x="166" y="65"/>
                      <a:pt x="167" y="66"/>
                      <a:pt x="167" y="66"/>
                    </a:cubicBezTo>
                    <a:cubicBezTo>
                      <a:pt x="167" y="66"/>
                      <a:pt x="168" y="66"/>
                      <a:pt x="169" y="65"/>
                    </a:cubicBezTo>
                    <a:cubicBezTo>
                      <a:pt x="170" y="65"/>
                      <a:pt x="169" y="65"/>
                      <a:pt x="169" y="64"/>
                    </a:cubicBezTo>
                    <a:cubicBezTo>
                      <a:pt x="170" y="63"/>
                      <a:pt x="169" y="63"/>
                      <a:pt x="169" y="63"/>
                    </a:cubicBezTo>
                    <a:cubicBezTo>
                      <a:pt x="169" y="62"/>
                      <a:pt x="168" y="62"/>
                      <a:pt x="167" y="62"/>
                    </a:cubicBezTo>
                    <a:cubicBezTo>
                      <a:pt x="166" y="62"/>
                      <a:pt x="166" y="65"/>
                      <a:pt x="166" y="65"/>
                    </a:cubicBezTo>
                    <a:close/>
                    <a:moveTo>
                      <a:pt x="169" y="69"/>
                    </a:moveTo>
                    <a:cubicBezTo>
                      <a:pt x="169" y="69"/>
                      <a:pt x="169" y="69"/>
                      <a:pt x="169" y="69"/>
                    </a:cubicBezTo>
                    <a:cubicBezTo>
                      <a:pt x="169" y="69"/>
                      <a:pt x="169" y="68"/>
                      <a:pt x="170" y="68"/>
                    </a:cubicBezTo>
                    <a:cubicBezTo>
                      <a:pt x="171" y="68"/>
                      <a:pt x="171" y="68"/>
                      <a:pt x="171" y="68"/>
                    </a:cubicBezTo>
                    <a:cubicBezTo>
                      <a:pt x="171" y="69"/>
                      <a:pt x="171" y="70"/>
                      <a:pt x="170" y="70"/>
                    </a:cubicBezTo>
                    <a:cubicBezTo>
                      <a:pt x="170" y="70"/>
                      <a:pt x="169" y="69"/>
                      <a:pt x="169" y="69"/>
                    </a:cubicBezTo>
                    <a:close/>
                    <a:moveTo>
                      <a:pt x="162" y="70"/>
                    </a:moveTo>
                    <a:cubicBezTo>
                      <a:pt x="162" y="70"/>
                      <a:pt x="162" y="70"/>
                      <a:pt x="162" y="70"/>
                    </a:cubicBezTo>
                    <a:cubicBezTo>
                      <a:pt x="163" y="68"/>
                      <a:pt x="163" y="68"/>
                      <a:pt x="163" y="68"/>
                    </a:cubicBezTo>
                    <a:cubicBezTo>
                      <a:pt x="164" y="69"/>
                      <a:pt x="164" y="69"/>
                      <a:pt x="164" y="69"/>
                    </a:cubicBezTo>
                    <a:cubicBezTo>
                      <a:pt x="164" y="69"/>
                      <a:pt x="165" y="70"/>
                      <a:pt x="165" y="70"/>
                    </a:cubicBezTo>
                    <a:cubicBezTo>
                      <a:pt x="164" y="71"/>
                      <a:pt x="164" y="71"/>
                      <a:pt x="163" y="71"/>
                    </a:cubicBezTo>
                    <a:cubicBezTo>
                      <a:pt x="163" y="71"/>
                      <a:pt x="162" y="71"/>
                      <a:pt x="162" y="71"/>
                    </a:cubicBezTo>
                    <a:cubicBezTo>
                      <a:pt x="162" y="70"/>
                      <a:pt x="162" y="70"/>
                      <a:pt x="162" y="70"/>
                    </a:cubicBezTo>
                    <a:close/>
                    <a:moveTo>
                      <a:pt x="162" y="59"/>
                    </a:moveTo>
                    <a:cubicBezTo>
                      <a:pt x="162" y="59"/>
                      <a:pt x="162" y="59"/>
                      <a:pt x="162" y="59"/>
                    </a:cubicBezTo>
                    <a:cubicBezTo>
                      <a:pt x="162" y="59"/>
                      <a:pt x="164" y="57"/>
                      <a:pt x="164" y="57"/>
                    </a:cubicBezTo>
                    <a:cubicBezTo>
                      <a:pt x="164" y="57"/>
                      <a:pt x="165" y="56"/>
                      <a:pt x="165" y="58"/>
                    </a:cubicBezTo>
                    <a:cubicBezTo>
                      <a:pt x="166" y="59"/>
                      <a:pt x="167" y="61"/>
                      <a:pt x="165" y="61"/>
                    </a:cubicBezTo>
                    <a:cubicBezTo>
                      <a:pt x="163" y="61"/>
                      <a:pt x="162" y="62"/>
                      <a:pt x="162" y="61"/>
                    </a:cubicBezTo>
                    <a:cubicBezTo>
                      <a:pt x="162" y="60"/>
                      <a:pt x="162" y="59"/>
                      <a:pt x="162" y="59"/>
                    </a:cubicBezTo>
                    <a:close/>
                    <a:moveTo>
                      <a:pt x="159" y="64"/>
                    </a:moveTo>
                    <a:cubicBezTo>
                      <a:pt x="159" y="64"/>
                      <a:pt x="159" y="64"/>
                      <a:pt x="159" y="64"/>
                    </a:cubicBezTo>
                    <a:cubicBezTo>
                      <a:pt x="159" y="64"/>
                      <a:pt x="161" y="63"/>
                      <a:pt x="161" y="63"/>
                    </a:cubicBezTo>
                    <a:cubicBezTo>
                      <a:pt x="162" y="63"/>
                      <a:pt x="163" y="63"/>
                      <a:pt x="163" y="64"/>
                    </a:cubicBezTo>
                    <a:cubicBezTo>
                      <a:pt x="163" y="65"/>
                      <a:pt x="163" y="65"/>
                      <a:pt x="162" y="66"/>
                    </a:cubicBezTo>
                    <a:cubicBezTo>
                      <a:pt x="162" y="66"/>
                      <a:pt x="161" y="67"/>
                      <a:pt x="161" y="66"/>
                    </a:cubicBezTo>
                    <a:cubicBezTo>
                      <a:pt x="160" y="66"/>
                      <a:pt x="159" y="64"/>
                      <a:pt x="159" y="64"/>
                    </a:cubicBezTo>
                    <a:close/>
                    <a:moveTo>
                      <a:pt x="161" y="74"/>
                    </a:moveTo>
                    <a:cubicBezTo>
                      <a:pt x="161" y="74"/>
                      <a:pt x="161" y="74"/>
                      <a:pt x="161" y="74"/>
                    </a:cubicBezTo>
                    <a:cubicBezTo>
                      <a:pt x="161" y="74"/>
                      <a:pt x="160" y="77"/>
                      <a:pt x="161" y="77"/>
                    </a:cubicBezTo>
                    <a:cubicBezTo>
                      <a:pt x="161" y="78"/>
                      <a:pt x="163" y="77"/>
                      <a:pt x="163" y="77"/>
                    </a:cubicBezTo>
                    <a:cubicBezTo>
                      <a:pt x="164" y="77"/>
                      <a:pt x="164" y="75"/>
                      <a:pt x="164" y="75"/>
                    </a:cubicBezTo>
                    <a:cubicBezTo>
                      <a:pt x="164" y="75"/>
                      <a:pt x="163" y="74"/>
                      <a:pt x="163" y="73"/>
                    </a:cubicBezTo>
                    <a:cubicBezTo>
                      <a:pt x="162" y="72"/>
                      <a:pt x="161" y="74"/>
                      <a:pt x="161" y="74"/>
                    </a:cubicBezTo>
                    <a:close/>
                    <a:moveTo>
                      <a:pt x="154" y="71"/>
                    </a:moveTo>
                    <a:cubicBezTo>
                      <a:pt x="154" y="71"/>
                      <a:pt x="154" y="71"/>
                      <a:pt x="154" y="71"/>
                    </a:cubicBezTo>
                    <a:cubicBezTo>
                      <a:pt x="154" y="74"/>
                      <a:pt x="154" y="74"/>
                      <a:pt x="154" y="74"/>
                    </a:cubicBezTo>
                    <a:cubicBezTo>
                      <a:pt x="154" y="74"/>
                      <a:pt x="156" y="75"/>
                      <a:pt x="156" y="75"/>
                    </a:cubicBezTo>
                    <a:cubicBezTo>
                      <a:pt x="157" y="76"/>
                      <a:pt x="157" y="76"/>
                      <a:pt x="158" y="76"/>
                    </a:cubicBezTo>
                    <a:cubicBezTo>
                      <a:pt x="160" y="76"/>
                      <a:pt x="159" y="76"/>
                      <a:pt x="160" y="76"/>
                    </a:cubicBezTo>
                    <a:cubicBezTo>
                      <a:pt x="160" y="75"/>
                      <a:pt x="160" y="75"/>
                      <a:pt x="160" y="75"/>
                    </a:cubicBezTo>
                    <a:cubicBezTo>
                      <a:pt x="160" y="75"/>
                      <a:pt x="159" y="73"/>
                      <a:pt x="158" y="73"/>
                    </a:cubicBezTo>
                    <a:cubicBezTo>
                      <a:pt x="158" y="73"/>
                      <a:pt x="158" y="72"/>
                      <a:pt x="158" y="72"/>
                    </a:cubicBezTo>
                    <a:cubicBezTo>
                      <a:pt x="158" y="71"/>
                      <a:pt x="159" y="71"/>
                      <a:pt x="159" y="70"/>
                    </a:cubicBezTo>
                    <a:cubicBezTo>
                      <a:pt x="160" y="70"/>
                      <a:pt x="160" y="68"/>
                      <a:pt x="160" y="68"/>
                    </a:cubicBezTo>
                    <a:cubicBezTo>
                      <a:pt x="160" y="68"/>
                      <a:pt x="158" y="68"/>
                      <a:pt x="158" y="67"/>
                    </a:cubicBezTo>
                    <a:cubicBezTo>
                      <a:pt x="158" y="67"/>
                      <a:pt x="157" y="66"/>
                      <a:pt x="157" y="66"/>
                    </a:cubicBezTo>
                    <a:cubicBezTo>
                      <a:pt x="156" y="65"/>
                      <a:pt x="155" y="65"/>
                      <a:pt x="154" y="65"/>
                    </a:cubicBezTo>
                    <a:cubicBezTo>
                      <a:pt x="154" y="65"/>
                      <a:pt x="153" y="67"/>
                      <a:pt x="153" y="68"/>
                    </a:cubicBezTo>
                    <a:cubicBezTo>
                      <a:pt x="153" y="69"/>
                      <a:pt x="152" y="70"/>
                      <a:pt x="151" y="70"/>
                    </a:cubicBezTo>
                    <a:cubicBezTo>
                      <a:pt x="151" y="71"/>
                      <a:pt x="152" y="72"/>
                      <a:pt x="153" y="72"/>
                    </a:cubicBezTo>
                    <a:cubicBezTo>
                      <a:pt x="153" y="72"/>
                      <a:pt x="154" y="71"/>
                      <a:pt x="154" y="71"/>
                    </a:cubicBezTo>
                    <a:close/>
                    <a:moveTo>
                      <a:pt x="151" y="78"/>
                    </a:moveTo>
                    <a:cubicBezTo>
                      <a:pt x="151" y="78"/>
                      <a:pt x="151" y="78"/>
                      <a:pt x="151" y="78"/>
                    </a:cubicBezTo>
                    <a:cubicBezTo>
                      <a:pt x="151" y="78"/>
                      <a:pt x="149" y="76"/>
                      <a:pt x="149" y="76"/>
                    </a:cubicBezTo>
                    <a:cubicBezTo>
                      <a:pt x="149" y="76"/>
                      <a:pt x="151" y="75"/>
                      <a:pt x="151" y="75"/>
                    </a:cubicBezTo>
                    <a:cubicBezTo>
                      <a:pt x="151" y="75"/>
                      <a:pt x="151" y="74"/>
                      <a:pt x="152" y="74"/>
                    </a:cubicBezTo>
                    <a:cubicBezTo>
                      <a:pt x="154" y="74"/>
                      <a:pt x="154" y="75"/>
                      <a:pt x="154" y="75"/>
                    </a:cubicBezTo>
                    <a:cubicBezTo>
                      <a:pt x="154" y="75"/>
                      <a:pt x="155" y="77"/>
                      <a:pt x="155" y="77"/>
                    </a:cubicBezTo>
                    <a:cubicBezTo>
                      <a:pt x="155" y="78"/>
                      <a:pt x="155" y="78"/>
                      <a:pt x="155" y="79"/>
                    </a:cubicBezTo>
                    <a:cubicBezTo>
                      <a:pt x="155" y="79"/>
                      <a:pt x="156" y="80"/>
                      <a:pt x="154" y="80"/>
                    </a:cubicBezTo>
                    <a:cubicBezTo>
                      <a:pt x="153" y="80"/>
                      <a:pt x="152" y="80"/>
                      <a:pt x="152" y="80"/>
                    </a:cubicBezTo>
                    <a:lnTo>
                      <a:pt x="151" y="78"/>
                    </a:lnTo>
                    <a:close/>
                  </a:path>
                </a:pathLst>
              </a:custGeom>
              <a:solidFill>
                <a:srgbClr val="0181C7"/>
              </a:solid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30" name="Rectangle 76"/>
              <p:cNvSpPr>
                <a:spLocks noChangeArrowheads="1"/>
              </p:cNvSpPr>
              <p:nvPr/>
            </p:nvSpPr>
            <p:spPr bwMode="auto">
              <a:xfrm>
                <a:off x="1707" y="1845"/>
                <a:ext cx="1" cy="1"/>
              </a:xfrm>
              <a:prstGeom prst="rect">
                <a:avLst/>
              </a:pr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31" name="Rectangle 77"/>
              <p:cNvSpPr>
                <a:spLocks noChangeArrowheads="1"/>
              </p:cNvSpPr>
              <p:nvPr/>
            </p:nvSpPr>
            <p:spPr bwMode="auto">
              <a:xfrm>
                <a:off x="1713" y="1837"/>
                <a:ext cx="1" cy="1"/>
              </a:xfrm>
              <a:prstGeom prst="rect">
                <a:avLst/>
              </a:pr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32" name="Freeform 78"/>
              <p:cNvSpPr>
                <a:spLocks/>
              </p:cNvSpPr>
              <p:nvPr/>
            </p:nvSpPr>
            <p:spPr bwMode="auto">
              <a:xfrm>
                <a:off x="1695" y="178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33" name="Freeform 79"/>
              <p:cNvSpPr>
                <a:spLocks/>
              </p:cNvSpPr>
              <p:nvPr/>
            </p:nvSpPr>
            <p:spPr bwMode="auto">
              <a:xfrm>
                <a:off x="1695" y="178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34" name="Rectangle 80"/>
              <p:cNvSpPr>
                <a:spLocks noChangeArrowheads="1"/>
              </p:cNvSpPr>
              <p:nvPr/>
            </p:nvSpPr>
            <p:spPr bwMode="auto">
              <a:xfrm>
                <a:off x="1687" y="1775"/>
                <a:ext cx="1" cy="1"/>
              </a:xfrm>
              <a:prstGeom prst="rect">
                <a:avLst/>
              </a:pr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35" name="Freeform 81"/>
              <p:cNvSpPr>
                <a:spLocks/>
              </p:cNvSpPr>
              <p:nvPr/>
            </p:nvSpPr>
            <p:spPr bwMode="auto">
              <a:xfrm>
                <a:off x="1705" y="188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36" name="Rectangle 82"/>
              <p:cNvSpPr>
                <a:spLocks noChangeArrowheads="1"/>
              </p:cNvSpPr>
              <p:nvPr/>
            </p:nvSpPr>
            <p:spPr bwMode="auto">
              <a:xfrm>
                <a:off x="1713" y="1847"/>
                <a:ext cx="1" cy="1"/>
              </a:xfrm>
              <a:prstGeom prst="rect">
                <a:avLst/>
              </a:pr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37" name="Freeform 83"/>
              <p:cNvSpPr>
                <a:spLocks/>
              </p:cNvSpPr>
              <p:nvPr/>
            </p:nvSpPr>
            <p:spPr bwMode="auto">
              <a:xfrm>
                <a:off x="1655" y="188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38" name="Freeform 84"/>
              <p:cNvSpPr>
                <a:spLocks/>
              </p:cNvSpPr>
              <p:nvPr/>
            </p:nvSpPr>
            <p:spPr bwMode="auto">
              <a:xfrm>
                <a:off x="1779" y="1701"/>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39" name="Freeform 85"/>
              <p:cNvSpPr>
                <a:spLocks/>
              </p:cNvSpPr>
              <p:nvPr/>
            </p:nvSpPr>
            <p:spPr bwMode="auto">
              <a:xfrm>
                <a:off x="1701" y="188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40" name="Rectangle 86"/>
              <p:cNvSpPr>
                <a:spLocks noChangeArrowheads="1"/>
              </p:cNvSpPr>
              <p:nvPr/>
            </p:nvSpPr>
            <p:spPr bwMode="auto">
              <a:xfrm>
                <a:off x="1625" y="1917"/>
                <a:ext cx="1" cy="1"/>
              </a:xfrm>
              <a:prstGeom prst="rect">
                <a:avLst/>
              </a:pr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41" name="Freeform 87"/>
              <p:cNvSpPr>
                <a:spLocks/>
              </p:cNvSpPr>
              <p:nvPr/>
            </p:nvSpPr>
            <p:spPr bwMode="auto">
              <a:xfrm>
                <a:off x="1645" y="191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42" name="Freeform 88"/>
              <p:cNvSpPr>
                <a:spLocks/>
              </p:cNvSpPr>
              <p:nvPr/>
            </p:nvSpPr>
            <p:spPr bwMode="auto">
              <a:xfrm>
                <a:off x="1647" y="192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43" name="Freeform 89"/>
              <p:cNvSpPr>
                <a:spLocks/>
              </p:cNvSpPr>
              <p:nvPr/>
            </p:nvSpPr>
            <p:spPr bwMode="auto">
              <a:xfrm>
                <a:off x="1631" y="190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44" name="Freeform 90"/>
              <p:cNvSpPr>
                <a:spLocks/>
              </p:cNvSpPr>
              <p:nvPr/>
            </p:nvSpPr>
            <p:spPr bwMode="auto">
              <a:xfrm>
                <a:off x="1611" y="1683"/>
                <a:ext cx="257" cy="301"/>
              </a:xfrm>
              <a:custGeom>
                <a:avLst/>
                <a:gdLst>
                  <a:gd name="T0" fmla="*/ 93 w 128"/>
                  <a:gd name="T1" fmla="*/ 137 h 150"/>
                  <a:gd name="T2" fmla="*/ 108 w 128"/>
                  <a:gd name="T3" fmla="*/ 137 h 150"/>
                  <a:gd name="T4" fmla="*/ 109 w 128"/>
                  <a:gd name="T5" fmla="*/ 131 h 150"/>
                  <a:gd name="T6" fmla="*/ 122 w 128"/>
                  <a:gd name="T7" fmla="*/ 111 h 150"/>
                  <a:gd name="T8" fmla="*/ 123 w 128"/>
                  <a:gd name="T9" fmla="*/ 91 h 150"/>
                  <a:gd name="T10" fmla="*/ 125 w 128"/>
                  <a:gd name="T11" fmla="*/ 72 h 150"/>
                  <a:gd name="T12" fmla="*/ 113 w 128"/>
                  <a:gd name="T13" fmla="*/ 48 h 150"/>
                  <a:gd name="T14" fmla="*/ 91 w 128"/>
                  <a:gd name="T15" fmla="*/ 49 h 150"/>
                  <a:gd name="T16" fmla="*/ 93 w 128"/>
                  <a:gd name="T17" fmla="*/ 29 h 150"/>
                  <a:gd name="T18" fmla="*/ 113 w 128"/>
                  <a:gd name="T19" fmla="*/ 15 h 150"/>
                  <a:gd name="T20" fmla="*/ 120 w 128"/>
                  <a:gd name="T21" fmla="*/ 5 h 150"/>
                  <a:gd name="T22" fmla="*/ 117 w 128"/>
                  <a:gd name="T23" fmla="*/ 4 h 150"/>
                  <a:gd name="T24" fmla="*/ 109 w 128"/>
                  <a:gd name="T25" fmla="*/ 4 h 150"/>
                  <a:gd name="T26" fmla="*/ 107 w 128"/>
                  <a:gd name="T27" fmla="*/ 13 h 150"/>
                  <a:gd name="T28" fmla="*/ 107 w 128"/>
                  <a:gd name="T29" fmla="*/ 5 h 150"/>
                  <a:gd name="T30" fmla="*/ 98 w 128"/>
                  <a:gd name="T31" fmla="*/ 3 h 150"/>
                  <a:gd name="T32" fmla="*/ 86 w 128"/>
                  <a:gd name="T33" fmla="*/ 8 h 150"/>
                  <a:gd name="T34" fmla="*/ 86 w 128"/>
                  <a:gd name="T35" fmla="*/ 15 h 150"/>
                  <a:gd name="T36" fmla="*/ 80 w 128"/>
                  <a:gd name="T37" fmla="*/ 18 h 150"/>
                  <a:gd name="T38" fmla="*/ 77 w 128"/>
                  <a:gd name="T39" fmla="*/ 24 h 150"/>
                  <a:gd name="T40" fmla="*/ 87 w 128"/>
                  <a:gd name="T41" fmla="*/ 25 h 150"/>
                  <a:gd name="T42" fmla="*/ 73 w 128"/>
                  <a:gd name="T43" fmla="*/ 34 h 150"/>
                  <a:gd name="T44" fmla="*/ 72 w 128"/>
                  <a:gd name="T45" fmla="*/ 41 h 150"/>
                  <a:gd name="T46" fmla="*/ 58 w 128"/>
                  <a:gd name="T47" fmla="*/ 37 h 150"/>
                  <a:gd name="T48" fmla="*/ 49 w 128"/>
                  <a:gd name="T49" fmla="*/ 29 h 150"/>
                  <a:gd name="T50" fmla="*/ 39 w 128"/>
                  <a:gd name="T51" fmla="*/ 28 h 150"/>
                  <a:gd name="T52" fmla="*/ 36 w 128"/>
                  <a:gd name="T53" fmla="*/ 33 h 150"/>
                  <a:gd name="T54" fmla="*/ 37 w 128"/>
                  <a:gd name="T55" fmla="*/ 38 h 150"/>
                  <a:gd name="T56" fmla="*/ 28 w 128"/>
                  <a:gd name="T57" fmla="*/ 39 h 150"/>
                  <a:gd name="T58" fmla="*/ 38 w 128"/>
                  <a:gd name="T59" fmla="*/ 46 h 150"/>
                  <a:gd name="T60" fmla="*/ 36 w 128"/>
                  <a:gd name="T61" fmla="*/ 50 h 150"/>
                  <a:gd name="T62" fmla="*/ 34 w 128"/>
                  <a:gd name="T63" fmla="*/ 57 h 150"/>
                  <a:gd name="T64" fmla="*/ 28 w 128"/>
                  <a:gd name="T65" fmla="*/ 61 h 150"/>
                  <a:gd name="T66" fmla="*/ 28 w 128"/>
                  <a:gd name="T67" fmla="*/ 65 h 150"/>
                  <a:gd name="T68" fmla="*/ 32 w 128"/>
                  <a:gd name="T69" fmla="*/ 70 h 150"/>
                  <a:gd name="T70" fmla="*/ 36 w 128"/>
                  <a:gd name="T71" fmla="*/ 72 h 150"/>
                  <a:gd name="T72" fmla="*/ 37 w 128"/>
                  <a:gd name="T73" fmla="*/ 74 h 150"/>
                  <a:gd name="T74" fmla="*/ 51 w 128"/>
                  <a:gd name="T75" fmla="*/ 77 h 150"/>
                  <a:gd name="T76" fmla="*/ 51 w 128"/>
                  <a:gd name="T77" fmla="*/ 82 h 150"/>
                  <a:gd name="T78" fmla="*/ 39 w 128"/>
                  <a:gd name="T79" fmla="*/ 85 h 150"/>
                  <a:gd name="T80" fmla="*/ 29 w 128"/>
                  <a:gd name="T81" fmla="*/ 95 h 150"/>
                  <a:gd name="T82" fmla="*/ 23 w 128"/>
                  <a:gd name="T83" fmla="*/ 101 h 150"/>
                  <a:gd name="T84" fmla="*/ 35 w 128"/>
                  <a:gd name="T85" fmla="*/ 102 h 150"/>
                  <a:gd name="T86" fmla="*/ 46 w 128"/>
                  <a:gd name="T87" fmla="*/ 99 h 150"/>
                  <a:gd name="T88" fmla="*/ 34 w 128"/>
                  <a:gd name="T89" fmla="*/ 104 h 150"/>
                  <a:gd name="T90" fmla="*/ 24 w 128"/>
                  <a:gd name="T91" fmla="*/ 106 h 150"/>
                  <a:gd name="T92" fmla="*/ 19 w 128"/>
                  <a:gd name="T93" fmla="*/ 114 h 150"/>
                  <a:gd name="T94" fmla="*/ 13 w 128"/>
                  <a:gd name="T95" fmla="*/ 111 h 150"/>
                  <a:gd name="T96" fmla="*/ 5 w 128"/>
                  <a:gd name="T97" fmla="*/ 111 h 150"/>
                  <a:gd name="T98" fmla="*/ 8 w 128"/>
                  <a:gd name="T99" fmla="*/ 117 h 150"/>
                  <a:gd name="T100" fmla="*/ 19 w 128"/>
                  <a:gd name="T101" fmla="*/ 118 h 150"/>
                  <a:gd name="T102" fmla="*/ 8 w 128"/>
                  <a:gd name="T103" fmla="*/ 121 h 150"/>
                  <a:gd name="T104" fmla="*/ 0 w 128"/>
                  <a:gd name="T105" fmla="*/ 128 h 150"/>
                  <a:gd name="T106" fmla="*/ 4 w 128"/>
                  <a:gd name="T107" fmla="*/ 132 h 150"/>
                  <a:gd name="T108" fmla="*/ 16 w 128"/>
                  <a:gd name="T109" fmla="*/ 131 h 150"/>
                  <a:gd name="T110" fmla="*/ 5 w 128"/>
                  <a:gd name="T111" fmla="*/ 137 h 150"/>
                  <a:gd name="T112" fmla="*/ 15 w 128"/>
                  <a:gd name="T113" fmla="*/ 139 h 150"/>
                  <a:gd name="T114" fmla="*/ 11 w 128"/>
                  <a:gd name="T115" fmla="*/ 143 h 150"/>
                  <a:gd name="T116" fmla="*/ 16 w 128"/>
                  <a:gd name="T117" fmla="*/ 144 h 150"/>
                  <a:gd name="T118" fmla="*/ 23 w 128"/>
                  <a:gd name="T119" fmla="*/ 149 h 150"/>
                  <a:gd name="T120" fmla="*/ 46 w 128"/>
                  <a:gd name="T121" fmla="*/ 146 h 150"/>
                  <a:gd name="T122" fmla="*/ 56 w 128"/>
                  <a:gd name="T123" fmla="*/ 144 h 150"/>
                  <a:gd name="T124" fmla="*/ 75 w 128"/>
                  <a:gd name="T125" fmla="*/ 13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8" h="150">
                    <a:moveTo>
                      <a:pt x="75" y="138"/>
                    </a:moveTo>
                    <a:cubicBezTo>
                      <a:pt x="74" y="138"/>
                      <a:pt x="74" y="138"/>
                      <a:pt x="74" y="138"/>
                    </a:cubicBezTo>
                    <a:cubicBezTo>
                      <a:pt x="74" y="136"/>
                      <a:pt x="74" y="136"/>
                      <a:pt x="74" y="136"/>
                    </a:cubicBezTo>
                    <a:cubicBezTo>
                      <a:pt x="80" y="136"/>
                      <a:pt x="80" y="136"/>
                      <a:pt x="80" y="136"/>
                    </a:cubicBezTo>
                    <a:cubicBezTo>
                      <a:pt x="82" y="136"/>
                      <a:pt x="82" y="136"/>
                      <a:pt x="82" y="136"/>
                    </a:cubicBezTo>
                    <a:cubicBezTo>
                      <a:pt x="82" y="136"/>
                      <a:pt x="85" y="136"/>
                      <a:pt x="87" y="136"/>
                    </a:cubicBezTo>
                    <a:cubicBezTo>
                      <a:pt x="90" y="137"/>
                      <a:pt x="90" y="137"/>
                      <a:pt x="90" y="137"/>
                    </a:cubicBezTo>
                    <a:cubicBezTo>
                      <a:pt x="90" y="137"/>
                      <a:pt x="90" y="136"/>
                      <a:pt x="90" y="135"/>
                    </a:cubicBezTo>
                    <a:cubicBezTo>
                      <a:pt x="93" y="135"/>
                      <a:pt x="93" y="135"/>
                      <a:pt x="93" y="135"/>
                    </a:cubicBezTo>
                    <a:cubicBezTo>
                      <a:pt x="93" y="137"/>
                      <a:pt x="93" y="137"/>
                      <a:pt x="93" y="137"/>
                    </a:cubicBezTo>
                    <a:cubicBezTo>
                      <a:pt x="93" y="137"/>
                      <a:pt x="94" y="137"/>
                      <a:pt x="94" y="137"/>
                    </a:cubicBezTo>
                    <a:cubicBezTo>
                      <a:pt x="94" y="137"/>
                      <a:pt x="95" y="137"/>
                      <a:pt x="95" y="137"/>
                    </a:cubicBezTo>
                    <a:cubicBezTo>
                      <a:pt x="96" y="135"/>
                      <a:pt x="96" y="135"/>
                      <a:pt x="96" y="135"/>
                    </a:cubicBezTo>
                    <a:cubicBezTo>
                      <a:pt x="96" y="135"/>
                      <a:pt x="98" y="136"/>
                      <a:pt x="99" y="136"/>
                    </a:cubicBezTo>
                    <a:cubicBezTo>
                      <a:pt x="100" y="136"/>
                      <a:pt x="101" y="138"/>
                      <a:pt x="101" y="138"/>
                    </a:cubicBezTo>
                    <a:cubicBezTo>
                      <a:pt x="104" y="138"/>
                      <a:pt x="104" y="138"/>
                      <a:pt x="104" y="138"/>
                    </a:cubicBezTo>
                    <a:cubicBezTo>
                      <a:pt x="104" y="138"/>
                      <a:pt x="105" y="139"/>
                      <a:pt x="105" y="139"/>
                    </a:cubicBezTo>
                    <a:cubicBezTo>
                      <a:pt x="106" y="139"/>
                      <a:pt x="106" y="139"/>
                      <a:pt x="106" y="139"/>
                    </a:cubicBezTo>
                    <a:cubicBezTo>
                      <a:pt x="107" y="139"/>
                      <a:pt x="107" y="139"/>
                      <a:pt x="107" y="139"/>
                    </a:cubicBezTo>
                    <a:cubicBezTo>
                      <a:pt x="108" y="137"/>
                      <a:pt x="108" y="137"/>
                      <a:pt x="108" y="137"/>
                    </a:cubicBezTo>
                    <a:cubicBezTo>
                      <a:pt x="108" y="137"/>
                      <a:pt x="108" y="136"/>
                      <a:pt x="108" y="135"/>
                    </a:cubicBezTo>
                    <a:cubicBezTo>
                      <a:pt x="108" y="135"/>
                      <a:pt x="107" y="135"/>
                      <a:pt x="106" y="134"/>
                    </a:cubicBezTo>
                    <a:cubicBezTo>
                      <a:pt x="106" y="134"/>
                      <a:pt x="105" y="133"/>
                      <a:pt x="105" y="133"/>
                    </a:cubicBezTo>
                    <a:cubicBezTo>
                      <a:pt x="105" y="131"/>
                      <a:pt x="105" y="131"/>
                      <a:pt x="105" y="131"/>
                    </a:cubicBezTo>
                    <a:cubicBezTo>
                      <a:pt x="105" y="131"/>
                      <a:pt x="105" y="131"/>
                      <a:pt x="106" y="131"/>
                    </a:cubicBezTo>
                    <a:cubicBezTo>
                      <a:pt x="105" y="131"/>
                      <a:pt x="105" y="131"/>
                      <a:pt x="105" y="131"/>
                    </a:cubicBezTo>
                    <a:cubicBezTo>
                      <a:pt x="105" y="131"/>
                      <a:pt x="106" y="131"/>
                      <a:pt x="106" y="131"/>
                    </a:cubicBezTo>
                    <a:cubicBezTo>
                      <a:pt x="106" y="131"/>
                      <a:pt x="107" y="132"/>
                      <a:pt x="107" y="132"/>
                    </a:cubicBezTo>
                    <a:cubicBezTo>
                      <a:pt x="107" y="132"/>
                      <a:pt x="108" y="132"/>
                      <a:pt x="108" y="132"/>
                    </a:cubicBezTo>
                    <a:cubicBezTo>
                      <a:pt x="108" y="132"/>
                      <a:pt x="109" y="131"/>
                      <a:pt x="109" y="131"/>
                    </a:cubicBezTo>
                    <a:cubicBezTo>
                      <a:pt x="110" y="130"/>
                      <a:pt x="110" y="129"/>
                      <a:pt x="110" y="129"/>
                    </a:cubicBezTo>
                    <a:cubicBezTo>
                      <a:pt x="114" y="125"/>
                      <a:pt x="114" y="125"/>
                      <a:pt x="114" y="125"/>
                    </a:cubicBezTo>
                    <a:cubicBezTo>
                      <a:pt x="115" y="124"/>
                      <a:pt x="115" y="124"/>
                      <a:pt x="115" y="124"/>
                    </a:cubicBezTo>
                    <a:cubicBezTo>
                      <a:pt x="115" y="123"/>
                      <a:pt x="115" y="122"/>
                      <a:pt x="115" y="122"/>
                    </a:cubicBezTo>
                    <a:cubicBezTo>
                      <a:pt x="115" y="120"/>
                      <a:pt x="115" y="120"/>
                      <a:pt x="115" y="120"/>
                    </a:cubicBezTo>
                    <a:cubicBezTo>
                      <a:pt x="116" y="119"/>
                      <a:pt x="117" y="118"/>
                      <a:pt x="117" y="118"/>
                    </a:cubicBezTo>
                    <a:cubicBezTo>
                      <a:pt x="118" y="117"/>
                      <a:pt x="118" y="116"/>
                      <a:pt x="118" y="116"/>
                    </a:cubicBezTo>
                    <a:cubicBezTo>
                      <a:pt x="119" y="116"/>
                      <a:pt x="119" y="115"/>
                      <a:pt x="119" y="115"/>
                    </a:cubicBezTo>
                    <a:cubicBezTo>
                      <a:pt x="119" y="114"/>
                      <a:pt x="120" y="113"/>
                      <a:pt x="121" y="113"/>
                    </a:cubicBezTo>
                    <a:cubicBezTo>
                      <a:pt x="122" y="111"/>
                      <a:pt x="122" y="111"/>
                      <a:pt x="122" y="111"/>
                    </a:cubicBezTo>
                    <a:cubicBezTo>
                      <a:pt x="124" y="109"/>
                      <a:pt x="124" y="109"/>
                      <a:pt x="124" y="109"/>
                    </a:cubicBezTo>
                    <a:cubicBezTo>
                      <a:pt x="123" y="108"/>
                      <a:pt x="123" y="108"/>
                      <a:pt x="123" y="108"/>
                    </a:cubicBezTo>
                    <a:cubicBezTo>
                      <a:pt x="124" y="106"/>
                      <a:pt x="124" y="106"/>
                      <a:pt x="124" y="106"/>
                    </a:cubicBezTo>
                    <a:cubicBezTo>
                      <a:pt x="124" y="103"/>
                      <a:pt x="124" y="103"/>
                      <a:pt x="124" y="103"/>
                    </a:cubicBezTo>
                    <a:cubicBezTo>
                      <a:pt x="124" y="102"/>
                      <a:pt x="124" y="101"/>
                      <a:pt x="124" y="101"/>
                    </a:cubicBezTo>
                    <a:cubicBezTo>
                      <a:pt x="124" y="101"/>
                      <a:pt x="123" y="101"/>
                      <a:pt x="124" y="97"/>
                    </a:cubicBezTo>
                    <a:cubicBezTo>
                      <a:pt x="124" y="97"/>
                      <a:pt x="124" y="96"/>
                      <a:pt x="125" y="95"/>
                    </a:cubicBezTo>
                    <a:cubicBezTo>
                      <a:pt x="125" y="95"/>
                      <a:pt x="124" y="95"/>
                      <a:pt x="124" y="94"/>
                    </a:cubicBezTo>
                    <a:cubicBezTo>
                      <a:pt x="124" y="94"/>
                      <a:pt x="123" y="93"/>
                      <a:pt x="123" y="92"/>
                    </a:cubicBezTo>
                    <a:cubicBezTo>
                      <a:pt x="123" y="92"/>
                      <a:pt x="123" y="91"/>
                      <a:pt x="123" y="91"/>
                    </a:cubicBezTo>
                    <a:cubicBezTo>
                      <a:pt x="126" y="91"/>
                      <a:pt x="126" y="91"/>
                      <a:pt x="126" y="91"/>
                    </a:cubicBezTo>
                    <a:cubicBezTo>
                      <a:pt x="126" y="91"/>
                      <a:pt x="125" y="91"/>
                      <a:pt x="125" y="91"/>
                    </a:cubicBezTo>
                    <a:cubicBezTo>
                      <a:pt x="125" y="88"/>
                      <a:pt x="125" y="88"/>
                      <a:pt x="125" y="88"/>
                    </a:cubicBezTo>
                    <a:cubicBezTo>
                      <a:pt x="126" y="87"/>
                      <a:pt x="126" y="87"/>
                      <a:pt x="126" y="87"/>
                    </a:cubicBezTo>
                    <a:cubicBezTo>
                      <a:pt x="128" y="83"/>
                      <a:pt x="128" y="83"/>
                      <a:pt x="128" y="83"/>
                    </a:cubicBezTo>
                    <a:cubicBezTo>
                      <a:pt x="126" y="82"/>
                      <a:pt x="126" y="82"/>
                      <a:pt x="126" y="82"/>
                    </a:cubicBezTo>
                    <a:cubicBezTo>
                      <a:pt x="126" y="82"/>
                      <a:pt x="125" y="80"/>
                      <a:pt x="125" y="80"/>
                    </a:cubicBezTo>
                    <a:cubicBezTo>
                      <a:pt x="125" y="79"/>
                      <a:pt x="124" y="78"/>
                      <a:pt x="124" y="78"/>
                    </a:cubicBezTo>
                    <a:cubicBezTo>
                      <a:pt x="125" y="75"/>
                      <a:pt x="125" y="75"/>
                      <a:pt x="125" y="75"/>
                    </a:cubicBezTo>
                    <a:cubicBezTo>
                      <a:pt x="125" y="72"/>
                      <a:pt x="125" y="72"/>
                      <a:pt x="125" y="72"/>
                    </a:cubicBezTo>
                    <a:cubicBezTo>
                      <a:pt x="126" y="70"/>
                      <a:pt x="126" y="70"/>
                      <a:pt x="126" y="70"/>
                    </a:cubicBezTo>
                    <a:cubicBezTo>
                      <a:pt x="123" y="67"/>
                      <a:pt x="123" y="67"/>
                      <a:pt x="123" y="67"/>
                    </a:cubicBezTo>
                    <a:cubicBezTo>
                      <a:pt x="126" y="63"/>
                      <a:pt x="126" y="63"/>
                      <a:pt x="126" y="63"/>
                    </a:cubicBezTo>
                    <a:cubicBezTo>
                      <a:pt x="128" y="64"/>
                      <a:pt x="128" y="64"/>
                      <a:pt x="128" y="64"/>
                    </a:cubicBezTo>
                    <a:cubicBezTo>
                      <a:pt x="126" y="62"/>
                      <a:pt x="126" y="62"/>
                      <a:pt x="126" y="62"/>
                    </a:cubicBezTo>
                    <a:cubicBezTo>
                      <a:pt x="126" y="63"/>
                      <a:pt x="125" y="63"/>
                      <a:pt x="124" y="63"/>
                    </a:cubicBezTo>
                    <a:cubicBezTo>
                      <a:pt x="118" y="61"/>
                      <a:pt x="118" y="61"/>
                      <a:pt x="118" y="61"/>
                    </a:cubicBezTo>
                    <a:cubicBezTo>
                      <a:pt x="117" y="56"/>
                      <a:pt x="117" y="56"/>
                      <a:pt x="117" y="56"/>
                    </a:cubicBezTo>
                    <a:cubicBezTo>
                      <a:pt x="112" y="52"/>
                      <a:pt x="112" y="52"/>
                      <a:pt x="112" y="52"/>
                    </a:cubicBezTo>
                    <a:cubicBezTo>
                      <a:pt x="113" y="48"/>
                      <a:pt x="113" y="48"/>
                      <a:pt x="113" y="48"/>
                    </a:cubicBezTo>
                    <a:cubicBezTo>
                      <a:pt x="112" y="45"/>
                      <a:pt x="112" y="45"/>
                      <a:pt x="112" y="45"/>
                    </a:cubicBezTo>
                    <a:cubicBezTo>
                      <a:pt x="110" y="46"/>
                      <a:pt x="110" y="46"/>
                      <a:pt x="110" y="46"/>
                    </a:cubicBezTo>
                    <a:cubicBezTo>
                      <a:pt x="109" y="47"/>
                      <a:pt x="109" y="47"/>
                      <a:pt x="109" y="47"/>
                    </a:cubicBezTo>
                    <a:cubicBezTo>
                      <a:pt x="110" y="48"/>
                      <a:pt x="110" y="49"/>
                      <a:pt x="109" y="50"/>
                    </a:cubicBezTo>
                    <a:cubicBezTo>
                      <a:pt x="109" y="51"/>
                      <a:pt x="108" y="52"/>
                      <a:pt x="107" y="52"/>
                    </a:cubicBezTo>
                    <a:cubicBezTo>
                      <a:pt x="105" y="53"/>
                      <a:pt x="102" y="53"/>
                      <a:pt x="102" y="53"/>
                    </a:cubicBezTo>
                    <a:cubicBezTo>
                      <a:pt x="102" y="53"/>
                      <a:pt x="99" y="54"/>
                      <a:pt x="98" y="54"/>
                    </a:cubicBezTo>
                    <a:cubicBezTo>
                      <a:pt x="96" y="54"/>
                      <a:pt x="95" y="52"/>
                      <a:pt x="93" y="49"/>
                    </a:cubicBezTo>
                    <a:cubicBezTo>
                      <a:pt x="92" y="49"/>
                      <a:pt x="92" y="49"/>
                      <a:pt x="92" y="49"/>
                    </a:cubicBezTo>
                    <a:cubicBezTo>
                      <a:pt x="91" y="49"/>
                      <a:pt x="91" y="49"/>
                      <a:pt x="91" y="49"/>
                    </a:cubicBezTo>
                    <a:cubicBezTo>
                      <a:pt x="91" y="49"/>
                      <a:pt x="91" y="49"/>
                      <a:pt x="91" y="49"/>
                    </a:cubicBezTo>
                    <a:cubicBezTo>
                      <a:pt x="90" y="49"/>
                      <a:pt x="88" y="49"/>
                      <a:pt x="88" y="46"/>
                    </a:cubicBezTo>
                    <a:cubicBezTo>
                      <a:pt x="88" y="45"/>
                      <a:pt x="88" y="43"/>
                      <a:pt x="88" y="43"/>
                    </a:cubicBezTo>
                    <a:cubicBezTo>
                      <a:pt x="88" y="43"/>
                      <a:pt x="88" y="43"/>
                      <a:pt x="88" y="43"/>
                    </a:cubicBezTo>
                    <a:cubicBezTo>
                      <a:pt x="85" y="39"/>
                      <a:pt x="84" y="36"/>
                      <a:pt x="84" y="36"/>
                    </a:cubicBezTo>
                    <a:cubicBezTo>
                      <a:pt x="84" y="34"/>
                      <a:pt x="84" y="34"/>
                      <a:pt x="84" y="34"/>
                    </a:cubicBezTo>
                    <a:cubicBezTo>
                      <a:pt x="90" y="30"/>
                      <a:pt x="90" y="30"/>
                      <a:pt x="90" y="30"/>
                    </a:cubicBezTo>
                    <a:cubicBezTo>
                      <a:pt x="91" y="30"/>
                      <a:pt x="91" y="30"/>
                      <a:pt x="91" y="30"/>
                    </a:cubicBezTo>
                    <a:cubicBezTo>
                      <a:pt x="91" y="30"/>
                      <a:pt x="93" y="30"/>
                      <a:pt x="94" y="31"/>
                    </a:cubicBezTo>
                    <a:cubicBezTo>
                      <a:pt x="93" y="30"/>
                      <a:pt x="93" y="29"/>
                      <a:pt x="93" y="29"/>
                    </a:cubicBezTo>
                    <a:cubicBezTo>
                      <a:pt x="92" y="28"/>
                      <a:pt x="91" y="27"/>
                      <a:pt x="92" y="25"/>
                    </a:cubicBezTo>
                    <a:cubicBezTo>
                      <a:pt x="92" y="25"/>
                      <a:pt x="93" y="23"/>
                      <a:pt x="95" y="23"/>
                    </a:cubicBezTo>
                    <a:cubicBezTo>
                      <a:pt x="96" y="23"/>
                      <a:pt x="97" y="23"/>
                      <a:pt x="98" y="23"/>
                    </a:cubicBezTo>
                    <a:cubicBezTo>
                      <a:pt x="98" y="23"/>
                      <a:pt x="99" y="23"/>
                      <a:pt x="100" y="23"/>
                    </a:cubicBezTo>
                    <a:cubicBezTo>
                      <a:pt x="100" y="23"/>
                      <a:pt x="100" y="23"/>
                      <a:pt x="101" y="24"/>
                    </a:cubicBezTo>
                    <a:cubicBezTo>
                      <a:pt x="101" y="23"/>
                      <a:pt x="101" y="23"/>
                      <a:pt x="101" y="23"/>
                    </a:cubicBezTo>
                    <a:cubicBezTo>
                      <a:pt x="101" y="21"/>
                      <a:pt x="103" y="20"/>
                      <a:pt x="104" y="20"/>
                    </a:cubicBezTo>
                    <a:cubicBezTo>
                      <a:pt x="105" y="20"/>
                      <a:pt x="106" y="20"/>
                      <a:pt x="106" y="19"/>
                    </a:cubicBezTo>
                    <a:cubicBezTo>
                      <a:pt x="106" y="17"/>
                      <a:pt x="107" y="14"/>
                      <a:pt x="109" y="14"/>
                    </a:cubicBezTo>
                    <a:cubicBezTo>
                      <a:pt x="110" y="14"/>
                      <a:pt x="112" y="15"/>
                      <a:pt x="113" y="15"/>
                    </a:cubicBezTo>
                    <a:cubicBezTo>
                      <a:pt x="114" y="14"/>
                      <a:pt x="115" y="14"/>
                      <a:pt x="116" y="14"/>
                    </a:cubicBezTo>
                    <a:cubicBezTo>
                      <a:pt x="117" y="14"/>
                      <a:pt x="117" y="14"/>
                      <a:pt x="118" y="14"/>
                    </a:cubicBezTo>
                    <a:cubicBezTo>
                      <a:pt x="118" y="13"/>
                      <a:pt x="118" y="12"/>
                      <a:pt x="119" y="11"/>
                    </a:cubicBezTo>
                    <a:cubicBezTo>
                      <a:pt x="119" y="11"/>
                      <a:pt x="119" y="11"/>
                      <a:pt x="119" y="11"/>
                    </a:cubicBezTo>
                    <a:cubicBezTo>
                      <a:pt x="120" y="10"/>
                      <a:pt x="120" y="10"/>
                      <a:pt x="120" y="10"/>
                    </a:cubicBezTo>
                    <a:cubicBezTo>
                      <a:pt x="121" y="10"/>
                      <a:pt x="121" y="10"/>
                      <a:pt x="122" y="10"/>
                    </a:cubicBezTo>
                    <a:cubicBezTo>
                      <a:pt x="122" y="9"/>
                      <a:pt x="122" y="9"/>
                      <a:pt x="122" y="9"/>
                    </a:cubicBezTo>
                    <a:cubicBezTo>
                      <a:pt x="122" y="9"/>
                      <a:pt x="122" y="8"/>
                      <a:pt x="123" y="8"/>
                    </a:cubicBezTo>
                    <a:cubicBezTo>
                      <a:pt x="121" y="6"/>
                      <a:pt x="121" y="6"/>
                      <a:pt x="121" y="6"/>
                    </a:cubicBezTo>
                    <a:cubicBezTo>
                      <a:pt x="121" y="6"/>
                      <a:pt x="120" y="5"/>
                      <a:pt x="120" y="5"/>
                    </a:cubicBezTo>
                    <a:cubicBezTo>
                      <a:pt x="120" y="5"/>
                      <a:pt x="119" y="5"/>
                      <a:pt x="119" y="4"/>
                    </a:cubicBezTo>
                    <a:cubicBezTo>
                      <a:pt x="119" y="4"/>
                      <a:pt x="118" y="3"/>
                      <a:pt x="118" y="3"/>
                    </a:cubicBezTo>
                    <a:cubicBezTo>
                      <a:pt x="118" y="3"/>
                      <a:pt x="118" y="2"/>
                      <a:pt x="118" y="2"/>
                    </a:cubicBezTo>
                    <a:cubicBezTo>
                      <a:pt x="118" y="2"/>
                      <a:pt x="117" y="1"/>
                      <a:pt x="116" y="0"/>
                    </a:cubicBezTo>
                    <a:cubicBezTo>
                      <a:pt x="115" y="0"/>
                      <a:pt x="115" y="0"/>
                      <a:pt x="115" y="0"/>
                    </a:cubicBezTo>
                    <a:cubicBezTo>
                      <a:pt x="114" y="0"/>
                      <a:pt x="114" y="1"/>
                      <a:pt x="114" y="1"/>
                    </a:cubicBezTo>
                    <a:cubicBezTo>
                      <a:pt x="114" y="1"/>
                      <a:pt x="114" y="1"/>
                      <a:pt x="115" y="1"/>
                    </a:cubicBezTo>
                    <a:cubicBezTo>
                      <a:pt x="115" y="2"/>
                      <a:pt x="115" y="2"/>
                      <a:pt x="115" y="2"/>
                    </a:cubicBezTo>
                    <a:cubicBezTo>
                      <a:pt x="116" y="2"/>
                      <a:pt x="116" y="3"/>
                      <a:pt x="116" y="3"/>
                    </a:cubicBezTo>
                    <a:cubicBezTo>
                      <a:pt x="116" y="3"/>
                      <a:pt x="117" y="4"/>
                      <a:pt x="117" y="4"/>
                    </a:cubicBezTo>
                    <a:cubicBezTo>
                      <a:pt x="117" y="4"/>
                      <a:pt x="116" y="4"/>
                      <a:pt x="116" y="4"/>
                    </a:cubicBezTo>
                    <a:cubicBezTo>
                      <a:pt x="116" y="4"/>
                      <a:pt x="115" y="4"/>
                      <a:pt x="115" y="4"/>
                    </a:cubicBezTo>
                    <a:cubicBezTo>
                      <a:pt x="115" y="4"/>
                      <a:pt x="114" y="4"/>
                      <a:pt x="114" y="4"/>
                    </a:cubicBezTo>
                    <a:cubicBezTo>
                      <a:pt x="115" y="3"/>
                      <a:pt x="115" y="3"/>
                      <a:pt x="115" y="3"/>
                    </a:cubicBezTo>
                    <a:cubicBezTo>
                      <a:pt x="114" y="3"/>
                      <a:pt x="114" y="3"/>
                      <a:pt x="114" y="3"/>
                    </a:cubicBezTo>
                    <a:cubicBezTo>
                      <a:pt x="114" y="3"/>
                      <a:pt x="114" y="2"/>
                      <a:pt x="113" y="2"/>
                    </a:cubicBezTo>
                    <a:cubicBezTo>
                      <a:pt x="113" y="2"/>
                      <a:pt x="113" y="2"/>
                      <a:pt x="113" y="2"/>
                    </a:cubicBezTo>
                    <a:cubicBezTo>
                      <a:pt x="112" y="2"/>
                      <a:pt x="111" y="2"/>
                      <a:pt x="110" y="2"/>
                    </a:cubicBezTo>
                    <a:cubicBezTo>
                      <a:pt x="110" y="2"/>
                      <a:pt x="110" y="3"/>
                      <a:pt x="110" y="3"/>
                    </a:cubicBezTo>
                    <a:cubicBezTo>
                      <a:pt x="109" y="4"/>
                      <a:pt x="109" y="4"/>
                      <a:pt x="109" y="4"/>
                    </a:cubicBezTo>
                    <a:cubicBezTo>
                      <a:pt x="109" y="5"/>
                      <a:pt x="109" y="5"/>
                      <a:pt x="109" y="5"/>
                    </a:cubicBezTo>
                    <a:cubicBezTo>
                      <a:pt x="109" y="6"/>
                      <a:pt x="109" y="7"/>
                      <a:pt x="109" y="7"/>
                    </a:cubicBezTo>
                    <a:cubicBezTo>
                      <a:pt x="109" y="7"/>
                      <a:pt x="110" y="8"/>
                      <a:pt x="110" y="8"/>
                    </a:cubicBezTo>
                    <a:cubicBezTo>
                      <a:pt x="111" y="9"/>
                      <a:pt x="109" y="10"/>
                      <a:pt x="109" y="10"/>
                    </a:cubicBezTo>
                    <a:cubicBezTo>
                      <a:pt x="108" y="11"/>
                      <a:pt x="108" y="11"/>
                      <a:pt x="108" y="11"/>
                    </a:cubicBezTo>
                    <a:cubicBezTo>
                      <a:pt x="108" y="11"/>
                      <a:pt x="108" y="11"/>
                      <a:pt x="108" y="11"/>
                    </a:cubicBezTo>
                    <a:cubicBezTo>
                      <a:pt x="109" y="11"/>
                      <a:pt x="109" y="11"/>
                      <a:pt x="109" y="11"/>
                    </a:cubicBezTo>
                    <a:cubicBezTo>
                      <a:pt x="109" y="12"/>
                      <a:pt x="108" y="12"/>
                      <a:pt x="108" y="12"/>
                    </a:cubicBezTo>
                    <a:cubicBezTo>
                      <a:pt x="107" y="12"/>
                      <a:pt x="107" y="12"/>
                      <a:pt x="107" y="12"/>
                    </a:cubicBezTo>
                    <a:cubicBezTo>
                      <a:pt x="107" y="13"/>
                      <a:pt x="107" y="13"/>
                      <a:pt x="107" y="13"/>
                    </a:cubicBezTo>
                    <a:cubicBezTo>
                      <a:pt x="106" y="12"/>
                      <a:pt x="106" y="12"/>
                      <a:pt x="106" y="12"/>
                    </a:cubicBezTo>
                    <a:cubicBezTo>
                      <a:pt x="106" y="13"/>
                      <a:pt x="106" y="13"/>
                      <a:pt x="106" y="13"/>
                    </a:cubicBezTo>
                    <a:cubicBezTo>
                      <a:pt x="106" y="12"/>
                      <a:pt x="106" y="12"/>
                      <a:pt x="106" y="12"/>
                    </a:cubicBezTo>
                    <a:cubicBezTo>
                      <a:pt x="107" y="11"/>
                      <a:pt x="107" y="11"/>
                      <a:pt x="107" y="11"/>
                    </a:cubicBezTo>
                    <a:cubicBezTo>
                      <a:pt x="107" y="11"/>
                      <a:pt x="107" y="10"/>
                      <a:pt x="107" y="10"/>
                    </a:cubicBezTo>
                    <a:cubicBezTo>
                      <a:pt x="107" y="10"/>
                      <a:pt x="107" y="9"/>
                      <a:pt x="108" y="9"/>
                    </a:cubicBezTo>
                    <a:cubicBezTo>
                      <a:pt x="108" y="8"/>
                      <a:pt x="108" y="8"/>
                      <a:pt x="108" y="8"/>
                    </a:cubicBezTo>
                    <a:cubicBezTo>
                      <a:pt x="108" y="8"/>
                      <a:pt x="107" y="7"/>
                      <a:pt x="107" y="7"/>
                    </a:cubicBezTo>
                    <a:cubicBezTo>
                      <a:pt x="107" y="7"/>
                      <a:pt x="107" y="7"/>
                      <a:pt x="107" y="6"/>
                    </a:cubicBezTo>
                    <a:cubicBezTo>
                      <a:pt x="107" y="6"/>
                      <a:pt x="107" y="6"/>
                      <a:pt x="107" y="5"/>
                    </a:cubicBezTo>
                    <a:cubicBezTo>
                      <a:pt x="107" y="5"/>
                      <a:pt x="107" y="3"/>
                      <a:pt x="107" y="3"/>
                    </a:cubicBezTo>
                    <a:cubicBezTo>
                      <a:pt x="107" y="2"/>
                      <a:pt x="106" y="2"/>
                      <a:pt x="106" y="2"/>
                    </a:cubicBezTo>
                    <a:cubicBezTo>
                      <a:pt x="106" y="2"/>
                      <a:pt x="106" y="2"/>
                      <a:pt x="105" y="2"/>
                    </a:cubicBezTo>
                    <a:cubicBezTo>
                      <a:pt x="105" y="2"/>
                      <a:pt x="105" y="2"/>
                      <a:pt x="105" y="2"/>
                    </a:cubicBezTo>
                    <a:cubicBezTo>
                      <a:pt x="104" y="3"/>
                      <a:pt x="104" y="3"/>
                      <a:pt x="103" y="3"/>
                    </a:cubicBezTo>
                    <a:cubicBezTo>
                      <a:pt x="102" y="4"/>
                      <a:pt x="102" y="4"/>
                      <a:pt x="102" y="4"/>
                    </a:cubicBezTo>
                    <a:cubicBezTo>
                      <a:pt x="102" y="5"/>
                      <a:pt x="101" y="6"/>
                      <a:pt x="100" y="6"/>
                    </a:cubicBezTo>
                    <a:cubicBezTo>
                      <a:pt x="100" y="6"/>
                      <a:pt x="99" y="5"/>
                      <a:pt x="99" y="4"/>
                    </a:cubicBezTo>
                    <a:cubicBezTo>
                      <a:pt x="99" y="4"/>
                      <a:pt x="98" y="4"/>
                      <a:pt x="98" y="4"/>
                    </a:cubicBezTo>
                    <a:cubicBezTo>
                      <a:pt x="98" y="3"/>
                      <a:pt x="98" y="3"/>
                      <a:pt x="98" y="3"/>
                    </a:cubicBezTo>
                    <a:cubicBezTo>
                      <a:pt x="97" y="3"/>
                      <a:pt x="96" y="3"/>
                      <a:pt x="96" y="3"/>
                    </a:cubicBezTo>
                    <a:cubicBezTo>
                      <a:pt x="95" y="4"/>
                      <a:pt x="95" y="4"/>
                      <a:pt x="95" y="4"/>
                    </a:cubicBezTo>
                    <a:cubicBezTo>
                      <a:pt x="95" y="4"/>
                      <a:pt x="94" y="4"/>
                      <a:pt x="94" y="4"/>
                    </a:cubicBezTo>
                    <a:cubicBezTo>
                      <a:pt x="94" y="4"/>
                      <a:pt x="93" y="3"/>
                      <a:pt x="93" y="3"/>
                    </a:cubicBezTo>
                    <a:cubicBezTo>
                      <a:pt x="92" y="4"/>
                      <a:pt x="92" y="4"/>
                      <a:pt x="92" y="4"/>
                    </a:cubicBezTo>
                    <a:cubicBezTo>
                      <a:pt x="92" y="4"/>
                      <a:pt x="91" y="4"/>
                      <a:pt x="91" y="3"/>
                    </a:cubicBezTo>
                    <a:cubicBezTo>
                      <a:pt x="89" y="4"/>
                      <a:pt x="89" y="4"/>
                      <a:pt x="89" y="4"/>
                    </a:cubicBezTo>
                    <a:cubicBezTo>
                      <a:pt x="89" y="4"/>
                      <a:pt x="89" y="5"/>
                      <a:pt x="88" y="6"/>
                    </a:cubicBezTo>
                    <a:cubicBezTo>
                      <a:pt x="88" y="6"/>
                      <a:pt x="87" y="7"/>
                      <a:pt x="87" y="7"/>
                    </a:cubicBezTo>
                    <a:cubicBezTo>
                      <a:pt x="86" y="7"/>
                      <a:pt x="86" y="7"/>
                      <a:pt x="86" y="8"/>
                    </a:cubicBezTo>
                    <a:cubicBezTo>
                      <a:pt x="85" y="8"/>
                      <a:pt x="85" y="8"/>
                      <a:pt x="85" y="8"/>
                    </a:cubicBezTo>
                    <a:cubicBezTo>
                      <a:pt x="84" y="9"/>
                      <a:pt x="84" y="9"/>
                      <a:pt x="84" y="9"/>
                    </a:cubicBezTo>
                    <a:cubicBezTo>
                      <a:pt x="84" y="9"/>
                      <a:pt x="84" y="9"/>
                      <a:pt x="84" y="9"/>
                    </a:cubicBezTo>
                    <a:cubicBezTo>
                      <a:pt x="84" y="9"/>
                      <a:pt x="84" y="9"/>
                      <a:pt x="84" y="9"/>
                    </a:cubicBezTo>
                    <a:cubicBezTo>
                      <a:pt x="84" y="9"/>
                      <a:pt x="84" y="9"/>
                      <a:pt x="84" y="9"/>
                    </a:cubicBezTo>
                    <a:cubicBezTo>
                      <a:pt x="84" y="9"/>
                      <a:pt x="84" y="10"/>
                      <a:pt x="84" y="11"/>
                    </a:cubicBezTo>
                    <a:cubicBezTo>
                      <a:pt x="84" y="11"/>
                      <a:pt x="84" y="11"/>
                      <a:pt x="83" y="11"/>
                    </a:cubicBezTo>
                    <a:cubicBezTo>
                      <a:pt x="83" y="12"/>
                      <a:pt x="84" y="12"/>
                      <a:pt x="84" y="12"/>
                    </a:cubicBezTo>
                    <a:cubicBezTo>
                      <a:pt x="85" y="13"/>
                      <a:pt x="85" y="13"/>
                      <a:pt x="85" y="14"/>
                    </a:cubicBezTo>
                    <a:cubicBezTo>
                      <a:pt x="86" y="14"/>
                      <a:pt x="86" y="15"/>
                      <a:pt x="86" y="15"/>
                    </a:cubicBezTo>
                    <a:cubicBezTo>
                      <a:pt x="86" y="15"/>
                      <a:pt x="85" y="15"/>
                      <a:pt x="85" y="15"/>
                    </a:cubicBezTo>
                    <a:cubicBezTo>
                      <a:pt x="85" y="15"/>
                      <a:pt x="84" y="15"/>
                      <a:pt x="84" y="15"/>
                    </a:cubicBezTo>
                    <a:cubicBezTo>
                      <a:pt x="82" y="15"/>
                      <a:pt x="82" y="15"/>
                      <a:pt x="82" y="15"/>
                    </a:cubicBezTo>
                    <a:cubicBezTo>
                      <a:pt x="81" y="15"/>
                      <a:pt x="81" y="15"/>
                      <a:pt x="81" y="15"/>
                    </a:cubicBezTo>
                    <a:cubicBezTo>
                      <a:pt x="81" y="15"/>
                      <a:pt x="80" y="15"/>
                      <a:pt x="80" y="15"/>
                    </a:cubicBezTo>
                    <a:cubicBezTo>
                      <a:pt x="80" y="15"/>
                      <a:pt x="81" y="16"/>
                      <a:pt x="82" y="16"/>
                    </a:cubicBezTo>
                    <a:cubicBezTo>
                      <a:pt x="83" y="17"/>
                      <a:pt x="83" y="17"/>
                      <a:pt x="83" y="17"/>
                    </a:cubicBezTo>
                    <a:cubicBezTo>
                      <a:pt x="83" y="17"/>
                      <a:pt x="83" y="17"/>
                      <a:pt x="83" y="18"/>
                    </a:cubicBezTo>
                    <a:cubicBezTo>
                      <a:pt x="83" y="18"/>
                      <a:pt x="82" y="18"/>
                      <a:pt x="81" y="18"/>
                    </a:cubicBezTo>
                    <a:cubicBezTo>
                      <a:pt x="81" y="18"/>
                      <a:pt x="80" y="18"/>
                      <a:pt x="80" y="18"/>
                    </a:cubicBezTo>
                    <a:cubicBezTo>
                      <a:pt x="79" y="18"/>
                      <a:pt x="79" y="18"/>
                      <a:pt x="79" y="18"/>
                    </a:cubicBezTo>
                    <a:cubicBezTo>
                      <a:pt x="79" y="17"/>
                      <a:pt x="78" y="17"/>
                      <a:pt x="77" y="16"/>
                    </a:cubicBezTo>
                    <a:cubicBezTo>
                      <a:pt x="76" y="16"/>
                      <a:pt x="76" y="16"/>
                      <a:pt x="76" y="16"/>
                    </a:cubicBezTo>
                    <a:cubicBezTo>
                      <a:pt x="76" y="17"/>
                      <a:pt x="76" y="17"/>
                      <a:pt x="75" y="18"/>
                    </a:cubicBezTo>
                    <a:cubicBezTo>
                      <a:pt x="75" y="18"/>
                      <a:pt x="75" y="18"/>
                      <a:pt x="75" y="18"/>
                    </a:cubicBezTo>
                    <a:cubicBezTo>
                      <a:pt x="74" y="18"/>
                      <a:pt x="74" y="19"/>
                      <a:pt x="74" y="19"/>
                    </a:cubicBezTo>
                    <a:cubicBezTo>
                      <a:pt x="73" y="20"/>
                      <a:pt x="73" y="20"/>
                      <a:pt x="73" y="20"/>
                    </a:cubicBezTo>
                    <a:cubicBezTo>
                      <a:pt x="73" y="20"/>
                      <a:pt x="73" y="20"/>
                      <a:pt x="73" y="21"/>
                    </a:cubicBezTo>
                    <a:cubicBezTo>
                      <a:pt x="75" y="21"/>
                      <a:pt x="75" y="21"/>
                      <a:pt x="75" y="21"/>
                    </a:cubicBezTo>
                    <a:cubicBezTo>
                      <a:pt x="74" y="21"/>
                      <a:pt x="76" y="23"/>
                      <a:pt x="77" y="24"/>
                    </a:cubicBezTo>
                    <a:cubicBezTo>
                      <a:pt x="78" y="24"/>
                      <a:pt x="78" y="24"/>
                      <a:pt x="78" y="24"/>
                    </a:cubicBezTo>
                    <a:cubicBezTo>
                      <a:pt x="79" y="24"/>
                      <a:pt x="79" y="24"/>
                      <a:pt x="79" y="24"/>
                    </a:cubicBezTo>
                    <a:cubicBezTo>
                      <a:pt x="80" y="25"/>
                      <a:pt x="81" y="25"/>
                      <a:pt x="81" y="26"/>
                    </a:cubicBezTo>
                    <a:cubicBezTo>
                      <a:pt x="81" y="25"/>
                      <a:pt x="82" y="24"/>
                      <a:pt x="83" y="24"/>
                    </a:cubicBezTo>
                    <a:cubicBezTo>
                      <a:pt x="84" y="24"/>
                      <a:pt x="84" y="26"/>
                      <a:pt x="85" y="26"/>
                    </a:cubicBezTo>
                    <a:cubicBezTo>
                      <a:pt x="85" y="26"/>
                      <a:pt x="85" y="26"/>
                      <a:pt x="85" y="26"/>
                    </a:cubicBezTo>
                    <a:cubicBezTo>
                      <a:pt x="87" y="24"/>
                      <a:pt x="87" y="24"/>
                      <a:pt x="87" y="24"/>
                    </a:cubicBezTo>
                    <a:cubicBezTo>
                      <a:pt x="87" y="25"/>
                      <a:pt x="87" y="25"/>
                      <a:pt x="87" y="25"/>
                    </a:cubicBezTo>
                    <a:cubicBezTo>
                      <a:pt x="87" y="25"/>
                      <a:pt x="87" y="25"/>
                      <a:pt x="87" y="25"/>
                    </a:cubicBezTo>
                    <a:cubicBezTo>
                      <a:pt x="87" y="25"/>
                      <a:pt x="87" y="25"/>
                      <a:pt x="87" y="25"/>
                    </a:cubicBezTo>
                    <a:cubicBezTo>
                      <a:pt x="87" y="28"/>
                      <a:pt x="87" y="28"/>
                      <a:pt x="87" y="28"/>
                    </a:cubicBezTo>
                    <a:cubicBezTo>
                      <a:pt x="87" y="28"/>
                      <a:pt x="86" y="29"/>
                      <a:pt x="85" y="29"/>
                    </a:cubicBezTo>
                    <a:cubicBezTo>
                      <a:pt x="85" y="29"/>
                      <a:pt x="85" y="30"/>
                      <a:pt x="85" y="30"/>
                    </a:cubicBezTo>
                    <a:cubicBezTo>
                      <a:pt x="84" y="31"/>
                      <a:pt x="84" y="31"/>
                      <a:pt x="83" y="31"/>
                    </a:cubicBezTo>
                    <a:cubicBezTo>
                      <a:pt x="83" y="31"/>
                      <a:pt x="82" y="31"/>
                      <a:pt x="82" y="31"/>
                    </a:cubicBezTo>
                    <a:cubicBezTo>
                      <a:pt x="82" y="31"/>
                      <a:pt x="81" y="31"/>
                      <a:pt x="80" y="31"/>
                    </a:cubicBezTo>
                    <a:cubicBezTo>
                      <a:pt x="79" y="31"/>
                      <a:pt x="78" y="32"/>
                      <a:pt x="78" y="32"/>
                    </a:cubicBezTo>
                    <a:cubicBezTo>
                      <a:pt x="78" y="32"/>
                      <a:pt x="77" y="33"/>
                      <a:pt x="75" y="33"/>
                    </a:cubicBezTo>
                    <a:cubicBezTo>
                      <a:pt x="74" y="33"/>
                      <a:pt x="74" y="33"/>
                      <a:pt x="73" y="34"/>
                    </a:cubicBezTo>
                    <a:cubicBezTo>
                      <a:pt x="73" y="34"/>
                      <a:pt x="73" y="34"/>
                      <a:pt x="73" y="34"/>
                    </a:cubicBezTo>
                    <a:cubicBezTo>
                      <a:pt x="72" y="35"/>
                      <a:pt x="73" y="35"/>
                      <a:pt x="73" y="35"/>
                    </a:cubicBezTo>
                    <a:cubicBezTo>
                      <a:pt x="74" y="36"/>
                      <a:pt x="74" y="36"/>
                      <a:pt x="74" y="36"/>
                    </a:cubicBezTo>
                    <a:cubicBezTo>
                      <a:pt x="75" y="37"/>
                      <a:pt x="75" y="37"/>
                      <a:pt x="75" y="37"/>
                    </a:cubicBezTo>
                    <a:cubicBezTo>
                      <a:pt x="75" y="37"/>
                      <a:pt x="74" y="38"/>
                      <a:pt x="72" y="38"/>
                    </a:cubicBezTo>
                    <a:cubicBezTo>
                      <a:pt x="72" y="38"/>
                      <a:pt x="72" y="38"/>
                      <a:pt x="73" y="39"/>
                    </a:cubicBezTo>
                    <a:cubicBezTo>
                      <a:pt x="74" y="41"/>
                      <a:pt x="74" y="41"/>
                      <a:pt x="74" y="41"/>
                    </a:cubicBezTo>
                    <a:cubicBezTo>
                      <a:pt x="73" y="41"/>
                      <a:pt x="73" y="41"/>
                      <a:pt x="73" y="41"/>
                    </a:cubicBezTo>
                    <a:cubicBezTo>
                      <a:pt x="73" y="41"/>
                      <a:pt x="73" y="41"/>
                      <a:pt x="73" y="41"/>
                    </a:cubicBezTo>
                    <a:cubicBezTo>
                      <a:pt x="73" y="41"/>
                      <a:pt x="73" y="41"/>
                      <a:pt x="73" y="41"/>
                    </a:cubicBezTo>
                    <a:cubicBezTo>
                      <a:pt x="72" y="41"/>
                      <a:pt x="72" y="41"/>
                      <a:pt x="72" y="41"/>
                    </a:cubicBezTo>
                    <a:cubicBezTo>
                      <a:pt x="70" y="39"/>
                      <a:pt x="70" y="39"/>
                      <a:pt x="70" y="38"/>
                    </a:cubicBezTo>
                    <a:cubicBezTo>
                      <a:pt x="70" y="38"/>
                      <a:pt x="70" y="38"/>
                      <a:pt x="69" y="38"/>
                    </a:cubicBezTo>
                    <a:cubicBezTo>
                      <a:pt x="68" y="37"/>
                      <a:pt x="68" y="37"/>
                      <a:pt x="68" y="37"/>
                    </a:cubicBezTo>
                    <a:cubicBezTo>
                      <a:pt x="66" y="37"/>
                      <a:pt x="66" y="37"/>
                      <a:pt x="66" y="37"/>
                    </a:cubicBezTo>
                    <a:cubicBezTo>
                      <a:pt x="66" y="36"/>
                      <a:pt x="66" y="36"/>
                      <a:pt x="66" y="36"/>
                    </a:cubicBezTo>
                    <a:cubicBezTo>
                      <a:pt x="63" y="35"/>
                      <a:pt x="63" y="35"/>
                      <a:pt x="63" y="35"/>
                    </a:cubicBezTo>
                    <a:cubicBezTo>
                      <a:pt x="63" y="35"/>
                      <a:pt x="62" y="35"/>
                      <a:pt x="62" y="35"/>
                    </a:cubicBezTo>
                    <a:cubicBezTo>
                      <a:pt x="61" y="35"/>
                      <a:pt x="60" y="36"/>
                      <a:pt x="60" y="36"/>
                    </a:cubicBezTo>
                    <a:cubicBezTo>
                      <a:pt x="60" y="36"/>
                      <a:pt x="59" y="37"/>
                      <a:pt x="59" y="37"/>
                    </a:cubicBezTo>
                    <a:cubicBezTo>
                      <a:pt x="59" y="37"/>
                      <a:pt x="58" y="37"/>
                      <a:pt x="58" y="37"/>
                    </a:cubicBezTo>
                    <a:cubicBezTo>
                      <a:pt x="58" y="37"/>
                      <a:pt x="57" y="36"/>
                      <a:pt x="57" y="35"/>
                    </a:cubicBezTo>
                    <a:cubicBezTo>
                      <a:pt x="57" y="35"/>
                      <a:pt x="57" y="35"/>
                      <a:pt x="57" y="35"/>
                    </a:cubicBezTo>
                    <a:cubicBezTo>
                      <a:pt x="57" y="35"/>
                      <a:pt x="57" y="34"/>
                      <a:pt x="56" y="34"/>
                    </a:cubicBezTo>
                    <a:cubicBezTo>
                      <a:pt x="56" y="34"/>
                      <a:pt x="56" y="34"/>
                      <a:pt x="56" y="33"/>
                    </a:cubicBezTo>
                    <a:cubicBezTo>
                      <a:pt x="55" y="32"/>
                      <a:pt x="55" y="32"/>
                      <a:pt x="55" y="32"/>
                    </a:cubicBezTo>
                    <a:cubicBezTo>
                      <a:pt x="55" y="32"/>
                      <a:pt x="54" y="32"/>
                      <a:pt x="53" y="32"/>
                    </a:cubicBezTo>
                    <a:cubicBezTo>
                      <a:pt x="53" y="32"/>
                      <a:pt x="52" y="32"/>
                      <a:pt x="52" y="31"/>
                    </a:cubicBezTo>
                    <a:cubicBezTo>
                      <a:pt x="52" y="31"/>
                      <a:pt x="51" y="31"/>
                      <a:pt x="51" y="31"/>
                    </a:cubicBezTo>
                    <a:cubicBezTo>
                      <a:pt x="51" y="31"/>
                      <a:pt x="50" y="30"/>
                      <a:pt x="50" y="30"/>
                    </a:cubicBezTo>
                    <a:cubicBezTo>
                      <a:pt x="49" y="30"/>
                      <a:pt x="49" y="29"/>
                      <a:pt x="49" y="29"/>
                    </a:cubicBezTo>
                    <a:cubicBezTo>
                      <a:pt x="48" y="30"/>
                      <a:pt x="48" y="30"/>
                      <a:pt x="48" y="30"/>
                    </a:cubicBezTo>
                    <a:cubicBezTo>
                      <a:pt x="47" y="29"/>
                      <a:pt x="47" y="29"/>
                      <a:pt x="46" y="29"/>
                    </a:cubicBezTo>
                    <a:cubicBezTo>
                      <a:pt x="45" y="28"/>
                      <a:pt x="45" y="28"/>
                      <a:pt x="45" y="28"/>
                    </a:cubicBezTo>
                    <a:cubicBezTo>
                      <a:pt x="45" y="28"/>
                      <a:pt x="45" y="28"/>
                      <a:pt x="44" y="27"/>
                    </a:cubicBezTo>
                    <a:cubicBezTo>
                      <a:pt x="44" y="27"/>
                      <a:pt x="43" y="27"/>
                      <a:pt x="43" y="27"/>
                    </a:cubicBezTo>
                    <a:cubicBezTo>
                      <a:pt x="43" y="28"/>
                      <a:pt x="43" y="28"/>
                      <a:pt x="43" y="28"/>
                    </a:cubicBezTo>
                    <a:cubicBezTo>
                      <a:pt x="44" y="29"/>
                      <a:pt x="44" y="30"/>
                      <a:pt x="44" y="30"/>
                    </a:cubicBezTo>
                    <a:cubicBezTo>
                      <a:pt x="43" y="30"/>
                      <a:pt x="42" y="30"/>
                      <a:pt x="41" y="29"/>
                    </a:cubicBezTo>
                    <a:cubicBezTo>
                      <a:pt x="40" y="29"/>
                      <a:pt x="40" y="29"/>
                      <a:pt x="40" y="29"/>
                    </a:cubicBezTo>
                    <a:cubicBezTo>
                      <a:pt x="39" y="28"/>
                      <a:pt x="39" y="28"/>
                      <a:pt x="39" y="28"/>
                    </a:cubicBezTo>
                    <a:cubicBezTo>
                      <a:pt x="39" y="28"/>
                      <a:pt x="38" y="28"/>
                      <a:pt x="38" y="28"/>
                    </a:cubicBezTo>
                    <a:cubicBezTo>
                      <a:pt x="38" y="28"/>
                      <a:pt x="37" y="29"/>
                      <a:pt x="37" y="29"/>
                    </a:cubicBezTo>
                    <a:cubicBezTo>
                      <a:pt x="36" y="29"/>
                      <a:pt x="36" y="29"/>
                      <a:pt x="36" y="29"/>
                    </a:cubicBezTo>
                    <a:cubicBezTo>
                      <a:pt x="36" y="31"/>
                      <a:pt x="36" y="31"/>
                      <a:pt x="36" y="31"/>
                    </a:cubicBezTo>
                    <a:cubicBezTo>
                      <a:pt x="36" y="32"/>
                      <a:pt x="36" y="32"/>
                      <a:pt x="35" y="32"/>
                    </a:cubicBezTo>
                    <a:cubicBezTo>
                      <a:pt x="34" y="32"/>
                      <a:pt x="34" y="32"/>
                      <a:pt x="34" y="33"/>
                    </a:cubicBezTo>
                    <a:cubicBezTo>
                      <a:pt x="34" y="33"/>
                      <a:pt x="34" y="34"/>
                      <a:pt x="34" y="34"/>
                    </a:cubicBezTo>
                    <a:cubicBezTo>
                      <a:pt x="34" y="34"/>
                      <a:pt x="34" y="34"/>
                      <a:pt x="34" y="34"/>
                    </a:cubicBezTo>
                    <a:cubicBezTo>
                      <a:pt x="34" y="34"/>
                      <a:pt x="35" y="34"/>
                      <a:pt x="35" y="33"/>
                    </a:cubicBezTo>
                    <a:cubicBezTo>
                      <a:pt x="36" y="33"/>
                      <a:pt x="36" y="33"/>
                      <a:pt x="36" y="33"/>
                    </a:cubicBezTo>
                    <a:cubicBezTo>
                      <a:pt x="35" y="33"/>
                      <a:pt x="35" y="33"/>
                      <a:pt x="35" y="33"/>
                    </a:cubicBezTo>
                    <a:cubicBezTo>
                      <a:pt x="35" y="32"/>
                      <a:pt x="36" y="32"/>
                      <a:pt x="36" y="32"/>
                    </a:cubicBezTo>
                    <a:cubicBezTo>
                      <a:pt x="37" y="32"/>
                      <a:pt x="37" y="32"/>
                      <a:pt x="37" y="32"/>
                    </a:cubicBezTo>
                    <a:cubicBezTo>
                      <a:pt x="37" y="31"/>
                      <a:pt x="38" y="31"/>
                      <a:pt x="38" y="31"/>
                    </a:cubicBezTo>
                    <a:cubicBezTo>
                      <a:pt x="39" y="31"/>
                      <a:pt x="39" y="31"/>
                      <a:pt x="39" y="32"/>
                    </a:cubicBezTo>
                    <a:cubicBezTo>
                      <a:pt x="39" y="32"/>
                      <a:pt x="39" y="33"/>
                      <a:pt x="38" y="33"/>
                    </a:cubicBezTo>
                    <a:cubicBezTo>
                      <a:pt x="39" y="34"/>
                      <a:pt x="39" y="34"/>
                      <a:pt x="39" y="34"/>
                    </a:cubicBezTo>
                    <a:cubicBezTo>
                      <a:pt x="39" y="35"/>
                      <a:pt x="38" y="35"/>
                      <a:pt x="38" y="35"/>
                    </a:cubicBezTo>
                    <a:cubicBezTo>
                      <a:pt x="38" y="35"/>
                      <a:pt x="37" y="36"/>
                      <a:pt x="37" y="36"/>
                    </a:cubicBezTo>
                    <a:cubicBezTo>
                      <a:pt x="37" y="37"/>
                      <a:pt x="37" y="37"/>
                      <a:pt x="37" y="38"/>
                    </a:cubicBezTo>
                    <a:cubicBezTo>
                      <a:pt x="37" y="37"/>
                      <a:pt x="38" y="38"/>
                      <a:pt x="38" y="38"/>
                    </a:cubicBezTo>
                    <a:cubicBezTo>
                      <a:pt x="38" y="38"/>
                      <a:pt x="38" y="38"/>
                      <a:pt x="38" y="39"/>
                    </a:cubicBezTo>
                    <a:cubicBezTo>
                      <a:pt x="38" y="39"/>
                      <a:pt x="38" y="39"/>
                      <a:pt x="38" y="39"/>
                    </a:cubicBezTo>
                    <a:cubicBezTo>
                      <a:pt x="38" y="40"/>
                      <a:pt x="38" y="40"/>
                      <a:pt x="37" y="40"/>
                    </a:cubicBezTo>
                    <a:cubicBezTo>
                      <a:pt x="36" y="40"/>
                      <a:pt x="36" y="40"/>
                      <a:pt x="36" y="40"/>
                    </a:cubicBezTo>
                    <a:cubicBezTo>
                      <a:pt x="36" y="40"/>
                      <a:pt x="36" y="39"/>
                      <a:pt x="35" y="39"/>
                    </a:cubicBezTo>
                    <a:cubicBezTo>
                      <a:pt x="34" y="39"/>
                      <a:pt x="34" y="39"/>
                      <a:pt x="34" y="39"/>
                    </a:cubicBezTo>
                    <a:cubicBezTo>
                      <a:pt x="34" y="39"/>
                      <a:pt x="33" y="39"/>
                      <a:pt x="32" y="39"/>
                    </a:cubicBezTo>
                    <a:cubicBezTo>
                      <a:pt x="31" y="38"/>
                      <a:pt x="30" y="38"/>
                      <a:pt x="29" y="38"/>
                    </a:cubicBezTo>
                    <a:cubicBezTo>
                      <a:pt x="28" y="38"/>
                      <a:pt x="28" y="39"/>
                      <a:pt x="28" y="39"/>
                    </a:cubicBezTo>
                    <a:cubicBezTo>
                      <a:pt x="28" y="39"/>
                      <a:pt x="29" y="39"/>
                      <a:pt x="31" y="40"/>
                    </a:cubicBezTo>
                    <a:cubicBezTo>
                      <a:pt x="31" y="40"/>
                      <a:pt x="32" y="40"/>
                      <a:pt x="32" y="40"/>
                    </a:cubicBezTo>
                    <a:cubicBezTo>
                      <a:pt x="32" y="40"/>
                      <a:pt x="32" y="40"/>
                      <a:pt x="32" y="40"/>
                    </a:cubicBezTo>
                    <a:cubicBezTo>
                      <a:pt x="33" y="40"/>
                      <a:pt x="33" y="40"/>
                      <a:pt x="33" y="41"/>
                    </a:cubicBezTo>
                    <a:cubicBezTo>
                      <a:pt x="33" y="43"/>
                      <a:pt x="33" y="43"/>
                      <a:pt x="33" y="43"/>
                    </a:cubicBezTo>
                    <a:cubicBezTo>
                      <a:pt x="33" y="43"/>
                      <a:pt x="34" y="43"/>
                      <a:pt x="34" y="44"/>
                    </a:cubicBezTo>
                    <a:cubicBezTo>
                      <a:pt x="34" y="45"/>
                      <a:pt x="34" y="45"/>
                      <a:pt x="34" y="45"/>
                    </a:cubicBezTo>
                    <a:cubicBezTo>
                      <a:pt x="35" y="46"/>
                      <a:pt x="35" y="46"/>
                      <a:pt x="36" y="46"/>
                    </a:cubicBezTo>
                    <a:cubicBezTo>
                      <a:pt x="36" y="46"/>
                      <a:pt x="37" y="46"/>
                      <a:pt x="37" y="46"/>
                    </a:cubicBezTo>
                    <a:cubicBezTo>
                      <a:pt x="37" y="46"/>
                      <a:pt x="38" y="46"/>
                      <a:pt x="38" y="46"/>
                    </a:cubicBezTo>
                    <a:cubicBezTo>
                      <a:pt x="39" y="46"/>
                      <a:pt x="39" y="46"/>
                      <a:pt x="39" y="46"/>
                    </a:cubicBezTo>
                    <a:cubicBezTo>
                      <a:pt x="40" y="46"/>
                      <a:pt x="41" y="46"/>
                      <a:pt x="42" y="46"/>
                    </a:cubicBezTo>
                    <a:cubicBezTo>
                      <a:pt x="43" y="46"/>
                      <a:pt x="44" y="47"/>
                      <a:pt x="44" y="47"/>
                    </a:cubicBezTo>
                    <a:cubicBezTo>
                      <a:pt x="44" y="48"/>
                      <a:pt x="43" y="49"/>
                      <a:pt x="43" y="50"/>
                    </a:cubicBezTo>
                    <a:cubicBezTo>
                      <a:pt x="43" y="49"/>
                      <a:pt x="43" y="49"/>
                      <a:pt x="43" y="49"/>
                    </a:cubicBezTo>
                    <a:cubicBezTo>
                      <a:pt x="42" y="50"/>
                      <a:pt x="42" y="50"/>
                      <a:pt x="42" y="50"/>
                    </a:cubicBezTo>
                    <a:cubicBezTo>
                      <a:pt x="42" y="51"/>
                      <a:pt x="42" y="51"/>
                      <a:pt x="42" y="51"/>
                    </a:cubicBezTo>
                    <a:cubicBezTo>
                      <a:pt x="42" y="51"/>
                      <a:pt x="42" y="51"/>
                      <a:pt x="41" y="51"/>
                    </a:cubicBezTo>
                    <a:cubicBezTo>
                      <a:pt x="39" y="51"/>
                      <a:pt x="38" y="51"/>
                      <a:pt x="38" y="51"/>
                    </a:cubicBezTo>
                    <a:cubicBezTo>
                      <a:pt x="36" y="50"/>
                      <a:pt x="36" y="50"/>
                      <a:pt x="36" y="50"/>
                    </a:cubicBezTo>
                    <a:cubicBezTo>
                      <a:pt x="36" y="50"/>
                      <a:pt x="35" y="51"/>
                      <a:pt x="35" y="51"/>
                    </a:cubicBezTo>
                    <a:cubicBezTo>
                      <a:pt x="34" y="52"/>
                      <a:pt x="34" y="52"/>
                      <a:pt x="34" y="52"/>
                    </a:cubicBezTo>
                    <a:cubicBezTo>
                      <a:pt x="34" y="53"/>
                      <a:pt x="34" y="53"/>
                      <a:pt x="34" y="53"/>
                    </a:cubicBezTo>
                    <a:cubicBezTo>
                      <a:pt x="34" y="53"/>
                      <a:pt x="34" y="53"/>
                      <a:pt x="33" y="55"/>
                    </a:cubicBezTo>
                    <a:cubicBezTo>
                      <a:pt x="33" y="55"/>
                      <a:pt x="34" y="55"/>
                      <a:pt x="34" y="55"/>
                    </a:cubicBezTo>
                    <a:cubicBezTo>
                      <a:pt x="34" y="57"/>
                      <a:pt x="34" y="57"/>
                      <a:pt x="34" y="57"/>
                    </a:cubicBezTo>
                    <a:cubicBezTo>
                      <a:pt x="34" y="57"/>
                      <a:pt x="34" y="57"/>
                      <a:pt x="34" y="57"/>
                    </a:cubicBezTo>
                    <a:cubicBezTo>
                      <a:pt x="34" y="57"/>
                      <a:pt x="34" y="57"/>
                      <a:pt x="34" y="57"/>
                    </a:cubicBezTo>
                    <a:cubicBezTo>
                      <a:pt x="34" y="57"/>
                      <a:pt x="34" y="57"/>
                      <a:pt x="34" y="57"/>
                    </a:cubicBezTo>
                    <a:cubicBezTo>
                      <a:pt x="34" y="57"/>
                      <a:pt x="34" y="57"/>
                      <a:pt x="34" y="57"/>
                    </a:cubicBezTo>
                    <a:cubicBezTo>
                      <a:pt x="33" y="58"/>
                      <a:pt x="32" y="57"/>
                      <a:pt x="32" y="57"/>
                    </a:cubicBezTo>
                    <a:cubicBezTo>
                      <a:pt x="32" y="57"/>
                      <a:pt x="32" y="57"/>
                      <a:pt x="31" y="57"/>
                    </a:cubicBezTo>
                    <a:cubicBezTo>
                      <a:pt x="31" y="56"/>
                      <a:pt x="30" y="56"/>
                      <a:pt x="30" y="56"/>
                    </a:cubicBezTo>
                    <a:cubicBezTo>
                      <a:pt x="29" y="58"/>
                      <a:pt x="29" y="58"/>
                      <a:pt x="29" y="58"/>
                    </a:cubicBezTo>
                    <a:cubicBezTo>
                      <a:pt x="28" y="58"/>
                      <a:pt x="28" y="58"/>
                      <a:pt x="28" y="58"/>
                    </a:cubicBezTo>
                    <a:cubicBezTo>
                      <a:pt x="27" y="58"/>
                      <a:pt x="27" y="58"/>
                      <a:pt x="27" y="58"/>
                    </a:cubicBezTo>
                    <a:cubicBezTo>
                      <a:pt x="27" y="58"/>
                      <a:pt x="26" y="58"/>
                      <a:pt x="26" y="58"/>
                    </a:cubicBezTo>
                    <a:cubicBezTo>
                      <a:pt x="26" y="58"/>
                      <a:pt x="26" y="58"/>
                      <a:pt x="26" y="59"/>
                    </a:cubicBezTo>
                    <a:cubicBezTo>
                      <a:pt x="26" y="59"/>
                      <a:pt x="26" y="60"/>
                      <a:pt x="26" y="60"/>
                    </a:cubicBezTo>
                    <a:cubicBezTo>
                      <a:pt x="26" y="60"/>
                      <a:pt x="27" y="60"/>
                      <a:pt x="28" y="61"/>
                    </a:cubicBezTo>
                    <a:cubicBezTo>
                      <a:pt x="28" y="61"/>
                      <a:pt x="28" y="62"/>
                      <a:pt x="28" y="62"/>
                    </a:cubicBezTo>
                    <a:cubicBezTo>
                      <a:pt x="28" y="62"/>
                      <a:pt x="27" y="63"/>
                      <a:pt x="27" y="63"/>
                    </a:cubicBezTo>
                    <a:cubicBezTo>
                      <a:pt x="27" y="63"/>
                      <a:pt x="27" y="63"/>
                      <a:pt x="25" y="61"/>
                    </a:cubicBezTo>
                    <a:cubicBezTo>
                      <a:pt x="25" y="61"/>
                      <a:pt x="25" y="61"/>
                      <a:pt x="25" y="61"/>
                    </a:cubicBezTo>
                    <a:cubicBezTo>
                      <a:pt x="25" y="61"/>
                      <a:pt x="25" y="61"/>
                      <a:pt x="25" y="61"/>
                    </a:cubicBezTo>
                    <a:cubicBezTo>
                      <a:pt x="24" y="61"/>
                      <a:pt x="24" y="62"/>
                      <a:pt x="24" y="62"/>
                    </a:cubicBezTo>
                    <a:cubicBezTo>
                      <a:pt x="24" y="63"/>
                      <a:pt x="24" y="63"/>
                      <a:pt x="25" y="63"/>
                    </a:cubicBezTo>
                    <a:cubicBezTo>
                      <a:pt x="26" y="63"/>
                      <a:pt x="26" y="63"/>
                      <a:pt x="26" y="63"/>
                    </a:cubicBezTo>
                    <a:cubicBezTo>
                      <a:pt x="27" y="64"/>
                      <a:pt x="27" y="64"/>
                      <a:pt x="27" y="64"/>
                    </a:cubicBezTo>
                    <a:cubicBezTo>
                      <a:pt x="28" y="65"/>
                      <a:pt x="28" y="65"/>
                      <a:pt x="28" y="65"/>
                    </a:cubicBezTo>
                    <a:cubicBezTo>
                      <a:pt x="28" y="65"/>
                      <a:pt x="28" y="65"/>
                      <a:pt x="28" y="66"/>
                    </a:cubicBezTo>
                    <a:cubicBezTo>
                      <a:pt x="29" y="66"/>
                      <a:pt x="30" y="65"/>
                      <a:pt x="31" y="65"/>
                    </a:cubicBezTo>
                    <a:cubicBezTo>
                      <a:pt x="32" y="65"/>
                      <a:pt x="32" y="65"/>
                      <a:pt x="32" y="65"/>
                    </a:cubicBezTo>
                    <a:cubicBezTo>
                      <a:pt x="33" y="66"/>
                      <a:pt x="33" y="67"/>
                      <a:pt x="33" y="67"/>
                    </a:cubicBezTo>
                    <a:cubicBezTo>
                      <a:pt x="33" y="67"/>
                      <a:pt x="32" y="68"/>
                      <a:pt x="32" y="68"/>
                    </a:cubicBezTo>
                    <a:cubicBezTo>
                      <a:pt x="32" y="68"/>
                      <a:pt x="32" y="67"/>
                      <a:pt x="32" y="67"/>
                    </a:cubicBezTo>
                    <a:cubicBezTo>
                      <a:pt x="32" y="67"/>
                      <a:pt x="32" y="67"/>
                      <a:pt x="32" y="67"/>
                    </a:cubicBezTo>
                    <a:cubicBezTo>
                      <a:pt x="31" y="67"/>
                      <a:pt x="31" y="68"/>
                      <a:pt x="31" y="69"/>
                    </a:cubicBezTo>
                    <a:cubicBezTo>
                      <a:pt x="31" y="69"/>
                      <a:pt x="31" y="69"/>
                      <a:pt x="31" y="69"/>
                    </a:cubicBezTo>
                    <a:cubicBezTo>
                      <a:pt x="31" y="70"/>
                      <a:pt x="31" y="70"/>
                      <a:pt x="32" y="70"/>
                    </a:cubicBezTo>
                    <a:cubicBezTo>
                      <a:pt x="33" y="70"/>
                      <a:pt x="33" y="70"/>
                      <a:pt x="33" y="70"/>
                    </a:cubicBezTo>
                    <a:cubicBezTo>
                      <a:pt x="34" y="70"/>
                      <a:pt x="34" y="70"/>
                      <a:pt x="34" y="70"/>
                    </a:cubicBezTo>
                    <a:cubicBezTo>
                      <a:pt x="34" y="69"/>
                      <a:pt x="35" y="69"/>
                      <a:pt x="35" y="69"/>
                    </a:cubicBezTo>
                    <a:cubicBezTo>
                      <a:pt x="35" y="68"/>
                      <a:pt x="36" y="68"/>
                      <a:pt x="36" y="68"/>
                    </a:cubicBezTo>
                    <a:cubicBezTo>
                      <a:pt x="36" y="68"/>
                      <a:pt x="38" y="69"/>
                      <a:pt x="38" y="69"/>
                    </a:cubicBezTo>
                    <a:cubicBezTo>
                      <a:pt x="38" y="69"/>
                      <a:pt x="38" y="69"/>
                      <a:pt x="38" y="69"/>
                    </a:cubicBezTo>
                    <a:cubicBezTo>
                      <a:pt x="38" y="70"/>
                      <a:pt x="38" y="70"/>
                      <a:pt x="38" y="70"/>
                    </a:cubicBezTo>
                    <a:cubicBezTo>
                      <a:pt x="38" y="70"/>
                      <a:pt x="38" y="70"/>
                      <a:pt x="38" y="70"/>
                    </a:cubicBezTo>
                    <a:cubicBezTo>
                      <a:pt x="37" y="70"/>
                      <a:pt x="37" y="70"/>
                      <a:pt x="37" y="70"/>
                    </a:cubicBezTo>
                    <a:cubicBezTo>
                      <a:pt x="37" y="70"/>
                      <a:pt x="36" y="71"/>
                      <a:pt x="36" y="72"/>
                    </a:cubicBezTo>
                    <a:cubicBezTo>
                      <a:pt x="36" y="72"/>
                      <a:pt x="36" y="72"/>
                      <a:pt x="35" y="72"/>
                    </a:cubicBezTo>
                    <a:cubicBezTo>
                      <a:pt x="35" y="72"/>
                      <a:pt x="35" y="72"/>
                      <a:pt x="35" y="72"/>
                    </a:cubicBezTo>
                    <a:cubicBezTo>
                      <a:pt x="34" y="71"/>
                      <a:pt x="34" y="71"/>
                      <a:pt x="34" y="71"/>
                    </a:cubicBezTo>
                    <a:cubicBezTo>
                      <a:pt x="34" y="72"/>
                      <a:pt x="34" y="72"/>
                      <a:pt x="34" y="72"/>
                    </a:cubicBezTo>
                    <a:cubicBezTo>
                      <a:pt x="34" y="73"/>
                      <a:pt x="34" y="73"/>
                      <a:pt x="34" y="73"/>
                    </a:cubicBezTo>
                    <a:cubicBezTo>
                      <a:pt x="34" y="74"/>
                      <a:pt x="34" y="74"/>
                      <a:pt x="34" y="73"/>
                    </a:cubicBezTo>
                    <a:cubicBezTo>
                      <a:pt x="35" y="73"/>
                      <a:pt x="35" y="73"/>
                      <a:pt x="35" y="73"/>
                    </a:cubicBezTo>
                    <a:cubicBezTo>
                      <a:pt x="35" y="73"/>
                      <a:pt x="35" y="73"/>
                      <a:pt x="35" y="73"/>
                    </a:cubicBezTo>
                    <a:cubicBezTo>
                      <a:pt x="36" y="73"/>
                      <a:pt x="36" y="73"/>
                      <a:pt x="37" y="73"/>
                    </a:cubicBezTo>
                    <a:cubicBezTo>
                      <a:pt x="37" y="74"/>
                      <a:pt x="37" y="74"/>
                      <a:pt x="37" y="74"/>
                    </a:cubicBezTo>
                    <a:cubicBezTo>
                      <a:pt x="38" y="74"/>
                      <a:pt x="38" y="75"/>
                      <a:pt x="38" y="75"/>
                    </a:cubicBezTo>
                    <a:cubicBezTo>
                      <a:pt x="38" y="75"/>
                      <a:pt x="39" y="75"/>
                      <a:pt x="39" y="75"/>
                    </a:cubicBezTo>
                    <a:cubicBezTo>
                      <a:pt x="40" y="76"/>
                      <a:pt x="40" y="76"/>
                      <a:pt x="41" y="76"/>
                    </a:cubicBezTo>
                    <a:cubicBezTo>
                      <a:pt x="44" y="76"/>
                      <a:pt x="44" y="76"/>
                      <a:pt x="44" y="76"/>
                    </a:cubicBezTo>
                    <a:cubicBezTo>
                      <a:pt x="45" y="76"/>
                      <a:pt x="45" y="76"/>
                      <a:pt x="45" y="76"/>
                    </a:cubicBezTo>
                    <a:cubicBezTo>
                      <a:pt x="46" y="76"/>
                      <a:pt x="49" y="76"/>
                      <a:pt x="49" y="76"/>
                    </a:cubicBezTo>
                    <a:cubicBezTo>
                      <a:pt x="51" y="77"/>
                      <a:pt x="51" y="77"/>
                      <a:pt x="51" y="77"/>
                    </a:cubicBezTo>
                    <a:cubicBezTo>
                      <a:pt x="51" y="77"/>
                      <a:pt x="51" y="77"/>
                      <a:pt x="51" y="77"/>
                    </a:cubicBezTo>
                    <a:cubicBezTo>
                      <a:pt x="51" y="77"/>
                      <a:pt x="51" y="77"/>
                      <a:pt x="51" y="77"/>
                    </a:cubicBezTo>
                    <a:cubicBezTo>
                      <a:pt x="51" y="77"/>
                      <a:pt x="51" y="77"/>
                      <a:pt x="51" y="77"/>
                    </a:cubicBezTo>
                    <a:cubicBezTo>
                      <a:pt x="51" y="79"/>
                      <a:pt x="51" y="79"/>
                      <a:pt x="51" y="79"/>
                    </a:cubicBezTo>
                    <a:cubicBezTo>
                      <a:pt x="51" y="79"/>
                      <a:pt x="51" y="79"/>
                      <a:pt x="51" y="79"/>
                    </a:cubicBezTo>
                    <a:cubicBezTo>
                      <a:pt x="51" y="79"/>
                      <a:pt x="52" y="79"/>
                      <a:pt x="53" y="79"/>
                    </a:cubicBezTo>
                    <a:cubicBezTo>
                      <a:pt x="53" y="80"/>
                      <a:pt x="53" y="80"/>
                      <a:pt x="51" y="80"/>
                    </a:cubicBezTo>
                    <a:cubicBezTo>
                      <a:pt x="51" y="80"/>
                      <a:pt x="51" y="80"/>
                      <a:pt x="51" y="80"/>
                    </a:cubicBezTo>
                    <a:cubicBezTo>
                      <a:pt x="52" y="81"/>
                      <a:pt x="52" y="81"/>
                      <a:pt x="52" y="81"/>
                    </a:cubicBezTo>
                    <a:cubicBezTo>
                      <a:pt x="51" y="83"/>
                      <a:pt x="51" y="83"/>
                      <a:pt x="51" y="83"/>
                    </a:cubicBezTo>
                    <a:cubicBezTo>
                      <a:pt x="51" y="82"/>
                      <a:pt x="51" y="82"/>
                      <a:pt x="51" y="82"/>
                    </a:cubicBezTo>
                    <a:cubicBezTo>
                      <a:pt x="51" y="82"/>
                      <a:pt x="51" y="82"/>
                      <a:pt x="51" y="82"/>
                    </a:cubicBezTo>
                    <a:cubicBezTo>
                      <a:pt x="51" y="82"/>
                      <a:pt x="51" y="82"/>
                      <a:pt x="51" y="82"/>
                    </a:cubicBezTo>
                    <a:cubicBezTo>
                      <a:pt x="50" y="81"/>
                      <a:pt x="50" y="81"/>
                      <a:pt x="50" y="81"/>
                    </a:cubicBezTo>
                    <a:cubicBezTo>
                      <a:pt x="48" y="81"/>
                      <a:pt x="48" y="81"/>
                      <a:pt x="48" y="81"/>
                    </a:cubicBezTo>
                    <a:cubicBezTo>
                      <a:pt x="48" y="81"/>
                      <a:pt x="48" y="81"/>
                      <a:pt x="48" y="81"/>
                    </a:cubicBezTo>
                    <a:cubicBezTo>
                      <a:pt x="48" y="82"/>
                      <a:pt x="48" y="82"/>
                      <a:pt x="48" y="82"/>
                    </a:cubicBezTo>
                    <a:cubicBezTo>
                      <a:pt x="47" y="82"/>
                      <a:pt x="47" y="82"/>
                      <a:pt x="47" y="82"/>
                    </a:cubicBezTo>
                    <a:cubicBezTo>
                      <a:pt x="46" y="82"/>
                      <a:pt x="45" y="82"/>
                      <a:pt x="45" y="82"/>
                    </a:cubicBezTo>
                    <a:cubicBezTo>
                      <a:pt x="44" y="81"/>
                      <a:pt x="44" y="81"/>
                      <a:pt x="43" y="81"/>
                    </a:cubicBezTo>
                    <a:cubicBezTo>
                      <a:pt x="42" y="82"/>
                      <a:pt x="42" y="82"/>
                      <a:pt x="42" y="82"/>
                    </a:cubicBezTo>
                    <a:cubicBezTo>
                      <a:pt x="42" y="83"/>
                      <a:pt x="41" y="83"/>
                      <a:pt x="40" y="83"/>
                    </a:cubicBezTo>
                    <a:cubicBezTo>
                      <a:pt x="40" y="83"/>
                      <a:pt x="40" y="84"/>
                      <a:pt x="39" y="85"/>
                    </a:cubicBezTo>
                    <a:cubicBezTo>
                      <a:pt x="36" y="87"/>
                      <a:pt x="36" y="87"/>
                      <a:pt x="36" y="87"/>
                    </a:cubicBezTo>
                    <a:cubicBezTo>
                      <a:pt x="36" y="88"/>
                      <a:pt x="36" y="88"/>
                      <a:pt x="36" y="88"/>
                    </a:cubicBezTo>
                    <a:cubicBezTo>
                      <a:pt x="36" y="88"/>
                      <a:pt x="37" y="88"/>
                      <a:pt x="38" y="89"/>
                    </a:cubicBezTo>
                    <a:cubicBezTo>
                      <a:pt x="38" y="89"/>
                      <a:pt x="38" y="90"/>
                      <a:pt x="37" y="90"/>
                    </a:cubicBezTo>
                    <a:cubicBezTo>
                      <a:pt x="37" y="90"/>
                      <a:pt x="37" y="90"/>
                      <a:pt x="36" y="91"/>
                    </a:cubicBezTo>
                    <a:cubicBezTo>
                      <a:pt x="36" y="91"/>
                      <a:pt x="35" y="92"/>
                      <a:pt x="35" y="92"/>
                    </a:cubicBezTo>
                    <a:cubicBezTo>
                      <a:pt x="35" y="93"/>
                      <a:pt x="34" y="93"/>
                      <a:pt x="34" y="93"/>
                    </a:cubicBezTo>
                    <a:cubicBezTo>
                      <a:pt x="34" y="94"/>
                      <a:pt x="34" y="94"/>
                      <a:pt x="33" y="95"/>
                    </a:cubicBezTo>
                    <a:cubicBezTo>
                      <a:pt x="33" y="96"/>
                      <a:pt x="32" y="95"/>
                      <a:pt x="31" y="95"/>
                    </a:cubicBezTo>
                    <a:cubicBezTo>
                      <a:pt x="30" y="95"/>
                      <a:pt x="30" y="95"/>
                      <a:pt x="29" y="95"/>
                    </a:cubicBezTo>
                    <a:cubicBezTo>
                      <a:pt x="29" y="96"/>
                      <a:pt x="29" y="96"/>
                      <a:pt x="29" y="96"/>
                    </a:cubicBezTo>
                    <a:cubicBezTo>
                      <a:pt x="28" y="96"/>
                      <a:pt x="28" y="97"/>
                      <a:pt x="28" y="97"/>
                    </a:cubicBezTo>
                    <a:cubicBezTo>
                      <a:pt x="27" y="97"/>
                      <a:pt x="27" y="98"/>
                      <a:pt x="27" y="98"/>
                    </a:cubicBezTo>
                    <a:cubicBezTo>
                      <a:pt x="26" y="99"/>
                      <a:pt x="26" y="99"/>
                      <a:pt x="25" y="99"/>
                    </a:cubicBezTo>
                    <a:cubicBezTo>
                      <a:pt x="25" y="99"/>
                      <a:pt x="24" y="99"/>
                      <a:pt x="24" y="99"/>
                    </a:cubicBezTo>
                    <a:cubicBezTo>
                      <a:pt x="23" y="99"/>
                      <a:pt x="23" y="99"/>
                      <a:pt x="23" y="99"/>
                    </a:cubicBezTo>
                    <a:cubicBezTo>
                      <a:pt x="23" y="99"/>
                      <a:pt x="23" y="99"/>
                      <a:pt x="22" y="99"/>
                    </a:cubicBezTo>
                    <a:cubicBezTo>
                      <a:pt x="21" y="99"/>
                      <a:pt x="21" y="101"/>
                      <a:pt x="21" y="101"/>
                    </a:cubicBezTo>
                    <a:cubicBezTo>
                      <a:pt x="21" y="101"/>
                      <a:pt x="21" y="101"/>
                      <a:pt x="22" y="100"/>
                    </a:cubicBezTo>
                    <a:cubicBezTo>
                      <a:pt x="22" y="100"/>
                      <a:pt x="22" y="101"/>
                      <a:pt x="23" y="101"/>
                    </a:cubicBezTo>
                    <a:cubicBezTo>
                      <a:pt x="23" y="101"/>
                      <a:pt x="24" y="101"/>
                      <a:pt x="25" y="100"/>
                    </a:cubicBezTo>
                    <a:cubicBezTo>
                      <a:pt x="26" y="100"/>
                      <a:pt x="26" y="100"/>
                      <a:pt x="26" y="100"/>
                    </a:cubicBezTo>
                    <a:cubicBezTo>
                      <a:pt x="27" y="100"/>
                      <a:pt x="27" y="100"/>
                      <a:pt x="27" y="100"/>
                    </a:cubicBezTo>
                    <a:cubicBezTo>
                      <a:pt x="28" y="100"/>
                      <a:pt x="29" y="100"/>
                      <a:pt x="29" y="100"/>
                    </a:cubicBezTo>
                    <a:cubicBezTo>
                      <a:pt x="29" y="100"/>
                      <a:pt x="30" y="100"/>
                      <a:pt x="30" y="100"/>
                    </a:cubicBezTo>
                    <a:cubicBezTo>
                      <a:pt x="30" y="99"/>
                      <a:pt x="30" y="99"/>
                      <a:pt x="31" y="99"/>
                    </a:cubicBezTo>
                    <a:cubicBezTo>
                      <a:pt x="31" y="99"/>
                      <a:pt x="31" y="99"/>
                      <a:pt x="32" y="101"/>
                    </a:cubicBezTo>
                    <a:cubicBezTo>
                      <a:pt x="32" y="101"/>
                      <a:pt x="32" y="101"/>
                      <a:pt x="32" y="102"/>
                    </a:cubicBezTo>
                    <a:cubicBezTo>
                      <a:pt x="32" y="102"/>
                      <a:pt x="33" y="102"/>
                      <a:pt x="34" y="102"/>
                    </a:cubicBezTo>
                    <a:cubicBezTo>
                      <a:pt x="35" y="102"/>
                      <a:pt x="35" y="102"/>
                      <a:pt x="35" y="102"/>
                    </a:cubicBezTo>
                    <a:cubicBezTo>
                      <a:pt x="35" y="102"/>
                      <a:pt x="36" y="102"/>
                      <a:pt x="36" y="102"/>
                    </a:cubicBezTo>
                    <a:cubicBezTo>
                      <a:pt x="36" y="102"/>
                      <a:pt x="37" y="102"/>
                      <a:pt x="37" y="102"/>
                    </a:cubicBezTo>
                    <a:cubicBezTo>
                      <a:pt x="37" y="102"/>
                      <a:pt x="38" y="102"/>
                      <a:pt x="38" y="102"/>
                    </a:cubicBezTo>
                    <a:cubicBezTo>
                      <a:pt x="39" y="103"/>
                      <a:pt x="39" y="103"/>
                      <a:pt x="39" y="103"/>
                    </a:cubicBezTo>
                    <a:cubicBezTo>
                      <a:pt x="40" y="103"/>
                      <a:pt x="40" y="103"/>
                      <a:pt x="40" y="103"/>
                    </a:cubicBezTo>
                    <a:cubicBezTo>
                      <a:pt x="41" y="103"/>
                      <a:pt x="41" y="103"/>
                      <a:pt x="41" y="103"/>
                    </a:cubicBezTo>
                    <a:cubicBezTo>
                      <a:pt x="42" y="102"/>
                      <a:pt x="43" y="102"/>
                      <a:pt x="43" y="101"/>
                    </a:cubicBezTo>
                    <a:cubicBezTo>
                      <a:pt x="43" y="101"/>
                      <a:pt x="44" y="100"/>
                      <a:pt x="44" y="100"/>
                    </a:cubicBezTo>
                    <a:cubicBezTo>
                      <a:pt x="45" y="99"/>
                      <a:pt x="45" y="99"/>
                      <a:pt x="46" y="99"/>
                    </a:cubicBezTo>
                    <a:cubicBezTo>
                      <a:pt x="46" y="99"/>
                      <a:pt x="46" y="99"/>
                      <a:pt x="46" y="99"/>
                    </a:cubicBezTo>
                    <a:cubicBezTo>
                      <a:pt x="47" y="100"/>
                      <a:pt x="47" y="100"/>
                      <a:pt x="46" y="101"/>
                    </a:cubicBezTo>
                    <a:cubicBezTo>
                      <a:pt x="47" y="103"/>
                      <a:pt x="47" y="103"/>
                      <a:pt x="47" y="103"/>
                    </a:cubicBezTo>
                    <a:cubicBezTo>
                      <a:pt x="47" y="103"/>
                      <a:pt x="47" y="103"/>
                      <a:pt x="46" y="103"/>
                    </a:cubicBezTo>
                    <a:cubicBezTo>
                      <a:pt x="46" y="103"/>
                      <a:pt x="45" y="103"/>
                      <a:pt x="45" y="104"/>
                    </a:cubicBezTo>
                    <a:cubicBezTo>
                      <a:pt x="45" y="104"/>
                      <a:pt x="44" y="104"/>
                      <a:pt x="43" y="104"/>
                    </a:cubicBezTo>
                    <a:cubicBezTo>
                      <a:pt x="43" y="104"/>
                      <a:pt x="42" y="104"/>
                      <a:pt x="41" y="104"/>
                    </a:cubicBezTo>
                    <a:cubicBezTo>
                      <a:pt x="41" y="104"/>
                      <a:pt x="41" y="104"/>
                      <a:pt x="41" y="104"/>
                    </a:cubicBezTo>
                    <a:cubicBezTo>
                      <a:pt x="40" y="104"/>
                      <a:pt x="39" y="104"/>
                      <a:pt x="38" y="104"/>
                    </a:cubicBezTo>
                    <a:cubicBezTo>
                      <a:pt x="38" y="104"/>
                      <a:pt x="37" y="105"/>
                      <a:pt x="37" y="105"/>
                    </a:cubicBezTo>
                    <a:cubicBezTo>
                      <a:pt x="36" y="105"/>
                      <a:pt x="35" y="105"/>
                      <a:pt x="34" y="104"/>
                    </a:cubicBezTo>
                    <a:cubicBezTo>
                      <a:pt x="34" y="104"/>
                      <a:pt x="33" y="103"/>
                      <a:pt x="33" y="103"/>
                    </a:cubicBezTo>
                    <a:cubicBezTo>
                      <a:pt x="31" y="103"/>
                      <a:pt x="31" y="103"/>
                      <a:pt x="31" y="103"/>
                    </a:cubicBezTo>
                    <a:cubicBezTo>
                      <a:pt x="30" y="103"/>
                      <a:pt x="30" y="103"/>
                      <a:pt x="30" y="103"/>
                    </a:cubicBezTo>
                    <a:cubicBezTo>
                      <a:pt x="27" y="102"/>
                      <a:pt x="27" y="102"/>
                      <a:pt x="27" y="102"/>
                    </a:cubicBezTo>
                    <a:cubicBezTo>
                      <a:pt x="27" y="103"/>
                      <a:pt x="27" y="103"/>
                      <a:pt x="27" y="103"/>
                    </a:cubicBezTo>
                    <a:cubicBezTo>
                      <a:pt x="27" y="103"/>
                      <a:pt x="27" y="103"/>
                      <a:pt x="27" y="103"/>
                    </a:cubicBezTo>
                    <a:cubicBezTo>
                      <a:pt x="27" y="103"/>
                      <a:pt x="26" y="104"/>
                      <a:pt x="26" y="104"/>
                    </a:cubicBezTo>
                    <a:cubicBezTo>
                      <a:pt x="26" y="104"/>
                      <a:pt x="26" y="104"/>
                      <a:pt x="26" y="105"/>
                    </a:cubicBezTo>
                    <a:cubicBezTo>
                      <a:pt x="25" y="105"/>
                      <a:pt x="25" y="105"/>
                      <a:pt x="25" y="105"/>
                    </a:cubicBezTo>
                    <a:cubicBezTo>
                      <a:pt x="25" y="105"/>
                      <a:pt x="24" y="106"/>
                      <a:pt x="24" y="106"/>
                    </a:cubicBezTo>
                    <a:cubicBezTo>
                      <a:pt x="24" y="106"/>
                      <a:pt x="23" y="106"/>
                      <a:pt x="23" y="106"/>
                    </a:cubicBezTo>
                    <a:cubicBezTo>
                      <a:pt x="22" y="107"/>
                      <a:pt x="22" y="107"/>
                      <a:pt x="22" y="107"/>
                    </a:cubicBezTo>
                    <a:cubicBezTo>
                      <a:pt x="18" y="107"/>
                      <a:pt x="18" y="107"/>
                      <a:pt x="18" y="107"/>
                    </a:cubicBezTo>
                    <a:cubicBezTo>
                      <a:pt x="18" y="107"/>
                      <a:pt x="18" y="107"/>
                      <a:pt x="18" y="107"/>
                    </a:cubicBezTo>
                    <a:cubicBezTo>
                      <a:pt x="18" y="107"/>
                      <a:pt x="19" y="107"/>
                      <a:pt x="20" y="108"/>
                    </a:cubicBezTo>
                    <a:cubicBezTo>
                      <a:pt x="20" y="108"/>
                      <a:pt x="20" y="108"/>
                      <a:pt x="20" y="108"/>
                    </a:cubicBezTo>
                    <a:cubicBezTo>
                      <a:pt x="20" y="108"/>
                      <a:pt x="20" y="109"/>
                      <a:pt x="20" y="109"/>
                    </a:cubicBezTo>
                    <a:cubicBezTo>
                      <a:pt x="20" y="109"/>
                      <a:pt x="19" y="111"/>
                      <a:pt x="19" y="111"/>
                    </a:cubicBezTo>
                    <a:cubicBezTo>
                      <a:pt x="19" y="111"/>
                      <a:pt x="19" y="112"/>
                      <a:pt x="19" y="112"/>
                    </a:cubicBezTo>
                    <a:cubicBezTo>
                      <a:pt x="19" y="112"/>
                      <a:pt x="19" y="113"/>
                      <a:pt x="19" y="114"/>
                    </a:cubicBezTo>
                    <a:cubicBezTo>
                      <a:pt x="19" y="114"/>
                      <a:pt x="19" y="114"/>
                      <a:pt x="19" y="114"/>
                    </a:cubicBezTo>
                    <a:cubicBezTo>
                      <a:pt x="19" y="114"/>
                      <a:pt x="19" y="114"/>
                      <a:pt x="19" y="114"/>
                    </a:cubicBezTo>
                    <a:cubicBezTo>
                      <a:pt x="19" y="114"/>
                      <a:pt x="18" y="114"/>
                      <a:pt x="18" y="114"/>
                    </a:cubicBezTo>
                    <a:cubicBezTo>
                      <a:pt x="18" y="114"/>
                      <a:pt x="18" y="114"/>
                      <a:pt x="18" y="114"/>
                    </a:cubicBezTo>
                    <a:cubicBezTo>
                      <a:pt x="18" y="114"/>
                      <a:pt x="18" y="115"/>
                      <a:pt x="18" y="115"/>
                    </a:cubicBezTo>
                    <a:cubicBezTo>
                      <a:pt x="17" y="115"/>
                      <a:pt x="17" y="114"/>
                      <a:pt x="16" y="114"/>
                    </a:cubicBezTo>
                    <a:cubicBezTo>
                      <a:pt x="16" y="114"/>
                      <a:pt x="16" y="114"/>
                      <a:pt x="15" y="114"/>
                    </a:cubicBezTo>
                    <a:cubicBezTo>
                      <a:pt x="16" y="113"/>
                      <a:pt x="15" y="113"/>
                      <a:pt x="15" y="113"/>
                    </a:cubicBezTo>
                    <a:cubicBezTo>
                      <a:pt x="14" y="113"/>
                      <a:pt x="14" y="112"/>
                      <a:pt x="14" y="112"/>
                    </a:cubicBezTo>
                    <a:cubicBezTo>
                      <a:pt x="14" y="112"/>
                      <a:pt x="14" y="111"/>
                      <a:pt x="13" y="111"/>
                    </a:cubicBezTo>
                    <a:cubicBezTo>
                      <a:pt x="13" y="111"/>
                      <a:pt x="13" y="111"/>
                      <a:pt x="12" y="112"/>
                    </a:cubicBezTo>
                    <a:cubicBezTo>
                      <a:pt x="12" y="113"/>
                      <a:pt x="11" y="112"/>
                      <a:pt x="10" y="112"/>
                    </a:cubicBezTo>
                    <a:cubicBezTo>
                      <a:pt x="10" y="112"/>
                      <a:pt x="10" y="112"/>
                      <a:pt x="10" y="112"/>
                    </a:cubicBezTo>
                    <a:cubicBezTo>
                      <a:pt x="10" y="112"/>
                      <a:pt x="10" y="111"/>
                      <a:pt x="10" y="111"/>
                    </a:cubicBezTo>
                    <a:cubicBezTo>
                      <a:pt x="10" y="111"/>
                      <a:pt x="10" y="111"/>
                      <a:pt x="10" y="111"/>
                    </a:cubicBezTo>
                    <a:cubicBezTo>
                      <a:pt x="10" y="111"/>
                      <a:pt x="10" y="110"/>
                      <a:pt x="10" y="110"/>
                    </a:cubicBezTo>
                    <a:cubicBezTo>
                      <a:pt x="10" y="110"/>
                      <a:pt x="10" y="110"/>
                      <a:pt x="10" y="110"/>
                    </a:cubicBezTo>
                    <a:cubicBezTo>
                      <a:pt x="10" y="110"/>
                      <a:pt x="9" y="110"/>
                      <a:pt x="8" y="110"/>
                    </a:cubicBezTo>
                    <a:cubicBezTo>
                      <a:pt x="8" y="110"/>
                      <a:pt x="7" y="111"/>
                      <a:pt x="6" y="111"/>
                    </a:cubicBezTo>
                    <a:cubicBezTo>
                      <a:pt x="6" y="111"/>
                      <a:pt x="5" y="111"/>
                      <a:pt x="5" y="111"/>
                    </a:cubicBezTo>
                    <a:cubicBezTo>
                      <a:pt x="5" y="112"/>
                      <a:pt x="4" y="113"/>
                      <a:pt x="4" y="113"/>
                    </a:cubicBezTo>
                    <a:cubicBezTo>
                      <a:pt x="3" y="114"/>
                      <a:pt x="3" y="113"/>
                      <a:pt x="3" y="113"/>
                    </a:cubicBezTo>
                    <a:cubicBezTo>
                      <a:pt x="3" y="112"/>
                      <a:pt x="3" y="112"/>
                      <a:pt x="3" y="112"/>
                    </a:cubicBezTo>
                    <a:cubicBezTo>
                      <a:pt x="2" y="112"/>
                      <a:pt x="2" y="113"/>
                      <a:pt x="1" y="113"/>
                    </a:cubicBezTo>
                    <a:cubicBezTo>
                      <a:pt x="1" y="113"/>
                      <a:pt x="1" y="114"/>
                      <a:pt x="1" y="114"/>
                    </a:cubicBezTo>
                    <a:cubicBezTo>
                      <a:pt x="1" y="114"/>
                      <a:pt x="2" y="115"/>
                      <a:pt x="2" y="115"/>
                    </a:cubicBezTo>
                    <a:cubicBezTo>
                      <a:pt x="2" y="115"/>
                      <a:pt x="3" y="115"/>
                      <a:pt x="3" y="115"/>
                    </a:cubicBezTo>
                    <a:cubicBezTo>
                      <a:pt x="3" y="115"/>
                      <a:pt x="4" y="115"/>
                      <a:pt x="4" y="115"/>
                    </a:cubicBezTo>
                    <a:cubicBezTo>
                      <a:pt x="4" y="115"/>
                      <a:pt x="5" y="115"/>
                      <a:pt x="6" y="116"/>
                    </a:cubicBezTo>
                    <a:cubicBezTo>
                      <a:pt x="8" y="116"/>
                      <a:pt x="8" y="116"/>
                      <a:pt x="8" y="117"/>
                    </a:cubicBezTo>
                    <a:cubicBezTo>
                      <a:pt x="8" y="117"/>
                      <a:pt x="8" y="117"/>
                      <a:pt x="7" y="117"/>
                    </a:cubicBezTo>
                    <a:cubicBezTo>
                      <a:pt x="8" y="117"/>
                      <a:pt x="8" y="117"/>
                      <a:pt x="8" y="117"/>
                    </a:cubicBezTo>
                    <a:cubicBezTo>
                      <a:pt x="9" y="117"/>
                      <a:pt x="9" y="117"/>
                      <a:pt x="9" y="117"/>
                    </a:cubicBezTo>
                    <a:cubicBezTo>
                      <a:pt x="9" y="117"/>
                      <a:pt x="10" y="117"/>
                      <a:pt x="11" y="117"/>
                    </a:cubicBezTo>
                    <a:cubicBezTo>
                      <a:pt x="12" y="117"/>
                      <a:pt x="12" y="118"/>
                      <a:pt x="12" y="118"/>
                    </a:cubicBezTo>
                    <a:cubicBezTo>
                      <a:pt x="12" y="118"/>
                      <a:pt x="13" y="117"/>
                      <a:pt x="14" y="117"/>
                    </a:cubicBezTo>
                    <a:cubicBezTo>
                      <a:pt x="15" y="117"/>
                      <a:pt x="15" y="118"/>
                      <a:pt x="15" y="118"/>
                    </a:cubicBezTo>
                    <a:cubicBezTo>
                      <a:pt x="16" y="118"/>
                      <a:pt x="16" y="118"/>
                      <a:pt x="17" y="118"/>
                    </a:cubicBezTo>
                    <a:cubicBezTo>
                      <a:pt x="18" y="118"/>
                      <a:pt x="18" y="118"/>
                      <a:pt x="18" y="118"/>
                    </a:cubicBezTo>
                    <a:cubicBezTo>
                      <a:pt x="18" y="118"/>
                      <a:pt x="19" y="118"/>
                      <a:pt x="19" y="118"/>
                    </a:cubicBezTo>
                    <a:cubicBezTo>
                      <a:pt x="19" y="118"/>
                      <a:pt x="19" y="119"/>
                      <a:pt x="19" y="119"/>
                    </a:cubicBezTo>
                    <a:cubicBezTo>
                      <a:pt x="19" y="119"/>
                      <a:pt x="18" y="119"/>
                      <a:pt x="18" y="119"/>
                    </a:cubicBezTo>
                    <a:cubicBezTo>
                      <a:pt x="17" y="119"/>
                      <a:pt x="17" y="119"/>
                      <a:pt x="17" y="119"/>
                    </a:cubicBezTo>
                    <a:cubicBezTo>
                      <a:pt x="16" y="119"/>
                      <a:pt x="16" y="119"/>
                      <a:pt x="16" y="119"/>
                    </a:cubicBezTo>
                    <a:cubicBezTo>
                      <a:pt x="16" y="119"/>
                      <a:pt x="16" y="119"/>
                      <a:pt x="16" y="119"/>
                    </a:cubicBezTo>
                    <a:cubicBezTo>
                      <a:pt x="15" y="120"/>
                      <a:pt x="15" y="120"/>
                      <a:pt x="15" y="120"/>
                    </a:cubicBezTo>
                    <a:cubicBezTo>
                      <a:pt x="14" y="121"/>
                      <a:pt x="13" y="121"/>
                      <a:pt x="13" y="121"/>
                    </a:cubicBezTo>
                    <a:cubicBezTo>
                      <a:pt x="12" y="121"/>
                      <a:pt x="11" y="121"/>
                      <a:pt x="11" y="121"/>
                    </a:cubicBezTo>
                    <a:cubicBezTo>
                      <a:pt x="11" y="121"/>
                      <a:pt x="10" y="121"/>
                      <a:pt x="10" y="121"/>
                    </a:cubicBezTo>
                    <a:cubicBezTo>
                      <a:pt x="10" y="121"/>
                      <a:pt x="9" y="121"/>
                      <a:pt x="8" y="121"/>
                    </a:cubicBezTo>
                    <a:cubicBezTo>
                      <a:pt x="8" y="121"/>
                      <a:pt x="7" y="121"/>
                      <a:pt x="7" y="122"/>
                    </a:cubicBezTo>
                    <a:cubicBezTo>
                      <a:pt x="6" y="122"/>
                      <a:pt x="6" y="122"/>
                      <a:pt x="6" y="122"/>
                    </a:cubicBezTo>
                    <a:cubicBezTo>
                      <a:pt x="6" y="122"/>
                      <a:pt x="5" y="122"/>
                      <a:pt x="5" y="122"/>
                    </a:cubicBezTo>
                    <a:cubicBezTo>
                      <a:pt x="4" y="122"/>
                      <a:pt x="4" y="122"/>
                      <a:pt x="4" y="123"/>
                    </a:cubicBezTo>
                    <a:cubicBezTo>
                      <a:pt x="3" y="123"/>
                      <a:pt x="3" y="123"/>
                      <a:pt x="3" y="123"/>
                    </a:cubicBezTo>
                    <a:cubicBezTo>
                      <a:pt x="4" y="124"/>
                      <a:pt x="4" y="125"/>
                      <a:pt x="3" y="125"/>
                    </a:cubicBezTo>
                    <a:cubicBezTo>
                      <a:pt x="2" y="125"/>
                      <a:pt x="2" y="125"/>
                      <a:pt x="2" y="125"/>
                    </a:cubicBezTo>
                    <a:cubicBezTo>
                      <a:pt x="1" y="125"/>
                      <a:pt x="1" y="125"/>
                      <a:pt x="0" y="126"/>
                    </a:cubicBezTo>
                    <a:cubicBezTo>
                      <a:pt x="0" y="126"/>
                      <a:pt x="0" y="126"/>
                      <a:pt x="0" y="126"/>
                    </a:cubicBezTo>
                    <a:cubicBezTo>
                      <a:pt x="1" y="127"/>
                      <a:pt x="0" y="128"/>
                      <a:pt x="0" y="128"/>
                    </a:cubicBezTo>
                    <a:cubicBezTo>
                      <a:pt x="0" y="128"/>
                      <a:pt x="0" y="129"/>
                      <a:pt x="0" y="129"/>
                    </a:cubicBezTo>
                    <a:cubicBezTo>
                      <a:pt x="1" y="129"/>
                      <a:pt x="1" y="129"/>
                      <a:pt x="1" y="129"/>
                    </a:cubicBezTo>
                    <a:cubicBezTo>
                      <a:pt x="1" y="129"/>
                      <a:pt x="1" y="129"/>
                      <a:pt x="1" y="129"/>
                    </a:cubicBezTo>
                    <a:cubicBezTo>
                      <a:pt x="1" y="129"/>
                      <a:pt x="1" y="129"/>
                      <a:pt x="1" y="129"/>
                    </a:cubicBezTo>
                    <a:cubicBezTo>
                      <a:pt x="2" y="128"/>
                      <a:pt x="3" y="128"/>
                      <a:pt x="3" y="128"/>
                    </a:cubicBezTo>
                    <a:cubicBezTo>
                      <a:pt x="3" y="128"/>
                      <a:pt x="4" y="128"/>
                      <a:pt x="4" y="128"/>
                    </a:cubicBezTo>
                    <a:cubicBezTo>
                      <a:pt x="5" y="128"/>
                      <a:pt x="5" y="128"/>
                      <a:pt x="5" y="128"/>
                    </a:cubicBezTo>
                    <a:cubicBezTo>
                      <a:pt x="5" y="129"/>
                      <a:pt x="4" y="129"/>
                      <a:pt x="4" y="130"/>
                    </a:cubicBezTo>
                    <a:cubicBezTo>
                      <a:pt x="4" y="130"/>
                      <a:pt x="4" y="130"/>
                      <a:pt x="4" y="131"/>
                    </a:cubicBezTo>
                    <a:cubicBezTo>
                      <a:pt x="4" y="131"/>
                      <a:pt x="4" y="132"/>
                      <a:pt x="4" y="132"/>
                    </a:cubicBezTo>
                    <a:cubicBezTo>
                      <a:pt x="4" y="132"/>
                      <a:pt x="5" y="132"/>
                      <a:pt x="6" y="132"/>
                    </a:cubicBezTo>
                    <a:cubicBezTo>
                      <a:pt x="6" y="132"/>
                      <a:pt x="7" y="132"/>
                      <a:pt x="8" y="132"/>
                    </a:cubicBezTo>
                    <a:cubicBezTo>
                      <a:pt x="9" y="132"/>
                      <a:pt x="9" y="132"/>
                      <a:pt x="9" y="132"/>
                    </a:cubicBezTo>
                    <a:cubicBezTo>
                      <a:pt x="9" y="132"/>
                      <a:pt x="9" y="132"/>
                      <a:pt x="10" y="132"/>
                    </a:cubicBezTo>
                    <a:cubicBezTo>
                      <a:pt x="10" y="132"/>
                      <a:pt x="10" y="131"/>
                      <a:pt x="10" y="131"/>
                    </a:cubicBezTo>
                    <a:cubicBezTo>
                      <a:pt x="11" y="132"/>
                      <a:pt x="11" y="132"/>
                      <a:pt x="11" y="132"/>
                    </a:cubicBezTo>
                    <a:cubicBezTo>
                      <a:pt x="12" y="132"/>
                      <a:pt x="12" y="132"/>
                      <a:pt x="13" y="132"/>
                    </a:cubicBezTo>
                    <a:cubicBezTo>
                      <a:pt x="13" y="131"/>
                      <a:pt x="14" y="131"/>
                      <a:pt x="14" y="131"/>
                    </a:cubicBezTo>
                    <a:cubicBezTo>
                      <a:pt x="14" y="131"/>
                      <a:pt x="15" y="131"/>
                      <a:pt x="15" y="131"/>
                    </a:cubicBezTo>
                    <a:cubicBezTo>
                      <a:pt x="16" y="131"/>
                      <a:pt x="16" y="131"/>
                      <a:pt x="16" y="131"/>
                    </a:cubicBezTo>
                    <a:cubicBezTo>
                      <a:pt x="17" y="131"/>
                      <a:pt x="17" y="131"/>
                      <a:pt x="17" y="131"/>
                    </a:cubicBezTo>
                    <a:cubicBezTo>
                      <a:pt x="17" y="131"/>
                      <a:pt x="18" y="132"/>
                      <a:pt x="18" y="132"/>
                    </a:cubicBezTo>
                    <a:cubicBezTo>
                      <a:pt x="18" y="133"/>
                      <a:pt x="16" y="133"/>
                      <a:pt x="15" y="133"/>
                    </a:cubicBezTo>
                    <a:cubicBezTo>
                      <a:pt x="15" y="133"/>
                      <a:pt x="14" y="133"/>
                      <a:pt x="14" y="133"/>
                    </a:cubicBezTo>
                    <a:cubicBezTo>
                      <a:pt x="14" y="133"/>
                      <a:pt x="13" y="133"/>
                      <a:pt x="13" y="133"/>
                    </a:cubicBezTo>
                    <a:cubicBezTo>
                      <a:pt x="12" y="134"/>
                      <a:pt x="12" y="134"/>
                      <a:pt x="11" y="134"/>
                    </a:cubicBezTo>
                    <a:cubicBezTo>
                      <a:pt x="10" y="134"/>
                      <a:pt x="10" y="134"/>
                      <a:pt x="10" y="134"/>
                    </a:cubicBezTo>
                    <a:cubicBezTo>
                      <a:pt x="8" y="135"/>
                      <a:pt x="8" y="135"/>
                      <a:pt x="8" y="135"/>
                    </a:cubicBezTo>
                    <a:cubicBezTo>
                      <a:pt x="8" y="135"/>
                      <a:pt x="6" y="136"/>
                      <a:pt x="6" y="136"/>
                    </a:cubicBezTo>
                    <a:cubicBezTo>
                      <a:pt x="6" y="137"/>
                      <a:pt x="6" y="137"/>
                      <a:pt x="5" y="137"/>
                    </a:cubicBezTo>
                    <a:cubicBezTo>
                      <a:pt x="4" y="138"/>
                      <a:pt x="4" y="138"/>
                      <a:pt x="4" y="138"/>
                    </a:cubicBezTo>
                    <a:cubicBezTo>
                      <a:pt x="3" y="138"/>
                      <a:pt x="2" y="138"/>
                      <a:pt x="1" y="139"/>
                    </a:cubicBezTo>
                    <a:cubicBezTo>
                      <a:pt x="2" y="139"/>
                      <a:pt x="4" y="139"/>
                      <a:pt x="6" y="139"/>
                    </a:cubicBezTo>
                    <a:cubicBezTo>
                      <a:pt x="6" y="139"/>
                      <a:pt x="6" y="139"/>
                      <a:pt x="6" y="139"/>
                    </a:cubicBezTo>
                    <a:cubicBezTo>
                      <a:pt x="7" y="139"/>
                      <a:pt x="7" y="139"/>
                      <a:pt x="8" y="139"/>
                    </a:cubicBezTo>
                    <a:cubicBezTo>
                      <a:pt x="8" y="139"/>
                      <a:pt x="8" y="139"/>
                      <a:pt x="9" y="138"/>
                    </a:cubicBezTo>
                    <a:cubicBezTo>
                      <a:pt x="10" y="138"/>
                      <a:pt x="10" y="138"/>
                      <a:pt x="10" y="138"/>
                    </a:cubicBezTo>
                    <a:cubicBezTo>
                      <a:pt x="11" y="138"/>
                      <a:pt x="11" y="138"/>
                      <a:pt x="12" y="138"/>
                    </a:cubicBezTo>
                    <a:cubicBezTo>
                      <a:pt x="13" y="138"/>
                      <a:pt x="13" y="139"/>
                      <a:pt x="14" y="139"/>
                    </a:cubicBezTo>
                    <a:cubicBezTo>
                      <a:pt x="15" y="139"/>
                      <a:pt x="15" y="139"/>
                      <a:pt x="15" y="139"/>
                    </a:cubicBezTo>
                    <a:cubicBezTo>
                      <a:pt x="16" y="139"/>
                      <a:pt x="16" y="139"/>
                      <a:pt x="16" y="139"/>
                    </a:cubicBezTo>
                    <a:cubicBezTo>
                      <a:pt x="16" y="139"/>
                      <a:pt x="18" y="138"/>
                      <a:pt x="18" y="138"/>
                    </a:cubicBezTo>
                    <a:cubicBezTo>
                      <a:pt x="19" y="138"/>
                      <a:pt x="20" y="137"/>
                      <a:pt x="20" y="137"/>
                    </a:cubicBezTo>
                    <a:cubicBezTo>
                      <a:pt x="20" y="137"/>
                      <a:pt x="21" y="138"/>
                      <a:pt x="21" y="139"/>
                    </a:cubicBezTo>
                    <a:cubicBezTo>
                      <a:pt x="21" y="140"/>
                      <a:pt x="20" y="141"/>
                      <a:pt x="20" y="141"/>
                    </a:cubicBezTo>
                    <a:cubicBezTo>
                      <a:pt x="19" y="141"/>
                      <a:pt x="18" y="142"/>
                      <a:pt x="17" y="141"/>
                    </a:cubicBezTo>
                    <a:cubicBezTo>
                      <a:pt x="16" y="141"/>
                      <a:pt x="15" y="142"/>
                      <a:pt x="14" y="142"/>
                    </a:cubicBezTo>
                    <a:cubicBezTo>
                      <a:pt x="14" y="142"/>
                      <a:pt x="14" y="142"/>
                      <a:pt x="13" y="142"/>
                    </a:cubicBezTo>
                    <a:cubicBezTo>
                      <a:pt x="12" y="142"/>
                      <a:pt x="12" y="142"/>
                      <a:pt x="12" y="142"/>
                    </a:cubicBezTo>
                    <a:cubicBezTo>
                      <a:pt x="12" y="142"/>
                      <a:pt x="12" y="143"/>
                      <a:pt x="11" y="143"/>
                    </a:cubicBezTo>
                    <a:cubicBezTo>
                      <a:pt x="11" y="143"/>
                      <a:pt x="12" y="143"/>
                      <a:pt x="13" y="143"/>
                    </a:cubicBezTo>
                    <a:cubicBezTo>
                      <a:pt x="13" y="143"/>
                      <a:pt x="14" y="143"/>
                      <a:pt x="14" y="143"/>
                    </a:cubicBezTo>
                    <a:cubicBezTo>
                      <a:pt x="15" y="143"/>
                      <a:pt x="15" y="143"/>
                      <a:pt x="15" y="143"/>
                    </a:cubicBezTo>
                    <a:cubicBezTo>
                      <a:pt x="15" y="143"/>
                      <a:pt x="15" y="143"/>
                      <a:pt x="15" y="143"/>
                    </a:cubicBezTo>
                    <a:cubicBezTo>
                      <a:pt x="16" y="142"/>
                      <a:pt x="16" y="142"/>
                      <a:pt x="16" y="142"/>
                    </a:cubicBezTo>
                    <a:cubicBezTo>
                      <a:pt x="16" y="142"/>
                      <a:pt x="17" y="142"/>
                      <a:pt x="17" y="142"/>
                    </a:cubicBezTo>
                    <a:cubicBezTo>
                      <a:pt x="17" y="142"/>
                      <a:pt x="17" y="142"/>
                      <a:pt x="17" y="142"/>
                    </a:cubicBezTo>
                    <a:cubicBezTo>
                      <a:pt x="17" y="142"/>
                      <a:pt x="17" y="142"/>
                      <a:pt x="17" y="142"/>
                    </a:cubicBezTo>
                    <a:cubicBezTo>
                      <a:pt x="17" y="143"/>
                      <a:pt x="17" y="143"/>
                      <a:pt x="17" y="143"/>
                    </a:cubicBezTo>
                    <a:cubicBezTo>
                      <a:pt x="17" y="143"/>
                      <a:pt x="16" y="144"/>
                      <a:pt x="16" y="144"/>
                    </a:cubicBezTo>
                    <a:cubicBezTo>
                      <a:pt x="16" y="144"/>
                      <a:pt x="15" y="145"/>
                      <a:pt x="13" y="145"/>
                    </a:cubicBezTo>
                    <a:cubicBezTo>
                      <a:pt x="13" y="145"/>
                      <a:pt x="12" y="145"/>
                      <a:pt x="11" y="145"/>
                    </a:cubicBezTo>
                    <a:cubicBezTo>
                      <a:pt x="11" y="145"/>
                      <a:pt x="11" y="146"/>
                      <a:pt x="10" y="146"/>
                    </a:cubicBezTo>
                    <a:cubicBezTo>
                      <a:pt x="10" y="146"/>
                      <a:pt x="10" y="146"/>
                      <a:pt x="10" y="146"/>
                    </a:cubicBezTo>
                    <a:cubicBezTo>
                      <a:pt x="10" y="147"/>
                      <a:pt x="10" y="147"/>
                      <a:pt x="11" y="147"/>
                    </a:cubicBezTo>
                    <a:cubicBezTo>
                      <a:pt x="14" y="146"/>
                      <a:pt x="14" y="146"/>
                      <a:pt x="14" y="146"/>
                    </a:cubicBezTo>
                    <a:cubicBezTo>
                      <a:pt x="15" y="146"/>
                      <a:pt x="18" y="147"/>
                      <a:pt x="19" y="147"/>
                    </a:cubicBezTo>
                    <a:cubicBezTo>
                      <a:pt x="20" y="147"/>
                      <a:pt x="21" y="147"/>
                      <a:pt x="21" y="147"/>
                    </a:cubicBezTo>
                    <a:cubicBezTo>
                      <a:pt x="22" y="147"/>
                      <a:pt x="22" y="147"/>
                      <a:pt x="22" y="147"/>
                    </a:cubicBezTo>
                    <a:cubicBezTo>
                      <a:pt x="23" y="149"/>
                      <a:pt x="23" y="149"/>
                      <a:pt x="23" y="149"/>
                    </a:cubicBezTo>
                    <a:cubicBezTo>
                      <a:pt x="25" y="148"/>
                      <a:pt x="25" y="148"/>
                      <a:pt x="25" y="148"/>
                    </a:cubicBezTo>
                    <a:cubicBezTo>
                      <a:pt x="31" y="148"/>
                      <a:pt x="31" y="148"/>
                      <a:pt x="31" y="148"/>
                    </a:cubicBezTo>
                    <a:cubicBezTo>
                      <a:pt x="32" y="150"/>
                      <a:pt x="32" y="150"/>
                      <a:pt x="32" y="150"/>
                    </a:cubicBezTo>
                    <a:cubicBezTo>
                      <a:pt x="36" y="149"/>
                      <a:pt x="36" y="149"/>
                      <a:pt x="36" y="149"/>
                    </a:cubicBezTo>
                    <a:cubicBezTo>
                      <a:pt x="38" y="150"/>
                      <a:pt x="38" y="150"/>
                      <a:pt x="38" y="150"/>
                    </a:cubicBezTo>
                    <a:cubicBezTo>
                      <a:pt x="39" y="148"/>
                      <a:pt x="39" y="148"/>
                      <a:pt x="39" y="148"/>
                    </a:cubicBezTo>
                    <a:cubicBezTo>
                      <a:pt x="43" y="148"/>
                      <a:pt x="43" y="148"/>
                      <a:pt x="43" y="148"/>
                    </a:cubicBezTo>
                    <a:cubicBezTo>
                      <a:pt x="46" y="148"/>
                      <a:pt x="46" y="148"/>
                      <a:pt x="46" y="148"/>
                    </a:cubicBezTo>
                    <a:cubicBezTo>
                      <a:pt x="46" y="146"/>
                      <a:pt x="46" y="146"/>
                      <a:pt x="46" y="146"/>
                    </a:cubicBezTo>
                    <a:cubicBezTo>
                      <a:pt x="46" y="146"/>
                      <a:pt x="46" y="146"/>
                      <a:pt x="46" y="146"/>
                    </a:cubicBezTo>
                    <a:cubicBezTo>
                      <a:pt x="46" y="146"/>
                      <a:pt x="46" y="146"/>
                      <a:pt x="46" y="146"/>
                    </a:cubicBezTo>
                    <a:cubicBezTo>
                      <a:pt x="47" y="146"/>
                      <a:pt x="47" y="146"/>
                      <a:pt x="47" y="146"/>
                    </a:cubicBezTo>
                    <a:cubicBezTo>
                      <a:pt x="48" y="146"/>
                      <a:pt x="48" y="146"/>
                      <a:pt x="48" y="146"/>
                    </a:cubicBezTo>
                    <a:cubicBezTo>
                      <a:pt x="50" y="146"/>
                      <a:pt x="50" y="146"/>
                      <a:pt x="50" y="146"/>
                    </a:cubicBezTo>
                    <a:cubicBezTo>
                      <a:pt x="53" y="144"/>
                      <a:pt x="53" y="144"/>
                      <a:pt x="53" y="144"/>
                    </a:cubicBezTo>
                    <a:cubicBezTo>
                      <a:pt x="53" y="144"/>
                      <a:pt x="53" y="142"/>
                      <a:pt x="53" y="141"/>
                    </a:cubicBezTo>
                    <a:cubicBezTo>
                      <a:pt x="54" y="141"/>
                      <a:pt x="54" y="140"/>
                      <a:pt x="55" y="140"/>
                    </a:cubicBezTo>
                    <a:cubicBezTo>
                      <a:pt x="55" y="140"/>
                      <a:pt x="56" y="141"/>
                      <a:pt x="56" y="141"/>
                    </a:cubicBezTo>
                    <a:cubicBezTo>
                      <a:pt x="55" y="143"/>
                      <a:pt x="55" y="143"/>
                      <a:pt x="55" y="143"/>
                    </a:cubicBezTo>
                    <a:cubicBezTo>
                      <a:pt x="55" y="143"/>
                      <a:pt x="56" y="144"/>
                      <a:pt x="56" y="144"/>
                    </a:cubicBezTo>
                    <a:cubicBezTo>
                      <a:pt x="59" y="144"/>
                      <a:pt x="59" y="144"/>
                      <a:pt x="59" y="144"/>
                    </a:cubicBezTo>
                    <a:cubicBezTo>
                      <a:pt x="62" y="144"/>
                      <a:pt x="62" y="144"/>
                      <a:pt x="62" y="144"/>
                    </a:cubicBezTo>
                    <a:cubicBezTo>
                      <a:pt x="62" y="143"/>
                      <a:pt x="62" y="143"/>
                      <a:pt x="62" y="143"/>
                    </a:cubicBezTo>
                    <a:cubicBezTo>
                      <a:pt x="61" y="142"/>
                      <a:pt x="61" y="142"/>
                      <a:pt x="61" y="142"/>
                    </a:cubicBezTo>
                    <a:cubicBezTo>
                      <a:pt x="66" y="139"/>
                      <a:pt x="66" y="139"/>
                      <a:pt x="66" y="139"/>
                    </a:cubicBezTo>
                    <a:cubicBezTo>
                      <a:pt x="68" y="141"/>
                      <a:pt x="68" y="141"/>
                      <a:pt x="68" y="141"/>
                    </a:cubicBezTo>
                    <a:cubicBezTo>
                      <a:pt x="68" y="141"/>
                      <a:pt x="68" y="141"/>
                      <a:pt x="68" y="141"/>
                    </a:cubicBezTo>
                    <a:cubicBezTo>
                      <a:pt x="68" y="139"/>
                      <a:pt x="68" y="139"/>
                      <a:pt x="68" y="139"/>
                    </a:cubicBezTo>
                    <a:cubicBezTo>
                      <a:pt x="72" y="140"/>
                      <a:pt x="72" y="140"/>
                      <a:pt x="72" y="140"/>
                    </a:cubicBezTo>
                    <a:cubicBezTo>
                      <a:pt x="75" y="138"/>
                      <a:pt x="75" y="138"/>
                      <a:pt x="75" y="138"/>
                    </a:cubicBezTo>
                    <a:close/>
                  </a:path>
                </a:pathLst>
              </a:custGeom>
              <a:solidFill>
                <a:srgbClr val="BFBFBF"/>
              </a:solid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45" name="Freeform 91"/>
              <p:cNvSpPr>
                <a:spLocks/>
              </p:cNvSpPr>
              <p:nvPr/>
            </p:nvSpPr>
            <p:spPr bwMode="auto">
              <a:xfrm>
                <a:off x="1621" y="1956"/>
                <a:ext cx="2" cy="0"/>
              </a:xfrm>
              <a:custGeom>
                <a:avLst/>
                <a:gdLst>
                  <a:gd name="T0" fmla="*/ 1 w 1"/>
                  <a:gd name="T1" fmla="*/ 1 w 1"/>
                  <a:gd name="T2" fmla="*/ 1 w 1"/>
                  <a:gd name="T3" fmla="*/ 1 w 1"/>
                </a:gdLst>
                <a:ahLst/>
                <a:cxnLst>
                  <a:cxn ang="0">
                    <a:pos x="T0" y="0"/>
                  </a:cxn>
                  <a:cxn ang="0">
                    <a:pos x="T1" y="0"/>
                  </a:cxn>
                  <a:cxn ang="0">
                    <a:pos x="T2" y="0"/>
                  </a:cxn>
                  <a:cxn ang="0">
                    <a:pos x="T3" y="0"/>
                  </a:cxn>
                </a:cxnLst>
                <a:rect l="0" t="0" r="r" b="b"/>
                <a:pathLst>
                  <a:path w="1">
                    <a:moveTo>
                      <a:pt x="1" y="0"/>
                    </a:moveTo>
                    <a:cubicBezTo>
                      <a:pt x="0" y="0"/>
                      <a:pt x="0" y="0"/>
                      <a:pt x="1" y="0"/>
                    </a:cubicBezTo>
                    <a:cubicBezTo>
                      <a:pt x="1" y="0"/>
                      <a:pt x="1" y="0"/>
                      <a:pt x="1" y="0"/>
                    </a:cubicBezTo>
                    <a:cubicBezTo>
                      <a:pt x="1" y="0"/>
                      <a:pt x="1" y="0"/>
                      <a:pt x="1" y="0"/>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46" name="Freeform 92"/>
              <p:cNvSpPr>
                <a:spLocks/>
              </p:cNvSpPr>
              <p:nvPr/>
            </p:nvSpPr>
            <p:spPr bwMode="auto">
              <a:xfrm>
                <a:off x="1721" y="1966"/>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47" name="Freeform 93"/>
              <p:cNvSpPr>
                <a:spLocks/>
              </p:cNvSpPr>
              <p:nvPr/>
            </p:nvSpPr>
            <p:spPr bwMode="auto">
              <a:xfrm>
                <a:off x="1703" y="1976"/>
                <a:ext cx="2" cy="2"/>
              </a:xfrm>
              <a:custGeom>
                <a:avLst/>
                <a:gdLst>
                  <a:gd name="T0" fmla="*/ 2 w 2"/>
                  <a:gd name="T1" fmla="*/ 0 h 2"/>
                  <a:gd name="T2" fmla="*/ 0 w 2"/>
                  <a:gd name="T3" fmla="*/ 0 h 2"/>
                  <a:gd name="T4" fmla="*/ 2 w 2"/>
                  <a:gd name="T5" fmla="*/ 2 h 2"/>
                  <a:gd name="T6" fmla="*/ 2 w 2"/>
                  <a:gd name="T7" fmla="*/ 0 h 2"/>
                </a:gdLst>
                <a:ahLst/>
                <a:cxnLst>
                  <a:cxn ang="0">
                    <a:pos x="T0" y="T1"/>
                  </a:cxn>
                  <a:cxn ang="0">
                    <a:pos x="T2" y="T3"/>
                  </a:cxn>
                  <a:cxn ang="0">
                    <a:pos x="T4" y="T5"/>
                  </a:cxn>
                  <a:cxn ang="0">
                    <a:pos x="T6" y="T7"/>
                  </a:cxn>
                </a:cxnLst>
                <a:rect l="0" t="0" r="r" b="b"/>
                <a:pathLst>
                  <a:path w="2" h="2">
                    <a:moveTo>
                      <a:pt x="2" y="0"/>
                    </a:moveTo>
                    <a:lnTo>
                      <a:pt x="0" y="0"/>
                    </a:lnTo>
                    <a:lnTo>
                      <a:pt x="2" y="2"/>
                    </a:lnTo>
                    <a:lnTo>
                      <a:pt x="2" y="0"/>
                    </a:ln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48" name="Freeform 94"/>
              <p:cNvSpPr>
                <a:spLocks/>
              </p:cNvSpPr>
              <p:nvPr/>
            </p:nvSpPr>
            <p:spPr bwMode="auto">
              <a:xfrm>
                <a:off x="1645" y="194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49" name="Rectangle 95"/>
              <p:cNvSpPr>
                <a:spLocks noChangeArrowheads="1"/>
              </p:cNvSpPr>
              <p:nvPr/>
            </p:nvSpPr>
            <p:spPr bwMode="auto">
              <a:xfrm>
                <a:off x="1707" y="1847"/>
                <a:ext cx="1" cy="1"/>
              </a:xfrm>
              <a:prstGeom prst="rect">
                <a:avLst/>
              </a:pr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50" name="Freeform 96"/>
              <p:cNvSpPr>
                <a:spLocks/>
              </p:cNvSpPr>
              <p:nvPr/>
            </p:nvSpPr>
            <p:spPr bwMode="auto">
              <a:xfrm>
                <a:off x="1619" y="190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51" name="Freeform 97"/>
              <p:cNvSpPr>
                <a:spLocks/>
              </p:cNvSpPr>
              <p:nvPr/>
            </p:nvSpPr>
            <p:spPr bwMode="auto">
              <a:xfrm>
                <a:off x="1647" y="189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52" name="Freeform 98"/>
              <p:cNvSpPr>
                <a:spLocks/>
              </p:cNvSpPr>
              <p:nvPr/>
            </p:nvSpPr>
            <p:spPr bwMode="auto">
              <a:xfrm>
                <a:off x="1637" y="1903"/>
                <a:ext cx="0" cy="2"/>
              </a:xfrm>
              <a:custGeom>
                <a:avLst/>
                <a:gdLst>
                  <a:gd name="T0" fmla="*/ 1 h 1"/>
                  <a:gd name="T1" fmla="*/ 1 h 1"/>
                  <a:gd name="T2" fmla="*/ 1 h 1"/>
                </a:gdLst>
                <a:ahLst/>
                <a:cxnLst>
                  <a:cxn ang="0">
                    <a:pos x="0" y="T0"/>
                  </a:cxn>
                  <a:cxn ang="0">
                    <a:pos x="0" y="T1"/>
                  </a:cxn>
                  <a:cxn ang="0">
                    <a:pos x="0" y="T2"/>
                  </a:cxn>
                </a:cxnLst>
                <a:rect l="0" t="0" r="r" b="b"/>
                <a:pathLst>
                  <a:path h="1">
                    <a:moveTo>
                      <a:pt x="0" y="1"/>
                    </a:moveTo>
                    <a:cubicBezTo>
                      <a:pt x="0" y="0"/>
                      <a:pt x="0" y="0"/>
                      <a:pt x="0" y="1"/>
                    </a:cubicBezTo>
                    <a:cubicBezTo>
                      <a:pt x="0" y="1"/>
                      <a:pt x="0" y="1"/>
                      <a:pt x="0" y="1"/>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53" name="Freeform 99"/>
              <p:cNvSpPr>
                <a:spLocks/>
              </p:cNvSpPr>
              <p:nvPr/>
            </p:nvSpPr>
            <p:spPr bwMode="auto">
              <a:xfrm>
                <a:off x="1721" y="174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54" name="Freeform 100"/>
              <p:cNvSpPr>
                <a:spLocks/>
              </p:cNvSpPr>
              <p:nvPr/>
            </p:nvSpPr>
            <p:spPr bwMode="auto">
              <a:xfrm>
                <a:off x="1661" y="1797"/>
                <a:ext cx="0" cy="2"/>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55" name="Freeform 101"/>
              <p:cNvSpPr>
                <a:spLocks/>
              </p:cNvSpPr>
              <p:nvPr/>
            </p:nvSpPr>
            <p:spPr bwMode="auto">
              <a:xfrm>
                <a:off x="1687" y="173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56" name="Freeform 102"/>
              <p:cNvSpPr>
                <a:spLocks/>
              </p:cNvSpPr>
              <p:nvPr/>
            </p:nvSpPr>
            <p:spPr bwMode="auto">
              <a:xfrm>
                <a:off x="1617" y="190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57" name="Rectangle 103"/>
              <p:cNvSpPr>
                <a:spLocks noChangeArrowheads="1"/>
              </p:cNvSpPr>
              <p:nvPr/>
            </p:nvSpPr>
            <p:spPr bwMode="auto">
              <a:xfrm>
                <a:off x="1761" y="1962"/>
                <a:ext cx="1" cy="1"/>
              </a:xfrm>
              <a:prstGeom prst="rect">
                <a:avLst/>
              </a:pr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58" name="Rectangle 104"/>
              <p:cNvSpPr>
                <a:spLocks noChangeArrowheads="1"/>
              </p:cNvSpPr>
              <p:nvPr/>
            </p:nvSpPr>
            <p:spPr bwMode="auto">
              <a:xfrm>
                <a:off x="1745" y="1966"/>
                <a:ext cx="1" cy="1"/>
              </a:xfrm>
              <a:prstGeom prst="rect">
                <a:avLst/>
              </a:pr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59" name="Rectangle 105"/>
              <p:cNvSpPr>
                <a:spLocks noChangeArrowheads="1"/>
              </p:cNvSpPr>
              <p:nvPr/>
            </p:nvSpPr>
            <p:spPr bwMode="auto">
              <a:xfrm>
                <a:off x="1735" y="1972"/>
                <a:ext cx="1" cy="1"/>
              </a:xfrm>
              <a:prstGeom prst="rect">
                <a:avLst/>
              </a:pr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60" name="Rectangle 106"/>
              <p:cNvSpPr>
                <a:spLocks noChangeArrowheads="1"/>
              </p:cNvSpPr>
              <p:nvPr/>
            </p:nvSpPr>
            <p:spPr bwMode="auto">
              <a:xfrm>
                <a:off x="1864" y="1809"/>
                <a:ext cx="1" cy="1"/>
              </a:xfrm>
              <a:prstGeom prst="rect">
                <a:avLst/>
              </a:pr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61" name="Freeform 107"/>
              <p:cNvSpPr>
                <a:spLocks/>
              </p:cNvSpPr>
              <p:nvPr/>
            </p:nvSpPr>
            <p:spPr bwMode="auto">
              <a:xfrm>
                <a:off x="1783" y="1733"/>
                <a:ext cx="2" cy="0"/>
              </a:xfrm>
              <a:custGeom>
                <a:avLst/>
                <a:gdLst>
                  <a:gd name="T0" fmla="*/ 2 w 2"/>
                  <a:gd name="T1" fmla="*/ 2 w 2"/>
                  <a:gd name="T2" fmla="*/ 0 w 2"/>
                  <a:gd name="T3" fmla="*/ 2 w 2"/>
                </a:gdLst>
                <a:ahLst/>
                <a:cxnLst>
                  <a:cxn ang="0">
                    <a:pos x="T0" y="0"/>
                  </a:cxn>
                  <a:cxn ang="0">
                    <a:pos x="T1" y="0"/>
                  </a:cxn>
                  <a:cxn ang="0">
                    <a:pos x="T2" y="0"/>
                  </a:cxn>
                  <a:cxn ang="0">
                    <a:pos x="T3" y="0"/>
                  </a:cxn>
                </a:cxnLst>
                <a:rect l="0" t="0" r="r" b="b"/>
                <a:pathLst>
                  <a:path w="2">
                    <a:moveTo>
                      <a:pt x="2" y="0"/>
                    </a:moveTo>
                    <a:lnTo>
                      <a:pt x="2" y="0"/>
                    </a:lnTo>
                    <a:lnTo>
                      <a:pt x="0" y="0"/>
                    </a:lnTo>
                    <a:lnTo>
                      <a:pt x="2" y="0"/>
                    </a:ln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62" name="Freeform 108"/>
              <p:cNvSpPr>
                <a:spLocks/>
              </p:cNvSpPr>
              <p:nvPr/>
            </p:nvSpPr>
            <p:spPr bwMode="auto">
              <a:xfrm>
                <a:off x="1797" y="168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63" name="Freeform 109"/>
              <p:cNvSpPr>
                <a:spLocks/>
              </p:cNvSpPr>
              <p:nvPr/>
            </p:nvSpPr>
            <p:spPr bwMode="auto">
              <a:xfrm>
                <a:off x="1821" y="1946"/>
                <a:ext cx="2" cy="2"/>
              </a:xfrm>
              <a:custGeom>
                <a:avLst/>
                <a:gdLst>
                  <a:gd name="T0" fmla="*/ 1 w 1"/>
                  <a:gd name="T1" fmla="*/ 1 h 1"/>
                  <a:gd name="T2" fmla="*/ 1 w 1"/>
                  <a:gd name="T3" fmla="*/ 0 h 1"/>
                  <a:gd name="T4" fmla="*/ 0 w 1"/>
                  <a:gd name="T5" fmla="*/ 0 h 1"/>
                  <a:gd name="T6" fmla="*/ 1 w 1"/>
                  <a:gd name="T7" fmla="*/ 1 h 1"/>
                </a:gdLst>
                <a:ahLst/>
                <a:cxnLst>
                  <a:cxn ang="0">
                    <a:pos x="T0" y="T1"/>
                  </a:cxn>
                  <a:cxn ang="0">
                    <a:pos x="T2" y="T3"/>
                  </a:cxn>
                  <a:cxn ang="0">
                    <a:pos x="T4" y="T5"/>
                  </a:cxn>
                  <a:cxn ang="0">
                    <a:pos x="T6" y="T7"/>
                  </a:cxn>
                </a:cxnLst>
                <a:rect l="0" t="0" r="r" b="b"/>
                <a:pathLst>
                  <a:path w="1" h="1">
                    <a:moveTo>
                      <a:pt x="1" y="1"/>
                    </a:moveTo>
                    <a:cubicBezTo>
                      <a:pt x="1" y="0"/>
                      <a:pt x="1" y="0"/>
                      <a:pt x="1" y="0"/>
                    </a:cubicBezTo>
                    <a:cubicBezTo>
                      <a:pt x="0" y="0"/>
                      <a:pt x="0" y="0"/>
                      <a:pt x="0" y="0"/>
                    </a:cubicBezTo>
                    <a:lnTo>
                      <a:pt x="1" y="1"/>
                    </a:ln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64" name="Rectangle 110"/>
              <p:cNvSpPr>
                <a:spLocks noChangeArrowheads="1"/>
              </p:cNvSpPr>
              <p:nvPr/>
            </p:nvSpPr>
            <p:spPr bwMode="auto">
              <a:xfrm>
                <a:off x="1757" y="1763"/>
                <a:ext cx="1" cy="2"/>
              </a:xfrm>
              <a:prstGeom prst="rect">
                <a:avLst/>
              </a:pr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65" name="Freeform 111"/>
              <p:cNvSpPr>
                <a:spLocks/>
              </p:cNvSpPr>
              <p:nvPr/>
            </p:nvSpPr>
            <p:spPr bwMode="auto">
              <a:xfrm>
                <a:off x="1842" y="193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66" name="Rectangle 112"/>
              <p:cNvSpPr>
                <a:spLocks noChangeArrowheads="1"/>
              </p:cNvSpPr>
              <p:nvPr/>
            </p:nvSpPr>
            <p:spPr bwMode="auto">
              <a:xfrm>
                <a:off x="1795" y="1954"/>
                <a:ext cx="1" cy="1"/>
              </a:xfrm>
              <a:prstGeom prst="rect">
                <a:avLst/>
              </a:pr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67" name="Freeform 113"/>
              <p:cNvSpPr>
                <a:spLocks/>
              </p:cNvSpPr>
              <p:nvPr/>
            </p:nvSpPr>
            <p:spPr bwMode="auto">
              <a:xfrm>
                <a:off x="1825" y="170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68" name="Freeform 114"/>
              <p:cNvSpPr>
                <a:spLocks/>
              </p:cNvSpPr>
              <p:nvPr/>
            </p:nvSpPr>
            <p:spPr bwMode="auto">
              <a:xfrm>
                <a:off x="1823" y="1707"/>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69" name="Freeform 115"/>
              <p:cNvSpPr>
                <a:spLocks/>
              </p:cNvSpPr>
              <p:nvPr/>
            </p:nvSpPr>
            <p:spPr bwMode="auto">
              <a:xfrm>
                <a:off x="1825" y="170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70" name="Freeform 116"/>
              <p:cNvSpPr>
                <a:spLocks/>
              </p:cNvSpPr>
              <p:nvPr/>
            </p:nvSpPr>
            <p:spPr bwMode="auto">
              <a:xfrm>
                <a:off x="2088" y="3170"/>
                <a:ext cx="38" cy="26"/>
              </a:xfrm>
              <a:custGeom>
                <a:avLst/>
                <a:gdLst>
                  <a:gd name="T0" fmla="*/ 12 w 19"/>
                  <a:gd name="T1" fmla="*/ 0 h 13"/>
                  <a:gd name="T2" fmla="*/ 3 w 19"/>
                  <a:gd name="T3" fmla="*/ 6 h 13"/>
                  <a:gd name="T4" fmla="*/ 8 w 19"/>
                  <a:gd name="T5" fmla="*/ 13 h 13"/>
                  <a:gd name="T6" fmla="*/ 19 w 19"/>
                  <a:gd name="T7" fmla="*/ 4 h 13"/>
                  <a:gd name="T8" fmla="*/ 12 w 19"/>
                  <a:gd name="T9" fmla="*/ 0 h 13"/>
                </a:gdLst>
                <a:ahLst/>
                <a:cxnLst>
                  <a:cxn ang="0">
                    <a:pos x="T0" y="T1"/>
                  </a:cxn>
                  <a:cxn ang="0">
                    <a:pos x="T2" y="T3"/>
                  </a:cxn>
                  <a:cxn ang="0">
                    <a:pos x="T4" y="T5"/>
                  </a:cxn>
                  <a:cxn ang="0">
                    <a:pos x="T6" y="T7"/>
                  </a:cxn>
                  <a:cxn ang="0">
                    <a:pos x="T8" y="T9"/>
                  </a:cxn>
                </a:cxnLst>
                <a:rect l="0" t="0" r="r" b="b"/>
                <a:pathLst>
                  <a:path w="19" h="13">
                    <a:moveTo>
                      <a:pt x="12" y="0"/>
                    </a:moveTo>
                    <a:cubicBezTo>
                      <a:pt x="8" y="1"/>
                      <a:pt x="5" y="4"/>
                      <a:pt x="3" y="6"/>
                    </a:cubicBezTo>
                    <a:cubicBezTo>
                      <a:pt x="0" y="9"/>
                      <a:pt x="6" y="13"/>
                      <a:pt x="8" y="13"/>
                    </a:cubicBezTo>
                    <a:cubicBezTo>
                      <a:pt x="9" y="13"/>
                      <a:pt x="19" y="7"/>
                      <a:pt x="19" y="4"/>
                    </a:cubicBezTo>
                    <a:cubicBezTo>
                      <a:pt x="18" y="1"/>
                      <a:pt x="14" y="0"/>
                      <a:pt x="12" y="0"/>
                    </a:cubicBezTo>
                    <a:close/>
                  </a:path>
                </a:pathLst>
              </a:custGeom>
              <a:solidFill>
                <a:srgbClr val="0181C7"/>
              </a:solid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71" name="Freeform 117"/>
              <p:cNvSpPr>
                <a:spLocks/>
              </p:cNvSpPr>
              <p:nvPr/>
            </p:nvSpPr>
            <p:spPr bwMode="auto">
              <a:xfrm>
                <a:off x="2183" y="3098"/>
                <a:ext cx="78" cy="70"/>
              </a:xfrm>
              <a:custGeom>
                <a:avLst/>
                <a:gdLst>
                  <a:gd name="T0" fmla="*/ 36 w 39"/>
                  <a:gd name="T1" fmla="*/ 15 h 35"/>
                  <a:gd name="T2" fmla="*/ 26 w 39"/>
                  <a:gd name="T3" fmla="*/ 15 h 35"/>
                  <a:gd name="T4" fmla="*/ 26 w 39"/>
                  <a:gd name="T5" fmla="*/ 5 h 35"/>
                  <a:gd name="T6" fmla="*/ 12 w 39"/>
                  <a:gd name="T7" fmla="*/ 9 h 35"/>
                  <a:gd name="T8" fmla="*/ 1 w 39"/>
                  <a:gd name="T9" fmla="*/ 16 h 35"/>
                  <a:gd name="T10" fmla="*/ 1 w 39"/>
                  <a:gd name="T11" fmla="*/ 20 h 35"/>
                  <a:gd name="T12" fmla="*/ 11 w 39"/>
                  <a:gd name="T13" fmla="*/ 19 h 35"/>
                  <a:gd name="T14" fmla="*/ 13 w 39"/>
                  <a:gd name="T15" fmla="*/ 26 h 35"/>
                  <a:gd name="T16" fmla="*/ 21 w 39"/>
                  <a:gd name="T17" fmla="*/ 30 h 35"/>
                  <a:gd name="T18" fmla="*/ 26 w 39"/>
                  <a:gd name="T19" fmla="*/ 34 h 35"/>
                  <a:gd name="T20" fmla="*/ 39 w 39"/>
                  <a:gd name="T21" fmla="*/ 18 h 35"/>
                  <a:gd name="T22" fmla="*/ 36 w 39"/>
                  <a:gd name="T23" fmla="*/ 1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35">
                    <a:moveTo>
                      <a:pt x="36" y="15"/>
                    </a:moveTo>
                    <a:cubicBezTo>
                      <a:pt x="33" y="14"/>
                      <a:pt x="29" y="17"/>
                      <a:pt x="26" y="15"/>
                    </a:cubicBezTo>
                    <a:cubicBezTo>
                      <a:pt x="24" y="14"/>
                      <a:pt x="29" y="7"/>
                      <a:pt x="26" y="5"/>
                    </a:cubicBezTo>
                    <a:cubicBezTo>
                      <a:pt x="19" y="0"/>
                      <a:pt x="17" y="6"/>
                      <a:pt x="12" y="9"/>
                    </a:cubicBezTo>
                    <a:cubicBezTo>
                      <a:pt x="9" y="12"/>
                      <a:pt x="4" y="13"/>
                      <a:pt x="1" y="16"/>
                    </a:cubicBezTo>
                    <a:cubicBezTo>
                      <a:pt x="0" y="17"/>
                      <a:pt x="0" y="19"/>
                      <a:pt x="1" y="20"/>
                    </a:cubicBezTo>
                    <a:cubicBezTo>
                      <a:pt x="5" y="20"/>
                      <a:pt x="8" y="17"/>
                      <a:pt x="11" y="19"/>
                    </a:cubicBezTo>
                    <a:cubicBezTo>
                      <a:pt x="13" y="20"/>
                      <a:pt x="12" y="24"/>
                      <a:pt x="13" y="26"/>
                    </a:cubicBezTo>
                    <a:cubicBezTo>
                      <a:pt x="8" y="31"/>
                      <a:pt x="21" y="30"/>
                      <a:pt x="21" y="30"/>
                    </a:cubicBezTo>
                    <a:cubicBezTo>
                      <a:pt x="22" y="32"/>
                      <a:pt x="24" y="35"/>
                      <a:pt x="26" y="34"/>
                    </a:cubicBezTo>
                    <a:cubicBezTo>
                      <a:pt x="39" y="18"/>
                      <a:pt x="39" y="18"/>
                      <a:pt x="39" y="18"/>
                    </a:cubicBezTo>
                    <a:cubicBezTo>
                      <a:pt x="39" y="17"/>
                      <a:pt x="38" y="15"/>
                      <a:pt x="36" y="15"/>
                    </a:cubicBezTo>
                    <a:close/>
                  </a:path>
                </a:pathLst>
              </a:custGeom>
              <a:solidFill>
                <a:srgbClr val="0181C7"/>
              </a:solid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72" name="Freeform 118"/>
              <p:cNvSpPr>
                <a:spLocks/>
              </p:cNvSpPr>
              <p:nvPr/>
            </p:nvSpPr>
            <p:spPr bwMode="auto">
              <a:xfrm>
                <a:off x="2279" y="3098"/>
                <a:ext cx="46" cy="44"/>
              </a:xfrm>
              <a:custGeom>
                <a:avLst/>
                <a:gdLst>
                  <a:gd name="T0" fmla="*/ 12 w 23"/>
                  <a:gd name="T1" fmla="*/ 2 h 22"/>
                  <a:gd name="T2" fmla="*/ 0 w 23"/>
                  <a:gd name="T3" fmla="*/ 4 h 22"/>
                  <a:gd name="T4" fmla="*/ 12 w 23"/>
                  <a:gd name="T5" fmla="*/ 10 h 22"/>
                  <a:gd name="T6" fmla="*/ 14 w 23"/>
                  <a:gd name="T7" fmla="*/ 17 h 22"/>
                  <a:gd name="T8" fmla="*/ 18 w 23"/>
                  <a:gd name="T9" fmla="*/ 4 h 22"/>
                  <a:gd name="T10" fmla="*/ 12 w 23"/>
                  <a:gd name="T11" fmla="*/ 2 h 22"/>
                </a:gdLst>
                <a:ahLst/>
                <a:cxnLst>
                  <a:cxn ang="0">
                    <a:pos x="T0" y="T1"/>
                  </a:cxn>
                  <a:cxn ang="0">
                    <a:pos x="T2" y="T3"/>
                  </a:cxn>
                  <a:cxn ang="0">
                    <a:pos x="T4" y="T5"/>
                  </a:cxn>
                  <a:cxn ang="0">
                    <a:pos x="T6" y="T7"/>
                  </a:cxn>
                  <a:cxn ang="0">
                    <a:pos x="T8" y="T9"/>
                  </a:cxn>
                  <a:cxn ang="0">
                    <a:pos x="T10" y="T11"/>
                  </a:cxn>
                </a:cxnLst>
                <a:rect l="0" t="0" r="r" b="b"/>
                <a:pathLst>
                  <a:path w="23" h="22">
                    <a:moveTo>
                      <a:pt x="12" y="2"/>
                    </a:moveTo>
                    <a:cubicBezTo>
                      <a:pt x="8" y="2"/>
                      <a:pt x="0" y="0"/>
                      <a:pt x="0" y="4"/>
                    </a:cubicBezTo>
                    <a:cubicBezTo>
                      <a:pt x="0" y="9"/>
                      <a:pt x="9" y="7"/>
                      <a:pt x="12" y="10"/>
                    </a:cubicBezTo>
                    <a:cubicBezTo>
                      <a:pt x="14" y="12"/>
                      <a:pt x="13" y="16"/>
                      <a:pt x="14" y="17"/>
                    </a:cubicBezTo>
                    <a:cubicBezTo>
                      <a:pt x="20" y="22"/>
                      <a:pt x="23" y="13"/>
                      <a:pt x="18" y="4"/>
                    </a:cubicBezTo>
                    <a:cubicBezTo>
                      <a:pt x="17" y="2"/>
                      <a:pt x="14" y="2"/>
                      <a:pt x="12" y="2"/>
                    </a:cubicBezTo>
                    <a:close/>
                  </a:path>
                </a:pathLst>
              </a:custGeom>
              <a:solidFill>
                <a:srgbClr val="0181C7"/>
              </a:solid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73" name="Freeform 119"/>
              <p:cNvSpPr>
                <a:spLocks/>
              </p:cNvSpPr>
              <p:nvPr/>
            </p:nvSpPr>
            <p:spPr bwMode="auto">
              <a:xfrm>
                <a:off x="1462" y="2652"/>
                <a:ext cx="809" cy="709"/>
              </a:xfrm>
              <a:custGeom>
                <a:avLst/>
                <a:gdLst>
                  <a:gd name="T0" fmla="*/ 375 w 403"/>
                  <a:gd name="T1" fmla="*/ 125 h 353"/>
                  <a:gd name="T2" fmla="*/ 355 w 403"/>
                  <a:gd name="T3" fmla="*/ 117 h 353"/>
                  <a:gd name="T4" fmla="*/ 342 w 403"/>
                  <a:gd name="T5" fmla="*/ 112 h 353"/>
                  <a:gd name="T6" fmla="*/ 341 w 403"/>
                  <a:gd name="T7" fmla="*/ 110 h 353"/>
                  <a:gd name="T8" fmla="*/ 320 w 403"/>
                  <a:gd name="T9" fmla="*/ 95 h 353"/>
                  <a:gd name="T10" fmla="*/ 256 w 403"/>
                  <a:gd name="T11" fmla="*/ 76 h 353"/>
                  <a:gd name="T12" fmla="*/ 226 w 403"/>
                  <a:gd name="T13" fmla="*/ 58 h 353"/>
                  <a:gd name="T14" fmla="*/ 105 w 403"/>
                  <a:gd name="T15" fmla="*/ 21 h 353"/>
                  <a:gd name="T16" fmla="*/ 29 w 403"/>
                  <a:gd name="T17" fmla="*/ 14 h 353"/>
                  <a:gd name="T18" fmla="*/ 6 w 403"/>
                  <a:gd name="T19" fmla="*/ 33 h 353"/>
                  <a:gd name="T20" fmla="*/ 6 w 403"/>
                  <a:gd name="T21" fmla="*/ 62 h 353"/>
                  <a:gd name="T22" fmla="*/ 11 w 403"/>
                  <a:gd name="T23" fmla="*/ 69 h 353"/>
                  <a:gd name="T24" fmla="*/ 24 w 403"/>
                  <a:gd name="T25" fmla="*/ 68 h 353"/>
                  <a:gd name="T26" fmla="*/ 28 w 403"/>
                  <a:gd name="T27" fmla="*/ 75 h 353"/>
                  <a:gd name="T28" fmla="*/ 28 w 403"/>
                  <a:gd name="T29" fmla="*/ 82 h 353"/>
                  <a:gd name="T30" fmla="*/ 36 w 403"/>
                  <a:gd name="T31" fmla="*/ 82 h 353"/>
                  <a:gd name="T32" fmla="*/ 44 w 403"/>
                  <a:gd name="T33" fmla="*/ 87 h 353"/>
                  <a:gd name="T34" fmla="*/ 51 w 403"/>
                  <a:gd name="T35" fmla="*/ 87 h 353"/>
                  <a:gd name="T36" fmla="*/ 61 w 403"/>
                  <a:gd name="T37" fmla="*/ 83 h 353"/>
                  <a:gd name="T38" fmla="*/ 70 w 403"/>
                  <a:gd name="T39" fmla="*/ 86 h 353"/>
                  <a:gd name="T40" fmla="*/ 78 w 403"/>
                  <a:gd name="T41" fmla="*/ 91 h 353"/>
                  <a:gd name="T42" fmla="*/ 76 w 403"/>
                  <a:gd name="T43" fmla="*/ 98 h 353"/>
                  <a:gd name="T44" fmla="*/ 85 w 403"/>
                  <a:gd name="T45" fmla="*/ 105 h 353"/>
                  <a:gd name="T46" fmla="*/ 78 w 403"/>
                  <a:gd name="T47" fmla="*/ 115 h 353"/>
                  <a:gd name="T48" fmla="*/ 67 w 403"/>
                  <a:gd name="T49" fmla="*/ 120 h 353"/>
                  <a:gd name="T50" fmla="*/ 57 w 403"/>
                  <a:gd name="T51" fmla="*/ 126 h 353"/>
                  <a:gd name="T52" fmla="*/ 57 w 403"/>
                  <a:gd name="T53" fmla="*/ 136 h 353"/>
                  <a:gd name="T54" fmla="*/ 56 w 403"/>
                  <a:gd name="T55" fmla="*/ 146 h 353"/>
                  <a:gd name="T56" fmla="*/ 53 w 403"/>
                  <a:gd name="T57" fmla="*/ 157 h 353"/>
                  <a:gd name="T58" fmla="*/ 45 w 403"/>
                  <a:gd name="T59" fmla="*/ 161 h 353"/>
                  <a:gd name="T60" fmla="*/ 47 w 403"/>
                  <a:gd name="T61" fmla="*/ 172 h 353"/>
                  <a:gd name="T62" fmla="*/ 42 w 403"/>
                  <a:gd name="T63" fmla="*/ 179 h 353"/>
                  <a:gd name="T64" fmla="*/ 36 w 403"/>
                  <a:gd name="T65" fmla="*/ 183 h 353"/>
                  <a:gd name="T66" fmla="*/ 27 w 403"/>
                  <a:gd name="T67" fmla="*/ 181 h 353"/>
                  <a:gd name="T68" fmla="*/ 24 w 403"/>
                  <a:gd name="T69" fmla="*/ 185 h 353"/>
                  <a:gd name="T70" fmla="*/ 27 w 403"/>
                  <a:gd name="T71" fmla="*/ 193 h 353"/>
                  <a:gd name="T72" fmla="*/ 28 w 403"/>
                  <a:gd name="T73" fmla="*/ 202 h 353"/>
                  <a:gd name="T74" fmla="*/ 33 w 403"/>
                  <a:gd name="T75" fmla="*/ 207 h 353"/>
                  <a:gd name="T76" fmla="*/ 31 w 403"/>
                  <a:gd name="T77" fmla="*/ 216 h 353"/>
                  <a:gd name="T78" fmla="*/ 23 w 403"/>
                  <a:gd name="T79" fmla="*/ 221 h 353"/>
                  <a:gd name="T80" fmla="*/ 18 w 403"/>
                  <a:gd name="T81" fmla="*/ 231 h 353"/>
                  <a:gd name="T82" fmla="*/ 19 w 403"/>
                  <a:gd name="T83" fmla="*/ 239 h 353"/>
                  <a:gd name="T84" fmla="*/ 26 w 403"/>
                  <a:gd name="T85" fmla="*/ 247 h 353"/>
                  <a:gd name="T86" fmla="*/ 22 w 403"/>
                  <a:gd name="T87" fmla="*/ 254 h 353"/>
                  <a:gd name="T88" fmla="*/ 12 w 403"/>
                  <a:gd name="T89" fmla="*/ 258 h 353"/>
                  <a:gd name="T90" fmla="*/ 2 w 403"/>
                  <a:gd name="T91" fmla="*/ 268 h 353"/>
                  <a:gd name="T92" fmla="*/ 1 w 403"/>
                  <a:gd name="T93" fmla="*/ 280 h 353"/>
                  <a:gd name="T94" fmla="*/ 33 w 403"/>
                  <a:gd name="T95" fmla="*/ 309 h 353"/>
                  <a:gd name="T96" fmla="*/ 63 w 403"/>
                  <a:gd name="T97" fmla="*/ 348 h 353"/>
                  <a:gd name="T98" fmla="*/ 140 w 403"/>
                  <a:gd name="T99" fmla="*/ 339 h 353"/>
                  <a:gd name="T100" fmla="*/ 196 w 403"/>
                  <a:gd name="T101" fmla="*/ 332 h 353"/>
                  <a:gd name="T102" fmla="*/ 246 w 403"/>
                  <a:gd name="T103" fmla="*/ 296 h 353"/>
                  <a:gd name="T104" fmla="*/ 281 w 403"/>
                  <a:gd name="T105" fmla="*/ 216 h 353"/>
                  <a:gd name="T106" fmla="*/ 348 w 403"/>
                  <a:gd name="T107" fmla="*/ 167 h 353"/>
                  <a:gd name="T108" fmla="*/ 398 w 403"/>
                  <a:gd name="T109" fmla="*/ 121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3" h="353">
                    <a:moveTo>
                      <a:pt x="398" y="121"/>
                    </a:moveTo>
                    <a:cubicBezTo>
                      <a:pt x="397" y="122"/>
                      <a:pt x="397" y="122"/>
                      <a:pt x="397" y="122"/>
                    </a:cubicBezTo>
                    <a:cubicBezTo>
                      <a:pt x="396" y="122"/>
                      <a:pt x="396" y="122"/>
                      <a:pt x="396" y="122"/>
                    </a:cubicBezTo>
                    <a:cubicBezTo>
                      <a:pt x="394" y="122"/>
                      <a:pt x="392" y="122"/>
                      <a:pt x="390" y="122"/>
                    </a:cubicBezTo>
                    <a:cubicBezTo>
                      <a:pt x="383" y="122"/>
                      <a:pt x="383" y="122"/>
                      <a:pt x="383" y="122"/>
                    </a:cubicBezTo>
                    <a:cubicBezTo>
                      <a:pt x="376" y="125"/>
                      <a:pt x="376" y="125"/>
                      <a:pt x="376" y="125"/>
                    </a:cubicBezTo>
                    <a:cubicBezTo>
                      <a:pt x="375" y="125"/>
                      <a:pt x="375" y="125"/>
                      <a:pt x="375" y="125"/>
                    </a:cubicBezTo>
                    <a:cubicBezTo>
                      <a:pt x="374" y="125"/>
                      <a:pt x="374" y="125"/>
                      <a:pt x="374" y="125"/>
                    </a:cubicBezTo>
                    <a:cubicBezTo>
                      <a:pt x="374" y="124"/>
                      <a:pt x="374" y="124"/>
                      <a:pt x="374" y="124"/>
                    </a:cubicBezTo>
                    <a:cubicBezTo>
                      <a:pt x="367" y="119"/>
                      <a:pt x="367" y="119"/>
                      <a:pt x="367" y="119"/>
                    </a:cubicBezTo>
                    <a:cubicBezTo>
                      <a:pt x="361" y="121"/>
                      <a:pt x="361" y="121"/>
                      <a:pt x="361" y="121"/>
                    </a:cubicBezTo>
                    <a:cubicBezTo>
                      <a:pt x="360" y="121"/>
                      <a:pt x="360" y="121"/>
                      <a:pt x="360" y="121"/>
                    </a:cubicBezTo>
                    <a:cubicBezTo>
                      <a:pt x="358" y="120"/>
                      <a:pt x="357" y="119"/>
                      <a:pt x="356" y="118"/>
                    </a:cubicBezTo>
                    <a:cubicBezTo>
                      <a:pt x="356" y="118"/>
                      <a:pt x="355" y="117"/>
                      <a:pt x="355" y="117"/>
                    </a:cubicBezTo>
                    <a:cubicBezTo>
                      <a:pt x="342" y="115"/>
                      <a:pt x="342" y="115"/>
                      <a:pt x="342" y="115"/>
                    </a:cubicBezTo>
                    <a:cubicBezTo>
                      <a:pt x="343" y="113"/>
                      <a:pt x="343" y="113"/>
                      <a:pt x="343" y="113"/>
                    </a:cubicBezTo>
                    <a:cubicBezTo>
                      <a:pt x="343" y="113"/>
                      <a:pt x="343" y="113"/>
                      <a:pt x="343" y="113"/>
                    </a:cubicBezTo>
                    <a:cubicBezTo>
                      <a:pt x="343" y="113"/>
                      <a:pt x="342" y="113"/>
                      <a:pt x="342" y="113"/>
                    </a:cubicBezTo>
                    <a:cubicBezTo>
                      <a:pt x="342" y="113"/>
                      <a:pt x="342" y="113"/>
                      <a:pt x="342" y="113"/>
                    </a:cubicBezTo>
                    <a:cubicBezTo>
                      <a:pt x="342" y="113"/>
                      <a:pt x="342" y="113"/>
                      <a:pt x="342" y="113"/>
                    </a:cubicBezTo>
                    <a:cubicBezTo>
                      <a:pt x="342" y="113"/>
                      <a:pt x="342" y="113"/>
                      <a:pt x="342" y="112"/>
                    </a:cubicBezTo>
                    <a:cubicBezTo>
                      <a:pt x="342" y="112"/>
                      <a:pt x="341" y="112"/>
                      <a:pt x="341" y="112"/>
                    </a:cubicBezTo>
                    <a:cubicBezTo>
                      <a:pt x="341" y="112"/>
                      <a:pt x="341" y="112"/>
                      <a:pt x="341" y="112"/>
                    </a:cubicBezTo>
                    <a:cubicBezTo>
                      <a:pt x="341" y="111"/>
                      <a:pt x="341" y="111"/>
                      <a:pt x="341" y="111"/>
                    </a:cubicBezTo>
                    <a:cubicBezTo>
                      <a:pt x="341" y="111"/>
                      <a:pt x="341" y="111"/>
                      <a:pt x="341" y="111"/>
                    </a:cubicBezTo>
                    <a:cubicBezTo>
                      <a:pt x="341" y="111"/>
                      <a:pt x="341" y="111"/>
                      <a:pt x="341" y="111"/>
                    </a:cubicBezTo>
                    <a:cubicBezTo>
                      <a:pt x="341" y="110"/>
                      <a:pt x="341" y="110"/>
                      <a:pt x="341" y="110"/>
                    </a:cubicBezTo>
                    <a:cubicBezTo>
                      <a:pt x="341" y="110"/>
                      <a:pt x="341" y="110"/>
                      <a:pt x="341" y="110"/>
                    </a:cubicBezTo>
                    <a:cubicBezTo>
                      <a:pt x="342" y="110"/>
                      <a:pt x="342" y="110"/>
                      <a:pt x="342" y="110"/>
                    </a:cubicBezTo>
                    <a:cubicBezTo>
                      <a:pt x="342" y="109"/>
                      <a:pt x="342" y="109"/>
                      <a:pt x="342" y="109"/>
                    </a:cubicBezTo>
                    <a:cubicBezTo>
                      <a:pt x="341" y="109"/>
                      <a:pt x="341" y="109"/>
                      <a:pt x="341" y="109"/>
                    </a:cubicBezTo>
                    <a:cubicBezTo>
                      <a:pt x="341" y="110"/>
                      <a:pt x="341" y="110"/>
                      <a:pt x="341" y="110"/>
                    </a:cubicBezTo>
                    <a:cubicBezTo>
                      <a:pt x="340" y="110"/>
                      <a:pt x="339" y="109"/>
                      <a:pt x="339" y="108"/>
                    </a:cubicBezTo>
                    <a:cubicBezTo>
                      <a:pt x="339" y="106"/>
                      <a:pt x="338" y="105"/>
                      <a:pt x="338" y="104"/>
                    </a:cubicBezTo>
                    <a:cubicBezTo>
                      <a:pt x="335" y="102"/>
                      <a:pt x="325" y="98"/>
                      <a:pt x="320" y="95"/>
                    </a:cubicBezTo>
                    <a:cubicBezTo>
                      <a:pt x="316" y="100"/>
                      <a:pt x="316" y="100"/>
                      <a:pt x="316" y="100"/>
                    </a:cubicBezTo>
                    <a:cubicBezTo>
                      <a:pt x="306" y="98"/>
                      <a:pt x="306" y="98"/>
                      <a:pt x="306" y="98"/>
                    </a:cubicBezTo>
                    <a:cubicBezTo>
                      <a:pt x="294" y="98"/>
                      <a:pt x="294" y="98"/>
                      <a:pt x="294" y="98"/>
                    </a:cubicBezTo>
                    <a:cubicBezTo>
                      <a:pt x="285" y="91"/>
                      <a:pt x="285" y="91"/>
                      <a:pt x="285" y="91"/>
                    </a:cubicBezTo>
                    <a:cubicBezTo>
                      <a:pt x="283" y="90"/>
                      <a:pt x="273" y="86"/>
                      <a:pt x="272" y="85"/>
                    </a:cubicBezTo>
                    <a:cubicBezTo>
                      <a:pt x="271" y="84"/>
                      <a:pt x="267" y="80"/>
                      <a:pt x="266" y="79"/>
                    </a:cubicBezTo>
                    <a:cubicBezTo>
                      <a:pt x="256" y="76"/>
                      <a:pt x="256" y="76"/>
                      <a:pt x="256" y="76"/>
                    </a:cubicBezTo>
                    <a:cubicBezTo>
                      <a:pt x="256" y="75"/>
                      <a:pt x="256" y="75"/>
                      <a:pt x="256" y="75"/>
                    </a:cubicBezTo>
                    <a:cubicBezTo>
                      <a:pt x="255" y="75"/>
                      <a:pt x="251" y="67"/>
                      <a:pt x="250" y="64"/>
                    </a:cubicBezTo>
                    <a:cubicBezTo>
                      <a:pt x="250" y="63"/>
                      <a:pt x="249" y="62"/>
                      <a:pt x="247" y="61"/>
                    </a:cubicBezTo>
                    <a:cubicBezTo>
                      <a:pt x="243" y="60"/>
                      <a:pt x="243" y="60"/>
                      <a:pt x="243" y="60"/>
                    </a:cubicBezTo>
                    <a:cubicBezTo>
                      <a:pt x="245" y="58"/>
                      <a:pt x="245" y="58"/>
                      <a:pt x="245" y="58"/>
                    </a:cubicBezTo>
                    <a:cubicBezTo>
                      <a:pt x="244" y="58"/>
                      <a:pt x="243" y="58"/>
                      <a:pt x="243" y="58"/>
                    </a:cubicBezTo>
                    <a:cubicBezTo>
                      <a:pt x="239" y="54"/>
                      <a:pt x="230" y="59"/>
                      <a:pt x="226" y="58"/>
                    </a:cubicBezTo>
                    <a:cubicBezTo>
                      <a:pt x="223" y="57"/>
                      <a:pt x="216" y="50"/>
                      <a:pt x="210" y="50"/>
                    </a:cubicBezTo>
                    <a:cubicBezTo>
                      <a:pt x="210" y="50"/>
                      <a:pt x="200" y="52"/>
                      <a:pt x="199" y="51"/>
                    </a:cubicBezTo>
                    <a:cubicBezTo>
                      <a:pt x="199" y="51"/>
                      <a:pt x="191" y="45"/>
                      <a:pt x="188" y="43"/>
                    </a:cubicBezTo>
                    <a:cubicBezTo>
                      <a:pt x="185" y="40"/>
                      <a:pt x="179" y="40"/>
                      <a:pt x="178" y="40"/>
                    </a:cubicBezTo>
                    <a:cubicBezTo>
                      <a:pt x="178" y="40"/>
                      <a:pt x="160" y="43"/>
                      <a:pt x="159" y="43"/>
                    </a:cubicBezTo>
                    <a:cubicBezTo>
                      <a:pt x="159" y="42"/>
                      <a:pt x="130" y="28"/>
                      <a:pt x="130" y="28"/>
                    </a:cubicBezTo>
                    <a:cubicBezTo>
                      <a:pt x="121" y="25"/>
                      <a:pt x="113" y="22"/>
                      <a:pt x="105" y="21"/>
                    </a:cubicBezTo>
                    <a:cubicBezTo>
                      <a:pt x="96" y="19"/>
                      <a:pt x="86" y="17"/>
                      <a:pt x="77" y="15"/>
                    </a:cubicBezTo>
                    <a:cubicBezTo>
                      <a:pt x="66" y="12"/>
                      <a:pt x="71" y="8"/>
                      <a:pt x="62" y="3"/>
                    </a:cubicBezTo>
                    <a:cubicBezTo>
                      <a:pt x="60" y="2"/>
                      <a:pt x="58" y="1"/>
                      <a:pt x="55" y="1"/>
                    </a:cubicBezTo>
                    <a:cubicBezTo>
                      <a:pt x="51" y="0"/>
                      <a:pt x="50" y="5"/>
                      <a:pt x="48" y="4"/>
                    </a:cubicBezTo>
                    <a:cubicBezTo>
                      <a:pt x="48" y="6"/>
                      <a:pt x="39" y="3"/>
                      <a:pt x="38" y="7"/>
                    </a:cubicBezTo>
                    <a:cubicBezTo>
                      <a:pt x="38" y="10"/>
                      <a:pt x="36" y="10"/>
                      <a:pt x="35" y="12"/>
                    </a:cubicBezTo>
                    <a:cubicBezTo>
                      <a:pt x="34" y="13"/>
                      <a:pt x="30" y="13"/>
                      <a:pt x="29" y="14"/>
                    </a:cubicBezTo>
                    <a:cubicBezTo>
                      <a:pt x="21" y="13"/>
                      <a:pt x="21" y="11"/>
                      <a:pt x="18" y="12"/>
                    </a:cubicBezTo>
                    <a:cubicBezTo>
                      <a:pt x="17" y="13"/>
                      <a:pt x="14" y="12"/>
                      <a:pt x="12" y="14"/>
                    </a:cubicBezTo>
                    <a:cubicBezTo>
                      <a:pt x="10" y="16"/>
                      <a:pt x="8" y="18"/>
                      <a:pt x="5" y="19"/>
                    </a:cubicBezTo>
                    <a:cubicBezTo>
                      <a:pt x="5" y="19"/>
                      <a:pt x="3" y="19"/>
                      <a:pt x="3" y="22"/>
                    </a:cubicBezTo>
                    <a:cubicBezTo>
                      <a:pt x="3" y="24"/>
                      <a:pt x="2" y="27"/>
                      <a:pt x="2" y="27"/>
                    </a:cubicBezTo>
                    <a:cubicBezTo>
                      <a:pt x="5" y="28"/>
                      <a:pt x="5" y="28"/>
                      <a:pt x="5" y="28"/>
                    </a:cubicBezTo>
                    <a:cubicBezTo>
                      <a:pt x="6" y="33"/>
                      <a:pt x="6" y="33"/>
                      <a:pt x="6" y="33"/>
                    </a:cubicBezTo>
                    <a:cubicBezTo>
                      <a:pt x="11" y="35"/>
                      <a:pt x="11" y="35"/>
                      <a:pt x="11" y="35"/>
                    </a:cubicBezTo>
                    <a:cubicBezTo>
                      <a:pt x="6" y="39"/>
                      <a:pt x="4" y="38"/>
                      <a:pt x="5" y="43"/>
                    </a:cubicBezTo>
                    <a:cubicBezTo>
                      <a:pt x="5" y="45"/>
                      <a:pt x="14" y="38"/>
                      <a:pt x="15" y="40"/>
                    </a:cubicBezTo>
                    <a:cubicBezTo>
                      <a:pt x="16" y="43"/>
                      <a:pt x="9" y="47"/>
                      <a:pt x="9" y="50"/>
                    </a:cubicBezTo>
                    <a:cubicBezTo>
                      <a:pt x="11" y="52"/>
                      <a:pt x="11" y="52"/>
                      <a:pt x="11" y="52"/>
                    </a:cubicBezTo>
                    <a:cubicBezTo>
                      <a:pt x="9" y="59"/>
                      <a:pt x="9" y="59"/>
                      <a:pt x="9" y="59"/>
                    </a:cubicBezTo>
                    <a:cubicBezTo>
                      <a:pt x="6" y="62"/>
                      <a:pt x="6" y="62"/>
                      <a:pt x="6" y="62"/>
                    </a:cubicBezTo>
                    <a:cubicBezTo>
                      <a:pt x="3" y="69"/>
                      <a:pt x="3" y="69"/>
                      <a:pt x="3" y="69"/>
                    </a:cubicBezTo>
                    <a:cubicBezTo>
                      <a:pt x="4" y="73"/>
                      <a:pt x="4" y="73"/>
                      <a:pt x="4" y="73"/>
                    </a:cubicBezTo>
                    <a:cubicBezTo>
                      <a:pt x="5" y="73"/>
                      <a:pt x="6" y="72"/>
                      <a:pt x="6" y="72"/>
                    </a:cubicBezTo>
                    <a:cubicBezTo>
                      <a:pt x="6" y="72"/>
                      <a:pt x="7" y="71"/>
                      <a:pt x="7" y="71"/>
                    </a:cubicBezTo>
                    <a:cubicBezTo>
                      <a:pt x="8" y="71"/>
                      <a:pt x="9" y="71"/>
                      <a:pt x="9" y="71"/>
                    </a:cubicBezTo>
                    <a:cubicBezTo>
                      <a:pt x="9" y="71"/>
                      <a:pt x="11" y="70"/>
                      <a:pt x="11" y="70"/>
                    </a:cubicBezTo>
                    <a:cubicBezTo>
                      <a:pt x="11" y="69"/>
                      <a:pt x="11" y="69"/>
                      <a:pt x="11" y="69"/>
                    </a:cubicBezTo>
                    <a:cubicBezTo>
                      <a:pt x="13" y="68"/>
                      <a:pt x="13" y="68"/>
                      <a:pt x="13" y="68"/>
                    </a:cubicBezTo>
                    <a:cubicBezTo>
                      <a:pt x="14" y="69"/>
                      <a:pt x="14" y="69"/>
                      <a:pt x="14" y="69"/>
                    </a:cubicBezTo>
                    <a:cubicBezTo>
                      <a:pt x="14" y="69"/>
                      <a:pt x="15" y="68"/>
                      <a:pt x="15" y="68"/>
                    </a:cubicBezTo>
                    <a:cubicBezTo>
                      <a:pt x="15" y="68"/>
                      <a:pt x="18" y="68"/>
                      <a:pt x="18" y="68"/>
                    </a:cubicBezTo>
                    <a:cubicBezTo>
                      <a:pt x="18" y="68"/>
                      <a:pt x="19" y="68"/>
                      <a:pt x="20" y="69"/>
                    </a:cubicBezTo>
                    <a:cubicBezTo>
                      <a:pt x="20" y="69"/>
                      <a:pt x="21" y="69"/>
                      <a:pt x="22" y="69"/>
                    </a:cubicBezTo>
                    <a:cubicBezTo>
                      <a:pt x="22" y="69"/>
                      <a:pt x="24" y="68"/>
                      <a:pt x="24" y="68"/>
                    </a:cubicBezTo>
                    <a:cubicBezTo>
                      <a:pt x="27" y="67"/>
                      <a:pt x="27" y="67"/>
                      <a:pt x="27" y="67"/>
                    </a:cubicBezTo>
                    <a:cubicBezTo>
                      <a:pt x="28" y="69"/>
                      <a:pt x="28" y="69"/>
                      <a:pt x="28" y="69"/>
                    </a:cubicBezTo>
                    <a:cubicBezTo>
                      <a:pt x="28" y="69"/>
                      <a:pt x="28" y="70"/>
                      <a:pt x="28" y="70"/>
                    </a:cubicBezTo>
                    <a:cubicBezTo>
                      <a:pt x="28" y="71"/>
                      <a:pt x="28" y="71"/>
                      <a:pt x="29" y="71"/>
                    </a:cubicBezTo>
                    <a:cubicBezTo>
                      <a:pt x="29" y="71"/>
                      <a:pt x="30" y="71"/>
                      <a:pt x="30" y="71"/>
                    </a:cubicBezTo>
                    <a:cubicBezTo>
                      <a:pt x="30" y="72"/>
                      <a:pt x="30" y="74"/>
                      <a:pt x="30" y="74"/>
                    </a:cubicBezTo>
                    <a:cubicBezTo>
                      <a:pt x="28" y="75"/>
                      <a:pt x="28" y="75"/>
                      <a:pt x="28" y="75"/>
                    </a:cubicBezTo>
                    <a:cubicBezTo>
                      <a:pt x="28" y="75"/>
                      <a:pt x="26" y="75"/>
                      <a:pt x="26" y="76"/>
                    </a:cubicBezTo>
                    <a:cubicBezTo>
                      <a:pt x="26" y="76"/>
                      <a:pt x="25" y="77"/>
                      <a:pt x="25" y="77"/>
                    </a:cubicBezTo>
                    <a:cubicBezTo>
                      <a:pt x="25" y="77"/>
                      <a:pt x="24" y="78"/>
                      <a:pt x="24" y="78"/>
                    </a:cubicBezTo>
                    <a:cubicBezTo>
                      <a:pt x="25" y="79"/>
                      <a:pt x="26" y="80"/>
                      <a:pt x="26" y="80"/>
                    </a:cubicBezTo>
                    <a:cubicBezTo>
                      <a:pt x="25" y="81"/>
                      <a:pt x="25" y="81"/>
                      <a:pt x="25" y="81"/>
                    </a:cubicBezTo>
                    <a:cubicBezTo>
                      <a:pt x="25" y="81"/>
                      <a:pt x="25" y="82"/>
                      <a:pt x="26" y="82"/>
                    </a:cubicBezTo>
                    <a:cubicBezTo>
                      <a:pt x="27" y="83"/>
                      <a:pt x="27" y="83"/>
                      <a:pt x="28" y="82"/>
                    </a:cubicBezTo>
                    <a:cubicBezTo>
                      <a:pt x="30" y="82"/>
                      <a:pt x="31" y="81"/>
                      <a:pt x="31" y="81"/>
                    </a:cubicBezTo>
                    <a:cubicBezTo>
                      <a:pt x="31" y="81"/>
                      <a:pt x="32" y="82"/>
                      <a:pt x="32" y="81"/>
                    </a:cubicBezTo>
                    <a:cubicBezTo>
                      <a:pt x="33" y="81"/>
                      <a:pt x="35" y="80"/>
                      <a:pt x="35" y="80"/>
                    </a:cubicBezTo>
                    <a:cubicBezTo>
                      <a:pt x="35" y="80"/>
                      <a:pt x="35" y="79"/>
                      <a:pt x="35" y="79"/>
                    </a:cubicBezTo>
                    <a:cubicBezTo>
                      <a:pt x="35" y="79"/>
                      <a:pt x="35" y="81"/>
                      <a:pt x="35" y="81"/>
                    </a:cubicBezTo>
                    <a:cubicBezTo>
                      <a:pt x="35" y="81"/>
                      <a:pt x="34" y="82"/>
                      <a:pt x="35" y="82"/>
                    </a:cubicBezTo>
                    <a:cubicBezTo>
                      <a:pt x="35" y="83"/>
                      <a:pt x="36" y="82"/>
                      <a:pt x="36" y="82"/>
                    </a:cubicBezTo>
                    <a:cubicBezTo>
                      <a:pt x="37" y="82"/>
                      <a:pt x="37" y="82"/>
                      <a:pt x="37" y="82"/>
                    </a:cubicBezTo>
                    <a:cubicBezTo>
                      <a:pt x="39" y="82"/>
                      <a:pt x="39" y="82"/>
                      <a:pt x="39" y="82"/>
                    </a:cubicBezTo>
                    <a:cubicBezTo>
                      <a:pt x="39" y="82"/>
                      <a:pt x="41" y="81"/>
                      <a:pt x="41" y="81"/>
                    </a:cubicBezTo>
                    <a:cubicBezTo>
                      <a:pt x="41" y="82"/>
                      <a:pt x="42" y="82"/>
                      <a:pt x="42" y="82"/>
                    </a:cubicBezTo>
                    <a:cubicBezTo>
                      <a:pt x="42" y="83"/>
                      <a:pt x="45" y="84"/>
                      <a:pt x="45" y="84"/>
                    </a:cubicBezTo>
                    <a:cubicBezTo>
                      <a:pt x="44" y="85"/>
                      <a:pt x="44" y="85"/>
                      <a:pt x="44" y="85"/>
                    </a:cubicBezTo>
                    <a:cubicBezTo>
                      <a:pt x="44" y="85"/>
                      <a:pt x="43" y="87"/>
                      <a:pt x="44" y="87"/>
                    </a:cubicBezTo>
                    <a:cubicBezTo>
                      <a:pt x="44" y="87"/>
                      <a:pt x="45" y="86"/>
                      <a:pt x="45" y="86"/>
                    </a:cubicBezTo>
                    <a:cubicBezTo>
                      <a:pt x="45" y="86"/>
                      <a:pt x="46" y="85"/>
                      <a:pt x="46" y="85"/>
                    </a:cubicBezTo>
                    <a:cubicBezTo>
                      <a:pt x="46" y="85"/>
                      <a:pt x="47" y="85"/>
                      <a:pt x="47" y="85"/>
                    </a:cubicBezTo>
                    <a:cubicBezTo>
                      <a:pt x="47" y="85"/>
                      <a:pt x="48" y="86"/>
                      <a:pt x="48" y="86"/>
                    </a:cubicBezTo>
                    <a:cubicBezTo>
                      <a:pt x="48" y="86"/>
                      <a:pt x="49" y="88"/>
                      <a:pt x="49" y="88"/>
                    </a:cubicBezTo>
                    <a:cubicBezTo>
                      <a:pt x="49" y="88"/>
                      <a:pt x="50" y="87"/>
                      <a:pt x="50" y="87"/>
                    </a:cubicBezTo>
                    <a:cubicBezTo>
                      <a:pt x="50" y="87"/>
                      <a:pt x="51" y="87"/>
                      <a:pt x="51" y="87"/>
                    </a:cubicBezTo>
                    <a:cubicBezTo>
                      <a:pt x="52" y="87"/>
                      <a:pt x="52" y="87"/>
                      <a:pt x="52" y="87"/>
                    </a:cubicBezTo>
                    <a:cubicBezTo>
                      <a:pt x="53" y="87"/>
                      <a:pt x="56" y="87"/>
                      <a:pt x="56" y="87"/>
                    </a:cubicBezTo>
                    <a:cubicBezTo>
                      <a:pt x="57" y="86"/>
                      <a:pt x="57" y="86"/>
                      <a:pt x="57" y="86"/>
                    </a:cubicBezTo>
                    <a:cubicBezTo>
                      <a:pt x="58" y="84"/>
                      <a:pt x="58" y="84"/>
                      <a:pt x="58" y="84"/>
                    </a:cubicBezTo>
                    <a:cubicBezTo>
                      <a:pt x="58" y="83"/>
                      <a:pt x="58" y="83"/>
                      <a:pt x="58" y="83"/>
                    </a:cubicBezTo>
                    <a:cubicBezTo>
                      <a:pt x="58" y="83"/>
                      <a:pt x="60" y="82"/>
                      <a:pt x="60" y="82"/>
                    </a:cubicBezTo>
                    <a:cubicBezTo>
                      <a:pt x="60" y="82"/>
                      <a:pt x="61" y="82"/>
                      <a:pt x="61" y="83"/>
                    </a:cubicBezTo>
                    <a:cubicBezTo>
                      <a:pt x="61" y="83"/>
                      <a:pt x="63" y="85"/>
                      <a:pt x="63" y="85"/>
                    </a:cubicBezTo>
                    <a:cubicBezTo>
                      <a:pt x="63" y="85"/>
                      <a:pt x="64" y="84"/>
                      <a:pt x="64" y="84"/>
                    </a:cubicBezTo>
                    <a:cubicBezTo>
                      <a:pt x="65" y="85"/>
                      <a:pt x="65" y="84"/>
                      <a:pt x="66" y="85"/>
                    </a:cubicBezTo>
                    <a:cubicBezTo>
                      <a:pt x="66" y="86"/>
                      <a:pt x="66" y="86"/>
                      <a:pt x="66" y="86"/>
                    </a:cubicBezTo>
                    <a:cubicBezTo>
                      <a:pt x="67" y="86"/>
                      <a:pt x="67" y="86"/>
                      <a:pt x="68" y="87"/>
                    </a:cubicBezTo>
                    <a:cubicBezTo>
                      <a:pt x="68" y="87"/>
                      <a:pt x="70" y="87"/>
                      <a:pt x="70" y="87"/>
                    </a:cubicBezTo>
                    <a:cubicBezTo>
                      <a:pt x="70" y="86"/>
                      <a:pt x="70" y="86"/>
                      <a:pt x="70" y="86"/>
                    </a:cubicBezTo>
                    <a:cubicBezTo>
                      <a:pt x="70" y="86"/>
                      <a:pt x="70" y="85"/>
                      <a:pt x="71" y="85"/>
                    </a:cubicBezTo>
                    <a:cubicBezTo>
                      <a:pt x="72" y="86"/>
                      <a:pt x="72" y="87"/>
                      <a:pt x="72" y="87"/>
                    </a:cubicBezTo>
                    <a:cubicBezTo>
                      <a:pt x="72" y="87"/>
                      <a:pt x="73" y="88"/>
                      <a:pt x="73" y="88"/>
                    </a:cubicBezTo>
                    <a:cubicBezTo>
                      <a:pt x="73" y="88"/>
                      <a:pt x="76" y="88"/>
                      <a:pt x="76" y="88"/>
                    </a:cubicBezTo>
                    <a:cubicBezTo>
                      <a:pt x="76" y="88"/>
                      <a:pt x="77" y="88"/>
                      <a:pt x="77" y="88"/>
                    </a:cubicBezTo>
                    <a:cubicBezTo>
                      <a:pt x="78" y="88"/>
                      <a:pt x="78" y="89"/>
                      <a:pt x="78" y="89"/>
                    </a:cubicBezTo>
                    <a:cubicBezTo>
                      <a:pt x="78" y="89"/>
                      <a:pt x="78" y="90"/>
                      <a:pt x="78" y="91"/>
                    </a:cubicBezTo>
                    <a:cubicBezTo>
                      <a:pt x="77" y="91"/>
                      <a:pt x="77" y="91"/>
                      <a:pt x="77" y="91"/>
                    </a:cubicBezTo>
                    <a:cubicBezTo>
                      <a:pt x="78" y="92"/>
                      <a:pt x="79" y="93"/>
                      <a:pt x="79" y="93"/>
                    </a:cubicBezTo>
                    <a:cubicBezTo>
                      <a:pt x="79" y="93"/>
                      <a:pt x="78" y="94"/>
                      <a:pt x="78" y="94"/>
                    </a:cubicBezTo>
                    <a:cubicBezTo>
                      <a:pt x="78" y="95"/>
                      <a:pt x="77" y="96"/>
                      <a:pt x="77" y="96"/>
                    </a:cubicBezTo>
                    <a:cubicBezTo>
                      <a:pt x="77" y="97"/>
                      <a:pt x="77" y="97"/>
                      <a:pt x="77" y="97"/>
                    </a:cubicBezTo>
                    <a:cubicBezTo>
                      <a:pt x="76" y="97"/>
                      <a:pt x="76" y="97"/>
                      <a:pt x="76" y="97"/>
                    </a:cubicBezTo>
                    <a:cubicBezTo>
                      <a:pt x="76" y="98"/>
                      <a:pt x="76" y="98"/>
                      <a:pt x="76" y="98"/>
                    </a:cubicBezTo>
                    <a:cubicBezTo>
                      <a:pt x="76" y="98"/>
                      <a:pt x="76" y="99"/>
                      <a:pt x="76" y="99"/>
                    </a:cubicBezTo>
                    <a:cubicBezTo>
                      <a:pt x="76" y="99"/>
                      <a:pt x="76" y="101"/>
                      <a:pt x="76" y="101"/>
                    </a:cubicBezTo>
                    <a:cubicBezTo>
                      <a:pt x="77" y="102"/>
                      <a:pt x="77" y="102"/>
                      <a:pt x="77" y="102"/>
                    </a:cubicBezTo>
                    <a:cubicBezTo>
                      <a:pt x="77" y="102"/>
                      <a:pt x="78" y="101"/>
                      <a:pt x="79" y="101"/>
                    </a:cubicBezTo>
                    <a:cubicBezTo>
                      <a:pt x="79" y="101"/>
                      <a:pt x="81" y="101"/>
                      <a:pt x="81" y="101"/>
                    </a:cubicBezTo>
                    <a:cubicBezTo>
                      <a:pt x="81" y="101"/>
                      <a:pt x="83" y="103"/>
                      <a:pt x="83" y="103"/>
                    </a:cubicBezTo>
                    <a:cubicBezTo>
                      <a:pt x="83" y="103"/>
                      <a:pt x="85" y="105"/>
                      <a:pt x="85" y="105"/>
                    </a:cubicBezTo>
                    <a:cubicBezTo>
                      <a:pt x="87" y="107"/>
                      <a:pt x="87" y="107"/>
                      <a:pt x="87" y="107"/>
                    </a:cubicBezTo>
                    <a:cubicBezTo>
                      <a:pt x="85" y="108"/>
                      <a:pt x="85" y="108"/>
                      <a:pt x="85" y="108"/>
                    </a:cubicBezTo>
                    <a:cubicBezTo>
                      <a:pt x="83" y="111"/>
                      <a:pt x="83" y="111"/>
                      <a:pt x="83" y="111"/>
                    </a:cubicBezTo>
                    <a:cubicBezTo>
                      <a:pt x="82" y="112"/>
                      <a:pt x="82" y="112"/>
                      <a:pt x="82" y="112"/>
                    </a:cubicBezTo>
                    <a:cubicBezTo>
                      <a:pt x="82" y="112"/>
                      <a:pt x="81" y="113"/>
                      <a:pt x="81" y="113"/>
                    </a:cubicBezTo>
                    <a:cubicBezTo>
                      <a:pt x="81" y="114"/>
                      <a:pt x="79" y="115"/>
                      <a:pt x="79" y="115"/>
                    </a:cubicBezTo>
                    <a:cubicBezTo>
                      <a:pt x="78" y="115"/>
                      <a:pt x="78" y="115"/>
                      <a:pt x="78" y="115"/>
                    </a:cubicBezTo>
                    <a:cubicBezTo>
                      <a:pt x="76" y="116"/>
                      <a:pt x="76" y="116"/>
                      <a:pt x="76" y="116"/>
                    </a:cubicBezTo>
                    <a:cubicBezTo>
                      <a:pt x="75" y="117"/>
                      <a:pt x="75" y="117"/>
                      <a:pt x="75" y="117"/>
                    </a:cubicBezTo>
                    <a:cubicBezTo>
                      <a:pt x="73" y="119"/>
                      <a:pt x="73" y="119"/>
                      <a:pt x="73" y="119"/>
                    </a:cubicBezTo>
                    <a:cubicBezTo>
                      <a:pt x="72" y="119"/>
                      <a:pt x="72" y="119"/>
                      <a:pt x="72" y="119"/>
                    </a:cubicBezTo>
                    <a:cubicBezTo>
                      <a:pt x="70" y="120"/>
                      <a:pt x="70" y="120"/>
                      <a:pt x="70" y="120"/>
                    </a:cubicBezTo>
                    <a:cubicBezTo>
                      <a:pt x="69" y="119"/>
                      <a:pt x="69" y="119"/>
                      <a:pt x="69" y="119"/>
                    </a:cubicBezTo>
                    <a:cubicBezTo>
                      <a:pt x="67" y="120"/>
                      <a:pt x="67" y="120"/>
                      <a:pt x="67" y="120"/>
                    </a:cubicBezTo>
                    <a:cubicBezTo>
                      <a:pt x="66" y="121"/>
                      <a:pt x="66" y="121"/>
                      <a:pt x="66" y="121"/>
                    </a:cubicBezTo>
                    <a:cubicBezTo>
                      <a:pt x="64" y="122"/>
                      <a:pt x="64" y="122"/>
                      <a:pt x="64" y="122"/>
                    </a:cubicBezTo>
                    <a:cubicBezTo>
                      <a:pt x="63" y="125"/>
                      <a:pt x="63" y="125"/>
                      <a:pt x="63" y="125"/>
                    </a:cubicBezTo>
                    <a:cubicBezTo>
                      <a:pt x="63" y="125"/>
                      <a:pt x="61" y="125"/>
                      <a:pt x="61" y="125"/>
                    </a:cubicBezTo>
                    <a:cubicBezTo>
                      <a:pt x="60" y="126"/>
                      <a:pt x="59" y="126"/>
                      <a:pt x="59" y="126"/>
                    </a:cubicBezTo>
                    <a:cubicBezTo>
                      <a:pt x="58" y="126"/>
                      <a:pt x="58" y="126"/>
                      <a:pt x="58" y="126"/>
                    </a:cubicBezTo>
                    <a:cubicBezTo>
                      <a:pt x="57" y="126"/>
                      <a:pt x="57" y="126"/>
                      <a:pt x="57" y="126"/>
                    </a:cubicBezTo>
                    <a:cubicBezTo>
                      <a:pt x="57" y="128"/>
                      <a:pt x="57" y="128"/>
                      <a:pt x="57" y="128"/>
                    </a:cubicBezTo>
                    <a:cubicBezTo>
                      <a:pt x="58" y="128"/>
                      <a:pt x="58" y="128"/>
                      <a:pt x="58" y="128"/>
                    </a:cubicBezTo>
                    <a:cubicBezTo>
                      <a:pt x="58" y="128"/>
                      <a:pt x="58" y="129"/>
                      <a:pt x="57" y="130"/>
                    </a:cubicBezTo>
                    <a:cubicBezTo>
                      <a:pt x="57" y="130"/>
                      <a:pt x="58" y="132"/>
                      <a:pt x="58" y="132"/>
                    </a:cubicBezTo>
                    <a:cubicBezTo>
                      <a:pt x="59" y="133"/>
                      <a:pt x="59" y="133"/>
                      <a:pt x="59" y="133"/>
                    </a:cubicBezTo>
                    <a:cubicBezTo>
                      <a:pt x="59" y="133"/>
                      <a:pt x="59" y="135"/>
                      <a:pt x="59" y="135"/>
                    </a:cubicBezTo>
                    <a:cubicBezTo>
                      <a:pt x="58" y="135"/>
                      <a:pt x="57" y="136"/>
                      <a:pt x="57" y="136"/>
                    </a:cubicBezTo>
                    <a:cubicBezTo>
                      <a:pt x="57" y="137"/>
                      <a:pt x="57" y="137"/>
                      <a:pt x="57" y="137"/>
                    </a:cubicBezTo>
                    <a:cubicBezTo>
                      <a:pt x="57" y="139"/>
                      <a:pt x="57" y="139"/>
                      <a:pt x="57" y="139"/>
                    </a:cubicBezTo>
                    <a:cubicBezTo>
                      <a:pt x="57" y="139"/>
                      <a:pt x="57" y="141"/>
                      <a:pt x="57" y="141"/>
                    </a:cubicBezTo>
                    <a:cubicBezTo>
                      <a:pt x="57" y="142"/>
                      <a:pt x="56" y="143"/>
                      <a:pt x="56" y="143"/>
                    </a:cubicBezTo>
                    <a:cubicBezTo>
                      <a:pt x="55" y="144"/>
                      <a:pt x="55" y="144"/>
                      <a:pt x="55" y="144"/>
                    </a:cubicBezTo>
                    <a:cubicBezTo>
                      <a:pt x="55" y="145"/>
                      <a:pt x="55" y="145"/>
                      <a:pt x="55" y="145"/>
                    </a:cubicBezTo>
                    <a:cubicBezTo>
                      <a:pt x="56" y="146"/>
                      <a:pt x="56" y="146"/>
                      <a:pt x="56" y="146"/>
                    </a:cubicBezTo>
                    <a:cubicBezTo>
                      <a:pt x="55" y="149"/>
                      <a:pt x="55" y="149"/>
                      <a:pt x="55" y="149"/>
                    </a:cubicBezTo>
                    <a:cubicBezTo>
                      <a:pt x="53" y="150"/>
                      <a:pt x="53" y="150"/>
                      <a:pt x="53" y="150"/>
                    </a:cubicBezTo>
                    <a:cubicBezTo>
                      <a:pt x="53" y="152"/>
                      <a:pt x="53" y="152"/>
                      <a:pt x="53" y="152"/>
                    </a:cubicBezTo>
                    <a:cubicBezTo>
                      <a:pt x="54" y="153"/>
                      <a:pt x="54" y="153"/>
                      <a:pt x="54" y="153"/>
                    </a:cubicBezTo>
                    <a:cubicBezTo>
                      <a:pt x="54" y="155"/>
                      <a:pt x="54" y="155"/>
                      <a:pt x="54" y="155"/>
                    </a:cubicBezTo>
                    <a:cubicBezTo>
                      <a:pt x="54" y="156"/>
                      <a:pt x="54" y="156"/>
                      <a:pt x="54" y="156"/>
                    </a:cubicBezTo>
                    <a:cubicBezTo>
                      <a:pt x="53" y="157"/>
                      <a:pt x="53" y="157"/>
                      <a:pt x="53" y="157"/>
                    </a:cubicBezTo>
                    <a:cubicBezTo>
                      <a:pt x="52" y="157"/>
                      <a:pt x="52" y="157"/>
                      <a:pt x="52" y="157"/>
                    </a:cubicBezTo>
                    <a:cubicBezTo>
                      <a:pt x="51" y="159"/>
                      <a:pt x="51" y="159"/>
                      <a:pt x="51" y="159"/>
                    </a:cubicBezTo>
                    <a:cubicBezTo>
                      <a:pt x="49" y="159"/>
                      <a:pt x="49" y="159"/>
                      <a:pt x="49" y="159"/>
                    </a:cubicBezTo>
                    <a:cubicBezTo>
                      <a:pt x="48" y="159"/>
                      <a:pt x="48" y="159"/>
                      <a:pt x="48" y="159"/>
                    </a:cubicBezTo>
                    <a:cubicBezTo>
                      <a:pt x="47" y="160"/>
                      <a:pt x="47" y="160"/>
                      <a:pt x="47" y="160"/>
                    </a:cubicBezTo>
                    <a:cubicBezTo>
                      <a:pt x="46" y="160"/>
                      <a:pt x="46" y="160"/>
                      <a:pt x="46" y="160"/>
                    </a:cubicBezTo>
                    <a:cubicBezTo>
                      <a:pt x="45" y="161"/>
                      <a:pt x="45" y="161"/>
                      <a:pt x="45" y="161"/>
                    </a:cubicBezTo>
                    <a:cubicBezTo>
                      <a:pt x="45" y="162"/>
                      <a:pt x="45" y="162"/>
                      <a:pt x="45" y="162"/>
                    </a:cubicBezTo>
                    <a:cubicBezTo>
                      <a:pt x="45" y="162"/>
                      <a:pt x="45" y="163"/>
                      <a:pt x="45" y="164"/>
                    </a:cubicBezTo>
                    <a:cubicBezTo>
                      <a:pt x="45" y="164"/>
                      <a:pt x="46" y="164"/>
                      <a:pt x="46" y="164"/>
                    </a:cubicBezTo>
                    <a:cubicBezTo>
                      <a:pt x="47" y="165"/>
                      <a:pt x="47" y="165"/>
                      <a:pt x="47" y="165"/>
                    </a:cubicBezTo>
                    <a:cubicBezTo>
                      <a:pt x="48" y="168"/>
                      <a:pt x="48" y="168"/>
                      <a:pt x="48" y="168"/>
                    </a:cubicBezTo>
                    <a:cubicBezTo>
                      <a:pt x="48" y="170"/>
                      <a:pt x="48" y="170"/>
                      <a:pt x="48" y="170"/>
                    </a:cubicBezTo>
                    <a:cubicBezTo>
                      <a:pt x="48" y="170"/>
                      <a:pt x="48" y="171"/>
                      <a:pt x="47" y="172"/>
                    </a:cubicBezTo>
                    <a:cubicBezTo>
                      <a:pt x="47" y="172"/>
                      <a:pt x="46" y="173"/>
                      <a:pt x="46" y="173"/>
                    </a:cubicBezTo>
                    <a:cubicBezTo>
                      <a:pt x="46" y="175"/>
                      <a:pt x="46" y="175"/>
                      <a:pt x="46" y="175"/>
                    </a:cubicBezTo>
                    <a:cubicBezTo>
                      <a:pt x="45" y="176"/>
                      <a:pt x="45" y="176"/>
                      <a:pt x="45" y="176"/>
                    </a:cubicBezTo>
                    <a:cubicBezTo>
                      <a:pt x="44" y="177"/>
                      <a:pt x="44" y="177"/>
                      <a:pt x="44" y="177"/>
                    </a:cubicBezTo>
                    <a:cubicBezTo>
                      <a:pt x="42" y="177"/>
                      <a:pt x="42" y="177"/>
                      <a:pt x="42" y="177"/>
                    </a:cubicBezTo>
                    <a:cubicBezTo>
                      <a:pt x="42" y="178"/>
                      <a:pt x="42" y="178"/>
                      <a:pt x="42" y="178"/>
                    </a:cubicBezTo>
                    <a:cubicBezTo>
                      <a:pt x="42" y="179"/>
                      <a:pt x="42" y="179"/>
                      <a:pt x="42" y="179"/>
                    </a:cubicBezTo>
                    <a:cubicBezTo>
                      <a:pt x="41" y="180"/>
                      <a:pt x="41" y="180"/>
                      <a:pt x="41" y="180"/>
                    </a:cubicBezTo>
                    <a:cubicBezTo>
                      <a:pt x="41" y="180"/>
                      <a:pt x="41" y="180"/>
                      <a:pt x="41" y="180"/>
                    </a:cubicBezTo>
                    <a:cubicBezTo>
                      <a:pt x="41" y="182"/>
                      <a:pt x="41" y="182"/>
                      <a:pt x="41" y="182"/>
                    </a:cubicBezTo>
                    <a:cubicBezTo>
                      <a:pt x="40" y="183"/>
                      <a:pt x="40" y="183"/>
                      <a:pt x="40" y="183"/>
                    </a:cubicBezTo>
                    <a:cubicBezTo>
                      <a:pt x="40" y="183"/>
                      <a:pt x="39" y="183"/>
                      <a:pt x="39" y="183"/>
                    </a:cubicBezTo>
                    <a:cubicBezTo>
                      <a:pt x="38" y="183"/>
                      <a:pt x="37" y="183"/>
                      <a:pt x="37" y="183"/>
                    </a:cubicBezTo>
                    <a:cubicBezTo>
                      <a:pt x="37" y="183"/>
                      <a:pt x="36" y="183"/>
                      <a:pt x="36" y="183"/>
                    </a:cubicBezTo>
                    <a:cubicBezTo>
                      <a:pt x="36" y="183"/>
                      <a:pt x="35" y="183"/>
                      <a:pt x="35" y="183"/>
                    </a:cubicBezTo>
                    <a:cubicBezTo>
                      <a:pt x="35" y="183"/>
                      <a:pt x="34" y="182"/>
                      <a:pt x="34" y="182"/>
                    </a:cubicBezTo>
                    <a:cubicBezTo>
                      <a:pt x="33" y="182"/>
                      <a:pt x="33" y="182"/>
                      <a:pt x="33" y="182"/>
                    </a:cubicBezTo>
                    <a:cubicBezTo>
                      <a:pt x="31" y="182"/>
                      <a:pt x="31" y="182"/>
                      <a:pt x="31" y="182"/>
                    </a:cubicBezTo>
                    <a:cubicBezTo>
                      <a:pt x="29" y="182"/>
                      <a:pt x="29" y="182"/>
                      <a:pt x="29" y="182"/>
                    </a:cubicBezTo>
                    <a:cubicBezTo>
                      <a:pt x="27" y="182"/>
                      <a:pt x="27" y="182"/>
                      <a:pt x="27" y="182"/>
                    </a:cubicBezTo>
                    <a:cubicBezTo>
                      <a:pt x="27" y="181"/>
                      <a:pt x="27" y="181"/>
                      <a:pt x="27" y="181"/>
                    </a:cubicBezTo>
                    <a:cubicBezTo>
                      <a:pt x="26" y="182"/>
                      <a:pt x="26" y="182"/>
                      <a:pt x="26" y="182"/>
                    </a:cubicBezTo>
                    <a:cubicBezTo>
                      <a:pt x="26" y="181"/>
                      <a:pt x="26" y="181"/>
                      <a:pt x="26" y="181"/>
                    </a:cubicBezTo>
                    <a:cubicBezTo>
                      <a:pt x="24" y="180"/>
                      <a:pt x="24" y="180"/>
                      <a:pt x="24" y="180"/>
                    </a:cubicBezTo>
                    <a:cubicBezTo>
                      <a:pt x="22" y="180"/>
                      <a:pt x="22" y="180"/>
                      <a:pt x="22" y="180"/>
                    </a:cubicBezTo>
                    <a:cubicBezTo>
                      <a:pt x="22" y="180"/>
                      <a:pt x="23" y="181"/>
                      <a:pt x="23" y="182"/>
                    </a:cubicBezTo>
                    <a:cubicBezTo>
                      <a:pt x="23" y="182"/>
                      <a:pt x="24" y="183"/>
                      <a:pt x="24" y="183"/>
                    </a:cubicBezTo>
                    <a:cubicBezTo>
                      <a:pt x="24" y="183"/>
                      <a:pt x="24" y="185"/>
                      <a:pt x="24" y="185"/>
                    </a:cubicBezTo>
                    <a:cubicBezTo>
                      <a:pt x="24" y="185"/>
                      <a:pt x="26" y="187"/>
                      <a:pt x="26" y="187"/>
                    </a:cubicBezTo>
                    <a:cubicBezTo>
                      <a:pt x="26" y="188"/>
                      <a:pt x="26" y="188"/>
                      <a:pt x="26" y="188"/>
                    </a:cubicBezTo>
                    <a:cubicBezTo>
                      <a:pt x="26" y="188"/>
                      <a:pt x="26" y="189"/>
                      <a:pt x="26" y="189"/>
                    </a:cubicBezTo>
                    <a:cubicBezTo>
                      <a:pt x="27" y="189"/>
                      <a:pt x="28" y="190"/>
                      <a:pt x="28" y="190"/>
                    </a:cubicBezTo>
                    <a:cubicBezTo>
                      <a:pt x="28" y="191"/>
                      <a:pt x="28" y="191"/>
                      <a:pt x="28" y="191"/>
                    </a:cubicBezTo>
                    <a:cubicBezTo>
                      <a:pt x="27" y="193"/>
                      <a:pt x="27" y="193"/>
                      <a:pt x="27" y="193"/>
                    </a:cubicBezTo>
                    <a:cubicBezTo>
                      <a:pt x="27" y="193"/>
                      <a:pt x="27" y="193"/>
                      <a:pt x="27" y="193"/>
                    </a:cubicBezTo>
                    <a:cubicBezTo>
                      <a:pt x="27" y="195"/>
                      <a:pt x="27" y="195"/>
                      <a:pt x="27" y="195"/>
                    </a:cubicBezTo>
                    <a:cubicBezTo>
                      <a:pt x="27" y="196"/>
                      <a:pt x="27" y="196"/>
                      <a:pt x="27" y="196"/>
                    </a:cubicBezTo>
                    <a:cubicBezTo>
                      <a:pt x="28" y="197"/>
                      <a:pt x="28" y="197"/>
                      <a:pt x="28" y="197"/>
                    </a:cubicBezTo>
                    <a:cubicBezTo>
                      <a:pt x="28" y="198"/>
                      <a:pt x="28" y="198"/>
                      <a:pt x="28" y="198"/>
                    </a:cubicBezTo>
                    <a:cubicBezTo>
                      <a:pt x="27" y="199"/>
                      <a:pt x="27" y="199"/>
                      <a:pt x="27" y="199"/>
                    </a:cubicBezTo>
                    <a:cubicBezTo>
                      <a:pt x="27" y="201"/>
                      <a:pt x="27" y="201"/>
                      <a:pt x="27" y="201"/>
                    </a:cubicBezTo>
                    <a:cubicBezTo>
                      <a:pt x="28" y="202"/>
                      <a:pt x="28" y="202"/>
                      <a:pt x="28" y="202"/>
                    </a:cubicBezTo>
                    <a:cubicBezTo>
                      <a:pt x="29" y="203"/>
                      <a:pt x="29" y="203"/>
                      <a:pt x="29" y="203"/>
                    </a:cubicBezTo>
                    <a:cubicBezTo>
                      <a:pt x="31" y="204"/>
                      <a:pt x="31" y="204"/>
                      <a:pt x="31" y="204"/>
                    </a:cubicBezTo>
                    <a:cubicBezTo>
                      <a:pt x="31" y="205"/>
                      <a:pt x="31" y="205"/>
                      <a:pt x="31" y="205"/>
                    </a:cubicBezTo>
                    <a:cubicBezTo>
                      <a:pt x="30" y="206"/>
                      <a:pt x="30" y="206"/>
                      <a:pt x="30" y="206"/>
                    </a:cubicBezTo>
                    <a:cubicBezTo>
                      <a:pt x="30" y="206"/>
                      <a:pt x="29" y="207"/>
                      <a:pt x="30" y="207"/>
                    </a:cubicBezTo>
                    <a:cubicBezTo>
                      <a:pt x="30" y="207"/>
                      <a:pt x="31" y="207"/>
                      <a:pt x="31" y="207"/>
                    </a:cubicBezTo>
                    <a:cubicBezTo>
                      <a:pt x="33" y="207"/>
                      <a:pt x="33" y="207"/>
                      <a:pt x="33" y="207"/>
                    </a:cubicBezTo>
                    <a:cubicBezTo>
                      <a:pt x="33" y="207"/>
                      <a:pt x="34" y="207"/>
                      <a:pt x="34" y="207"/>
                    </a:cubicBezTo>
                    <a:cubicBezTo>
                      <a:pt x="34" y="207"/>
                      <a:pt x="35" y="209"/>
                      <a:pt x="35" y="209"/>
                    </a:cubicBezTo>
                    <a:cubicBezTo>
                      <a:pt x="35" y="210"/>
                      <a:pt x="35" y="210"/>
                      <a:pt x="35" y="210"/>
                    </a:cubicBezTo>
                    <a:cubicBezTo>
                      <a:pt x="35" y="212"/>
                      <a:pt x="35" y="212"/>
                      <a:pt x="35" y="212"/>
                    </a:cubicBezTo>
                    <a:cubicBezTo>
                      <a:pt x="34" y="214"/>
                      <a:pt x="34" y="214"/>
                      <a:pt x="34" y="214"/>
                    </a:cubicBezTo>
                    <a:cubicBezTo>
                      <a:pt x="32" y="215"/>
                      <a:pt x="32" y="215"/>
                      <a:pt x="32" y="215"/>
                    </a:cubicBezTo>
                    <a:cubicBezTo>
                      <a:pt x="31" y="216"/>
                      <a:pt x="31" y="216"/>
                      <a:pt x="31" y="216"/>
                    </a:cubicBezTo>
                    <a:cubicBezTo>
                      <a:pt x="31" y="217"/>
                      <a:pt x="31" y="217"/>
                      <a:pt x="31" y="217"/>
                    </a:cubicBezTo>
                    <a:cubicBezTo>
                      <a:pt x="30" y="218"/>
                      <a:pt x="30" y="218"/>
                      <a:pt x="30" y="218"/>
                    </a:cubicBezTo>
                    <a:cubicBezTo>
                      <a:pt x="29" y="219"/>
                      <a:pt x="29" y="219"/>
                      <a:pt x="29" y="219"/>
                    </a:cubicBezTo>
                    <a:cubicBezTo>
                      <a:pt x="27" y="219"/>
                      <a:pt x="27" y="219"/>
                      <a:pt x="27" y="219"/>
                    </a:cubicBezTo>
                    <a:cubicBezTo>
                      <a:pt x="27" y="220"/>
                      <a:pt x="27" y="220"/>
                      <a:pt x="27" y="220"/>
                    </a:cubicBezTo>
                    <a:cubicBezTo>
                      <a:pt x="25" y="220"/>
                      <a:pt x="25" y="220"/>
                      <a:pt x="25" y="220"/>
                    </a:cubicBezTo>
                    <a:cubicBezTo>
                      <a:pt x="23" y="221"/>
                      <a:pt x="23" y="221"/>
                      <a:pt x="23" y="221"/>
                    </a:cubicBezTo>
                    <a:cubicBezTo>
                      <a:pt x="22" y="221"/>
                      <a:pt x="22" y="221"/>
                      <a:pt x="22" y="221"/>
                    </a:cubicBezTo>
                    <a:cubicBezTo>
                      <a:pt x="21" y="224"/>
                      <a:pt x="21" y="224"/>
                      <a:pt x="21" y="224"/>
                    </a:cubicBezTo>
                    <a:cubicBezTo>
                      <a:pt x="21" y="224"/>
                      <a:pt x="20" y="226"/>
                      <a:pt x="21" y="226"/>
                    </a:cubicBezTo>
                    <a:cubicBezTo>
                      <a:pt x="21" y="226"/>
                      <a:pt x="21" y="227"/>
                      <a:pt x="21" y="227"/>
                    </a:cubicBezTo>
                    <a:cubicBezTo>
                      <a:pt x="21" y="227"/>
                      <a:pt x="20" y="229"/>
                      <a:pt x="20" y="229"/>
                    </a:cubicBezTo>
                    <a:cubicBezTo>
                      <a:pt x="20" y="229"/>
                      <a:pt x="18" y="229"/>
                      <a:pt x="18" y="229"/>
                    </a:cubicBezTo>
                    <a:cubicBezTo>
                      <a:pt x="18" y="231"/>
                      <a:pt x="18" y="231"/>
                      <a:pt x="18" y="231"/>
                    </a:cubicBezTo>
                    <a:cubicBezTo>
                      <a:pt x="18" y="231"/>
                      <a:pt x="18" y="231"/>
                      <a:pt x="18" y="231"/>
                    </a:cubicBezTo>
                    <a:cubicBezTo>
                      <a:pt x="17" y="232"/>
                      <a:pt x="17" y="232"/>
                      <a:pt x="17" y="232"/>
                    </a:cubicBezTo>
                    <a:cubicBezTo>
                      <a:pt x="18" y="233"/>
                      <a:pt x="18" y="233"/>
                      <a:pt x="18" y="233"/>
                    </a:cubicBezTo>
                    <a:cubicBezTo>
                      <a:pt x="17" y="234"/>
                      <a:pt x="17" y="234"/>
                      <a:pt x="17" y="234"/>
                    </a:cubicBezTo>
                    <a:cubicBezTo>
                      <a:pt x="17" y="235"/>
                      <a:pt x="17" y="235"/>
                      <a:pt x="17" y="235"/>
                    </a:cubicBezTo>
                    <a:cubicBezTo>
                      <a:pt x="17" y="235"/>
                      <a:pt x="18" y="237"/>
                      <a:pt x="18" y="237"/>
                    </a:cubicBezTo>
                    <a:cubicBezTo>
                      <a:pt x="18" y="238"/>
                      <a:pt x="19" y="239"/>
                      <a:pt x="19" y="239"/>
                    </a:cubicBezTo>
                    <a:cubicBezTo>
                      <a:pt x="19" y="239"/>
                      <a:pt x="20" y="240"/>
                      <a:pt x="20" y="240"/>
                    </a:cubicBezTo>
                    <a:cubicBezTo>
                      <a:pt x="20" y="240"/>
                      <a:pt x="20" y="242"/>
                      <a:pt x="20" y="242"/>
                    </a:cubicBezTo>
                    <a:cubicBezTo>
                      <a:pt x="20" y="243"/>
                      <a:pt x="21" y="245"/>
                      <a:pt x="21" y="245"/>
                    </a:cubicBezTo>
                    <a:cubicBezTo>
                      <a:pt x="21" y="246"/>
                      <a:pt x="21" y="246"/>
                      <a:pt x="21" y="246"/>
                    </a:cubicBezTo>
                    <a:cubicBezTo>
                      <a:pt x="21" y="246"/>
                      <a:pt x="21" y="247"/>
                      <a:pt x="22" y="247"/>
                    </a:cubicBezTo>
                    <a:cubicBezTo>
                      <a:pt x="22" y="247"/>
                      <a:pt x="24" y="247"/>
                      <a:pt x="24" y="247"/>
                    </a:cubicBezTo>
                    <a:cubicBezTo>
                      <a:pt x="24" y="247"/>
                      <a:pt x="25" y="247"/>
                      <a:pt x="26" y="247"/>
                    </a:cubicBezTo>
                    <a:cubicBezTo>
                      <a:pt x="26" y="247"/>
                      <a:pt x="26" y="246"/>
                      <a:pt x="27" y="247"/>
                    </a:cubicBezTo>
                    <a:cubicBezTo>
                      <a:pt x="27" y="247"/>
                      <a:pt x="27" y="248"/>
                      <a:pt x="27" y="248"/>
                    </a:cubicBezTo>
                    <a:cubicBezTo>
                      <a:pt x="27" y="248"/>
                      <a:pt x="27" y="249"/>
                      <a:pt x="27" y="249"/>
                    </a:cubicBezTo>
                    <a:cubicBezTo>
                      <a:pt x="24" y="252"/>
                      <a:pt x="24" y="252"/>
                      <a:pt x="24" y="252"/>
                    </a:cubicBezTo>
                    <a:cubicBezTo>
                      <a:pt x="24" y="254"/>
                      <a:pt x="24" y="254"/>
                      <a:pt x="24" y="254"/>
                    </a:cubicBezTo>
                    <a:cubicBezTo>
                      <a:pt x="24" y="254"/>
                      <a:pt x="23" y="254"/>
                      <a:pt x="23" y="254"/>
                    </a:cubicBezTo>
                    <a:cubicBezTo>
                      <a:pt x="23" y="254"/>
                      <a:pt x="22" y="254"/>
                      <a:pt x="22" y="254"/>
                    </a:cubicBezTo>
                    <a:cubicBezTo>
                      <a:pt x="20" y="253"/>
                      <a:pt x="20" y="253"/>
                      <a:pt x="20" y="253"/>
                    </a:cubicBezTo>
                    <a:cubicBezTo>
                      <a:pt x="18" y="253"/>
                      <a:pt x="18" y="253"/>
                      <a:pt x="18" y="253"/>
                    </a:cubicBezTo>
                    <a:cubicBezTo>
                      <a:pt x="18" y="254"/>
                      <a:pt x="18" y="254"/>
                      <a:pt x="18" y="254"/>
                    </a:cubicBezTo>
                    <a:cubicBezTo>
                      <a:pt x="18" y="254"/>
                      <a:pt x="17" y="254"/>
                      <a:pt x="17" y="254"/>
                    </a:cubicBezTo>
                    <a:cubicBezTo>
                      <a:pt x="16" y="254"/>
                      <a:pt x="14" y="254"/>
                      <a:pt x="14" y="254"/>
                    </a:cubicBezTo>
                    <a:cubicBezTo>
                      <a:pt x="14" y="255"/>
                      <a:pt x="14" y="255"/>
                      <a:pt x="14" y="255"/>
                    </a:cubicBezTo>
                    <a:cubicBezTo>
                      <a:pt x="12" y="258"/>
                      <a:pt x="12" y="258"/>
                      <a:pt x="12" y="258"/>
                    </a:cubicBezTo>
                    <a:cubicBezTo>
                      <a:pt x="11" y="260"/>
                      <a:pt x="11" y="260"/>
                      <a:pt x="11" y="260"/>
                    </a:cubicBezTo>
                    <a:cubicBezTo>
                      <a:pt x="9" y="261"/>
                      <a:pt x="9" y="261"/>
                      <a:pt x="9" y="261"/>
                    </a:cubicBezTo>
                    <a:cubicBezTo>
                      <a:pt x="8" y="262"/>
                      <a:pt x="8" y="262"/>
                      <a:pt x="8" y="262"/>
                    </a:cubicBezTo>
                    <a:cubicBezTo>
                      <a:pt x="6" y="263"/>
                      <a:pt x="6" y="263"/>
                      <a:pt x="6" y="263"/>
                    </a:cubicBezTo>
                    <a:cubicBezTo>
                      <a:pt x="6" y="263"/>
                      <a:pt x="5" y="264"/>
                      <a:pt x="5" y="264"/>
                    </a:cubicBezTo>
                    <a:cubicBezTo>
                      <a:pt x="5" y="264"/>
                      <a:pt x="4" y="267"/>
                      <a:pt x="4" y="267"/>
                    </a:cubicBezTo>
                    <a:cubicBezTo>
                      <a:pt x="4" y="267"/>
                      <a:pt x="3" y="268"/>
                      <a:pt x="2" y="268"/>
                    </a:cubicBezTo>
                    <a:cubicBezTo>
                      <a:pt x="2" y="269"/>
                      <a:pt x="1" y="269"/>
                      <a:pt x="1" y="269"/>
                    </a:cubicBezTo>
                    <a:cubicBezTo>
                      <a:pt x="1" y="269"/>
                      <a:pt x="1" y="271"/>
                      <a:pt x="1" y="271"/>
                    </a:cubicBezTo>
                    <a:cubicBezTo>
                      <a:pt x="1" y="271"/>
                      <a:pt x="1" y="273"/>
                      <a:pt x="1" y="273"/>
                    </a:cubicBezTo>
                    <a:cubicBezTo>
                      <a:pt x="2" y="275"/>
                      <a:pt x="2" y="275"/>
                      <a:pt x="2" y="275"/>
                    </a:cubicBezTo>
                    <a:cubicBezTo>
                      <a:pt x="1" y="277"/>
                      <a:pt x="1" y="277"/>
                      <a:pt x="1" y="277"/>
                    </a:cubicBezTo>
                    <a:cubicBezTo>
                      <a:pt x="2" y="278"/>
                      <a:pt x="2" y="278"/>
                      <a:pt x="2" y="278"/>
                    </a:cubicBezTo>
                    <a:cubicBezTo>
                      <a:pt x="1" y="280"/>
                      <a:pt x="1" y="280"/>
                      <a:pt x="1" y="280"/>
                    </a:cubicBezTo>
                    <a:cubicBezTo>
                      <a:pt x="1" y="282"/>
                      <a:pt x="1" y="282"/>
                      <a:pt x="1" y="282"/>
                    </a:cubicBezTo>
                    <a:cubicBezTo>
                      <a:pt x="1" y="283"/>
                      <a:pt x="1" y="283"/>
                      <a:pt x="1" y="283"/>
                    </a:cubicBezTo>
                    <a:cubicBezTo>
                      <a:pt x="0" y="285"/>
                      <a:pt x="0" y="285"/>
                      <a:pt x="0" y="285"/>
                    </a:cubicBezTo>
                    <a:cubicBezTo>
                      <a:pt x="1" y="288"/>
                      <a:pt x="1" y="288"/>
                      <a:pt x="1" y="288"/>
                    </a:cubicBezTo>
                    <a:cubicBezTo>
                      <a:pt x="12" y="290"/>
                      <a:pt x="12" y="290"/>
                      <a:pt x="12" y="290"/>
                    </a:cubicBezTo>
                    <a:cubicBezTo>
                      <a:pt x="17" y="290"/>
                      <a:pt x="21" y="294"/>
                      <a:pt x="25" y="296"/>
                    </a:cubicBezTo>
                    <a:cubicBezTo>
                      <a:pt x="27" y="297"/>
                      <a:pt x="32" y="307"/>
                      <a:pt x="33" y="309"/>
                    </a:cubicBezTo>
                    <a:cubicBezTo>
                      <a:pt x="33" y="309"/>
                      <a:pt x="33" y="315"/>
                      <a:pt x="31" y="315"/>
                    </a:cubicBezTo>
                    <a:cubicBezTo>
                      <a:pt x="30" y="318"/>
                      <a:pt x="33" y="319"/>
                      <a:pt x="34" y="321"/>
                    </a:cubicBezTo>
                    <a:cubicBezTo>
                      <a:pt x="37" y="325"/>
                      <a:pt x="34" y="328"/>
                      <a:pt x="34" y="328"/>
                    </a:cubicBezTo>
                    <a:cubicBezTo>
                      <a:pt x="34" y="331"/>
                      <a:pt x="37" y="339"/>
                      <a:pt x="40" y="342"/>
                    </a:cubicBezTo>
                    <a:cubicBezTo>
                      <a:pt x="42" y="344"/>
                      <a:pt x="44" y="342"/>
                      <a:pt x="45" y="344"/>
                    </a:cubicBezTo>
                    <a:cubicBezTo>
                      <a:pt x="47" y="351"/>
                      <a:pt x="52" y="351"/>
                      <a:pt x="56" y="353"/>
                    </a:cubicBezTo>
                    <a:cubicBezTo>
                      <a:pt x="58" y="352"/>
                      <a:pt x="61" y="349"/>
                      <a:pt x="63" y="348"/>
                    </a:cubicBezTo>
                    <a:cubicBezTo>
                      <a:pt x="67" y="346"/>
                      <a:pt x="68" y="343"/>
                      <a:pt x="71" y="341"/>
                    </a:cubicBezTo>
                    <a:cubicBezTo>
                      <a:pt x="72" y="339"/>
                      <a:pt x="76" y="340"/>
                      <a:pt x="78" y="339"/>
                    </a:cubicBezTo>
                    <a:cubicBezTo>
                      <a:pt x="85" y="336"/>
                      <a:pt x="90" y="339"/>
                      <a:pt x="93" y="338"/>
                    </a:cubicBezTo>
                    <a:cubicBezTo>
                      <a:pt x="95" y="338"/>
                      <a:pt x="98" y="335"/>
                      <a:pt x="101" y="334"/>
                    </a:cubicBezTo>
                    <a:cubicBezTo>
                      <a:pt x="103" y="333"/>
                      <a:pt x="106" y="333"/>
                      <a:pt x="108" y="331"/>
                    </a:cubicBezTo>
                    <a:cubicBezTo>
                      <a:pt x="108" y="331"/>
                      <a:pt x="118" y="333"/>
                      <a:pt x="122" y="334"/>
                    </a:cubicBezTo>
                    <a:cubicBezTo>
                      <a:pt x="129" y="335"/>
                      <a:pt x="136" y="339"/>
                      <a:pt x="140" y="339"/>
                    </a:cubicBezTo>
                    <a:cubicBezTo>
                      <a:pt x="143" y="339"/>
                      <a:pt x="143" y="336"/>
                      <a:pt x="145" y="337"/>
                    </a:cubicBezTo>
                    <a:cubicBezTo>
                      <a:pt x="145" y="337"/>
                      <a:pt x="157" y="343"/>
                      <a:pt x="163" y="344"/>
                    </a:cubicBezTo>
                    <a:cubicBezTo>
                      <a:pt x="167" y="344"/>
                      <a:pt x="167" y="338"/>
                      <a:pt x="172" y="339"/>
                    </a:cubicBezTo>
                    <a:cubicBezTo>
                      <a:pt x="175" y="339"/>
                      <a:pt x="175" y="340"/>
                      <a:pt x="178" y="340"/>
                    </a:cubicBezTo>
                    <a:cubicBezTo>
                      <a:pt x="180" y="340"/>
                      <a:pt x="182" y="346"/>
                      <a:pt x="184" y="346"/>
                    </a:cubicBezTo>
                    <a:cubicBezTo>
                      <a:pt x="185" y="345"/>
                      <a:pt x="189" y="341"/>
                      <a:pt x="190" y="340"/>
                    </a:cubicBezTo>
                    <a:cubicBezTo>
                      <a:pt x="190" y="340"/>
                      <a:pt x="196" y="334"/>
                      <a:pt x="196" y="332"/>
                    </a:cubicBezTo>
                    <a:cubicBezTo>
                      <a:pt x="196" y="330"/>
                      <a:pt x="199" y="322"/>
                      <a:pt x="199" y="322"/>
                    </a:cubicBezTo>
                    <a:cubicBezTo>
                      <a:pt x="202" y="320"/>
                      <a:pt x="207" y="322"/>
                      <a:pt x="210" y="319"/>
                    </a:cubicBezTo>
                    <a:cubicBezTo>
                      <a:pt x="218" y="312"/>
                      <a:pt x="218" y="312"/>
                      <a:pt x="218" y="312"/>
                    </a:cubicBezTo>
                    <a:cubicBezTo>
                      <a:pt x="232" y="316"/>
                      <a:pt x="232" y="316"/>
                      <a:pt x="232" y="316"/>
                    </a:cubicBezTo>
                    <a:cubicBezTo>
                      <a:pt x="240" y="315"/>
                      <a:pt x="240" y="315"/>
                      <a:pt x="240" y="315"/>
                    </a:cubicBezTo>
                    <a:cubicBezTo>
                      <a:pt x="240" y="313"/>
                      <a:pt x="239" y="308"/>
                      <a:pt x="240" y="305"/>
                    </a:cubicBezTo>
                    <a:cubicBezTo>
                      <a:pt x="244" y="300"/>
                      <a:pt x="242" y="301"/>
                      <a:pt x="246" y="296"/>
                    </a:cubicBezTo>
                    <a:cubicBezTo>
                      <a:pt x="248" y="293"/>
                      <a:pt x="249" y="290"/>
                      <a:pt x="252" y="288"/>
                    </a:cubicBezTo>
                    <a:cubicBezTo>
                      <a:pt x="258" y="281"/>
                      <a:pt x="261" y="278"/>
                      <a:pt x="266" y="277"/>
                    </a:cubicBezTo>
                    <a:cubicBezTo>
                      <a:pt x="269" y="276"/>
                      <a:pt x="279" y="270"/>
                      <a:pt x="280" y="269"/>
                    </a:cubicBezTo>
                    <a:cubicBezTo>
                      <a:pt x="282" y="268"/>
                      <a:pt x="274" y="262"/>
                      <a:pt x="270" y="257"/>
                    </a:cubicBezTo>
                    <a:cubicBezTo>
                      <a:pt x="267" y="252"/>
                      <a:pt x="267" y="247"/>
                      <a:pt x="267" y="245"/>
                    </a:cubicBezTo>
                    <a:cubicBezTo>
                      <a:pt x="264" y="232"/>
                      <a:pt x="265" y="238"/>
                      <a:pt x="270" y="228"/>
                    </a:cubicBezTo>
                    <a:cubicBezTo>
                      <a:pt x="273" y="223"/>
                      <a:pt x="278" y="219"/>
                      <a:pt x="281" y="216"/>
                    </a:cubicBezTo>
                    <a:cubicBezTo>
                      <a:pt x="282" y="215"/>
                      <a:pt x="288" y="205"/>
                      <a:pt x="295" y="200"/>
                    </a:cubicBezTo>
                    <a:cubicBezTo>
                      <a:pt x="297" y="199"/>
                      <a:pt x="299" y="193"/>
                      <a:pt x="301" y="192"/>
                    </a:cubicBezTo>
                    <a:cubicBezTo>
                      <a:pt x="306" y="188"/>
                      <a:pt x="312" y="189"/>
                      <a:pt x="313" y="187"/>
                    </a:cubicBezTo>
                    <a:cubicBezTo>
                      <a:pt x="314" y="184"/>
                      <a:pt x="309" y="186"/>
                      <a:pt x="309" y="183"/>
                    </a:cubicBezTo>
                    <a:cubicBezTo>
                      <a:pt x="308" y="176"/>
                      <a:pt x="312" y="177"/>
                      <a:pt x="315" y="176"/>
                    </a:cubicBezTo>
                    <a:cubicBezTo>
                      <a:pt x="318" y="175"/>
                      <a:pt x="322" y="173"/>
                      <a:pt x="325" y="172"/>
                    </a:cubicBezTo>
                    <a:cubicBezTo>
                      <a:pt x="345" y="166"/>
                      <a:pt x="342" y="170"/>
                      <a:pt x="348" y="167"/>
                    </a:cubicBezTo>
                    <a:cubicBezTo>
                      <a:pt x="351" y="165"/>
                      <a:pt x="357" y="167"/>
                      <a:pt x="358" y="165"/>
                    </a:cubicBezTo>
                    <a:cubicBezTo>
                      <a:pt x="359" y="163"/>
                      <a:pt x="365" y="157"/>
                      <a:pt x="367" y="158"/>
                    </a:cubicBezTo>
                    <a:cubicBezTo>
                      <a:pt x="370" y="159"/>
                      <a:pt x="374" y="154"/>
                      <a:pt x="377" y="154"/>
                    </a:cubicBezTo>
                    <a:cubicBezTo>
                      <a:pt x="386" y="152"/>
                      <a:pt x="393" y="147"/>
                      <a:pt x="396" y="142"/>
                    </a:cubicBezTo>
                    <a:cubicBezTo>
                      <a:pt x="398" y="139"/>
                      <a:pt x="392" y="131"/>
                      <a:pt x="395" y="128"/>
                    </a:cubicBezTo>
                    <a:cubicBezTo>
                      <a:pt x="396" y="126"/>
                      <a:pt x="397" y="130"/>
                      <a:pt x="399" y="128"/>
                    </a:cubicBezTo>
                    <a:cubicBezTo>
                      <a:pt x="403" y="124"/>
                      <a:pt x="401" y="122"/>
                      <a:pt x="398" y="121"/>
                    </a:cubicBezTo>
                    <a:close/>
                  </a:path>
                </a:pathLst>
              </a:custGeom>
              <a:solidFill>
                <a:srgbClr val="0181C7"/>
              </a:solid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74" name="Rectangle 120"/>
              <p:cNvSpPr>
                <a:spLocks noChangeArrowheads="1"/>
              </p:cNvSpPr>
              <p:nvPr/>
            </p:nvSpPr>
            <p:spPr bwMode="auto">
              <a:xfrm>
                <a:off x="2676" y="2463"/>
                <a:ext cx="2" cy="1"/>
              </a:xfrm>
              <a:prstGeom prst="rect">
                <a:avLst/>
              </a:prstGeom>
              <a:grpFill/>
              <a:ln w="9525">
                <a:solidFill>
                  <a:schemeClr val="bg1">
                    <a:alpha val="25000"/>
                  </a:schemeClr>
                </a:solidFill>
                <a:miter lim="800000"/>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675" name="Freeform 121"/>
              <p:cNvSpPr>
                <a:spLocks/>
              </p:cNvSpPr>
              <p:nvPr/>
            </p:nvSpPr>
            <p:spPr bwMode="auto">
              <a:xfrm>
                <a:off x="2973" y="214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676" name="Freeform 122"/>
              <p:cNvSpPr>
                <a:spLocks/>
              </p:cNvSpPr>
              <p:nvPr/>
            </p:nvSpPr>
            <p:spPr bwMode="auto">
              <a:xfrm>
                <a:off x="2460" y="2225"/>
                <a:ext cx="42" cy="60"/>
              </a:xfrm>
              <a:custGeom>
                <a:avLst/>
                <a:gdLst>
                  <a:gd name="T0" fmla="*/ 0 w 21"/>
                  <a:gd name="T1" fmla="*/ 16 h 30"/>
                  <a:gd name="T2" fmla="*/ 0 w 21"/>
                  <a:gd name="T3" fmla="*/ 17 h 30"/>
                  <a:gd name="T4" fmla="*/ 2 w 21"/>
                  <a:gd name="T5" fmla="*/ 19 h 30"/>
                  <a:gd name="T6" fmla="*/ 3 w 21"/>
                  <a:gd name="T7" fmla="*/ 21 h 30"/>
                  <a:gd name="T8" fmla="*/ 3 w 21"/>
                  <a:gd name="T9" fmla="*/ 22 h 30"/>
                  <a:gd name="T10" fmla="*/ 3 w 21"/>
                  <a:gd name="T11" fmla="*/ 22 h 30"/>
                  <a:gd name="T12" fmla="*/ 3 w 21"/>
                  <a:gd name="T13" fmla="*/ 22 h 30"/>
                  <a:gd name="T14" fmla="*/ 4 w 21"/>
                  <a:gd name="T15" fmla="*/ 24 h 30"/>
                  <a:gd name="T16" fmla="*/ 2 w 21"/>
                  <a:gd name="T17" fmla="*/ 25 h 30"/>
                  <a:gd name="T18" fmla="*/ 3 w 21"/>
                  <a:gd name="T19" fmla="*/ 26 h 30"/>
                  <a:gd name="T20" fmla="*/ 3 w 21"/>
                  <a:gd name="T21" fmla="*/ 28 h 30"/>
                  <a:gd name="T22" fmla="*/ 6 w 21"/>
                  <a:gd name="T23" fmla="*/ 30 h 30"/>
                  <a:gd name="T24" fmla="*/ 8 w 21"/>
                  <a:gd name="T25" fmla="*/ 30 h 30"/>
                  <a:gd name="T26" fmla="*/ 15 w 21"/>
                  <a:gd name="T27" fmla="*/ 29 h 30"/>
                  <a:gd name="T28" fmla="*/ 16 w 21"/>
                  <a:gd name="T29" fmla="*/ 30 h 30"/>
                  <a:gd name="T30" fmla="*/ 20 w 21"/>
                  <a:gd name="T31" fmla="*/ 23 h 30"/>
                  <a:gd name="T32" fmla="*/ 17 w 21"/>
                  <a:gd name="T33" fmla="*/ 17 h 30"/>
                  <a:gd name="T34" fmla="*/ 11 w 21"/>
                  <a:gd name="T35" fmla="*/ 8 h 30"/>
                  <a:gd name="T36" fmla="*/ 11 w 21"/>
                  <a:gd name="T37" fmla="*/ 0 h 30"/>
                  <a:gd name="T38" fmla="*/ 9 w 21"/>
                  <a:gd name="T39" fmla="*/ 1 h 30"/>
                  <a:gd name="T40" fmla="*/ 9 w 21"/>
                  <a:gd name="T41" fmla="*/ 1 h 30"/>
                  <a:gd name="T42" fmla="*/ 9 w 21"/>
                  <a:gd name="T43" fmla="*/ 1 h 30"/>
                  <a:gd name="T44" fmla="*/ 8 w 21"/>
                  <a:gd name="T45" fmla="*/ 0 h 30"/>
                  <a:gd name="T46" fmla="*/ 8 w 21"/>
                  <a:gd name="T47" fmla="*/ 0 h 30"/>
                  <a:gd name="T48" fmla="*/ 7 w 21"/>
                  <a:gd name="T49" fmla="*/ 1 h 30"/>
                  <a:gd name="T50" fmla="*/ 7 w 21"/>
                  <a:gd name="T51" fmla="*/ 1 h 30"/>
                  <a:gd name="T52" fmla="*/ 7 w 21"/>
                  <a:gd name="T53" fmla="*/ 1 h 30"/>
                  <a:gd name="T54" fmla="*/ 7 w 21"/>
                  <a:gd name="T55" fmla="*/ 1 h 30"/>
                  <a:gd name="T56" fmla="*/ 6 w 21"/>
                  <a:gd name="T57" fmla="*/ 1 h 30"/>
                  <a:gd name="T58" fmla="*/ 6 w 21"/>
                  <a:gd name="T59" fmla="*/ 2 h 30"/>
                  <a:gd name="T60" fmla="*/ 6 w 21"/>
                  <a:gd name="T61" fmla="*/ 2 h 30"/>
                  <a:gd name="T62" fmla="*/ 5 w 21"/>
                  <a:gd name="T63" fmla="*/ 3 h 30"/>
                  <a:gd name="T64" fmla="*/ 4 w 21"/>
                  <a:gd name="T65" fmla="*/ 4 h 30"/>
                  <a:gd name="T66" fmla="*/ 4 w 21"/>
                  <a:gd name="T67" fmla="*/ 5 h 30"/>
                  <a:gd name="T68" fmla="*/ 4 w 21"/>
                  <a:gd name="T69" fmla="*/ 5 h 30"/>
                  <a:gd name="T70" fmla="*/ 4 w 21"/>
                  <a:gd name="T71" fmla="*/ 5 h 30"/>
                  <a:gd name="T72" fmla="*/ 2 w 21"/>
                  <a:gd name="T73" fmla="*/ 7 h 30"/>
                  <a:gd name="T74" fmla="*/ 3 w 21"/>
                  <a:gd name="T75" fmla="*/ 8 h 30"/>
                  <a:gd name="T76" fmla="*/ 3 w 21"/>
                  <a:gd name="T77" fmla="*/ 8 h 30"/>
                  <a:gd name="T78" fmla="*/ 3 w 21"/>
                  <a:gd name="T79" fmla="*/ 8 h 30"/>
                  <a:gd name="T80" fmla="*/ 0 w 21"/>
                  <a:gd name="T81" fmla="*/ 11 h 30"/>
                  <a:gd name="T82" fmla="*/ 0 w 21"/>
                  <a:gd name="T83" fmla="*/ 11 h 30"/>
                  <a:gd name="T84" fmla="*/ 0 w 21"/>
                  <a:gd name="T85" fmla="*/ 12 h 30"/>
                  <a:gd name="T86" fmla="*/ 0 w 21"/>
                  <a:gd name="T87" fmla="*/ 15 h 30"/>
                  <a:gd name="T88" fmla="*/ 0 w 21"/>
                  <a:gd name="T89" fmla="*/ 1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 h="30">
                    <a:moveTo>
                      <a:pt x="0" y="16"/>
                    </a:moveTo>
                    <a:cubicBezTo>
                      <a:pt x="0" y="16"/>
                      <a:pt x="0" y="16"/>
                      <a:pt x="0" y="16"/>
                    </a:cubicBezTo>
                    <a:cubicBezTo>
                      <a:pt x="0" y="16"/>
                      <a:pt x="0" y="16"/>
                      <a:pt x="0" y="16"/>
                    </a:cubicBezTo>
                    <a:cubicBezTo>
                      <a:pt x="0" y="16"/>
                      <a:pt x="0" y="16"/>
                      <a:pt x="0" y="16"/>
                    </a:cubicBezTo>
                    <a:cubicBezTo>
                      <a:pt x="0" y="16"/>
                      <a:pt x="0" y="16"/>
                      <a:pt x="0" y="16"/>
                    </a:cubicBezTo>
                    <a:cubicBezTo>
                      <a:pt x="0" y="17"/>
                      <a:pt x="0" y="17"/>
                      <a:pt x="0" y="17"/>
                    </a:cubicBezTo>
                    <a:cubicBezTo>
                      <a:pt x="1" y="17"/>
                      <a:pt x="1" y="17"/>
                      <a:pt x="1" y="17"/>
                    </a:cubicBezTo>
                    <a:cubicBezTo>
                      <a:pt x="1" y="18"/>
                      <a:pt x="1" y="18"/>
                      <a:pt x="1" y="18"/>
                    </a:cubicBezTo>
                    <a:cubicBezTo>
                      <a:pt x="2" y="19"/>
                      <a:pt x="2" y="19"/>
                      <a:pt x="2" y="19"/>
                    </a:cubicBezTo>
                    <a:cubicBezTo>
                      <a:pt x="3" y="20"/>
                      <a:pt x="3" y="20"/>
                      <a:pt x="3" y="20"/>
                    </a:cubicBezTo>
                    <a:cubicBezTo>
                      <a:pt x="3" y="20"/>
                      <a:pt x="3" y="21"/>
                      <a:pt x="3" y="21"/>
                    </a:cubicBezTo>
                    <a:cubicBezTo>
                      <a:pt x="3" y="21"/>
                      <a:pt x="3" y="21"/>
                      <a:pt x="3" y="21"/>
                    </a:cubicBezTo>
                    <a:cubicBezTo>
                      <a:pt x="3" y="22"/>
                      <a:pt x="3" y="22"/>
                      <a:pt x="3" y="22"/>
                    </a:cubicBezTo>
                    <a:cubicBezTo>
                      <a:pt x="3" y="22"/>
                      <a:pt x="3" y="22"/>
                      <a:pt x="3" y="22"/>
                    </a:cubicBezTo>
                    <a:cubicBezTo>
                      <a:pt x="3" y="22"/>
                      <a:pt x="3" y="22"/>
                      <a:pt x="3" y="22"/>
                    </a:cubicBezTo>
                    <a:cubicBezTo>
                      <a:pt x="3" y="22"/>
                      <a:pt x="3" y="22"/>
                      <a:pt x="3" y="22"/>
                    </a:cubicBezTo>
                    <a:cubicBezTo>
                      <a:pt x="3" y="22"/>
                      <a:pt x="3" y="22"/>
                      <a:pt x="3" y="22"/>
                    </a:cubicBezTo>
                    <a:cubicBezTo>
                      <a:pt x="3" y="22"/>
                      <a:pt x="3" y="22"/>
                      <a:pt x="3" y="22"/>
                    </a:cubicBezTo>
                    <a:cubicBezTo>
                      <a:pt x="3" y="22"/>
                      <a:pt x="3" y="22"/>
                      <a:pt x="3" y="22"/>
                    </a:cubicBezTo>
                    <a:cubicBezTo>
                      <a:pt x="3" y="22"/>
                      <a:pt x="3" y="22"/>
                      <a:pt x="3" y="22"/>
                    </a:cubicBezTo>
                    <a:cubicBezTo>
                      <a:pt x="3" y="22"/>
                      <a:pt x="3" y="22"/>
                      <a:pt x="3" y="22"/>
                    </a:cubicBezTo>
                    <a:cubicBezTo>
                      <a:pt x="3" y="22"/>
                      <a:pt x="3" y="22"/>
                      <a:pt x="3" y="22"/>
                    </a:cubicBezTo>
                    <a:cubicBezTo>
                      <a:pt x="3" y="22"/>
                      <a:pt x="4" y="23"/>
                      <a:pt x="4" y="23"/>
                    </a:cubicBezTo>
                    <a:cubicBezTo>
                      <a:pt x="4" y="24"/>
                      <a:pt x="4" y="24"/>
                      <a:pt x="4" y="24"/>
                    </a:cubicBezTo>
                    <a:cubicBezTo>
                      <a:pt x="4" y="24"/>
                      <a:pt x="4" y="24"/>
                      <a:pt x="4" y="24"/>
                    </a:cubicBezTo>
                    <a:cubicBezTo>
                      <a:pt x="4" y="24"/>
                      <a:pt x="4" y="24"/>
                      <a:pt x="4" y="24"/>
                    </a:cubicBezTo>
                    <a:cubicBezTo>
                      <a:pt x="2" y="25"/>
                      <a:pt x="2" y="25"/>
                      <a:pt x="2" y="25"/>
                    </a:cubicBezTo>
                    <a:cubicBezTo>
                      <a:pt x="2" y="25"/>
                      <a:pt x="2" y="25"/>
                      <a:pt x="2" y="25"/>
                    </a:cubicBezTo>
                    <a:cubicBezTo>
                      <a:pt x="3" y="25"/>
                      <a:pt x="3" y="25"/>
                      <a:pt x="3" y="25"/>
                    </a:cubicBezTo>
                    <a:cubicBezTo>
                      <a:pt x="3" y="26"/>
                      <a:pt x="3" y="26"/>
                      <a:pt x="3" y="26"/>
                    </a:cubicBezTo>
                    <a:cubicBezTo>
                      <a:pt x="4" y="27"/>
                      <a:pt x="4" y="27"/>
                      <a:pt x="4" y="27"/>
                    </a:cubicBezTo>
                    <a:cubicBezTo>
                      <a:pt x="3" y="28"/>
                      <a:pt x="3" y="28"/>
                      <a:pt x="3" y="28"/>
                    </a:cubicBezTo>
                    <a:cubicBezTo>
                      <a:pt x="3" y="28"/>
                      <a:pt x="3" y="28"/>
                      <a:pt x="3" y="28"/>
                    </a:cubicBezTo>
                    <a:cubicBezTo>
                      <a:pt x="4" y="28"/>
                      <a:pt x="4" y="28"/>
                      <a:pt x="4" y="28"/>
                    </a:cubicBezTo>
                    <a:cubicBezTo>
                      <a:pt x="5" y="29"/>
                      <a:pt x="5" y="29"/>
                      <a:pt x="5" y="29"/>
                    </a:cubicBezTo>
                    <a:cubicBezTo>
                      <a:pt x="6" y="29"/>
                      <a:pt x="6" y="29"/>
                      <a:pt x="6" y="30"/>
                    </a:cubicBezTo>
                    <a:cubicBezTo>
                      <a:pt x="6" y="30"/>
                      <a:pt x="6" y="30"/>
                      <a:pt x="6" y="30"/>
                    </a:cubicBezTo>
                    <a:cubicBezTo>
                      <a:pt x="7" y="30"/>
                      <a:pt x="7" y="30"/>
                      <a:pt x="7" y="30"/>
                    </a:cubicBezTo>
                    <a:cubicBezTo>
                      <a:pt x="7" y="30"/>
                      <a:pt x="7" y="30"/>
                      <a:pt x="8" y="30"/>
                    </a:cubicBezTo>
                    <a:cubicBezTo>
                      <a:pt x="10" y="28"/>
                      <a:pt x="10" y="28"/>
                      <a:pt x="10" y="28"/>
                    </a:cubicBezTo>
                    <a:cubicBezTo>
                      <a:pt x="13" y="28"/>
                      <a:pt x="13" y="28"/>
                      <a:pt x="13" y="28"/>
                    </a:cubicBezTo>
                    <a:cubicBezTo>
                      <a:pt x="15" y="29"/>
                      <a:pt x="15" y="29"/>
                      <a:pt x="15" y="29"/>
                    </a:cubicBezTo>
                    <a:cubicBezTo>
                      <a:pt x="16" y="30"/>
                      <a:pt x="16" y="30"/>
                      <a:pt x="16" y="30"/>
                    </a:cubicBezTo>
                    <a:cubicBezTo>
                      <a:pt x="16" y="30"/>
                      <a:pt x="16" y="30"/>
                      <a:pt x="16" y="30"/>
                    </a:cubicBezTo>
                    <a:cubicBezTo>
                      <a:pt x="16" y="30"/>
                      <a:pt x="16" y="30"/>
                      <a:pt x="16" y="30"/>
                    </a:cubicBezTo>
                    <a:cubicBezTo>
                      <a:pt x="16" y="27"/>
                      <a:pt x="16" y="27"/>
                      <a:pt x="16" y="27"/>
                    </a:cubicBezTo>
                    <a:cubicBezTo>
                      <a:pt x="18" y="25"/>
                      <a:pt x="18" y="25"/>
                      <a:pt x="18" y="25"/>
                    </a:cubicBezTo>
                    <a:cubicBezTo>
                      <a:pt x="20" y="23"/>
                      <a:pt x="20" y="23"/>
                      <a:pt x="20" y="23"/>
                    </a:cubicBezTo>
                    <a:cubicBezTo>
                      <a:pt x="21" y="20"/>
                      <a:pt x="21" y="20"/>
                      <a:pt x="21" y="20"/>
                    </a:cubicBezTo>
                    <a:cubicBezTo>
                      <a:pt x="20" y="18"/>
                      <a:pt x="20" y="18"/>
                      <a:pt x="20" y="18"/>
                    </a:cubicBezTo>
                    <a:cubicBezTo>
                      <a:pt x="20" y="18"/>
                      <a:pt x="17" y="17"/>
                      <a:pt x="17" y="17"/>
                    </a:cubicBezTo>
                    <a:cubicBezTo>
                      <a:pt x="16" y="16"/>
                      <a:pt x="13" y="15"/>
                      <a:pt x="13" y="15"/>
                    </a:cubicBezTo>
                    <a:cubicBezTo>
                      <a:pt x="12" y="11"/>
                      <a:pt x="12" y="11"/>
                      <a:pt x="12" y="11"/>
                    </a:cubicBezTo>
                    <a:cubicBezTo>
                      <a:pt x="11" y="8"/>
                      <a:pt x="11" y="8"/>
                      <a:pt x="11" y="8"/>
                    </a:cubicBezTo>
                    <a:cubicBezTo>
                      <a:pt x="10" y="5"/>
                      <a:pt x="10" y="5"/>
                      <a:pt x="10" y="5"/>
                    </a:cubicBezTo>
                    <a:cubicBezTo>
                      <a:pt x="11" y="0"/>
                      <a:pt x="11" y="0"/>
                      <a:pt x="11" y="0"/>
                    </a:cubicBezTo>
                    <a:cubicBezTo>
                      <a:pt x="11" y="0"/>
                      <a:pt x="11" y="0"/>
                      <a:pt x="11" y="0"/>
                    </a:cubicBezTo>
                    <a:cubicBezTo>
                      <a:pt x="11" y="0"/>
                      <a:pt x="10" y="0"/>
                      <a:pt x="10" y="1"/>
                    </a:cubicBezTo>
                    <a:cubicBezTo>
                      <a:pt x="10" y="1"/>
                      <a:pt x="10" y="1"/>
                      <a:pt x="10" y="1"/>
                    </a:cubicBezTo>
                    <a:cubicBezTo>
                      <a:pt x="10" y="1"/>
                      <a:pt x="9" y="1"/>
                      <a:pt x="9" y="1"/>
                    </a:cubicBezTo>
                    <a:cubicBezTo>
                      <a:pt x="9" y="1"/>
                      <a:pt x="9" y="1"/>
                      <a:pt x="9" y="1"/>
                    </a:cubicBezTo>
                    <a:cubicBezTo>
                      <a:pt x="9" y="1"/>
                      <a:pt x="9" y="1"/>
                      <a:pt x="9" y="1"/>
                    </a:cubicBezTo>
                    <a:cubicBezTo>
                      <a:pt x="9" y="1"/>
                      <a:pt x="9" y="1"/>
                      <a:pt x="9" y="1"/>
                    </a:cubicBezTo>
                    <a:cubicBezTo>
                      <a:pt x="9" y="1"/>
                      <a:pt x="9" y="1"/>
                      <a:pt x="9" y="1"/>
                    </a:cubicBezTo>
                    <a:cubicBezTo>
                      <a:pt x="9" y="1"/>
                      <a:pt x="9" y="1"/>
                      <a:pt x="9" y="1"/>
                    </a:cubicBezTo>
                    <a:cubicBezTo>
                      <a:pt x="9" y="1"/>
                      <a:pt x="9" y="1"/>
                      <a:pt x="9" y="1"/>
                    </a:cubicBezTo>
                    <a:cubicBezTo>
                      <a:pt x="8" y="1"/>
                      <a:pt x="8" y="1"/>
                      <a:pt x="8" y="1"/>
                    </a:cubicBezTo>
                    <a:cubicBezTo>
                      <a:pt x="8" y="1"/>
                      <a:pt x="8" y="0"/>
                      <a:pt x="8" y="0"/>
                    </a:cubicBezTo>
                    <a:cubicBezTo>
                      <a:pt x="8" y="0"/>
                      <a:pt x="8" y="0"/>
                      <a:pt x="8" y="0"/>
                    </a:cubicBezTo>
                    <a:cubicBezTo>
                      <a:pt x="8" y="0"/>
                      <a:pt x="8" y="0"/>
                      <a:pt x="8" y="0"/>
                    </a:cubicBezTo>
                    <a:cubicBezTo>
                      <a:pt x="8" y="0"/>
                      <a:pt x="8" y="0"/>
                      <a:pt x="8" y="0"/>
                    </a:cubicBezTo>
                    <a:cubicBezTo>
                      <a:pt x="8" y="0"/>
                      <a:pt x="8" y="0"/>
                      <a:pt x="8" y="0"/>
                    </a:cubicBezTo>
                    <a:cubicBezTo>
                      <a:pt x="8" y="0"/>
                      <a:pt x="7" y="0"/>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7" y="1"/>
                      <a:pt x="7" y="1"/>
                      <a:pt x="7" y="1"/>
                    </a:cubicBezTo>
                    <a:cubicBezTo>
                      <a:pt x="6" y="1"/>
                      <a:pt x="6" y="1"/>
                      <a:pt x="6" y="1"/>
                    </a:cubicBezTo>
                    <a:cubicBezTo>
                      <a:pt x="6" y="2"/>
                      <a:pt x="6" y="2"/>
                      <a:pt x="6" y="2"/>
                    </a:cubicBezTo>
                    <a:cubicBezTo>
                      <a:pt x="6" y="2"/>
                      <a:pt x="6" y="2"/>
                      <a:pt x="6" y="2"/>
                    </a:cubicBezTo>
                    <a:cubicBezTo>
                      <a:pt x="6" y="2"/>
                      <a:pt x="6" y="2"/>
                      <a:pt x="6" y="2"/>
                    </a:cubicBezTo>
                    <a:cubicBezTo>
                      <a:pt x="6" y="2"/>
                      <a:pt x="6" y="2"/>
                      <a:pt x="6" y="2"/>
                    </a:cubicBezTo>
                    <a:cubicBezTo>
                      <a:pt x="6" y="2"/>
                      <a:pt x="6" y="2"/>
                      <a:pt x="6" y="2"/>
                    </a:cubicBezTo>
                    <a:cubicBezTo>
                      <a:pt x="6" y="2"/>
                      <a:pt x="6" y="2"/>
                      <a:pt x="6" y="2"/>
                    </a:cubicBezTo>
                    <a:cubicBezTo>
                      <a:pt x="6" y="3"/>
                      <a:pt x="6" y="3"/>
                      <a:pt x="6" y="3"/>
                    </a:cubicBezTo>
                    <a:cubicBezTo>
                      <a:pt x="5" y="3"/>
                      <a:pt x="5" y="3"/>
                      <a:pt x="5" y="3"/>
                    </a:cubicBezTo>
                    <a:cubicBezTo>
                      <a:pt x="5" y="3"/>
                      <a:pt x="5" y="3"/>
                      <a:pt x="5" y="3"/>
                    </a:cubicBezTo>
                    <a:cubicBezTo>
                      <a:pt x="5" y="3"/>
                      <a:pt x="4" y="3"/>
                      <a:pt x="4" y="4"/>
                    </a:cubicBezTo>
                    <a:cubicBezTo>
                      <a:pt x="4" y="4"/>
                      <a:pt x="4" y="4"/>
                      <a:pt x="4" y="4"/>
                    </a:cubicBezTo>
                    <a:cubicBezTo>
                      <a:pt x="4" y="4"/>
                      <a:pt x="4" y="4"/>
                      <a:pt x="4" y="4"/>
                    </a:cubicBezTo>
                    <a:cubicBezTo>
                      <a:pt x="4" y="5"/>
                      <a:pt x="4" y="5"/>
                      <a:pt x="4" y="5"/>
                    </a:cubicBezTo>
                    <a:cubicBezTo>
                      <a:pt x="4" y="5"/>
                      <a:pt x="4" y="5"/>
                      <a:pt x="4" y="5"/>
                    </a:cubicBezTo>
                    <a:cubicBezTo>
                      <a:pt x="4" y="5"/>
                      <a:pt x="4" y="5"/>
                      <a:pt x="4" y="5"/>
                    </a:cubicBezTo>
                    <a:cubicBezTo>
                      <a:pt x="4" y="5"/>
                      <a:pt x="4" y="5"/>
                      <a:pt x="4" y="5"/>
                    </a:cubicBezTo>
                    <a:cubicBezTo>
                      <a:pt x="4" y="5"/>
                      <a:pt x="4" y="5"/>
                      <a:pt x="4" y="5"/>
                    </a:cubicBezTo>
                    <a:cubicBezTo>
                      <a:pt x="4" y="5"/>
                      <a:pt x="4" y="5"/>
                      <a:pt x="4" y="5"/>
                    </a:cubicBezTo>
                    <a:cubicBezTo>
                      <a:pt x="4" y="5"/>
                      <a:pt x="4" y="5"/>
                      <a:pt x="4" y="5"/>
                    </a:cubicBezTo>
                    <a:cubicBezTo>
                      <a:pt x="4" y="5"/>
                      <a:pt x="4" y="5"/>
                      <a:pt x="4" y="5"/>
                    </a:cubicBezTo>
                    <a:cubicBezTo>
                      <a:pt x="4" y="5"/>
                      <a:pt x="4" y="5"/>
                      <a:pt x="4" y="5"/>
                    </a:cubicBezTo>
                    <a:cubicBezTo>
                      <a:pt x="4" y="5"/>
                      <a:pt x="4" y="5"/>
                      <a:pt x="4" y="5"/>
                    </a:cubicBezTo>
                    <a:cubicBezTo>
                      <a:pt x="4" y="6"/>
                      <a:pt x="3" y="7"/>
                      <a:pt x="2" y="7"/>
                    </a:cubicBezTo>
                    <a:cubicBezTo>
                      <a:pt x="2" y="7"/>
                      <a:pt x="2" y="7"/>
                      <a:pt x="2" y="7"/>
                    </a:cubicBezTo>
                    <a:cubicBezTo>
                      <a:pt x="2" y="7"/>
                      <a:pt x="2" y="7"/>
                      <a:pt x="2" y="7"/>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3" y="8"/>
                      <a:pt x="3" y="8"/>
                    </a:cubicBezTo>
                    <a:cubicBezTo>
                      <a:pt x="3" y="8"/>
                      <a:pt x="2" y="9"/>
                      <a:pt x="2" y="10"/>
                    </a:cubicBezTo>
                    <a:cubicBezTo>
                      <a:pt x="1" y="10"/>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2"/>
                      <a:pt x="0" y="12"/>
                      <a:pt x="0" y="12"/>
                    </a:cubicBezTo>
                    <a:cubicBezTo>
                      <a:pt x="0" y="12"/>
                      <a:pt x="0" y="12"/>
                      <a:pt x="0" y="12"/>
                    </a:cubicBezTo>
                    <a:cubicBezTo>
                      <a:pt x="0" y="12"/>
                      <a:pt x="0" y="12"/>
                      <a:pt x="0" y="12"/>
                    </a:cubicBezTo>
                    <a:cubicBezTo>
                      <a:pt x="0" y="12"/>
                      <a:pt x="0" y="12"/>
                      <a:pt x="0" y="12"/>
                    </a:cubicBezTo>
                    <a:cubicBezTo>
                      <a:pt x="0" y="13"/>
                      <a:pt x="1" y="13"/>
                      <a:pt x="1" y="13"/>
                    </a:cubicBezTo>
                    <a:cubicBezTo>
                      <a:pt x="0" y="15"/>
                      <a:pt x="0" y="15"/>
                      <a:pt x="0" y="15"/>
                    </a:cubicBezTo>
                    <a:cubicBezTo>
                      <a:pt x="0" y="15"/>
                      <a:pt x="0" y="15"/>
                      <a:pt x="0" y="16"/>
                    </a:cubicBezTo>
                    <a:cubicBezTo>
                      <a:pt x="0" y="16"/>
                      <a:pt x="0" y="16"/>
                      <a:pt x="0" y="16"/>
                    </a:cubicBezTo>
                    <a:cubicBezTo>
                      <a:pt x="0" y="16"/>
                      <a:pt x="0" y="16"/>
                      <a:pt x="0" y="16"/>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77" name="Freeform 123"/>
              <p:cNvSpPr>
                <a:spLocks/>
              </p:cNvSpPr>
              <p:nvPr/>
            </p:nvSpPr>
            <p:spPr bwMode="auto">
              <a:xfrm>
                <a:off x="1348" y="2793"/>
                <a:ext cx="283" cy="441"/>
              </a:xfrm>
              <a:custGeom>
                <a:avLst/>
                <a:gdLst>
                  <a:gd name="T0" fmla="*/ 56 w 141"/>
                  <a:gd name="T1" fmla="*/ 208 h 220"/>
                  <a:gd name="T2" fmla="*/ 56 w 141"/>
                  <a:gd name="T3" fmla="*/ 198 h 220"/>
                  <a:gd name="T4" fmla="*/ 61 w 141"/>
                  <a:gd name="T5" fmla="*/ 191 h 220"/>
                  <a:gd name="T6" fmla="*/ 73 w 141"/>
                  <a:gd name="T7" fmla="*/ 182 h 220"/>
                  <a:gd name="T8" fmla="*/ 80 w 141"/>
                  <a:gd name="T9" fmla="*/ 180 h 220"/>
                  <a:gd name="T10" fmla="*/ 74 w 141"/>
                  <a:gd name="T11" fmla="*/ 170 h 220"/>
                  <a:gd name="T12" fmla="*/ 71 w 141"/>
                  <a:gd name="T13" fmla="*/ 163 h 220"/>
                  <a:gd name="T14" fmla="*/ 76 w 141"/>
                  <a:gd name="T15" fmla="*/ 154 h 220"/>
                  <a:gd name="T16" fmla="*/ 90 w 141"/>
                  <a:gd name="T17" fmla="*/ 141 h 220"/>
                  <a:gd name="T18" fmla="*/ 86 w 141"/>
                  <a:gd name="T19" fmla="*/ 139 h 220"/>
                  <a:gd name="T20" fmla="*/ 82 w 141"/>
                  <a:gd name="T21" fmla="*/ 128 h 220"/>
                  <a:gd name="T22" fmla="*/ 80 w 141"/>
                  <a:gd name="T23" fmla="*/ 118 h 220"/>
                  <a:gd name="T24" fmla="*/ 77 w 141"/>
                  <a:gd name="T25" fmla="*/ 109 h 220"/>
                  <a:gd name="T26" fmla="*/ 88 w 141"/>
                  <a:gd name="T27" fmla="*/ 109 h 220"/>
                  <a:gd name="T28" fmla="*/ 97 w 141"/>
                  <a:gd name="T29" fmla="*/ 109 h 220"/>
                  <a:gd name="T30" fmla="*/ 103 w 141"/>
                  <a:gd name="T31" fmla="*/ 100 h 220"/>
                  <a:gd name="T32" fmla="*/ 100 w 141"/>
                  <a:gd name="T33" fmla="*/ 92 h 220"/>
                  <a:gd name="T34" fmla="*/ 108 w 141"/>
                  <a:gd name="T35" fmla="*/ 85 h 220"/>
                  <a:gd name="T36" fmla="*/ 110 w 141"/>
                  <a:gd name="T37" fmla="*/ 73 h 220"/>
                  <a:gd name="T38" fmla="*/ 112 w 141"/>
                  <a:gd name="T39" fmla="*/ 65 h 220"/>
                  <a:gd name="T40" fmla="*/ 111 w 141"/>
                  <a:gd name="T41" fmla="*/ 55 h 220"/>
                  <a:gd name="T42" fmla="*/ 122 w 141"/>
                  <a:gd name="T43" fmla="*/ 49 h 220"/>
                  <a:gd name="T44" fmla="*/ 130 w 141"/>
                  <a:gd name="T45" fmla="*/ 46 h 220"/>
                  <a:gd name="T46" fmla="*/ 139 w 141"/>
                  <a:gd name="T47" fmla="*/ 39 h 220"/>
                  <a:gd name="T48" fmla="*/ 135 w 141"/>
                  <a:gd name="T49" fmla="*/ 34 h 220"/>
                  <a:gd name="T50" fmla="*/ 132 w 141"/>
                  <a:gd name="T51" fmla="*/ 25 h 220"/>
                  <a:gd name="T52" fmla="*/ 129 w 141"/>
                  <a:gd name="T53" fmla="*/ 20 h 220"/>
                  <a:gd name="T54" fmla="*/ 120 w 141"/>
                  <a:gd name="T55" fmla="*/ 17 h 220"/>
                  <a:gd name="T56" fmla="*/ 111 w 141"/>
                  <a:gd name="T57" fmla="*/ 20 h 220"/>
                  <a:gd name="T58" fmla="*/ 101 w 141"/>
                  <a:gd name="T59" fmla="*/ 19 h 220"/>
                  <a:gd name="T60" fmla="*/ 95 w 141"/>
                  <a:gd name="T61" fmla="*/ 14 h 220"/>
                  <a:gd name="T62" fmla="*/ 90 w 141"/>
                  <a:gd name="T63" fmla="*/ 13 h 220"/>
                  <a:gd name="T64" fmla="*/ 82 w 141"/>
                  <a:gd name="T65" fmla="*/ 14 h 220"/>
                  <a:gd name="T66" fmla="*/ 79 w 141"/>
                  <a:gd name="T67" fmla="*/ 9 h 220"/>
                  <a:gd name="T68" fmla="*/ 83 w 141"/>
                  <a:gd name="T69" fmla="*/ 1 h 220"/>
                  <a:gd name="T70" fmla="*/ 76 w 141"/>
                  <a:gd name="T71" fmla="*/ 1 h 220"/>
                  <a:gd name="T72" fmla="*/ 70 w 141"/>
                  <a:gd name="T73" fmla="*/ 1 h 220"/>
                  <a:gd name="T74" fmla="*/ 65 w 141"/>
                  <a:gd name="T75" fmla="*/ 3 h 220"/>
                  <a:gd name="T76" fmla="*/ 59 w 141"/>
                  <a:gd name="T77" fmla="*/ 5 h 220"/>
                  <a:gd name="T78" fmla="*/ 59 w 141"/>
                  <a:gd name="T79" fmla="*/ 16 h 220"/>
                  <a:gd name="T80" fmla="*/ 57 w 141"/>
                  <a:gd name="T81" fmla="*/ 27 h 220"/>
                  <a:gd name="T82" fmla="*/ 53 w 141"/>
                  <a:gd name="T83" fmla="*/ 51 h 220"/>
                  <a:gd name="T84" fmla="*/ 34 w 141"/>
                  <a:gd name="T85" fmla="*/ 89 h 220"/>
                  <a:gd name="T86" fmla="*/ 25 w 141"/>
                  <a:gd name="T87" fmla="*/ 102 h 220"/>
                  <a:gd name="T88" fmla="*/ 16 w 141"/>
                  <a:gd name="T89" fmla="*/ 106 h 220"/>
                  <a:gd name="T90" fmla="*/ 12 w 141"/>
                  <a:gd name="T91" fmla="*/ 116 h 220"/>
                  <a:gd name="T92" fmla="*/ 7 w 141"/>
                  <a:gd name="T93" fmla="*/ 127 h 220"/>
                  <a:gd name="T94" fmla="*/ 7 w 141"/>
                  <a:gd name="T95" fmla="*/ 136 h 220"/>
                  <a:gd name="T96" fmla="*/ 11 w 141"/>
                  <a:gd name="T97" fmla="*/ 139 h 220"/>
                  <a:gd name="T98" fmla="*/ 12 w 141"/>
                  <a:gd name="T99" fmla="*/ 148 h 220"/>
                  <a:gd name="T100" fmla="*/ 22 w 141"/>
                  <a:gd name="T101" fmla="*/ 150 h 220"/>
                  <a:gd name="T102" fmla="*/ 20 w 141"/>
                  <a:gd name="T103" fmla="*/ 165 h 220"/>
                  <a:gd name="T104" fmla="*/ 15 w 141"/>
                  <a:gd name="T105" fmla="*/ 184 h 220"/>
                  <a:gd name="T106" fmla="*/ 9 w 141"/>
                  <a:gd name="T107" fmla="*/ 199 h 220"/>
                  <a:gd name="T108" fmla="*/ 0 w 141"/>
                  <a:gd name="T109" fmla="*/ 210 h 220"/>
                  <a:gd name="T110" fmla="*/ 13 w 141"/>
                  <a:gd name="T111" fmla="*/ 210 h 220"/>
                  <a:gd name="T112" fmla="*/ 25 w 141"/>
                  <a:gd name="T113" fmla="*/ 213 h 220"/>
                  <a:gd name="T114" fmla="*/ 36 w 141"/>
                  <a:gd name="T115" fmla="*/ 220 h 220"/>
                  <a:gd name="T116" fmla="*/ 55 w 141"/>
                  <a:gd name="T117" fmla="*/ 217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1" h="220">
                    <a:moveTo>
                      <a:pt x="55" y="215"/>
                    </a:moveTo>
                    <a:cubicBezTo>
                      <a:pt x="55" y="213"/>
                      <a:pt x="55" y="213"/>
                      <a:pt x="55" y="213"/>
                    </a:cubicBezTo>
                    <a:cubicBezTo>
                      <a:pt x="55" y="212"/>
                      <a:pt x="55" y="212"/>
                      <a:pt x="55" y="212"/>
                    </a:cubicBezTo>
                    <a:cubicBezTo>
                      <a:pt x="56" y="209"/>
                      <a:pt x="56" y="209"/>
                      <a:pt x="56" y="209"/>
                    </a:cubicBezTo>
                    <a:cubicBezTo>
                      <a:pt x="56" y="208"/>
                      <a:pt x="56" y="208"/>
                      <a:pt x="56" y="208"/>
                    </a:cubicBezTo>
                    <a:cubicBezTo>
                      <a:pt x="56" y="208"/>
                      <a:pt x="56" y="208"/>
                      <a:pt x="56" y="208"/>
                    </a:cubicBezTo>
                    <a:cubicBezTo>
                      <a:pt x="56" y="205"/>
                      <a:pt x="56" y="205"/>
                      <a:pt x="56" y="205"/>
                    </a:cubicBezTo>
                    <a:cubicBezTo>
                      <a:pt x="56" y="204"/>
                      <a:pt x="56" y="204"/>
                      <a:pt x="56" y="204"/>
                    </a:cubicBezTo>
                    <a:cubicBezTo>
                      <a:pt x="56" y="204"/>
                      <a:pt x="56" y="204"/>
                      <a:pt x="56" y="204"/>
                    </a:cubicBezTo>
                    <a:cubicBezTo>
                      <a:pt x="56" y="204"/>
                      <a:pt x="56" y="202"/>
                      <a:pt x="55" y="202"/>
                    </a:cubicBezTo>
                    <a:cubicBezTo>
                      <a:pt x="55" y="201"/>
                      <a:pt x="55" y="200"/>
                      <a:pt x="56" y="199"/>
                    </a:cubicBezTo>
                    <a:cubicBezTo>
                      <a:pt x="56" y="198"/>
                      <a:pt x="56" y="198"/>
                      <a:pt x="56" y="198"/>
                    </a:cubicBezTo>
                    <a:cubicBezTo>
                      <a:pt x="56" y="198"/>
                      <a:pt x="56" y="198"/>
                      <a:pt x="56" y="198"/>
                    </a:cubicBezTo>
                    <a:cubicBezTo>
                      <a:pt x="56" y="198"/>
                      <a:pt x="57" y="198"/>
                      <a:pt x="57" y="197"/>
                    </a:cubicBezTo>
                    <a:cubicBezTo>
                      <a:pt x="57" y="197"/>
                      <a:pt x="58" y="197"/>
                      <a:pt x="58" y="197"/>
                    </a:cubicBezTo>
                    <a:cubicBezTo>
                      <a:pt x="58" y="197"/>
                      <a:pt x="58" y="196"/>
                      <a:pt x="59" y="196"/>
                    </a:cubicBezTo>
                    <a:cubicBezTo>
                      <a:pt x="59" y="195"/>
                      <a:pt x="60" y="194"/>
                      <a:pt x="60" y="194"/>
                    </a:cubicBezTo>
                    <a:cubicBezTo>
                      <a:pt x="60" y="193"/>
                      <a:pt x="60" y="192"/>
                      <a:pt x="61" y="191"/>
                    </a:cubicBezTo>
                    <a:cubicBezTo>
                      <a:pt x="61" y="191"/>
                      <a:pt x="61" y="191"/>
                      <a:pt x="61" y="191"/>
                    </a:cubicBezTo>
                    <a:cubicBezTo>
                      <a:pt x="67" y="188"/>
                      <a:pt x="67" y="188"/>
                      <a:pt x="67" y="188"/>
                    </a:cubicBezTo>
                    <a:cubicBezTo>
                      <a:pt x="67" y="187"/>
                      <a:pt x="67" y="187"/>
                      <a:pt x="67" y="187"/>
                    </a:cubicBezTo>
                    <a:cubicBezTo>
                      <a:pt x="69" y="182"/>
                      <a:pt x="69" y="182"/>
                      <a:pt x="69" y="182"/>
                    </a:cubicBezTo>
                    <a:cubicBezTo>
                      <a:pt x="70" y="182"/>
                      <a:pt x="70" y="182"/>
                      <a:pt x="70" y="182"/>
                    </a:cubicBezTo>
                    <a:cubicBezTo>
                      <a:pt x="71" y="182"/>
                      <a:pt x="73" y="182"/>
                      <a:pt x="73" y="182"/>
                    </a:cubicBezTo>
                    <a:cubicBezTo>
                      <a:pt x="73" y="182"/>
                      <a:pt x="74" y="182"/>
                      <a:pt x="74" y="182"/>
                    </a:cubicBezTo>
                    <a:cubicBezTo>
                      <a:pt x="74" y="182"/>
                      <a:pt x="74" y="182"/>
                      <a:pt x="74" y="182"/>
                    </a:cubicBezTo>
                    <a:cubicBezTo>
                      <a:pt x="77" y="180"/>
                      <a:pt x="77" y="180"/>
                      <a:pt x="77" y="180"/>
                    </a:cubicBezTo>
                    <a:cubicBezTo>
                      <a:pt x="79" y="181"/>
                      <a:pt x="79" y="181"/>
                      <a:pt x="79" y="181"/>
                    </a:cubicBezTo>
                    <a:cubicBezTo>
                      <a:pt x="79" y="180"/>
                      <a:pt x="79" y="180"/>
                      <a:pt x="79" y="180"/>
                    </a:cubicBezTo>
                    <a:cubicBezTo>
                      <a:pt x="80" y="180"/>
                      <a:pt x="80" y="180"/>
                      <a:pt x="80" y="180"/>
                    </a:cubicBezTo>
                    <a:cubicBezTo>
                      <a:pt x="80" y="180"/>
                      <a:pt x="79" y="180"/>
                      <a:pt x="79" y="180"/>
                    </a:cubicBezTo>
                    <a:cubicBezTo>
                      <a:pt x="78" y="179"/>
                      <a:pt x="76" y="179"/>
                      <a:pt x="76" y="176"/>
                    </a:cubicBezTo>
                    <a:cubicBezTo>
                      <a:pt x="76" y="176"/>
                      <a:pt x="76" y="176"/>
                      <a:pt x="76" y="176"/>
                    </a:cubicBezTo>
                    <a:cubicBezTo>
                      <a:pt x="75" y="175"/>
                      <a:pt x="75" y="173"/>
                      <a:pt x="74" y="172"/>
                    </a:cubicBezTo>
                    <a:cubicBezTo>
                      <a:pt x="74" y="172"/>
                      <a:pt x="74" y="171"/>
                      <a:pt x="75" y="171"/>
                    </a:cubicBezTo>
                    <a:cubicBezTo>
                      <a:pt x="75" y="171"/>
                      <a:pt x="74" y="170"/>
                      <a:pt x="74" y="170"/>
                    </a:cubicBezTo>
                    <a:cubicBezTo>
                      <a:pt x="74" y="170"/>
                      <a:pt x="74" y="170"/>
                      <a:pt x="74" y="170"/>
                    </a:cubicBezTo>
                    <a:cubicBezTo>
                      <a:pt x="73" y="169"/>
                      <a:pt x="73" y="168"/>
                      <a:pt x="73" y="168"/>
                    </a:cubicBezTo>
                    <a:cubicBezTo>
                      <a:pt x="73" y="167"/>
                      <a:pt x="73" y="167"/>
                      <a:pt x="72" y="166"/>
                    </a:cubicBezTo>
                    <a:cubicBezTo>
                      <a:pt x="72" y="165"/>
                      <a:pt x="72" y="165"/>
                      <a:pt x="72" y="165"/>
                    </a:cubicBezTo>
                    <a:cubicBezTo>
                      <a:pt x="71" y="164"/>
                      <a:pt x="71" y="164"/>
                      <a:pt x="71" y="164"/>
                    </a:cubicBezTo>
                    <a:cubicBezTo>
                      <a:pt x="71" y="163"/>
                      <a:pt x="71" y="163"/>
                      <a:pt x="71" y="163"/>
                    </a:cubicBezTo>
                    <a:cubicBezTo>
                      <a:pt x="70" y="163"/>
                      <a:pt x="70" y="163"/>
                      <a:pt x="70" y="163"/>
                    </a:cubicBezTo>
                    <a:cubicBezTo>
                      <a:pt x="72" y="161"/>
                      <a:pt x="72" y="161"/>
                      <a:pt x="72" y="161"/>
                    </a:cubicBezTo>
                    <a:cubicBezTo>
                      <a:pt x="74" y="158"/>
                      <a:pt x="74" y="158"/>
                      <a:pt x="74" y="158"/>
                    </a:cubicBezTo>
                    <a:cubicBezTo>
                      <a:pt x="74" y="157"/>
                      <a:pt x="74" y="157"/>
                      <a:pt x="74" y="157"/>
                    </a:cubicBezTo>
                    <a:cubicBezTo>
                      <a:pt x="74" y="157"/>
                      <a:pt x="75" y="157"/>
                      <a:pt x="75" y="157"/>
                    </a:cubicBezTo>
                    <a:cubicBezTo>
                      <a:pt x="75" y="156"/>
                      <a:pt x="76" y="154"/>
                      <a:pt x="76" y="154"/>
                    </a:cubicBezTo>
                    <a:cubicBezTo>
                      <a:pt x="77" y="149"/>
                      <a:pt x="77" y="149"/>
                      <a:pt x="77" y="149"/>
                    </a:cubicBezTo>
                    <a:cubicBezTo>
                      <a:pt x="80" y="149"/>
                      <a:pt x="80" y="149"/>
                      <a:pt x="80" y="149"/>
                    </a:cubicBezTo>
                    <a:cubicBezTo>
                      <a:pt x="86" y="146"/>
                      <a:pt x="86" y="146"/>
                      <a:pt x="86" y="146"/>
                    </a:cubicBezTo>
                    <a:cubicBezTo>
                      <a:pt x="86" y="145"/>
                      <a:pt x="86" y="145"/>
                      <a:pt x="86" y="145"/>
                    </a:cubicBezTo>
                    <a:cubicBezTo>
                      <a:pt x="89" y="142"/>
                      <a:pt x="89" y="142"/>
                      <a:pt x="89" y="142"/>
                    </a:cubicBezTo>
                    <a:cubicBezTo>
                      <a:pt x="90" y="141"/>
                      <a:pt x="90" y="141"/>
                      <a:pt x="90" y="141"/>
                    </a:cubicBezTo>
                    <a:cubicBezTo>
                      <a:pt x="90" y="141"/>
                      <a:pt x="90" y="141"/>
                      <a:pt x="90" y="141"/>
                    </a:cubicBezTo>
                    <a:cubicBezTo>
                      <a:pt x="90" y="140"/>
                      <a:pt x="90" y="140"/>
                      <a:pt x="90" y="140"/>
                    </a:cubicBezTo>
                    <a:cubicBezTo>
                      <a:pt x="90" y="140"/>
                      <a:pt x="89" y="140"/>
                      <a:pt x="89" y="139"/>
                    </a:cubicBezTo>
                    <a:cubicBezTo>
                      <a:pt x="89" y="140"/>
                      <a:pt x="89" y="140"/>
                      <a:pt x="89" y="140"/>
                    </a:cubicBezTo>
                    <a:cubicBezTo>
                      <a:pt x="88" y="140"/>
                      <a:pt x="88" y="140"/>
                      <a:pt x="88" y="140"/>
                    </a:cubicBezTo>
                    <a:cubicBezTo>
                      <a:pt x="88" y="140"/>
                      <a:pt x="86" y="139"/>
                      <a:pt x="86" y="139"/>
                    </a:cubicBezTo>
                    <a:cubicBezTo>
                      <a:pt x="85" y="139"/>
                      <a:pt x="85" y="139"/>
                      <a:pt x="85" y="139"/>
                    </a:cubicBezTo>
                    <a:cubicBezTo>
                      <a:pt x="85" y="138"/>
                      <a:pt x="85" y="138"/>
                      <a:pt x="85" y="138"/>
                    </a:cubicBezTo>
                    <a:cubicBezTo>
                      <a:pt x="84" y="137"/>
                      <a:pt x="84" y="136"/>
                      <a:pt x="85" y="135"/>
                    </a:cubicBezTo>
                    <a:cubicBezTo>
                      <a:pt x="83" y="134"/>
                      <a:pt x="83" y="134"/>
                      <a:pt x="83" y="134"/>
                    </a:cubicBezTo>
                    <a:cubicBezTo>
                      <a:pt x="82" y="131"/>
                      <a:pt x="82" y="131"/>
                      <a:pt x="82" y="131"/>
                    </a:cubicBezTo>
                    <a:cubicBezTo>
                      <a:pt x="82" y="128"/>
                      <a:pt x="82" y="128"/>
                      <a:pt x="82" y="128"/>
                    </a:cubicBezTo>
                    <a:cubicBezTo>
                      <a:pt x="82" y="127"/>
                      <a:pt x="82" y="127"/>
                      <a:pt x="82" y="127"/>
                    </a:cubicBezTo>
                    <a:cubicBezTo>
                      <a:pt x="81" y="123"/>
                      <a:pt x="81" y="123"/>
                      <a:pt x="81" y="123"/>
                    </a:cubicBezTo>
                    <a:cubicBezTo>
                      <a:pt x="82" y="121"/>
                      <a:pt x="82" y="121"/>
                      <a:pt x="82" y="121"/>
                    </a:cubicBezTo>
                    <a:cubicBezTo>
                      <a:pt x="82" y="121"/>
                      <a:pt x="82" y="121"/>
                      <a:pt x="82" y="121"/>
                    </a:cubicBezTo>
                    <a:cubicBezTo>
                      <a:pt x="81" y="121"/>
                      <a:pt x="81" y="120"/>
                      <a:pt x="80" y="118"/>
                    </a:cubicBezTo>
                    <a:cubicBezTo>
                      <a:pt x="80" y="118"/>
                      <a:pt x="80" y="118"/>
                      <a:pt x="80" y="118"/>
                    </a:cubicBezTo>
                    <a:cubicBezTo>
                      <a:pt x="80" y="118"/>
                      <a:pt x="80" y="118"/>
                      <a:pt x="80" y="118"/>
                    </a:cubicBezTo>
                    <a:cubicBezTo>
                      <a:pt x="80" y="117"/>
                      <a:pt x="80" y="117"/>
                      <a:pt x="79" y="117"/>
                    </a:cubicBezTo>
                    <a:cubicBezTo>
                      <a:pt x="79" y="116"/>
                      <a:pt x="79" y="116"/>
                      <a:pt x="78" y="114"/>
                    </a:cubicBezTo>
                    <a:cubicBezTo>
                      <a:pt x="78" y="114"/>
                      <a:pt x="78" y="113"/>
                      <a:pt x="78" y="113"/>
                    </a:cubicBezTo>
                    <a:cubicBezTo>
                      <a:pt x="78" y="112"/>
                      <a:pt x="77" y="112"/>
                      <a:pt x="77" y="111"/>
                    </a:cubicBezTo>
                    <a:cubicBezTo>
                      <a:pt x="77" y="109"/>
                      <a:pt x="77" y="109"/>
                      <a:pt x="77" y="109"/>
                    </a:cubicBezTo>
                    <a:cubicBezTo>
                      <a:pt x="81" y="108"/>
                      <a:pt x="81" y="108"/>
                      <a:pt x="81" y="108"/>
                    </a:cubicBezTo>
                    <a:cubicBezTo>
                      <a:pt x="84" y="109"/>
                      <a:pt x="84" y="109"/>
                      <a:pt x="84" y="109"/>
                    </a:cubicBezTo>
                    <a:cubicBezTo>
                      <a:pt x="85" y="109"/>
                      <a:pt x="85" y="109"/>
                      <a:pt x="85" y="109"/>
                    </a:cubicBezTo>
                    <a:cubicBezTo>
                      <a:pt x="85" y="109"/>
                      <a:pt x="85" y="109"/>
                      <a:pt x="85" y="109"/>
                    </a:cubicBezTo>
                    <a:cubicBezTo>
                      <a:pt x="86" y="110"/>
                      <a:pt x="86" y="110"/>
                      <a:pt x="86" y="110"/>
                    </a:cubicBezTo>
                    <a:cubicBezTo>
                      <a:pt x="88" y="109"/>
                      <a:pt x="88" y="109"/>
                      <a:pt x="88" y="109"/>
                    </a:cubicBezTo>
                    <a:cubicBezTo>
                      <a:pt x="91" y="110"/>
                      <a:pt x="91" y="110"/>
                      <a:pt x="91" y="110"/>
                    </a:cubicBezTo>
                    <a:cubicBezTo>
                      <a:pt x="92" y="110"/>
                      <a:pt x="92" y="110"/>
                      <a:pt x="93" y="111"/>
                    </a:cubicBezTo>
                    <a:cubicBezTo>
                      <a:pt x="93" y="111"/>
                      <a:pt x="94" y="111"/>
                      <a:pt x="94" y="111"/>
                    </a:cubicBezTo>
                    <a:cubicBezTo>
                      <a:pt x="94" y="111"/>
                      <a:pt x="95" y="111"/>
                      <a:pt x="95" y="111"/>
                    </a:cubicBezTo>
                    <a:cubicBezTo>
                      <a:pt x="96" y="109"/>
                      <a:pt x="96" y="109"/>
                      <a:pt x="96" y="109"/>
                    </a:cubicBezTo>
                    <a:cubicBezTo>
                      <a:pt x="97" y="109"/>
                      <a:pt x="97" y="109"/>
                      <a:pt x="97" y="109"/>
                    </a:cubicBezTo>
                    <a:cubicBezTo>
                      <a:pt x="97" y="107"/>
                      <a:pt x="97" y="107"/>
                      <a:pt x="97" y="107"/>
                    </a:cubicBezTo>
                    <a:cubicBezTo>
                      <a:pt x="97" y="107"/>
                      <a:pt x="98" y="106"/>
                      <a:pt x="98" y="106"/>
                    </a:cubicBezTo>
                    <a:cubicBezTo>
                      <a:pt x="98" y="105"/>
                      <a:pt x="98" y="105"/>
                      <a:pt x="98" y="105"/>
                    </a:cubicBezTo>
                    <a:cubicBezTo>
                      <a:pt x="99" y="105"/>
                      <a:pt x="99" y="105"/>
                      <a:pt x="99" y="105"/>
                    </a:cubicBezTo>
                    <a:cubicBezTo>
                      <a:pt x="101" y="102"/>
                      <a:pt x="101" y="102"/>
                      <a:pt x="101" y="102"/>
                    </a:cubicBezTo>
                    <a:cubicBezTo>
                      <a:pt x="102" y="101"/>
                      <a:pt x="102" y="100"/>
                      <a:pt x="103" y="100"/>
                    </a:cubicBezTo>
                    <a:cubicBezTo>
                      <a:pt x="103" y="100"/>
                      <a:pt x="103" y="100"/>
                      <a:pt x="103" y="100"/>
                    </a:cubicBezTo>
                    <a:cubicBezTo>
                      <a:pt x="102" y="99"/>
                      <a:pt x="102" y="99"/>
                      <a:pt x="102" y="99"/>
                    </a:cubicBezTo>
                    <a:cubicBezTo>
                      <a:pt x="102" y="96"/>
                      <a:pt x="102" y="96"/>
                      <a:pt x="102" y="96"/>
                    </a:cubicBezTo>
                    <a:cubicBezTo>
                      <a:pt x="101" y="96"/>
                      <a:pt x="101" y="96"/>
                      <a:pt x="101" y="96"/>
                    </a:cubicBezTo>
                    <a:cubicBezTo>
                      <a:pt x="101" y="96"/>
                      <a:pt x="101" y="96"/>
                      <a:pt x="101" y="95"/>
                    </a:cubicBezTo>
                    <a:cubicBezTo>
                      <a:pt x="100" y="95"/>
                      <a:pt x="100" y="93"/>
                      <a:pt x="100" y="92"/>
                    </a:cubicBezTo>
                    <a:cubicBezTo>
                      <a:pt x="99" y="91"/>
                      <a:pt x="99" y="91"/>
                      <a:pt x="99" y="91"/>
                    </a:cubicBezTo>
                    <a:cubicBezTo>
                      <a:pt x="101" y="88"/>
                      <a:pt x="101" y="88"/>
                      <a:pt x="101" y="88"/>
                    </a:cubicBezTo>
                    <a:cubicBezTo>
                      <a:pt x="103" y="88"/>
                      <a:pt x="103" y="88"/>
                      <a:pt x="103" y="88"/>
                    </a:cubicBezTo>
                    <a:cubicBezTo>
                      <a:pt x="104" y="87"/>
                      <a:pt x="104" y="87"/>
                      <a:pt x="104" y="87"/>
                    </a:cubicBezTo>
                    <a:cubicBezTo>
                      <a:pt x="107" y="86"/>
                      <a:pt x="107" y="86"/>
                      <a:pt x="107" y="86"/>
                    </a:cubicBezTo>
                    <a:cubicBezTo>
                      <a:pt x="108" y="85"/>
                      <a:pt x="108" y="85"/>
                      <a:pt x="108" y="85"/>
                    </a:cubicBezTo>
                    <a:cubicBezTo>
                      <a:pt x="109" y="85"/>
                      <a:pt x="109" y="85"/>
                      <a:pt x="109" y="85"/>
                    </a:cubicBezTo>
                    <a:cubicBezTo>
                      <a:pt x="108" y="83"/>
                      <a:pt x="108" y="83"/>
                      <a:pt x="108" y="83"/>
                    </a:cubicBezTo>
                    <a:cubicBezTo>
                      <a:pt x="108" y="79"/>
                      <a:pt x="108" y="79"/>
                      <a:pt x="108" y="79"/>
                    </a:cubicBezTo>
                    <a:cubicBezTo>
                      <a:pt x="110" y="77"/>
                      <a:pt x="110" y="77"/>
                      <a:pt x="110" y="77"/>
                    </a:cubicBezTo>
                    <a:cubicBezTo>
                      <a:pt x="109" y="77"/>
                      <a:pt x="109" y="77"/>
                      <a:pt x="109" y="77"/>
                    </a:cubicBezTo>
                    <a:cubicBezTo>
                      <a:pt x="110" y="73"/>
                      <a:pt x="110" y="73"/>
                      <a:pt x="110" y="73"/>
                    </a:cubicBezTo>
                    <a:cubicBezTo>
                      <a:pt x="112" y="72"/>
                      <a:pt x="112" y="72"/>
                      <a:pt x="112" y="72"/>
                    </a:cubicBezTo>
                    <a:cubicBezTo>
                      <a:pt x="112" y="71"/>
                      <a:pt x="112" y="71"/>
                      <a:pt x="112" y="71"/>
                    </a:cubicBezTo>
                    <a:cubicBezTo>
                      <a:pt x="112" y="70"/>
                      <a:pt x="112" y="70"/>
                      <a:pt x="112" y="69"/>
                    </a:cubicBezTo>
                    <a:cubicBezTo>
                      <a:pt x="112" y="67"/>
                      <a:pt x="112" y="67"/>
                      <a:pt x="112" y="67"/>
                    </a:cubicBezTo>
                    <a:cubicBezTo>
                      <a:pt x="112" y="65"/>
                      <a:pt x="112" y="65"/>
                      <a:pt x="112" y="65"/>
                    </a:cubicBezTo>
                    <a:cubicBezTo>
                      <a:pt x="112" y="65"/>
                      <a:pt x="112" y="65"/>
                      <a:pt x="112" y="65"/>
                    </a:cubicBezTo>
                    <a:cubicBezTo>
                      <a:pt x="113" y="64"/>
                      <a:pt x="113" y="64"/>
                      <a:pt x="113" y="64"/>
                    </a:cubicBezTo>
                    <a:cubicBezTo>
                      <a:pt x="113" y="64"/>
                      <a:pt x="113" y="64"/>
                      <a:pt x="113" y="64"/>
                    </a:cubicBezTo>
                    <a:cubicBezTo>
                      <a:pt x="112" y="63"/>
                      <a:pt x="112" y="63"/>
                      <a:pt x="112" y="63"/>
                    </a:cubicBezTo>
                    <a:cubicBezTo>
                      <a:pt x="112" y="63"/>
                      <a:pt x="112" y="61"/>
                      <a:pt x="112" y="60"/>
                    </a:cubicBezTo>
                    <a:cubicBezTo>
                      <a:pt x="112" y="60"/>
                      <a:pt x="112" y="60"/>
                      <a:pt x="112" y="60"/>
                    </a:cubicBezTo>
                    <a:cubicBezTo>
                      <a:pt x="111" y="55"/>
                      <a:pt x="111" y="55"/>
                      <a:pt x="111" y="55"/>
                    </a:cubicBezTo>
                    <a:cubicBezTo>
                      <a:pt x="114" y="53"/>
                      <a:pt x="114" y="53"/>
                      <a:pt x="114" y="53"/>
                    </a:cubicBezTo>
                    <a:cubicBezTo>
                      <a:pt x="114" y="53"/>
                      <a:pt x="116" y="54"/>
                      <a:pt x="116" y="54"/>
                    </a:cubicBezTo>
                    <a:cubicBezTo>
                      <a:pt x="116" y="54"/>
                      <a:pt x="116" y="53"/>
                      <a:pt x="117" y="53"/>
                    </a:cubicBezTo>
                    <a:cubicBezTo>
                      <a:pt x="117" y="53"/>
                      <a:pt x="118" y="53"/>
                      <a:pt x="118" y="53"/>
                    </a:cubicBezTo>
                    <a:cubicBezTo>
                      <a:pt x="119" y="51"/>
                      <a:pt x="119" y="51"/>
                      <a:pt x="119" y="51"/>
                    </a:cubicBezTo>
                    <a:cubicBezTo>
                      <a:pt x="122" y="49"/>
                      <a:pt x="122" y="49"/>
                      <a:pt x="122" y="49"/>
                    </a:cubicBezTo>
                    <a:cubicBezTo>
                      <a:pt x="122" y="48"/>
                      <a:pt x="122" y="48"/>
                      <a:pt x="122" y="48"/>
                    </a:cubicBezTo>
                    <a:cubicBezTo>
                      <a:pt x="127" y="47"/>
                      <a:pt x="127" y="47"/>
                      <a:pt x="127" y="47"/>
                    </a:cubicBezTo>
                    <a:cubicBezTo>
                      <a:pt x="127" y="47"/>
                      <a:pt x="127" y="47"/>
                      <a:pt x="127" y="47"/>
                    </a:cubicBezTo>
                    <a:cubicBezTo>
                      <a:pt x="128" y="46"/>
                      <a:pt x="128" y="46"/>
                      <a:pt x="128" y="46"/>
                    </a:cubicBezTo>
                    <a:cubicBezTo>
                      <a:pt x="129" y="46"/>
                      <a:pt x="129" y="46"/>
                      <a:pt x="129" y="46"/>
                    </a:cubicBezTo>
                    <a:cubicBezTo>
                      <a:pt x="130" y="46"/>
                      <a:pt x="130" y="46"/>
                      <a:pt x="130" y="46"/>
                    </a:cubicBezTo>
                    <a:cubicBezTo>
                      <a:pt x="132" y="45"/>
                      <a:pt x="132" y="45"/>
                      <a:pt x="132" y="45"/>
                    </a:cubicBezTo>
                    <a:cubicBezTo>
                      <a:pt x="134" y="42"/>
                      <a:pt x="134" y="42"/>
                      <a:pt x="134" y="42"/>
                    </a:cubicBezTo>
                    <a:cubicBezTo>
                      <a:pt x="136" y="42"/>
                      <a:pt x="136" y="42"/>
                      <a:pt x="136" y="42"/>
                    </a:cubicBezTo>
                    <a:cubicBezTo>
                      <a:pt x="136" y="42"/>
                      <a:pt x="136" y="42"/>
                      <a:pt x="136" y="42"/>
                    </a:cubicBezTo>
                    <a:cubicBezTo>
                      <a:pt x="136" y="42"/>
                      <a:pt x="137" y="40"/>
                      <a:pt x="137" y="40"/>
                    </a:cubicBezTo>
                    <a:cubicBezTo>
                      <a:pt x="139" y="39"/>
                      <a:pt x="139" y="39"/>
                      <a:pt x="139" y="39"/>
                    </a:cubicBezTo>
                    <a:cubicBezTo>
                      <a:pt x="141" y="37"/>
                      <a:pt x="141" y="37"/>
                      <a:pt x="141" y="37"/>
                    </a:cubicBezTo>
                    <a:cubicBezTo>
                      <a:pt x="140" y="36"/>
                      <a:pt x="140" y="36"/>
                      <a:pt x="140" y="36"/>
                    </a:cubicBezTo>
                    <a:cubicBezTo>
                      <a:pt x="139" y="36"/>
                      <a:pt x="138" y="35"/>
                      <a:pt x="138" y="34"/>
                    </a:cubicBezTo>
                    <a:cubicBezTo>
                      <a:pt x="138" y="34"/>
                      <a:pt x="137" y="34"/>
                      <a:pt x="137" y="33"/>
                    </a:cubicBezTo>
                    <a:cubicBezTo>
                      <a:pt x="136" y="33"/>
                      <a:pt x="136" y="33"/>
                      <a:pt x="136" y="33"/>
                    </a:cubicBezTo>
                    <a:cubicBezTo>
                      <a:pt x="136" y="33"/>
                      <a:pt x="135" y="33"/>
                      <a:pt x="135" y="34"/>
                    </a:cubicBezTo>
                    <a:cubicBezTo>
                      <a:pt x="134" y="34"/>
                      <a:pt x="134" y="34"/>
                      <a:pt x="134" y="34"/>
                    </a:cubicBezTo>
                    <a:cubicBezTo>
                      <a:pt x="131" y="32"/>
                      <a:pt x="131" y="32"/>
                      <a:pt x="131" y="32"/>
                    </a:cubicBezTo>
                    <a:cubicBezTo>
                      <a:pt x="131" y="31"/>
                      <a:pt x="131" y="31"/>
                      <a:pt x="131" y="31"/>
                    </a:cubicBezTo>
                    <a:cubicBezTo>
                      <a:pt x="130" y="30"/>
                      <a:pt x="130" y="29"/>
                      <a:pt x="131" y="28"/>
                    </a:cubicBezTo>
                    <a:cubicBezTo>
                      <a:pt x="130" y="27"/>
                      <a:pt x="130" y="27"/>
                      <a:pt x="130" y="27"/>
                    </a:cubicBezTo>
                    <a:cubicBezTo>
                      <a:pt x="132" y="25"/>
                      <a:pt x="132" y="25"/>
                      <a:pt x="132" y="25"/>
                    </a:cubicBezTo>
                    <a:cubicBezTo>
                      <a:pt x="132" y="25"/>
                      <a:pt x="133" y="24"/>
                      <a:pt x="133" y="24"/>
                    </a:cubicBezTo>
                    <a:cubicBezTo>
                      <a:pt x="133" y="23"/>
                      <a:pt x="133" y="23"/>
                      <a:pt x="133" y="23"/>
                    </a:cubicBezTo>
                    <a:cubicBezTo>
                      <a:pt x="133" y="23"/>
                      <a:pt x="133" y="23"/>
                      <a:pt x="133" y="23"/>
                    </a:cubicBezTo>
                    <a:cubicBezTo>
                      <a:pt x="132" y="22"/>
                      <a:pt x="132" y="22"/>
                      <a:pt x="132" y="22"/>
                    </a:cubicBezTo>
                    <a:cubicBezTo>
                      <a:pt x="132" y="22"/>
                      <a:pt x="132" y="21"/>
                      <a:pt x="132" y="21"/>
                    </a:cubicBezTo>
                    <a:cubicBezTo>
                      <a:pt x="131" y="20"/>
                      <a:pt x="130" y="20"/>
                      <a:pt x="129" y="20"/>
                    </a:cubicBezTo>
                    <a:cubicBezTo>
                      <a:pt x="129" y="20"/>
                      <a:pt x="128" y="20"/>
                      <a:pt x="128" y="19"/>
                    </a:cubicBezTo>
                    <a:cubicBezTo>
                      <a:pt x="128" y="19"/>
                      <a:pt x="128" y="19"/>
                      <a:pt x="128" y="19"/>
                    </a:cubicBezTo>
                    <a:cubicBezTo>
                      <a:pt x="124" y="19"/>
                      <a:pt x="124" y="19"/>
                      <a:pt x="124" y="19"/>
                    </a:cubicBezTo>
                    <a:cubicBezTo>
                      <a:pt x="123" y="19"/>
                      <a:pt x="123" y="18"/>
                      <a:pt x="122" y="18"/>
                    </a:cubicBezTo>
                    <a:cubicBezTo>
                      <a:pt x="121" y="18"/>
                      <a:pt x="121" y="17"/>
                      <a:pt x="121" y="17"/>
                    </a:cubicBezTo>
                    <a:cubicBezTo>
                      <a:pt x="120" y="17"/>
                      <a:pt x="120" y="17"/>
                      <a:pt x="120" y="17"/>
                    </a:cubicBezTo>
                    <a:cubicBezTo>
                      <a:pt x="119" y="17"/>
                      <a:pt x="119" y="17"/>
                      <a:pt x="119" y="17"/>
                    </a:cubicBezTo>
                    <a:cubicBezTo>
                      <a:pt x="119" y="17"/>
                      <a:pt x="119" y="17"/>
                      <a:pt x="119" y="17"/>
                    </a:cubicBezTo>
                    <a:cubicBezTo>
                      <a:pt x="118" y="16"/>
                      <a:pt x="117" y="16"/>
                      <a:pt x="117" y="15"/>
                    </a:cubicBezTo>
                    <a:cubicBezTo>
                      <a:pt x="116" y="17"/>
                      <a:pt x="116" y="17"/>
                      <a:pt x="116" y="17"/>
                    </a:cubicBezTo>
                    <a:cubicBezTo>
                      <a:pt x="114" y="20"/>
                      <a:pt x="114" y="20"/>
                      <a:pt x="114" y="20"/>
                    </a:cubicBezTo>
                    <a:cubicBezTo>
                      <a:pt x="114" y="20"/>
                      <a:pt x="112" y="20"/>
                      <a:pt x="111" y="20"/>
                    </a:cubicBezTo>
                    <a:cubicBezTo>
                      <a:pt x="109" y="20"/>
                      <a:pt x="109" y="20"/>
                      <a:pt x="109" y="20"/>
                    </a:cubicBezTo>
                    <a:cubicBezTo>
                      <a:pt x="109" y="20"/>
                      <a:pt x="109" y="20"/>
                      <a:pt x="109" y="20"/>
                    </a:cubicBezTo>
                    <a:cubicBezTo>
                      <a:pt x="109" y="20"/>
                      <a:pt x="108" y="20"/>
                      <a:pt x="108" y="20"/>
                    </a:cubicBezTo>
                    <a:cubicBezTo>
                      <a:pt x="107" y="20"/>
                      <a:pt x="106" y="20"/>
                      <a:pt x="106" y="20"/>
                    </a:cubicBezTo>
                    <a:cubicBezTo>
                      <a:pt x="105" y="20"/>
                      <a:pt x="104" y="19"/>
                      <a:pt x="103" y="18"/>
                    </a:cubicBezTo>
                    <a:cubicBezTo>
                      <a:pt x="103" y="18"/>
                      <a:pt x="102" y="19"/>
                      <a:pt x="101" y="19"/>
                    </a:cubicBezTo>
                    <a:cubicBezTo>
                      <a:pt x="100" y="19"/>
                      <a:pt x="100" y="19"/>
                      <a:pt x="100" y="19"/>
                    </a:cubicBezTo>
                    <a:cubicBezTo>
                      <a:pt x="100" y="19"/>
                      <a:pt x="100" y="19"/>
                      <a:pt x="100" y="19"/>
                    </a:cubicBezTo>
                    <a:cubicBezTo>
                      <a:pt x="99" y="18"/>
                      <a:pt x="98" y="17"/>
                      <a:pt x="98" y="15"/>
                    </a:cubicBezTo>
                    <a:cubicBezTo>
                      <a:pt x="98" y="14"/>
                      <a:pt x="97" y="14"/>
                      <a:pt x="97" y="14"/>
                    </a:cubicBezTo>
                    <a:cubicBezTo>
                      <a:pt x="97" y="14"/>
                      <a:pt x="96" y="14"/>
                      <a:pt x="96" y="14"/>
                    </a:cubicBezTo>
                    <a:cubicBezTo>
                      <a:pt x="95" y="14"/>
                      <a:pt x="95" y="14"/>
                      <a:pt x="95" y="14"/>
                    </a:cubicBezTo>
                    <a:cubicBezTo>
                      <a:pt x="95" y="14"/>
                      <a:pt x="94" y="14"/>
                      <a:pt x="94" y="14"/>
                    </a:cubicBezTo>
                    <a:cubicBezTo>
                      <a:pt x="94" y="14"/>
                      <a:pt x="94" y="14"/>
                      <a:pt x="94" y="14"/>
                    </a:cubicBezTo>
                    <a:cubicBezTo>
                      <a:pt x="93" y="15"/>
                      <a:pt x="92" y="15"/>
                      <a:pt x="92" y="15"/>
                    </a:cubicBezTo>
                    <a:cubicBezTo>
                      <a:pt x="91" y="15"/>
                      <a:pt x="91" y="15"/>
                      <a:pt x="91" y="15"/>
                    </a:cubicBezTo>
                    <a:cubicBezTo>
                      <a:pt x="91" y="15"/>
                      <a:pt x="91" y="15"/>
                      <a:pt x="91" y="15"/>
                    </a:cubicBezTo>
                    <a:cubicBezTo>
                      <a:pt x="90" y="14"/>
                      <a:pt x="90" y="14"/>
                      <a:pt x="90" y="13"/>
                    </a:cubicBezTo>
                    <a:cubicBezTo>
                      <a:pt x="89" y="14"/>
                      <a:pt x="89" y="14"/>
                      <a:pt x="89" y="14"/>
                    </a:cubicBezTo>
                    <a:cubicBezTo>
                      <a:pt x="88" y="14"/>
                      <a:pt x="88" y="14"/>
                      <a:pt x="88" y="14"/>
                    </a:cubicBezTo>
                    <a:cubicBezTo>
                      <a:pt x="88" y="14"/>
                      <a:pt x="88" y="14"/>
                      <a:pt x="88" y="14"/>
                    </a:cubicBezTo>
                    <a:cubicBezTo>
                      <a:pt x="87" y="14"/>
                      <a:pt x="87" y="14"/>
                      <a:pt x="86" y="15"/>
                    </a:cubicBezTo>
                    <a:cubicBezTo>
                      <a:pt x="85" y="15"/>
                      <a:pt x="84" y="15"/>
                      <a:pt x="84" y="15"/>
                    </a:cubicBezTo>
                    <a:cubicBezTo>
                      <a:pt x="83" y="15"/>
                      <a:pt x="82" y="14"/>
                      <a:pt x="82" y="14"/>
                    </a:cubicBezTo>
                    <a:cubicBezTo>
                      <a:pt x="80" y="13"/>
                      <a:pt x="80" y="12"/>
                      <a:pt x="80" y="11"/>
                    </a:cubicBezTo>
                    <a:cubicBezTo>
                      <a:pt x="80" y="11"/>
                      <a:pt x="80" y="11"/>
                      <a:pt x="80" y="11"/>
                    </a:cubicBezTo>
                    <a:cubicBezTo>
                      <a:pt x="80" y="10"/>
                      <a:pt x="80" y="10"/>
                      <a:pt x="80" y="10"/>
                    </a:cubicBezTo>
                    <a:cubicBezTo>
                      <a:pt x="80" y="10"/>
                      <a:pt x="80" y="10"/>
                      <a:pt x="80" y="10"/>
                    </a:cubicBezTo>
                    <a:cubicBezTo>
                      <a:pt x="80" y="10"/>
                      <a:pt x="80" y="10"/>
                      <a:pt x="80" y="10"/>
                    </a:cubicBezTo>
                    <a:cubicBezTo>
                      <a:pt x="79" y="9"/>
                      <a:pt x="79" y="9"/>
                      <a:pt x="79" y="9"/>
                    </a:cubicBezTo>
                    <a:cubicBezTo>
                      <a:pt x="79" y="8"/>
                      <a:pt x="79" y="7"/>
                      <a:pt x="80" y="6"/>
                    </a:cubicBezTo>
                    <a:cubicBezTo>
                      <a:pt x="80" y="5"/>
                      <a:pt x="81" y="5"/>
                      <a:pt x="81" y="5"/>
                    </a:cubicBezTo>
                    <a:cubicBezTo>
                      <a:pt x="81" y="5"/>
                      <a:pt x="81" y="4"/>
                      <a:pt x="81" y="4"/>
                    </a:cubicBezTo>
                    <a:cubicBezTo>
                      <a:pt x="82" y="4"/>
                      <a:pt x="83" y="3"/>
                      <a:pt x="84" y="3"/>
                    </a:cubicBezTo>
                    <a:cubicBezTo>
                      <a:pt x="84" y="3"/>
                      <a:pt x="84" y="3"/>
                      <a:pt x="84" y="3"/>
                    </a:cubicBezTo>
                    <a:cubicBezTo>
                      <a:pt x="83" y="2"/>
                      <a:pt x="83" y="2"/>
                      <a:pt x="83" y="1"/>
                    </a:cubicBezTo>
                    <a:cubicBezTo>
                      <a:pt x="82" y="0"/>
                      <a:pt x="82" y="0"/>
                      <a:pt x="82" y="0"/>
                    </a:cubicBezTo>
                    <a:cubicBezTo>
                      <a:pt x="81" y="0"/>
                      <a:pt x="81" y="0"/>
                      <a:pt x="81" y="0"/>
                    </a:cubicBezTo>
                    <a:cubicBezTo>
                      <a:pt x="81" y="0"/>
                      <a:pt x="80" y="1"/>
                      <a:pt x="79" y="1"/>
                    </a:cubicBezTo>
                    <a:cubicBezTo>
                      <a:pt x="79" y="1"/>
                      <a:pt x="79" y="1"/>
                      <a:pt x="79" y="1"/>
                    </a:cubicBezTo>
                    <a:cubicBezTo>
                      <a:pt x="79" y="1"/>
                      <a:pt x="79" y="1"/>
                      <a:pt x="79" y="1"/>
                    </a:cubicBezTo>
                    <a:cubicBezTo>
                      <a:pt x="77" y="1"/>
                      <a:pt x="77" y="1"/>
                      <a:pt x="76" y="1"/>
                    </a:cubicBezTo>
                    <a:cubicBezTo>
                      <a:pt x="76" y="1"/>
                      <a:pt x="75" y="1"/>
                      <a:pt x="75" y="0"/>
                    </a:cubicBezTo>
                    <a:cubicBezTo>
                      <a:pt x="74" y="0"/>
                      <a:pt x="74" y="0"/>
                      <a:pt x="74" y="0"/>
                    </a:cubicBezTo>
                    <a:cubicBezTo>
                      <a:pt x="74" y="0"/>
                      <a:pt x="73" y="1"/>
                      <a:pt x="73" y="1"/>
                    </a:cubicBezTo>
                    <a:cubicBezTo>
                      <a:pt x="72" y="1"/>
                      <a:pt x="72" y="1"/>
                      <a:pt x="72" y="1"/>
                    </a:cubicBezTo>
                    <a:cubicBezTo>
                      <a:pt x="71" y="1"/>
                      <a:pt x="71" y="1"/>
                      <a:pt x="71" y="1"/>
                    </a:cubicBezTo>
                    <a:cubicBezTo>
                      <a:pt x="70" y="1"/>
                      <a:pt x="70" y="1"/>
                      <a:pt x="70" y="1"/>
                    </a:cubicBezTo>
                    <a:cubicBezTo>
                      <a:pt x="70" y="1"/>
                      <a:pt x="70" y="1"/>
                      <a:pt x="70" y="1"/>
                    </a:cubicBezTo>
                    <a:cubicBezTo>
                      <a:pt x="69" y="1"/>
                      <a:pt x="69" y="1"/>
                      <a:pt x="69" y="1"/>
                    </a:cubicBezTo>
                    <a:cubicBezTo>
                      <a:pt x="69" y="2"/>
                      <a:pt x="69" y="2"/>
                      <a:pt x="69" y="2"/>
                    </a:cubicBezTo>
                    <a:cubicBezTo>
                      <a:pt x="68" y="2"/>
                      <a:pt x="67" y="3"/>
                      <a:pt x="66" y="3"/>
                    </a:cubicBezTo>
                    <a:cubicBezTo>
                      <a:pt x="66" y="3"/>
                      <a:pt x="66" y="3"/>
                      <a:pt x="66" y="3"/>
                    </a:cubicBezTo>
                    <a:cubicBezTo>
                      <a:pt x="65" y="3"/>
                      <a:pt x="65" y="3"/>
                      <a:pt x="65" y="3"/>
                    </a:cubicBezTo>
                    <a:cubicBezTo>
                      <a:pt x="65" y="4"/>
                      <a:pt x="64" y="4"/>
                      <a:pt x="64" y="4"/>
                    </a:cubicBezTo>
                    <a:cubicBezTo>
                      <a:pt x="64" y="4"/>
                      <a:pt x="64" y="4"/>
                      <a:pt x="64" y="4"/>
                    </a:cubicBezTo>
                    <a:cubicBezTo>
                      <a:pt x="64" y="4"/>
                      <a:pt x="63" y="5"/>
                      <a:pt x="62" y="5"/>
                    </a:cubicBezTo>
                    <a:cubicBezTo>
                      <a:pt x="60" y="7"/>
                      <a:pt x="60" y="7"/>
                      <a:pt x="60" y="7"/>
                    </a:cubicBezTo>
                    <a:cubicBezTo>
                      <a:pt x="59" y="5"/>
                      <a:pt x="59" y="5"/>
                      <a:pt x="59" y="5"/>
                    </a:cubicBezTo>
                    <a:cubicBezTo>
                      <a:pt x="59" y="5"/>
                      <a:pt x="59" y="5"/>
                      <a:pt x="59" y="5"/>
                    </a:cubicBezTo>
                    <a:cubicBezTo>
                      <a:pt x="59" y="7"/>
                      <a:pt x="59" y="7"/>
                      <a:pt x="59" y="7"/>
                    </a:cubicBezTo>
                    <a:cubicBezTo>
                      <a:pt x="59" y="9"/>
                      <a:pt x="59" y="9"/>
                      <a:pt x="59" y="9"/>
                    </a:cubicBezTo>
                    <a:cubicBezTo>
                      <a:pt x="59" y="11"/>
                      <a:pt x="59" y="11"/>
                      <a:pt x="59" y="11"/>
                    </a:cubicBezTo>
                    <a:cubicBezTo>
                      <a:pt x="59" y="12"/>
                      <a:pt x="59" y="12"/>
                      <a:pt x="59" y="12"/>
                    </a:cubicBezTo>
                    <a:cubicBezTo>
                      <a:pt x="59" y="14"/>
                      <a:pt x="59" y="14"/>
                      <a:pt x="59" y="14"/>
                    </a:cubicBezTo>
                    <a:cubicBezTo>
                      <a:pt x="59" y="16"/>
                      <a:pt x="59" y="16"/>
                      <a:pt x="59" y="16"/>
                    </a:cubicBezTo>
                    <a:cubicBezTo>
                      <a:pt x="59" y="18"/>
                      <a:pt x="59" y="18"/>
                      <a:pt x="59" y="18"/>
                    </a:cubicBezTo>
                    <a:cubicBezTo>
                      <a:pt x="59" y="19"/>
                      <a:pt x="59" y="19"/>
                      <a:pt x="59" y="19"/>
                    </a:cubicBezTo>
                    <a:cubicBezTo>
                      <a:pt x="59" y="21"/>
                      <a:pt x="59" y="21"/>
                      <a:pt x="59" y="21"/>
                    </a:cubicBezTo>
                    <a:cubicBezTo>
                      <a:pt x="57" y="23"/>
                      <a:pt x="57" y="23"/>
                      <a:pt x="57" y="23"/>
                    </a:cubicBezTo>
                    <a:cubicBezTo>
                      <a:pt x="57" y="25"/>
                      <a:pt x="57" y="25"/>
                      <a:pt x="57" y="25"/>
                    </a:cubicBezTo>
                    <a:cubicBezTo>
                      <a:pt x="57" y="27"/>
                      <a:pt x="57" y="27"/>
                      <a:pt x="57" y="27"/>
                    </a:cubicBezTo>
                    <a:cubicBezTo>
                      <a:pt x="58" y="28"/>
                      <a:pt x="58" y="28"/>
                      <a:pt x="58" y="28"/>
                    </a:cubicBezTo>
                    <a:cubicBezTo>
                      <a:pt x="57" y="31"/>
                      <a:pt x="57" y="31"/>
                      <a:pt x="57" y="31"/>
                    </a:cubicBezTo>
                    <a:cubicBezTo>
                      <a:pt x="58" y="36"/>
                      <a:pt x="58" y="36"/>
                      <a:pt x="58" y="36"/>
                    </a:cubicBezTo>
                    <a:cubicBezTo>
                      <a:pt x="58" y="41"/>
                      <a:pt x="58" y="41"/>
                      <a:pt x="58" y="41"/>
                    </a:cubicBezTo>
                    <a:cubicBezTo>
                      <a:pt x="56" y="46"/>
                      <a:pt x="56" y="46"/>
                      <a:pt x="56" y="46"/>
                    </a:cubicBezTo>
                    <a:cubicBezTo>
                      <a:pt x="53" y="51"/>
                      <a:pt x="53" y="51"/>
                      <a:pt x="53" y="51"/>
                    </a:cubicBezTo>
                    <a:cubicBezTo>
                      <a:pt x="51" y="57"/>
                      <a:pt x="51" y="57"/>
                      <a:pt x="51" y="57"/>
                    </a:cubicBezTo>
                    <a:cubicBezTo>
                      <a:pt x="46" y="66"/>
                      <a:pt x="46" y="66"/>
                      <a:pt x="46" y="66"/>
                    </a:cubicBezTo>
                    <a:cubicBezTo>
                      <a:pt x="42" y="72"/>
                      <a:pt x="42" y="72"/>
                      <a:pt x="42" y="72"/>
                    </a:cubicBezTo>
                    <a:cubicBezTo>
                      <a:pt x="40" y="76"/>
                      <a:pt x="40" y="76"/>
                      <a:pt x="40" y="76"/>
                    </a:cubicBezTo>
                    <a:cubicBezTo>
                      <a:pt x="41" y="77"/>
                      <a:pt x="41" y="77"/>
                      <a:pt x="41" y="77"/>
                    </a:cubicBezTo>
                    <a:cubicBezTo>
                      <a:pt x="34" y="89"/>
                      <a:pt x="34" y="89"/>
                      <a:pt x="34" y="89"/>
                    </a:cubicBezTo>
                    <a:cubicBezTo>
                      <a:pt x="30" y="94"/>
                      <a:pt x="30" y="94"/>
                      <a:pt x="30" y="94"/>
                    </a:cubicBezTo>
                    <a:cubicBezTo>
                      <a:pt x="30" y="94"/>
                      <a:pt x="28" y="97"/>
                      <a:pt x="28" y="97"/>
                    </a:cubicBezTo>
                    <a:cubicBezTo>
                      <a:pt x="28" y="98"/>
                      <a:pt x="27" y="99"/>
                      <a:pt x="27" y="99"/>
                    </a:cubicBezTo>
                    <a:cubicBezTo>
                      <a:pt x="27" y="100"/>
                      <a:pt x="26" y="100"/>
                      <a:pt x="26" y="100"/>
                    </a:cubicBezTo>
                    <a:cubicBezTo>
                      <a:pt x="25" y="101"/>
                      <a:pt x="25" y="101"/>
                      <a:pt x="25" y="101"/>
                    </a:cubicBezTo>
                    <a:cubicBezTo>
                      <a:pt x="25" y="101"/>
                      <a:pt x="25" y="101"/>
                      <a:pt x="25" y="102"/>
                    </a:cubicBezTo>
                    <a:cubicBezTo>
                      <a:pt x="24" y="103"/>
                      <a:pt x="24" y="103"/>
                      <a:pt x="24" y="103"/>
                    </a:cubicBezTo>
                    <a:cubicBezTo>
                      <a:pt x="24" y="103"/>
                      <a:pt x="22" y="104"/>
                      <a:pt x="22" y="104"/>
                    </a:cubicBezTo>
                    <a:cubicBezTo>
                      <a:pt x="22" y="104"/>
                      <a:pt x="21" y="104"/>
                      <a:pt x="21" y="104"/>
                    </a:cubicBezTo>
                    <a:cubicBezTo>
                      <a:pt x="20" y="104"/>
                      <a:pt x="19" y="105"/>
                      <a:pt x="19" y="106"/>
                    </a:cubicBezTo>
                    <a:cubicBezTo>
                      <a:pt x="18" y="106"/>
                      <a:pt x="17" y="106"/>
                      <a:pt x="17" y="106"/>
                    </a:cubicBezTo>
                    <a:cubicBezTo>
                      <a:pt x="16" y="106"/>
                      <a:pt x="16" y="106"/>
                      <a:pt x="16" y="106"/>
                    </a:cubicBezTo>
                    <a:cubicBezTo>
                      <a:pt x="14" y="107"/>
                      <a:pt x="14" y="107"/>
                      <a:pt x="14" y="107"/>
                    </a:cubicBezTo>
                    <a:cubicBezTo>
                      <a:pt x="15" y="108"/>
                      <a:pt x="15" y="108"/>
                      <a:pt x="15" y="108"/>
                    </a:cubicBezTo>
                    <a:cubicBezTo>
                      <a:pt x="15" y="109"/>
                      <a:pt x="15" y="109"/>
                      <a:pt x="15" y="109"/>
                    </a:cubicBezTo>
                    <a:cubicBezTo>
                      <a:pt x="15" y="109"/>
                      <a:pt x="15" y="112"/>
                      <a:pt x="15" y="112"/>
                    </a:cubicBezTo>
                    <a:cubicBezTo>
                      <a:pt x="15" y="112"/>
                      <a:pt x="14" y="114"/>
                      <a:pt x="14" y="114"/>
                    </a:cubicBezTo>
                    <a:cubicBezTo>
                      <a:pt x="14" y="114"/>
                      <a:pt x="12" y="116"/>
                      <a:pt x="12" y="116"/>
                    </a:cubicBezTo>
                    <a:cubicBezTo>
                      <a:pt x="12" y="116"/>
                      <a:pt x="11" y="118"/>
                      <a:pt x="11" y="118"/>
                    </a:cubicBezTo>
                    <a:cubicBezTo>
                      <a:pt x="11" y="118"/>
                      <a:pt x="10" y="119"/>
                      <a:pt x="10" y="119"/>
                    </a:cubicBezTo>
                    <a:cubicBezTo>
                      <a:pt x="10" y="120"/>
                      <a:pt x="9" y="121"/>
                      <a:pt x="9" y="121"/>
                    </a:cubicBezTo>
                    <a:cubicBezTo>
                      <a:pt x="9" y="122"/>
                      <a:pt x="9" y="123"/>
                      <a:pt x="9" y="123"/>
                    </a:cubicBezTo>
                    <a:cubicBezTo>
                      <a:pt x="8" y="126"/>
                      <a:pt x="8" y="126"/>
                      <a:pt x="8" y="126"/>
                    </a:cubicBezTo>
                    <a:cubicBezTo>
                      <a:pt x="8" y="126"/>
                      <a:pt x="8" y="126"/>
                      <a:pt x="7" y="127"/>
                    </a:cubicBezTo>
                    <a:cubicBezTo>
                      <a:pt x="6" y="127"/>
                      <a:pt x="6" y="128"/>
                      <a:pt x="5" y="129"/>
                    </a:cubicBezTo>
                    <a:cubicBezTo>
                      <a:pt x="5" y="129"/>
                      <a:pt x="5" y="130"/>
                      <a:pt x="4" y="131"/>
                    </a:cubicBezTo>
                    <a:cubicBezTo>
                      <a:pt x="4" y="132"/>
                      <a:pt x="4" y="132"/>
                      <a:pt x="4" y="132"/>
                    </a:cubicBezTo>
                    <a:cubicBezTo>
                      <a:pt x="4" y="133"/>
                      <a:pt x="4" y="134"/>
                      <a:pt x="4" y="134"/>
                    </a:cubicBezTo>
                    <a:cubicBezTo>
                      <a:pt x="4" y="134"/>
                      <a:pt x="6" y="135"/>
                      <a:pt x="6" y="135"/>
                    </a:cubicBezTo>
                    <a:cubicBezTo>
                      <a:pt x="7" y="136"/>
                      <a:pt x="7" y="136"/>
                      <a:pt x="7" y="136"/>
                    </a:cubicBezTo>
                    <a:cubicBezTo>
                      <a:pt x="8" y="137"/>
                      <a:pt x="8" y="137"/>
                      <a:pt x="8" y="137"/>
                    </a:cubicBezTo>
                    <a:cubicBezTo>
                      <a:pt x="8" y="137"/>
                      <a:pt x="9" y="136"/>
                      <a:pt x="9" y="136"/>
                    </a:cubicBezTo>
                    <a:cubicBezTo>
                      <a:pt x="10" y="136"/>
                      <a:pt x="11" y="136"/>
                      <a:pt x="11" y="136"/>
                    </a:cubicBezTo>
                    <a:cubicBezTo>
                      <a:pt x="12" y="137"/>
                      <a:pt x="12" y="137"/>
                      <a:pt x="12" y="137"/>
                    </a:cubicBezTo>
                    <a:cubicBezTo>
                      <a:pt x="12" y="137"/>
                      <a:pt x="11" y="137"/>
                      <a:pt x="11" y="138"/>
                    </a:cubicBezTo>
                    <a:cubicBezTo>
                      <a:pt x="10" y="138"/>
                      <a:pt x="11" y="139"/>
                      <a:pt x="11" y="139"/>
                    </a:cubicBezTo>
                    <a:cubicBezTo>
                      <a:pt x="11" y="139"/>
                      <a:pt x="12" y="142"/>
                      <a:pt x="12" y="142"/>
                    </a:cubicBezTo>
                    <a:cubicBezTo>
                      <a:pt x="12" y="142"/>
                      <a:pt x="12" y="144"/>
                      <a:pt x="12" y="145"/>
                    </a:cubicBezTo>
                    <a:cubicBezTo>
                      <a:pt x="12" y="145"/>
                      <a:pt x="12" y="145"/>
                      <a:pt x="12" y="145"/>
                    </a:cubicBezTo>
                    <a:cubicBezTo>
                      <a:pt x="12" y="145"/>
                      <a:pt x="10" y="148"/>
                      <a:pt x="9" y="148"/>
                    </a:cubicBezTo>
                    <a:cubicBezTo>
                      <a:pt x="9" y="149"/>
                      <a:pt x="10" y="149"/>
                      <a:pt x="10" y="149"/>
                    </a:cubicBezTo>
                    <a:cubicBezTo>
                      <a:pt x="11" y="149"/>
                      <a:pt x="12" y="148"/>
                      <a:pt x="12" y="148"/>
                    </a:cubicBezTo>
                    <a:cubicBezTo>
                      <a:pt x="14" y="149"/>
                      <a:pt x="14" y="149"/>
                      <a:pt x="14" y="149"/>
                    </a:cubicBezTo>
                    <a:cubicBezTo>
                      <a:pt x="16" y="148"/>
                      <a:pt x="16" y="148"/>
                      <a:pt x="16" y="148"/>
                    </a:cubicBezTo>
                    <a:cubicBezTo>
                      <a:pt x="16" y="148"/>
                      <a:pt x="19" y="148"/>
                      <a:pt x="19" y="148"/>
                    </a:cubicBezTo>
                    <a:cubicBezTo>
                      <a:pt x="20" y="148"/>
                      <a:pt x="20" y="148"/>
                      <a:pt x="20" y="148"/>
                    </a:cubicBezTo>
                    <a:cubicBezTo>
                      <a:pt x="22" y="147"/>
                      <a:pt x="22" y="147"/>
                      <a:pt x="22" y="147"/>
                    </a:cubicBezTo>
                    <a:cubicBezTo>
                      <a:pt x="22" y="150"/>
                      <a:pt x="22" y="150"/>
                      <a:pt x="22" y="150"/>
                    </a:cubicBezTo>
                    <a:cubicBezTo>
                      <a:pt x="22" y="150"/>
                      <a:pt x="23" y="151"/>
                      <a:pt x="23" y="151"/>
                    </a:cubicBezTo>
                    <a:cubicBezTo>
                      <a:pt x="23" y="151"/>
                      <a:pt x="23" y="152"/>
                      <a:pt x="23" y="152"/>
                    </a:cubicBezTo>
                    <a:cubicBezTo>
                      <a:pt x="23" y="152"/>
                      <a:pt x="23" y="154"/>
                      <a:pt x="23" y="155"/>
                    </a:cubicBezTo>
                    <a:cubicBezTo>
                      <a:pt x="23" y="155"/>
                      <a:pt x="23" y="157"/>
                      <a:pt x="23" y="157"/>
                    </a:cubicBezTo>
                    <a:cubicBezTo>
                      <a:pt x="22" y="161"/>
                      <a:pt x="22" y="161"/>
                      <a:pt x="22" y="161"/>
                    </a:cubicBezTo>
                    <a:cubicBezTo>
                      <a:pt x="20" y="165"/>
                      <a:pt x="20" y="165"/>
                      <a:pt x="20" y="165"/>
                    </a:cubicBezTo>
                    <a:cubicBezTo>
                      <a:pt x="18" y="169"/>
                      <a:pt x="18" y="169"/>
                      <a:pt x="18" y="169"/>
                    </a:cubicBezTo>
                    <a:cubicBezTo>
                      <a:pt x="16" y="172"/>
                      <a:pt x="16" y="172"/>
                      <a:pt x="16" y="172"/>
                    </a:cubicBezTo>
                    <a:cubicBezTo>
                      <a:pt x="18" y="175"/>
                      <a:pt x="18" y="175"/>
                      <a:pt x="18" y="175"/>
                    </a:cubicBezTo>
                    <a:cubicBezTo>
                      <a:pt x="18" y="175"/>
                      <a:pt x="18" y="177"/>
                      <a:pt x="17" y="178"/>
                    </a:cubicBezTo>
                    <a:cubicBezTo>
                      <a:pt x="17" y="178"/>
                      <a:pt x="16" y="180"/>
                      <a:pt x="16" y="180"/>
                    </a:cubicBezTo>
                    <a:cubicBezTo>
                      <a:pt x="16" y="180"/>
                      <a:pt x="15" y="183"/>
                      <a:pt x="15" y="184"/>
                    </a:cubicBezTo>
                    <a:cubicBezTo>
                      <a:pt x="15" y="185"/>
                      <a:pt x="14" y="187"/>
                      <a:pt x="14" y="187"/>
                    </a:cubicBezTo>
                    <a:cubicBezTo>
                      <a:pt x="14" y="187"/>
                      <a:pt x="14" y="190"/>
                      <a:pt x="14" y="190"/>
                    </a:cubicBezTo>
                    <a:cubicBezTo>
                      <a:pt x="14" y="191"/>
                      <a:pt x="13" y="192"/>
                      <a:pt x="13" y="192"/>
                    </a:cubicBezTo>
                    <a:cubicBezTo>
                      <a:pt x="13" y="193"/>
                      <a:pt x="12" y="194"/>
                      <a:pt x="12" y="195"/>
                    </a:cubicBezTo>
                    <a:cubicBezTo>
                      <a:pt x="12" y="196"/>
                      <a:pt x="11" y="196"/>
                      <a:pt x="11" y="196"/>
                    </a:cubicBezTo>
                    <a:cubicBezTo>
                      <a:pt x="9" y="199"/>
                      <a:pt x="9" y="199"/>
                      <a:pt x="9" y="199"/>
                    </a:cubicBezTo>
                    <a:cubicBezTo>
                      <a:pt x="9" y="202"/>
                      <a:pt x="9" y="202"/>
                      <a:pt x="9" y="202"/>
                    </a:cubicBezTo>
                    <a:cubicBezTo>
                      <a:pt x="6" y="203"/>
                      <a:pt x="6" y="203"/>
                      <a:pt x="6" y="203"/>
                    </a:cubicBezTo>
                    <a:cubicBezTo>
                      <a:pt x="6" y="206"/>
                      <a:pt x="6" y="206"/>
                      <a:pt x="6" y="206"/>
                    </a:cubicBezTo>
                    <a:cubicBezTo>
                      <a:pt x="4" y="207"/>
                      <a:pt x="4" y="207"/>
                      <a:pt x="4" y="207"/>
                    </a:cubicBezTo>
                    <a:cubicBezTo>
                      <a:pt x="2" y="209"/>
                      <a:pt x="2" y="209"/>
                      <a:pt x="2" y="209"/>
                    </a:cubicBezTo>
                    <a:cubicBezTo>
                      <a:pt x="0" y="210"/>
                      <a:pt x="0" y="210"/>
                      <a:pt x="0" y="210"/>
                    </a:cubicBezTo>
                    <a:cubicBezTo>
                      <a:pt x="3" y="211"/>
                      <a:pt x="3" y="211"/>
                      <a:pt x="3" y="211"/>
                    </a:cubicBezTo>
                    <a:cubicBezTo>
                      <a:pt x="4" y="210"/>
                      <a:pt x="4" y="210"/>
                      <a:pt x="4" y="210"/>
                    </a:cubicBezTo>
                    <a:cubicBezTo>
                      <a:pt x="8" y="210"/>
                      <a:pt x="8" y="210"/>
                      <a:pt x="8" y="210"/>
                    </a:cubicBezTo>
                    <a:cubicBezTo>
                      <a:pt x="9" y="210"/>
                      <a:pt x="9" y="210"/>
                      <a:pt x="9" y="210"/>
                    </a:cubicBezTo>
                    <a:cubicBezTo>
                      <a:pt x="11" y="210"/>
                      <a:pt x="11" y="210"/>
                      <a:pt x="11" y="210"/>
                    </a:cubicBezTo>
                    <a:cubicBezTo>
                      <a:pt x="13" y="210"/>
                      <a:pt x="13" y="210"/>
                      <a:pt x="13" y="210"/>
                    </a:cubicBezTo>
                    <a:cubicBezTo>
                      <a:pt x="14" y="210"/>
                      <a:pt x="14" y="210"/>
                      <a:pt x="14" y="210"/>
                    </a:cubicBezTo>
                    <a:cubicBezTo>
                      <a:pt x="15" y="209"/>
                      <a:pt x="15" y="209"/>
                      <a:pt x="15" y="209"/>
                    </a:cubicBezTo>
                    <a:cubicBezTo>
                      <a:pt x="18" y="211"/>
                      <a:pt x="18" y="211"/>
                      <a:pt x="18" y="211"/>
                    </a:cubicBezTo>
                    <a:cubicBezTo>
                      <a:pt x="21" y="213"/>
                      <a:pt x="21" y="213"/>
                      <a:pt x="21" y="213"/>
                    </a:cubicBezTo>
                    <a:cubicBezTo>
                      <a:pt x="23" y="212"/>
                      <a:pt x="23" y="212"/>
                      <a:pt x="23" y="212"/>
                    </a:cubicBezTo>
                    <a:cubicBezTo>
                      <a:pt x="25" y="213"/>
                      <a:pt x="25" y="213"/>
                      <a:pt x="25" y="213"/>
                    </a:cubicBezTo>
                    <a:cubicBezTo>
                      <a:pt x="26" y="214"/>
                      <a:pt x="26" y="214"/>
                      <a:pt x="26" y="214"/>
                    </a:cubicBezTo>
                    <a:cubicBezTo>
                      <a:pt x="28" y="214"/>
                      <a:pt x="28" y="214"/>
                      <a:pt x="28" y="214"/>
                    </a:cubicBezTo>
                    <a:cubicBezTo>
                      <a:pt x="30" y="215"/>
                      <a:pt x="30" y="215"/>
                      <a:pt x="30" y="215"/>
                    </a:cubicBezTo>
                    <a:cubicBezTo>
                      <a:pt x="32" y="217"/>
                      <a:pt x="32" y="217"/>
                      <a:pt x="32" y="217"/>
                    </a:cubicBezTo>
                    <a:cubicBezTo>
                      <a:pt x="35" y="219"/>
                      <a:pt x="35" y="219"/>
                      <a:pt x="35" y="219"/>
                    </a:cubicBezTo>
                    <a:cubicBezTo>
                      <a:pt x="36" y="220"/>
                      <a:pt x="36" y="220"/>
                      <a:pt x="36" y="220"/>
                    </a:cubicBezTo>
                    <a:cubicBezTo>
                      <a:pt x="39" y="220"/>
                      <a:pt x="39" y="220"/>
                      <a:pt x="39" y="220"/>
                    </a:cubicBezTo>
                    <a:cubicBezTo>
                      <a:pt x="42" y="220"/>
                      <a:pt x="42" y="220"/>
                      <a:pt x="42" y="220"/>
                    </a:cubicBezTo>
                    <a:cubicBezTo>
                      <a:pt x="47" y="219"/>
                      <a:pt x="47" y="219"/>
                      <a:pt x="47" y="219"/>
                    </a:cubicBezTo>
                    <a:cubicBezTo>
                      <a:pt x="51" y="218"/>
                      <a:pt x="51" y="218"/>
                      <a:pt x="51" y="218"/>
                    </a:cubicBezTo>
                    <a:cubicBezTo>
                      <a:pt x="53" y="217"/>
                      <a:pt x="53" y="217"/>
                      <a:pt x="53" y="217"/>
                    </a:cubicBezTo>
                    <a:cubicBezTo>
                      <a:pt x="55" y="217"/>
                      <a:pt x="55" y="217"/>
                      <a:pt x="55" y="217"/>
                    </a:cubicBezTo>
                    <a:cubicBezTo>
                      <a:pt x="56" y="217"/>
                      <a:pt x="56" y="217"/>
                      <a:pt x="56" y="217"/>
                    </a:cubicBezTo>
                    <a:lnTo>
                      <a:pt x="55" y="215"/>
                    </a:lnTo>
                    <a:close/>
                  </a:path>
                </a:pathLst>
              </a:custGeom>
              <a:solidFill>
                <a:srgbClr val="0181C7"/>
              </a:solid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78" name="Freeform 124"/>
              <p:cNvSpPr>
                <a:spLocks/>
              </p:cNvSpPr>
              <p:nvPr/>
            </p:nvSpPr>
            <p:spPr bwMode="auto">
              <a:xfrm>
                <a:off x="2468" y="2435"/>
                <a:ext cx="264" cy="167"/>
              </a:xfrm>
              <a:custGeom>
                <a:avLst/>
                <a:gdLst>
                  <a:gd name="T0" fmla="*/ 23 w 132"/>
                  <a:gd name="T1" fmla="*/ 68 h 83"/>
                  <a:gd name="T2" fmla="*/ 24 w 132"/>
                  <a:gd name="T3" fmla="*/ 76 h 83"/>
                  <a:gd name="T4" fmla="*/ 29 w 132"/>
                  <a:gd name="T5" fmla="*/ 83 h 83"/>
                  <a:gd name="T6" fmla="*/ 37 w 132"/>
                  <a:gd name="T7" fmla="*/ 82 h 83"/>
                  <a:gd name="T8" fmla="*/ 44 w 132"/>
                  <a:gd name="T9" fmla="*/ 79 h 83"/>
                  <a:gd name="T10" fmla="*/ 49 w 132"/>
                  <a:gd name="T11" fmla="*/ 80 h 83"/>
                  <a:gd name="T12" fmla="*/ 54 w 132"/>
                  <a:gd name="T13" fmla="*/ 79 h 83"/>
                  <a:gd name="T14" fmla="*/ 57 w 132"/>
                  <a:gd name="T15" fmla="*/ 72 h 83"/>
                  <a:gd name="T16" fmla="*/ 60 w 132"/>
                  <a:gd name="T17" fmla="*/ 64 h 83"/>
                  <a:gd name="T18" fmla="*/ 69 w 132"/>
                  <a:gd name="T19" fmla="*/ 57 h 83"/>
                  <a:gd name="T20" fmla="*/ 71 w 132"/>
                  <a:gd name="T21" fmla="*/ 67 h 83"/>
                  <a:gd name="T22" fmla="*/ 75 w 132"/>
                  <a:gd name="T23" fmla="*/ 72 h 83"/>
                  <a:gd name="T24" fmla="*/ 84 w 132"/>
                  <a:gd name="T25" fmla="*/ 74 h 83"/>
                  <a:gd name="T26" fmla="*/ 86 w 132"/>
                  <a:gd name="T27" fmla="*/ 79 h 83"/>
                  <a:gd name="T28" fmla="*/ 88 w 132"/>
                  <a:gd name="T29" fmla="*/ 72 h 83"/>
                  <a:gd name="T30" fmla="*/ 91 w 132"/>
                  <a:gd name="T31" fmla="*/ 70 h 83"/>
                  <a:gd name="T32" fmla="*/ 93 w 132"/>
                  <a:gd name="T33" fmla="*/ 64 h 83"/>
                  <a:gd name="T34" fmla="*/ 94 w 132"/>
                  <a:gd name="T35" fmla="*/ 56 h 83"/>
                  <a:gd name="T36" fmla="*/ 100 w 132"/>
                  <a:gd name="T37" fmla="*/ 55 h 83"/>
                  <a:gd name="T38" fmla="*/ 104 w 132"/>
                  <a:gd name="T39" fmla="*/ 63 h 83"/>
                  <a:gd name="T40" fmla="*/ 110 w 132"/>
                  <a:gd name="T41" fmla="*/ 62 h 83"/>
                  <a:gd name="T42" fmla="*/ 117 w 132"/>
                  <a:gd name="T43" fmla="*/ 59 h 83"/>
                  <a:gd name="T44" fmla="*/ 118 w 132"/>
                  <a:gd name="T45" fmla="*/ 53 h 83"/>
                  <a:gd name="T46" fmla="*/ 124 w 132"/>
                  <a:gd name="T47" fmla="*/ 49 h 83"/>
                  <a:gd name="T48" fmla="*/ 128 w 132"/>
                  <a:gd name="T49" fmla="*/ 47 h 83"/>
                  <a:gd name="T50" fmla="*/ 130 w 132"/>
                  <a:gd name="T51" fmla="*/ 40 h 83"/>
                  <a:gd name="T52" fmla="*/ 130 w 132"/>
                  <a:gd name="T53" fmla="*/ 37 h 83"/>
                  <a:gd name="T54" fmla="*/ 125 w 132"/>
                  <a:gd name="T55" fmla="*/ 38 h 83"/>
                  <a:gd name="T56" fmla="*/ 118 w 132"/>
                  <a:gd name="T57" fmla="*/ 40 h 83"/>
                  <a:gd name="T58" fmla="*/ 112 w 132"/>
                  <a:gd name="T59" fmla="*/ 34 h 83"/>
                  <a:gd name="T60" fmla="*/ 101 w 132"/>
                  <a:gd name="T61" fmla="*/ 33 h 83"/>
                  <a:gd name="T62" fmla="*/ 101 w 132"/>
                  <a:gd name="T63" fmla="*/ 31 h 83"/>
                  <a:gd name="T64" fmla="*/ 101 w 132"/>
                  <a:gd name="T65" fmla="*/ 28 h 83"/>
                  <a:gd name="T66" fmla="*/ 104 w 132"/>
                  <a:gd name="T67" fmla="*/ 20 h 83"/>
                  <a:gd name="T68" fmla="*/ 104 w 132"/>
                  <a:gd name="T69" fmla="*/ 14 h 83"/>
                  <a:gd name="T70" fmla="*/ 96 w 132"/>
                  <a:gd name="T71" fmla="*/ 8 h 83"/>
                  <a:gd name="T72" fmla="*/ 88 w 132"/>
                  <a:gd name="T73" fmla="*/ 6 h 83"/>
                  <a:gd name="T74" fmla="*/ 80 w 132"/>
                  <a:gd name="T75" fmla="*/ 4 h 83"/>
                  <a:gd name="T76" fmla="*/ 78 w 132"/>
                  <a:gd name="T77" fmla="*/ 5 h 83"/>
                  <a:gd name="T78" fmla="*/ 76 w 132"/>
                  <a:gd name="T79" fmla="*/ 1 h 83"/>
                  <a:gd name="T80" fmla="*/ 70 w 132"/>
                  <a:gd name="T81" fmla="*/ 2 h 83"/>
                  <a:gd name="T82" fmla="*/ 73 w 132"/>
                  <a:gd name="T83" fmla="*/ 7 h 83"/>
                  <a:gd name="T84" fmla="*/ 70 w 132"/>
                  <a:gd name="T85" fmla="*/ 10 h 83"/>
                  <a:gd name="T86" fmla="*/ 60 w 132"/>
                  <a:gd name="T87" fmla="*/ 11 h 83"/>
                  <a:gd name="T88" fmla="*/ 48 w 132"/>
                  <a:gd name="T89" fmla="*/ 11 h 83"/>
                  <a:gd name="T90" fmla="*/ 44 w 132"/>
                  <a:gd name="T91" fmla="*/ 12 h 83"/>
                  <a:gd name="T92" fmla="*/ 40 w 132"/>
                  <a:gd name="T93" fmla="*/ 18 h 83"/>
                  <a:gd name="T94" fmla="*/ 34 w 132"/>
                  <a:gd name="T95" fmla="*/ 20 h 83"/>
                  <a:gd name="T96" fmla="*/ 29 w 132"/>
                  <a:gd name="T97" fmla="*/ 17 h 83"/>
                  <a:gd name="T98" fmla="*/ 27 w 132"/>
                  <a:gd name="T99" fmla="*/ 25 h 83"/>
                  <a:gd name="T100" fmla="*/ 19 w 132"/>
                  <a:gd name="T101" fmla="*/ 33 h 83"/>
                  <a:gd name="T102" fmla="*/ 13 w 132"/>
                  <a:gd name="T103" fmla="*/ 39 h 83"/>
                  <a:gd name="T104" fmla="*/ 12 w 132"/>
                  <a:gd name="T105" fmla="*/ 46 h 83"/>
                  <a:gd name="T106" fmla="*/ 2 w 132"/>
                  <a:gd name="T107" fmla="*/ 54 h 83"/>
                  <a:gd name="T108" fmla="*/ 2 w 132"/>
                  <a:gd name="T109" fmla="*/ 61 h 83"/>
                  <a:gd name="T110" fmla="*/ 17 w 132"/>
                  <a:gd name="T111" fmla="*/ 5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2" h="83">
                    <a:moveTo>
                      <a:pt x="17" y="57"/>
                    </a:moveTo>
                    <a:cubicBezTo>
                      <a:pt x="22" y="60"/>
                      <a:pt x="22" y="60"/>
                      <a:pt x="22" y="60"/>
                    </a:cubicBezTo>
                    <a:cubicBezTo>
                      <a:pt x="22" y="63"/>
                      <a:pt x="22" y="63"/>
                      <a:pt x="22" y="63"/>
                    </a:cubicBezTo>
                    <a:cubicBezTo>
                      <a:pt x="22" y="63"/>
                      <a:pt x="22" y="64"/>
                      <a:pt x="22" y="64"/>
                    </a:cubicBezTo>
                    <a:cubicBezTo>
                      <a:pt x="23" y="65"/>
                      <a:pt x="23" y="67"/>
                      <a:pt x="23" y="67"/>
                    </a:cubicBezTo>
                    <a:cubicBezTo>
                      <a:pt x="23" y="68"/>
                      <a:pt x="23" y="68"/>
                      <a:pt x="23" y="68"/>
                    </a:cubicBezTo>
                    <a:cubicBezTo>
                      <a:pt x="23" y="69"/>
                      <a:pt x="23" y="70"/>
                      <a:pt x="23" y="70"/>
                    </a:cubicBezTo>
                    <a:cubicBezTo>
                      <a:pt x="23" y="70"/>
                      <a:pt x="22" y="71"/>
                      <a:pt x="22" y="72"/>
                    </a:cubicBezTo>
                    <a:cubicBezTo>
                      <a:pt x="22" y="72"/>
                      <a:pt x="23" y="72"/>
                      <a:pt x="23" y="72"/>
                    </a:cubicBezTo>
                    <a:cubicBezTo>
                      <a:pt x="24" y="72"/>
                      <a:pt x="24" y="72"/>
                      <a:pt x="24" y="72"/>
                    </a:cubicBezTo>
                    <a:cubicBezTo>
                      <a:pt x="24" y="73"/>
                      <a:pt x="24" y="75"/>
                      <a:pt x="24" y="76"/>
                    </a:cubicBezTo>
                    <a:cubicBezTo>
                      <a:pt x="24" y="76"/>
                      <a:pt x="24" y="76"/>
                      <a:pt x="24" y="76"/>
                    </a:cubicBezTo>
                    <a:cubicBezTo>
                      <a:pt x="24" y="76"/>
                      <a:pt x="25" y="77"/>
                      <a:pt x="25" y="77"/>
                    </a:cubicBezTo>
                    <a:cubicBezTo>
                      <a:pt x="26" y="78"/>
                      <a:pt x="26" y="78"/>
                      <a:pt x="27" y="79"/>
                    </a:cubicBezTo>
                    <a:cubicBezTo>
                      <a:pt x="28" y="80"/>
                      <a:pt x="29" y="81"/>
                      <a:pt x="29" y="82"/>
                    </a:cubicBezTo>
                    <a:cubicBezTo>
                      <a:pt x="29" y="82"/>
                      <a:pt x="29" y="82"/>
                      <a:pt x="29" y="82"/>
                    </a:cubicBezTo>
                    <a:cubicBezTo>
                      <a:pt x="28" y="83"/>
                      <a:pt x="28" y="83"/>
                      <a:pt x="28" y="83"/>
                    </a:cubicBezTo>
                    <a:cubicBezTo>
                      <a:pt x="29" y="83"/>
                      <a:pt x="29" y="83"/>
                      <a:pt x="29" y="83"/>
                    </a:cubicBezTo>
                    <a:cubicBezTo>
                      <a:pt x="29" y="83"/>
                      <a:pt x="29" y="83"/>
                      <a:pt x="29" y="83"/>
                    </a:cubicBezTo>
                    <a:cubicBezTo>
                      <a:pt x="30" y="83"/>
                      <a:pt x="30" y="83"/>
                      <a:pt x="31" y="82"/>
                    </a:cubicBezTo>
                    <a:cubicBezTo>
                      <a:pt x="31" y="82"/>
                      <a:pt x="32" y="81"/>
                      <a:pt x="33" y="81"/>
                    </a:cubicBezTo>
                    <a:cubicBezTo>
                      <a:pt x="34" y="81"/>
                      <a:pt x="34" y="81"/>
                      <a:pt x="35" y="82"/>
                    </a:cubicBezTo>
                    <a:cubicBezTo>
                      <a:pt x="35" y="82"/>
                      <a:pt x="35" y="82"/>
                      <a:pt x="36" y="82"/>
                    </a:cubicBezTo>
                    <a:cubicBezTo>
                      <a:pt x="36" y="82"/>
                      <a:pt x="36" y="82"/>
                      <a:pt x="37" y="82"/>
                    </a:cubicBezTo>
                    <a:cubicBezTo>
                      <a:pt x="37" y="81"/>
                      <a:pt x="38" y="80"/>
                      <a:pt x="39" y="80"/>
                    </a:cubicBezTo>
                    <a:cubicBezTo>
                      <a:pt x="39" y="80"/>
                      <a:pt x="39" y="79"/>
                      <a:pt x="39" y="79"/>
                    </a:cubicBezTo>
                    <a:cubicBezTo>
                      <a:pt x="40" y="79"/>
                      <a:pt x="40" y="79"/>
                      <a:pt x="40" y="79"/>
                    </a:cubicBezTo>
                    <a:cubicBezTo>
                      <a:pt x="41" y="79"/>
                      <a:pt x="41" y="79"/>
                      <a:pt x="41" y="79"/>
                    </a:cubicBezTo>
                    <a:cubicBezTo>
                      <a:pt x="41" y="79"/>
                      <a:pt x="41" y="79"/>
                      <a:pt x="41" y="79"/>
                    </a:cubicBezTo>
                    <a:cubicBezTo>
                      <a:pt x="42" y="79"/>
                      <a:pt x="43" y="79"/>
                      <a:pt x="44" y="79"/>
                    </a:cubicBezTo>
                    <a:cubicBezTo>
                      <a:pt x="45" y="79"/>
                      <a:pt x="45" y="79"/>
                      <a:pt x="45" y="79"/>
                    </a:cubicBezTo>
                    <a:cubicBezTo>
                      <a:pt x="46" y="79"/>
                      <a:pt x="47" y="80"/>
                      <a:pt x="47" y="80"/>
                    </a:cubicBezTo>
                    <a:cubicBezTo>
                      <a:pt x="47" y="81"/>
                      <a:pt x="48" y="81"/>
                      <a:pt x="48" y="81"/>
                    </a:cubicBezTo>
                    <a:cubicBezTo>
                      <a:pt x="48" y="81"/>
                      <a:pt x="48" y="81"/>
                      <a:pt x="48" y="81"/>
                    </a:cubicBezTo>
                    <a:cubicBezTo>
                      <a:pt x="48" y="81"/>
                      <a:pt x="48" y="81"/>
                      <a:pt x="49" y="81"/>
                    </a:cubicBezTo>
                    <a:cubicBezTo>
                      <a:pt x="49" y="81"/>
                      <a:pt x="49" y="81"/>
                      <a:pt x="49" y="80"/>
                    </a:cubicBezTo>
                    <a:cubicBezTo>
                      <a:pt x="50" y="79"/>
                      <a:pt x="51" y="79"/>
                      <a:pt x="52" y="79"/>
                    </a:cubicBezTo>
                    <a:cubicBezTo>
                      <a:pt x="52" y="79"/>
                      <a:pt x="52" y="79"/>
                      <a:pt x="52" y="79"/>
                    </a:cubicBezTo>
                    <a:cubicBezTo>
                      <a:pt x="53" y="79"/>
                      <a:pt x="53" y="79"/>
                      <a:pt x="53" y="79"/>
                    </a:cubicBezTo>
                    <a:cubicBezTo>
                      <a:pt x="53" y="79"/>
                      <a:pt x="53" y="79"/>
                      <a:pt x="53" y="79"/>
                    </a:cubicBezTo>
                    <a:cubicBezTo>
                      <a:pt x="53" y="79"/>
                      <a:pt x="53" y="79"/>
                      <a:pt x="53" y="79"/>
                    </a:cubicBezTo>
                    <a:cubicBezTo>
                      <a:pt x="54" y="79"/>
                      <a:pt x="54" y="79"/>
                      <a:pt x="54" y="79"/>
                    </a:cubicBezTo>
                    <a:cubicBezTo>
                      <a:pt x="54" y="78"/>
                      <a:pt x="54" y="78"/>
                      <a:pt x="54" y="78"/>
                    </a:cubicBezTo>
                    <a:cubicBezTo>
                      <a:pt x="54" y="78"/>
                      <a:pt x="54" y="77"/>
                      <a:pt x="54" y="77"/>
                    </a:cubicBezTo>
                    <a:cubicBezTo>
                      <a:pt x="54" y="76"/>
                      <a:pt x="54" y="76"/>
                      <a:pt x="54" y="76"/>
                    </a:cubicBezTo>
                    <a:cubicBezTo>
                      <a:pt x="56" y="74"/>
                      <a:pt x="56" y="74"/>
                      <a:pt x="56" y="74"/>
                    </a:cubicBezTo>
                    <a:cubicBezTo>
                      <a:pt x="56" y="74"/>
                      <a:pt x="57" y="73"/>
                      <a:pt x="57" y="73"/>
                    </a:cubicBezTo>
                    <a:cubicBezTo>
                      <a:pt x="57" y="73"/>
                      <a:pt x="57" y="72"/>
                      <a:pt x="57" y="72"/>
                    </a:cubicBezTo>
                    <a:cubicBezTo>
                      <a:pt x="57" y="71"/>
                      <a:pt x="57" y="71"/>
                      <a:pt x="57" y="71"/>
                    </a:cubicBezTo>
                    <a:cubicBezTo>
                      <a:pt x="57" y="70"/>
                      <a:pt x="57" y="70"/>
                      <a:pt x="57" y="70"/>
                    </a:cubicBezTo>
                    <a:cubicBezTo>
                      <a:pt x="55" y="68"/>
                      <a:pt x="55" y="68"/>
                      <a:pt x="55" y="68"/>
                    </a:cubicBezTo>
                    <a:cubicBezTo>
                      <a:pt x="58" y="65"/>
                      <a:pt x="58" y="65"/>
                      <a:pt x="58" y="65"/>
                    </a:cubicBezTo>
                    <a:cubicBezTo>
                      <a:pt x="58" y="65"/>
                      <a:pt x="58" y="65"/>
                      <a:pt x="58" y="65"/>
                    </a:cubicBezTo>
                    <a:cubicBezTo>
                      <a:pt x="58" y="65"/>
                      <a:pt x="58" y="65"/>
                      <a:pt x="60" y="64"/>
                    </a:cubicBezTo>
                    <a:cubicBezTo>
                      <a:pt x="61" y="64"/>
                      <a:pt x="62" y="63"/>
                      <a:pt x="62" y="63"/>
                    </a:cubicBezTo>
                    <a:cubicBezTo>
                      <a:pt x="62" y="62"/>
                      <a:pt x="62" y="62"/>
                      <a:pt x="62" y="62"/>
                    </a:cubicBezTo>
                    <a:cubicBezTo>
                      <a:pt x="62" y="62"/>
                      <a:pt x="62" y="62"/>
                      <a:pt x="62" y="62"/>
                    </a:cubicBezTo>
                    <a:cubicBezTo>
                      <a:pt x="62" y="61"/>
                      <a:pt x="63" y="60"/>
                      <a:pt x="64" y="59"/>
                    </a:cubicBezTo>
                    <a:cubicBezTo>
                      <a:pt x="65" y="59"/>
                      <a:pt x="68" y="58"/>
                      <a:pt x="68" y="58"/>
                    </a:cubicBezTo>
                    <a:cubicBezTo>
                      <a:pt x="69" y="57"/>
                      <a:pt x="69" y="57"/>
                      <a:pt x="69" y="57"/>
                    </a:cubicBezTo>
                    <a:cubicBezTo>
                      <a:pt x="70" y="58"/>
                      <a:pt x="70" y="58"/>
                      <a:pt x="70" y="58"/>
                    </a:cubicBezTo>
                    <a:cubicBezTo>
                      <a:pt x="71" y="59"/>
                      <a:pt x="71" y="60"/>
                      <a:pt x="71" y="62"/>
                    </a:cubicBezTo>
                    <a:cubicBezTo>
                      <a:pt x="71" y="62"/>
                      <a:pt x="71" y="62"/>
                      <a:pt x="71" y="63"/>
                    </a:cubicBezTo>
                    <a:cubicBezTo>
                      <a:pt x="71" y="63"/>
                      <a:pt x="71" y="65"/>
                      <a:pt x="71" y="65"/>
                    </a:cubicBezTo>
                    <a:cubicBezTo>
                      <a:pt x="71" y="65"/>
                      <a:pt x="71" y="65"/>
                      <a:pt x="71" y="66"/>
                    </a:cubicBezTo>
                    <a:cubicBezTo>
                      <a:pt x="71" y="66"/>
                      <a:pt x="71" y="67"/>
                      <a:pt x="71" y="67"/>
                    </a:cubicBezTo>
                    <a:cubicBezTo>
                      <a:pt x="71" y="67"/>
                      <a:pt x="71" y="67"/>
                      <a:pt x="71" y="67"/>
                    </a:cubicBezTo>
                    <a:cubicBezTo>
                      <a:pt x="72" y="68"/>
                      <a:pt x="72" y="68"/>
                      <a:pt x="72" y="69"/>
                    </a:cubicBezTo>
                    <a:cubicBezTo>
                      <a:pt x="72" y="69"/>
                      <a:pt x="73" y="69"/>
                      <a:pt x="73" y="69"/>
                    </a:cubicBezTo>
                    <a:cubicBezTo>
                      <a:pt x="73" y="69"/>
                      <a:pt x="73" y="69"/>
                      <a:pt x="73" y="69"/>
                    </a:cubicBezTo>
                    <a:cubicBezTo>
                      <a:pt x="74" y="71"/>
                      <a:pt x="75" y="71"/>
                      <a:pt x="75" y="72"/>
                    </a:cubicBezTo>
                    <a:cubicBezTo>
                      <a:pt x="75" y="72"/>
                      <a:pt x="75" y="72"/>
                      <a:pt x="75" y="72"/>
                    </a:cubicBezTo>
                    <a:cubicBezTo>
                      <a:pt x="75" y="72"/>
                      <a:pt x="76" y="72"/>
                      <a:pt x="76" y="72"/>
                    </a:cubicBezTo>
                    <a:cubicBezTo>
                      <a:pt x="77" y="72"/>
                      <a:pt x="78" y="72"/>
                      <a:pt x="79" y="73"/>
                    </a:cubicBezTo>
                    <a:cubicBezTo>
                      <a:pt x="79" y="73"/>
                      <a:pt x="79" y="73"/>
                      <a:pt x="79" y="73"/>
                    </a:cubicBezTo>
                    <a:cubicBezTo>
                      <a:pt x="79" y="73"/>
                      <a:pt x="79" y="73"/>
                      <a:pt x="80" y="73"/>
                    </a:cubicBezTo>
                    <a:cubicBezTo>
                      <a:pt x="80" y="73"/>
                      <a:pt x="80" y="73"/>
                      <a:pt x="80" y="73"/>
                    </a:cubicBezTo>
                    <a:cubicBezTo>
                      <a:pt x="84" y="74"/>
                      <a:pt x="84" y="74"/>
                      <a:pt x="84" y="74"/>
                    </a:cubicBezTo>
                    <a:cubicBezTo>
                      <a:pt x="84" y="75"/>
                      <a:pt x="84" y="75"/>
                      <a:pt x="84" y="75"/>
                    </a:cubicBezTo>
                    <a:cubicBezTo>
                      <a:pt x="85" y="76"/>
                      <a:pt x="85" y="77"/>
                      <a:pt x="85" y="78"/>
                    </a:cubicBezTo>
                    <a:cubicBezTo>
                      <a:pt x="84" y="78"/>
                      <a:pt x="84" y="78"/>
                      <a:pt x="84" y="79"/>
                    </a:cubicBezTo>
                    <a:cubicBezTo>
                      <a:pt x="84" y="80"/>
                      <a:pt x="84" y="80"/>
                      <a:pt x="84" y="80"/>
                    </a:cubicBezTo>
                    <a:cubicBezTo>
                      <a:pt x="84" y="80"/>
                      <a:pt x="85" y="80"/>
                      <a:pt x="85" y="80"/>
                    </a:cubicBezTo>
                    <a:cubicBezTo>
                      <a:pt x="85" y="80"/>
                      <a:pt x="85" y="80"/>
                      <a:pt x="86" y="79"/>
                    </a:cubicBezTo>
                    <a:cubicBezTo>
                      <a:pt x="86" y="79"/>
                      <a:pt x="86" y="79"/>
                      <a:pt x="86" y="79"/>
                    </a:cubicBezTo>
                    <a:cubicBezTo>
                      <a:pt x="86" y="79"/>
                      <a:pt x="86" y="79"/>
                      <a:pt x="86" y="78"/>
                    </a:cubicBezTo>
                    <a:cubicBezTo>
                      <a:pt x="85" y="77"/>
                      <a:pt x="85" y="77"/>
                      <a:pt x="85" y="77"/>
                    </a:cubicBezTo>
                    <a:cubicBezTo>
                      <a:pt x="87" y="76"/>
                      <a:pt x="87" y="76"/>
                      <a:pt x="87" y="76"/>
                    </a:cubicBezTo>
                    <a:cubicBezTo>
                      <a:pt x="87" y="74"/>
                      <a:pt x="87" y="73"/>
                      <a:pt x="88" y="72"/>
                    </a:cubicBezTo>
                    <a:cubicBezTo>
                      <a:pt x="88" y="72"/>
                      <a:pt x="88" y="72"/>
                      <a:pt x="88" y="72"/>
                    </a:cubicBezTo>
                    <a:cubicBezTo>
                      <a:pt x="89" y="72"/>
                      <a:pt x="89" y="72"/>
                      <a:pt x="89" y="72"/>
                    </a:cubicBezTo>
                    <a:cubicBezTo>
                      <a:pt x="89" y="72"/>
                      <a:pt x="89" y="72"/>
                      <a:pt x="89" y="72"/>
                    </a:cubicBezTo>
                    <a:cubicBezTo>
                      <a:pt x="89" y="72"/>
                      <a:pt x="89" y="72"/>
                      <a:pt x="89" y="71"/>
                    </a:cubicBezTo>
                    <a:cubicBezTo>
                      <a:pt x="90" y="70"/>
                      <a:pt x="90" y="70"/>
                      <a:pt x="90" y="70"/>
                    </a:cubicBezTo>
                    <a:cubicBezTo>
                      <a:pt x="90" y="70"/>
                      <a:pt x="91" y="70"/>
                      <a:pt x="91" y="70"/>
                    </a:cubicBezTo>
                    <a:cubicBezTo>
                      <a:pt x="91" y="70"/>
                      <a:pt x="91" y="70"/>
                      <a:pt x="91" y="70"/>
                    </a:cubicBezTo>
                    <a:cubicBezTo>
                      <a:pt x="91" y="69"/>
                      <a:pt x="92" y="69"/>
                      <a:pt x="92" y="69"/>
                    </a:cubicBezTo>
                    <a:cubicBezTo>
                      <a:pt x="92" y="68"/>
                      <a:pt x="92" y="68"/>
                      <a:pt x="92" y="68"/>
                    </a:cubicBezTo>
                    <a:cubicBezTo>
                      <a:pt x="92" y="68"/>
                      <a:pt x="92" y="67"/>
                      <a:pt x="93" y="66"/>
                    </a:cubicBezTo>
                    <a:cubicBezTo>
                      <a:pt x="93" y="65"/>
                      <a:pt x="93" y="65"/>
                      <a:pt x="93" y="65"/>
                    </a:cubicBezTo>
                    <a:cubicBezTo>
                      <a:pt x="93" y="65"/>
                      <a:pt x="93" y="65"/>
                      <a:pt x="93" y="64"/>
                    </a:cubicBezTo>
                    <a:cubicBezTo>
                      <a:pt x="93" y="64"/>
                      <a:pt x="93" y="64"/>
                      <a:pt x="93" y="64"/>
                    </a:cubicBezTo>
                    <a:cubicBezTo>
                      <a:pt x="93" y="63"/>
                      <a:pt x="93" y="63"/>
                      <a:pt x="93" y="63"/>
                    </a:cubicBezTo>
                    <a:cubicBezTo>
                      <a:pt x="93" y="63"/>
                      <a:pt x="93" y="63"/>
                      <a:pt x="93" y="63"/>
                    </a:cubicBezTo>
                    <a:cubicBezTo>
                      <a:pt x="93" y="62"/>
                      <a:pt x="93" y="62"/>
                      <a:pt x="93" y="62"/>
                    </a:cubicBezTo>
                    <a:cubicBezTo>
                      <a:pt x="92" y="61"/>
                      <a:pt x="92" y="61"/>
                      <a:pt x="92" y="61"/>
                    </a:cubicBezTo>
                    <a:cubicBezTo>
                      <a:pt x="92" y="59"/>
                      <a:pt x="92" y="59"/>
                      <a:pt x="92" y="59"/>
                    </a:cubicBezTo>
                    <a:cubicBezTo>
                      <a:pt x="94" y="56"/>
                      <a:pt x="94" y="56"/>
                      <a:pt x="94" y="56"/>
                    </a:cubicBezTo>
                    <a:cubicBezTo>
                      <a:pt x="94" y="56"/>
                      <a:pt x="94" y="56"/>
                      <a:pt x="94" y="56"/>
                    </a:cubicBezTo>
                    <a:cubicBezTo>
                      <a:pt x="95" y="55"/>
                      <a:pt x="96" y="55"/>
                      <a:pt x="97" y="55"/>
                    </a:cubicBezTo>
                    <a:cubicBezTo>
                      <a:pt x="97" y="55"/>
                      <a:pt x="98" y="55"/>
                      <a:pt x="99" y="56"/>
                    </a:cubicBezTo>
                    <a:cubicBezTo>
                      <a:pt x="99" y="56"/>
                      <a:pt x="99" y="56"/>
                      <a:pt x="99" y="56"/>
                    </a:cubicBezTo>
                    <a:cubicBezTo>
                      <a:pt x="99" y="55"/>
                      <a:pt x="99" y="55"/>
                      <a:pt x="99" y="55"/>
                    </a:cubicBezTo>
                    <a:cubicBezTo>
                      <a:pt x="100" y="55"/>
                      <a:pt x="100" y="55"/>
                      <a:pt x="100" y="55"/>
                    </a:cubicBezTo>
                    <a:cubicBezTo>
                      <a:pt x="102" y="55"/>
                      <a:pt x="103" y="56"/>
                      <a:pt x="103" y="57"/>
                    </a:cubicBezTo>
                    <a:cubicBezTo>
                      <a:pt x="104" y="58"/>
                      <a:pt x="104" y="58"/>
                      <a:pt x="104" y="58"/>
                    </a:cubicBezTo>
                    <a:cubicBezTo>
                      <a:pt x="103" y="60"/>
                      <a:pt x="103" y="60"/>
                      <a:pt x="103" y="60"/>
                    </a:cubicBezTo>
                    <a:cubicBezTo>
                      <a:pt x="103" y="60"/>
                      <a:pt x="104" y="61"/>
                      <a:pt x="104" y="61"/>
                    </a:cubicBezTo>
                    <a:cubicBezTo>
                      <a:pt x="104" y="62"/>
                      <a:pt x="104" y="62"/>
                      <a:pt x="104" y="63"/>
                    </a:cubicBezTo>
                    <a:cubicBezTo>
                      <a:pt x="104" y="63"/>
                      <a:pt x="104" y="63"/>
                      <a:pt x="104" y="63"/>
                    </a:cubicBezTo>
                    <a:cubicBezTo>
                      <a:pt x="104" y="63"/>
                      <a:pt x="104" y="63"/>
                      <a:pt x="104" y="63"/>
                    </a:cubicBezTo>
                    <a:cubicBezTo>
                      <a:pt x="104" y="64"/>
                      <a:pt x="105" y="64"/>
                      <a:pt x="105" y="64"/>
                    </a:cubicBezTo>
                    <a:cubicBezTo>
                      <a:pt x="106" y="64"/>
                      <a:pt x="106" y="64"/>
                      <a:pt x="106" y="64"/>
                    </a:cubicBezTo>
                    <a:cubicBezTo>
                      <a:pt x="106" y="64"/>
                      <a:pt x="106" y="63"/>
                      <a:pt x="107" y="63"/>
                    </a:cubicBezTo>
                    <a:cubicBezTo>
                      <a:pt x="107" y="62"/>
                      <a:pt x="107" y="62"/>
                      <a:pt x="107" y="62"/>
                    </a:cubicBezTo>
                    <a:cubicBezTo>
                      <a:pt x="110" y="62"/>
                      <a:pt x="110" y="62"/>
                      <a:pt x="110" y="62"/>
                    </a:cubicBezTo>
                    <a:cubicBezTo>
                      <a:pt x="110" y="62"/>
                      <a:pt x="110" y="62"/>
                      <a:pt x="110" y="62"/>
                    </a:cubicBezTo>
                    <a:cubicBezTo>
                      <a:pt x="110" y="62"/>
                      <a:pt x="110" y="62"/>
                      <a:pt x="110" y="62"/>
                    </a:cubicBezTo>
                    <a:cubicBezTo>
                      <a:pt x="112" y="61"/>
                      <a:pt x="112" y="61"/>
                      <a:pt x="112" y="61"/>
                    </a:cubicBezTo>
                    <a:cubicBezTo>
                      <a:pt x="113" y="60"/>
                      <a:pt x="114" y="60"/>
                      <a:pt x="114" y="60"/>
                    </a:cubicBezTo>
                    <a:cubicBezTo>
                      <a:pt x="117" y="60"/>
                      <a:pt x="117" y="60"/>
                      <a:pt x="117" y="60"/>
                    </a:cubicBezTo>
                    <a:cubicBezTo>
                      <a:pt x="117" y="60"/>
                      <a:pt x="117" y="60"/>
                      <a:pt x="117" y="59"/>
                    </a:cubicBezTo>
                    <a:cubicBezTo>
                      <a:pt x="117" y="59"/>
                      <a:pt x="117" y="59"/>
                      <a:pt x="117" y="59"/>
                    </a:cubicBezTo>
                    <a:cubicBezTo>
                      <a:pt x="116" y="58"/>
                      <a:pt x="116" y="58"/>
                      <a:pt x="116" y="58"/>
                    </a:cubicBezTo>
                    <a:cubicBezTo>
                      <a:pt x="117" y="56"/>
                      <a:pt x="117" y="56"/>
                      <a:pt x="117" y="56"/>
                    </a:cubicBezTo>
                    <a:cubicBezTo>
                      <a:pt x="117" y="55"/>
                      <a:pt x="117" y="55"/>
                      <a:pt x="117" y="55"/>
                    </a:cubicBezTo>
                    <a:cubicBezTo>
                      <a:pt x="117" y="55"/>
                      <a:pt x="117" y="55"/>
                      <a:pt x="117" y="55"/>
                    </a:cubicBezTo>
                    <a:cubicBezTo>
                      <a:pt x="117" y="55"/>
                      <a:pt x="117" y="54"/>
                      <a:pt x="118" y="53"/>
                    </a:cubicBezTo>
                    <a:cubicBezTo>
                      <a:pt x="118" y="52"/>
                      <a:pt x="118" y="52"/>
                      <a:pt x="119" y="52"/>
                    </a:cubicBezTo>
                    <a:cubicBezTo>
                      <a:pt x="119" y="51"/>
                      <a:pt x="120" y="50"/>
                      <a:pt x="121" y="50"/>
                    </a:cubicBezTo>
                    <a:cubicBezTo>
                      <a:pt x="121" y="50"/>
                      <a:pt x="121" y="50"/>
                      <a:pt x="121" y="50"/>
                    </a:cubicBezTo>
                    <a:cubicBezTo>
                      <a:pt x="121" y="50"/>
                      <a:pt x="122" y="50"/>
                      <a:pt x="122" y="50"/>
                    </a:cubicBezTo>
                    <a:cubicBezTo>
                      <a:pt x="123" y="49"/>
                      <a:pt x="123" y="49"/>
                      <a:pt x="123" y="49"/>
                    </a:cubicBezTo>
                    <a:cubicBezTo>
                      <a:pt x="123" y="49"/>
                      <a:pt x="124" y="49"/>
                      <a:pt x="124" y="49"/>
                    </a:cubicBezTo>
                    <a:cubicBezTo>
                      <a:pt x="125" y="49"/>
                      <a:pt x="126" y="50"/>
                      <a:pt x="126" y="50"/>
                    </a:cubicBezTo>
                    <a:cubicBezTo>
                      <a:pt x="127" y="50"/>
                      <a:pt x="127" y="50"/>
                      <a:pt x="127" y="50"/>
                    </a:cubicBezTo>
                    <a:cubicBezTo>
                      <a:pt x="126" y="50"/>
                      <a:pt x="126" y="49"/>
                      <a:pt x="126" y="49"/>
                    </a:cubicBezTo>
                    <a:cubicBezTo>
                      <a:pt x="126" y="48"/>
                      <a:pt x="126" y="48"/>
                      <a:pt x="126" y="48"/>
                    </a:cubicBezTo>
                    <a:cubicBezTo>
                      <a:pt x="127" y="47"/>
                      <a:pt x="127" y="47"/>
                      <a:pt x="127" y="47"/>
                    </a:cubicBezTo>
                    <a:cubicBezTo>
                      <a:pt x="127" y="47"/>
                      <a:pt x="127" y="47"/>
                      <a:pt x="128" y="47"/>
                    </a:cubicBezTo>
                    <a:cubicBezTo>
                      <a:pt x="127" y="46"/>
                      <a:pt x="127" y="46"/>
                      <a:pt x="127" y="46"/>
                    </a:cubicBezTo>
                    <a:cubicBezTo>
                      <a:pt x="128" y="44"/>
                      <a:pt x="128" y="44"/>
                      <a:pt x="128" y="44"/>
                    </a:cubicBezTo>
                    <a:cubicBezTo>
                      <a:pt x="127" y="44"/>
                      <a:pt x="127" y="44"/>
                      <a:pt x="127" y="44"/>
                    </a:cubicBezTo>
                    <a:cubicBezTo>
                      <a:pt x="128" y="43"/>
                      <a:pt x="128" y="43"/>
                      <a:pt x="128" y="43"/>
                    </a:cubicBezTo>
                    <a:cubicBezTo>
                      <a:pt x="128" y="42"/>
                      <a:pt x="128" y="42"/>
                      <a:pt x="128" y="42"/>
                    </a:cubicBezTo>
                    <a:cubicBezTo>
                      <a:pt x="129" y="41"/>
                      <a:pt x="129" y="40"/>
                      <a:pt x="130" y="40"/>
                    </a:cubicBezTo>
                    <a:cubicBezTo>
                      <a:pt x="130" y="40"/>
                      <a:pt x="130" y="40"/>
                      <a:pt x="130" y="40"/>
                    </a:cubicBezTo>
                    <a:cubicBezTo>
                      <a:pt x="131" y="40"/>
                      <a:pt x="131" y="40"/>
                      <a:pt x="131" y="40"/>
                    </a:cubicBezTo>
                    <a:cubicBezTo>
                      <a:pt x="131" y="40"/>
                      <a:pt x="131" y="40"/>
                      <a:pt x="131" y="40"/>
                    </a:cubicBezTo>
                    <a:cubicBezTo>
                      <a:pt x="131" y="40"/>
                      <a:pt x="131" y="39"/>
                      <a:pt x="131" y="39"/>
                    </a:cubicBezTo>
                    <a:cubicBezTo>
                      <a:pt x="131" y="39"/>
                      <a:pt x="131" y="38"/>
                      <a:pt x="131" y="38"/>
                    </a:cubicBezTo>
                    <a:cubicBezTo>
                      <a:pt x="132" y="38"/>
                      <a:pt x="130" y="37"/>
                      <a:pt x="130" y="37"/>
                    </a:cubicBezTo>
                    <a:cubicBezTo>
                      <a:pt x="130" y="36"/>
                      <a:pt x="130" y="36"/>
                      <a:pt x="130" y="36"/>
                    </a:cubicBezTo>
                    <a:cubicBezTo>
                      <a:pt x="130" y="36"/>
                      <a:pt x="129" y="35"/>
                      <a:pt x="129" y="35"/>
                    </a:cubicBezTo>
                    <a:cubicBezTo>
                      <a:pt x="128" y="35"/>
                      <a:pt x="127" y="35"/>
                      <a:pt x="127" y="35"/>
                    </a:cubicBezTo>
                    <a:cubicBezTo>
                      <a:pt x="127" y="35"/>
                      <a:pt x="127" y="37"/>
                      <a:pt x="127" y="37"/>
                    </a:cubicBezTo>
                    <a:cubicBezTo>
                      <a:pt x="127" y="37"/>
                      <a:pt x="126" y="38"/>
                      <a:pt x="126" y="38"/>
                    </a:cubicBezTo>
                    <a:cubicBezTo>
                      <a:pt x="125" y="38"/>
                      <a:pt x="125" y="38"/>
                      <a:pt x="125" y="38"/>
                    </a:cubicBezTo>
                    <a:cubicBezTo>
                      <a:pt x="125" y="38"/>
                      <a:pt x="125" y="38"/>
                      <a:pt x="125" y="38"/>
                    </a:cubicBezTo>
                    <a:cubicBezTo>
                      <a:pt x="124" y="39"/>
                      <a:pt x="124" y="39"/>
                      <a:pt x="124" y="39"/>
                    </a:cubicBezTo>
                    <a:cubicBezTo>
                      <a:pt x="123" y="40"/>
                      <a:pt x="123" y="40"/>
                      <a:pt x="123" y="40"/>
                    </a:cubicBezTo>
                    <a:cubicBezTo>
                      <a:pt x="123" y="40"/>
                      <a:pt x="122" y="41"/>
                      <a:pt x="121" y="41"/>
                    </a:cubicBezTo>
                    <a:cubicBezTo>
                      <a:pt x="120" y="41"/>
                      <a:pt x="119" y="41"/>
                      <a:pt x="119" y="41"/>
                    </a:cubicBezTo>
                    <a:cubicBezTo>
                      <a:pt x="118" y="40"/>
                      <a:pt x="118" y="40"/>
                      <a:pt x="118" y="40"/>
                    </a:cubicBezTo>
                    <a:cubicBezTo>
                      <a:pt x="116" y="39"/>
                      <a:pt x="116" y="39"/>
                      <a:pt x="116" y="39"/>
                    </a:cubicBezTo>
                    <a:cubicBezTo>
                      <a:pt x="116" y="39"/>
                      <a:pt x="116" y="39"/>
                      <a:pt x="116" y="39"/>
                    </a:cubicBezTo>
                    <a:cubicBezTo>
                      <a:pt x="114" y="38"/>
                      <a:pt x="114" y="38"/>
                      <a:pt x="114" y="38"/>
                    </a:cubicBezTo>
                    <a:cubicBezTo>
                      <a:pt x="113" y="38"/>
                      <a:pt x="113" y="38"/>
                      <a:pt x="113" y="38"/>
                    </a:cubicBezTo>
                    <a:cubicBezTo>
                      <a:pt x="113" y="36"/>
                      <a:pt x="113" y="36"/>
                      <a:pt x="113" y="36"/>
                    </a:cubicBezTo>
                    <a:cubicBezTo>
                      <a:pt x="112" y="34"/>
                      <a:pt x="112" y="34"/>
                      <a:pt x="112" y="34"/>
                    </a:cubicBezTo>
                    <a:cubicBezTo>
                      <a:pt x="109" y="33"/>
                      <a:pt x="109" y="33"/>
                      <a:pt x="109" y="33"/>
                    </a:cubicBezTo>
                    <a:cubicBezTo>
                      <a:pt x="106" y="32"/>
                      <a:pt x="106" y="32"/>
                      <a:pt x="106" y="32"/>
                    </a:cubicBezTo>
                    <a:cubicBezTo>
                      <a:pt x="104" y="33"/>
                      <a:pt x="104" y="33"/>
                      <a:pt x="104" y="33"/>
                    </a:cubicBezTo>
                    <a:cubicBezTo>
                      <a:pt x="104" y="33"/>
                      <a:pt x="102" y="33"/>
                      <a:pt x="101" y="33"/>
                    </a:cubicBezTo>
                    <a:cubicBezTo>
                      <a:pt x="101" y="33"/>
                      <a:pt x="101" y="33"/>
                      <a:pt x="101" y="32"/>
                    </a:cubicBezTo>
                    <a:cubicBezTo>
                      <a:pt x="101" y="33"/>
                      <a:pt x="101" y="33"/>
                      <a:pt x="101" y="33"/>
                    </a:cubicBezTo>
                    <a:cubicBezTo>
                      <a:pt x="101" y="33"/>
                      <a:pt x="101" y="33"/>
                      <a:pt x="101" y="32"/>
                    </a:cubicBezTo>
                    <a:cubicBezTo>
                      <a:pt x="101" y="32"/>
                      <a:pt x="101" y="32"/>
                      <a:pt x="101" y="32"/>
                    </a:cubicBezTo>
                    <a:cubicBezTo>
                      <a:pt x="101" y="32"/>
                      <a:pt x="101" y="32"/>
                      <a:pt x="101" y="32"/>
                    </a:cubicBezTo>
                    <a:cubicBezTo>
                      <a:pt x="101" y="32"/>
                      <a:pt x="101" y="32"/>
                      <a:pt x="101" y="32"/>
                    </a:cubicBezTo>
                    <a:cubicBezTo>
                      <a:pt x="100" y="32"/>
                      <a:pt x="100" y="32"/>
                      <a:pt x="100" y="32"/>
                    </a:cubicBezTo>
                    <a:cubicBezTo>
                      <a:pt x="101" y="31"/>
                      <a:pt x="101" y="31"/>
                      <a:pt x="101" y="31"/>
                    </a:cubicBezTo>
                    <a:cubicBezTo>
                      <a:pt x="101" y="31"/>
                      <a:pt x="101" y="31"/>
                      <a:pt x="101" y="31"/>
                    </a:cubicBezTo>
                    <a:cubicBezTo>
                      <a:pt x="101" y="31"/>
                      <a:pt x="101" y="31"/>
                      <a:pt x="101" y="30"/>
                    </a:cubicBezTo>
                    <a:cubicBezTo>
                      <a:pt x="101" y="30"/>
                      <a:pt x="101" y="30"/>
                      <a:pt x="101" y="29"/>
                    </a:cubicBezTo>
                    <a:cubicBezTo>
                      <a:pt x="101" y="29"/>
                      <a:pt x="101" y="29"/>
                      <a:pt x="101" y="29"/>
                    </a:cubicBezTo>
                    <a:cubicBezTo>
                      <a:pt x="101" y="29"/>
                      <a:pt x="101" y="28"/>
                      <a:pt x="101" y="28"/>
                    </a:cubicBezTo>
                    <a:cubicBezTo>
                      <a:pt x="101" y="28"/>
                      <a:pt x="101" y="28"/>
                      <a:pt x="101" y="28"/>
                    </a:cubicBezTo>
                    <a:cubicBezTo>
                      <a:pt x="101" y="28"/>
                      <a:pt x="101" y="28"/>
                      <a:pt x="101" y="28"/>
                    </a:cubicBezTo>
                    <a:cubicBezTo>
                      <a:pt x="101" y="27"/>
                      <a:pt x="101" y="27"/>
                      <a:pt x="101" y="27"/>
                    </a:cubicBezTo>
                    <a:cubicBezTo>
                      <a:pt x="101" y="25"/>
                      <a:pt x="101" y="25"/>
                      <a:pt x="101" y="25"/>
                    </a:cubicBezTo>
                    <a:cubicBezTo>
                      <a:pt x="103" y="23"/>
                      <a:pt x="103" y="23"/>
                      <a:pt x="103" y="23"/>
                    </a:cubicBezTo>
                    <a:cubicBezTo>
                      <a:pt x="103" y="23"/>
                      <a:pt x="103" y="22"/>
                      <a:pt x="104" y="21"/>
                    </a:cubicBezTo>
                    <a:cubicBezTo>
                      <a:pt x="104" y="21"/>
                      <a:pt x="104" y="20"/>
                      <a:pt x="104" y="20"/>
                    </a:cubicBezTo>
                    <a:cubicBezTo>
                      <a:pt x="106" y="19"/>
                      <a:pt x="106" y="19"/>
                      <a:pt x="106" y="19"/>
                    </a:cubicBezTo>
                    <a:cubicBezTo>
                      <a:pt x="106" y="19"/>
                      <a:pt x="106" y="18"/>
                      <a:pt x="106" y="18"/>
                    </a:cubicBezTo>
                    <a:cubicBezTo>
                      <a:pt x="106" y="18"/>
                      <a:pt x="105" y="17"/>
                      <a:pt x="105" y="17"/>
                    </a:cubicBezTo>
                    <a:cubicBezTo>
                      <a:pt x="105" y="16"/>
                      <a:pt x="106" y="15"/>
                      <a:pt x="106" y="15"/>
                    </a:cubicBezTo>
                    <a:cubicBezTo>
                      <a:pt x="106" y="15"/>
                      <a:pt x="105" y="14"/>
                      <a:pt x="105" y="14"/>
                    </a:cubicBezTo>
                    <a:cubicBezTo>
                      <a:pt x="105" y="14"/>
                      <a:pt x="104" y="14"/>
                      <a:pt x="104" y="14"/>
                    </a:cubicBezTo>
                    <a:cubicBezTo>
                      <a:pt x="104" y="13"/>
                      <a:pt x="103" y="12"/>
                      <a:pt x="103" y="12"/>
                    </a:cubicBezTo>
                    <a:cubicBezTo>
                      <a:pt x="103" y="12"/>
                      <a:pt x="103" y="11"/>
                      <a:pt x="103" y="11"/>
                    </a:cubicBezTo>
                    <a:cubicBezTo>
                      <a:pt x="102" y="11"/>
                      <a:pt x="102" y="11"/>
                      <a:pt x="101" y="10"/>
                    </a:cubicBezTo>
                    <a:cubicBezTo>
                      <a:pt x="100" y="10"/>
                      <a:pt x="99" y="9"/>
                      <a:pt x="99" y="9"/>
                    </a:cubicBezTo>
                    <a:cubicBezTo>
                      <a:pt x="99" y="9"/>
                      <a:pt x="97" y="8"/>
                      <a:pt x="97" y="8"/>
                    </a:cubicBezTo>
                    <a:cubicBezTo>
                      <a:pt x="97" y="8"/>
                      <a:pt x="96" y="8"/>
                      <a:pt x="96" y="8"/>
                    </a:cubicBezTo>
                    <a:cubicBezTo>
                      <a:pt x="96" y="8"/>
                      <a:pt x="95" y="7"/>
                      <a:pt x="95" y="7"/>
                    </a:cubicBezTo>
                    <a:cubicBezTo>
                      <a:pt x="94" y="7"/>
                      <a:pt x="94" y="7"/>
                      <a:pt x="94" y="7"/>
                    </a:cubicBezTo>
                    <a:cubicBezTo>
                      <a:pt x="94" y="7"/>
                      <a:pt x="94" y="7"/>
                      <a:pt x="94" y="7"/>
                    </a:cubicBezTo>
                    <a:cubicBezTo>
                      <a:pt x="94" y="7"/>
                      <a:pt x="94" y="7"/>
                      <a:pt x="93" y="6"/>
                    </a:cubicBezTo>
                    <a:cubicBezTo>
                      <a:pt x="91" y="6"/>
                      <a:pt x="92" y="6"/>
                      <a:pt x="91" y="6"/>
                    </a:cubicBezTo>
                    <a:cubicBezTo>
                      <a:pt x="89" y="6"/>
                      <a:pt x="88" y="6"/>
                      <a:pt x="88" y="6"/>
                    </a:cubicBezTo>
                    <a:cubicBezTo>
                      <a:pt x="88" y="6"/>
                      <a:pt x="88" y="6"/>
                      <a:pt x="86" y="6"/>
                    </a:cubicBezTo>
                    <a:cubicBezTo>
                      <a:pt x="85" y="6"/>
                      <a:pt x="84" y="7"/>
                      <a:pt x="83" y="7"/>
                    </a:cubicBezTo>
                    <a:cubicBezTo>
                      <a:pt x="83" y="7"/>
                      <a:pt x="82" y="6"/>
                      <a:pt x="82" y="6"/>
                    </a:cubicBezTo>
                    <a:cubicBezTo>
                      <a:pt x="82" y="6"/>
                      <a:pt x="82" y="6"/>
                      <a:pt x="82" y="5"/>
                    </a:cubicBezTo>
                    <a:cubicBezTo>
                      <a:pt x="82" y="5"/>
                      <a:pt x="81" y="4"/>
                      <a:pt x="81" y="4"/>
                    </a:cubicBezTo>
                    <a:cubicBezTo>
                      <a:pt x="81" y="4"/>
                      <a:pt x="80" y="4"/>
                      <a:pt x="80" y="4"/>
                    </a:cubicBezTo>
                    <a:cubicBezTo>
                      <a:pt x="80" y="4"/>
                      <a:pt x="79" y="4"/>
                      <a:pt x="80" y="4"/>
                    </a:cubicBezTo>
                    <a:cubicBezTo>
                      <a:pt x="80" y="5"/>
                      <a:pt x="81" y="6"/>
                      <a:pt x="80" y="5"/>
                    </a:cubicBezTo>
                    <a:cubicBezTo>
                      <a:pt x="79" y="5"/>
                      <a:pt x="78" y="5"/>
                      <a:pt x="78" y="5"/>
                    </a:cubicBezTo>
                    <a:cubicBezTo>
                      <a:pt x="76" y="6"/>
                      <a:pt x="76" y="6"/>
                      <a:pt x="76" y="6"/>
                    </a:cubicBezTo>
                    <a:cubicBezTo>
                      <a:pt x="76" y="4"/>
                      <a:pt x="76" y="4"/>
                      <a:pt x="76" y="4"/>
                    </a:cubicBezTo>
                    <a:cubicBezTo>
                      <a:pt x="76" y="4"/>
                      <a:pt x="78" y="5"/>
                      <a:pt x="78" y="5"/>
                    </a:cubicBezTo>
                    <a:cubicBezTo>
                      <a:pt x="78" y="4"/>
                      <a:pt x="78" y="4"/>
                      <a:pt x="78" y="4"/>
                    </a:cubicBezTo>
                    <a:cubicBezTo>
                      <a:pt x="78" y="4"/>
                      <a:pt x="77" y="3"/>
                      <a:pt x="78" y="3"/>
                    </a:cubicBezTo>
                    <a:cubicBezTo>
                      <a:pt x="78" y="3"/>
                      <a:pt x="79" y="3"/>
                      <a:pt x="78" y="2"/>
                    </a:cubicBezTo>
                    <a:cubicBezTo>
                      <a:pt x="78" y="2"/>
                      <a:pt x="77" y="2"/>
                      <a:pt x="77" y="2"/>
                    </a:cubicBezTo>
                    <a:cubicBezTo>
                      <a:pt x="77" y="1"/>
                      <a:pt x="77" y="1"/>
                      <a:pt x="77" y="1"/>
                    </a:cubicBezTo>
                    <a:cubicBezTo>
                      <a:pt x="77" y="1"/>
                      <a:pt x="76" y="0"/>
                      <a:pt x="76" y="1"/>
                    </a:cubicBezTo>
                    <a:cubicBezTo>
                      <a:pt x="76" y="1"/>
                      <a:pt x="76" y="2"/>
                      <a:pt x="75" y="2"/>
                    </a:cubicBezTo>
                    <a:cubicBezTo>
                      <a:pt x="75" y="2"/>
                      <a:pt x="75" y="2"/>
                      <a:pt x="75" y="1"/>
                    </a:cubicBezTo>
                    <a:cubicBezTo>
                      <a:pt x="75" y="1"/>
                      <a:pt x="75" y="1"/>
                      <a:pt x="75" y="0"/>
                    </a:cubicBezTo>
                    <a:cubicBezTo>
                      <a:pt x="74" y="0"/>
                      <a:pt x="73" y="0"/>
                      <a:pt x="73" y="0"/>
                    </a:cubicBezTo>
                    <a:cubicBezTo>
                      <a:pt x="73" y="0"/>
                      <a:pt x="74" y="2"/>
                      <a:pt x="73" y="2"/>
                    </a:cubicBezTo>
                    <a:cubicBezTo>
                      <a:pt x="72" y="2"/>
                      <a:pt x="71" y="2"/>
                      <a:pt x="70" y="2"/>
                    </a:cubicBezTo>
                    <a:cubicBezTo>
                      <a:pt x="69" y="3"/>
                      <a:pt x="69" y="4"/>
                      <a:pt x="69" y="4"/>
                    </a:cubicBezTo>
                    <a:cubicBezTo>
                      <a:pt x="69" y="4"/>
                      <a:pt x="68" y="5"/>
                      <a:pt x="68" y="5"/>
                    </a:cubicBezTo>
                    <a:cubicBezTo>
                      <a:pt x="68" y="6"/>
                      <a:pt x="68" y="6"/>
                      <a:pt x="69" y="6"/>
                    </a:cubicBezTo>
                    <a:cubicBezTo>
                      <a:pt x="70" y="6"/>
                      <a:pt x="70" y="7"/>
                      <a:pt x="71" y="7"/>
                    </a:cubicBezTo>
                    <a:cubicBezTo>
                      <a:pt x="72" y="7"/>
                      <a:pt x="72" y="6"/>
                      <a:pt x="72" y="6"/>
                    </a:cubicBezTo>
                    <a:cubicBezTo>
                      <a:pt x="72" y="6"/>
                      <a:pt x="72" y="6"/>
                      <a:pt x="73" y="7"/>
                    </a:cubicBezTo>
                    <a:cubicBezTo>
                      <a:pt x="74" y="7"/>
                      <a:pt x="74" y="6"/>
                      <a:pt x="74" y="7"/>
                    </a:cubicBezTo>
                    <a:cubicBezTo>
                      <a:pt x="74" y="8"/>
                      <a:pt x="75" y="9"/>
                      <a:pt x="74" y="9"/>
                    </a:cubicBezTo>
                    <a:cubicBezTo>
                      <a:pt x="74" y="9"/>
                      <a:pt x="73" y="9"/>
                      <a:pt x="73" y="9"/>
                    </a:cubicBezTo>
                    <a:cubicBezTo>
                      <a:pt x="73" y="9"/>
                      <a:pt x="73" y="8"/>
                      <a:pt x="72" y="8"/>
                    </a:cubicBezTo>
                    <a:cubicBezTo>
                      <a:pt x="71" y="8"/>
                      <a:pt x="71" y="8"/>
                      <a:pt x="71" y="8"/>
                    </a:cubicBezTo>
                    <a:cubicBezTo>
                      <a:pt x="70" y="10"/>
                      <a:pt x="70" y="10"/>
                      <a:pt x="70" y="10"/>
                    </a:cubicBezTo>
                    <a:cubicBezTo>
                      <a:pt x="70" y="10"/>
                      <a:pt x="70" y="10"/>
                      <a:pt x="69" y="10"/>
                    </a:cubicBezTo>
                    <a:cubicBezTo>
                      <a:pt x="68" y="10"/>
                      <a:pt x="69" y="10"/>
                      <a:pt x="68" y="10"/>
                    </a:cubicBezTo>
                    <a:cubicBezTo>
                      <a:pt x="66" y="10"/>
                      <a:pt x="66" y="9"/>
                      <a:pt x="65" y="9"/>
                    </a:cubicBezTo>
                    <a:cubicBezTo>
                      <a:pt x="65" y="9"/>
                      <a:pt x="65" y="9"/>
                      <a:pt x="65" y="9"/>
                    </a:cubicBezTo>
                    <a:cubicBezTo>
                      <a:pt x="64" y="9"/>
                      <a:pt x="63" y="8"/>
                      <a:pt x="62" y="9"/>
                    </a:cubicBezTo>
                    <a:cubicBezTo>
                      <a:pt x="61" y="10"/>
                      <a:pt x="60" y="11"/>
                      <a:pt x="60" y="11"/>
                    </a:cubicBezTo>
                    <a:cubicBezTo>
                      <a:pt x="58" y="11"/>
                      <a:pt x="58" y="11"/>
                      <a:pt x="58" y="11"/>
                    </a:cubicBezTo>
                    <a:cubicBezTo>
                      <a:pt x="58" y="11"/>
                      <a:pt x="58" y="11"/>
                      <a:pt x="57" y="11"/>
                    </a:cubicBezTo>
                    <a:cubicBezTo>
                      <a:pt x="56" y="11"/>
                      <a:pt x="55" y="11"/>
                      <a:pt x="55" y="11"/>
                    </a:cubicBezTo>
                    <a:cubicBezTo>
                      <a:pt x="54" y="12"/>
                      <a:pt x="53" y="10"/>
                      <a:pt x="53" y="10"/>
                    </a:cubicBezTo>
                    <a:cubicBezTo>
                      <a:pt x="53" y="10"/>
                      <a:pt x="54" y="8"/>
                      <a:pt x="52" y="9"/>
                    </a:cubicBezTo>
                    <a:cubicBezTo>
                      <a:pt x="49" y="11"/>
                      <a:pt x="49" y="11"/>
                      <a:pt x="48" y="11"/>
                    </a:cubicBezTo>
                    <a:cubicBezTo>
                      <a:pt x="48" y="11"/>
                      <a:pt x="48" y="11"/>
                      <a:pt x="48" y="11"/>
                    </a:cubicBezTo>
                    <a:cubicBezTo>
                      <a:pt x="48" y="11"/>
                      <a:pt x="48" y="11"/>
                      <a:pt x="48" y="11"/>
                    </a:cubicBezTo>
                    <a:cubicBezTo>
                      <a:pt x="47" y="12"/>
                      <a:pt x="47" y="12"/>
                      <a:pt x="47" y="12"/>
                    </a:cubicBezTo>
                    <a:cubicBezTo>
                      <a:pt x="47" y="12"/>
                      <a:pt x="47" y="12"/>
                      <a:pt x="46" y="12"/>
                    </a:cubicBezTo>
                    <a:cubicBezTo>
                      <a:pt x="46" y="12"/>
                      <a:pt x="46" y="12"/>
                      <a:pt x="46" y="12"/>
                    </a:cubicBezTo>
                    <a:cubicBezTo>
                      <a:pt x="44" y="12"/>
                      <a:pt x="44" y="12"/>
                      <a:pt x="44" y="12"/>
                    </a:cubicBezTo>
                    <a:cubicBezTo>
                      <a:pt x="44" y="12"/>
                      <a:pt x="44" y="12"/>
                      <a:pt x="44" y="12"/>
                    </a:cubicBezTo>
                    <a:cubicBezTo>
                      <a:pt x="44" y="13"/>
                      <a:pt x="44" y="13"/>
                      <a:pt x="44" y="13"/>
                    </a:cubicBezTo>
                    <a:cubicBezTo>
                      <a:pt x="44" y="13"/>
                      <a:pt x="43" y="15"/>
                      <a:pt x="43" y="15"/>
                    </a:cubicBezTo>
                    <a:cubicBezTo>
                      <a:pt x="42" y="15"/>
                      <a:pt x="42" y="16"/>
                      <a:pt x="42" y="16"/>
                    </a:cubicBezTo>
                    <a:cubicBezTo>
                      <a:pt x="41" y="16"/>
                      <a:pt x="41" y="16"/>
                      <a:pt x="41" y="16"/>
                    </a:cubicBezTo>
                    <a:cubicBezTo>
                      <a:pt x="41" y="17"/>
                      <a:pt x="40" y="18"/>
                      <a:pt x="40" y="18"/>
                    </a:cubicBezTo>
                    <a:cubicBezTo>
                      <a:pt x="40" y="18"/>
                      <a:pt x="38" y="19"/>
                      <a:pt x="37" y="19"/>
                    </a:cubicBezTo>
                    <a:cubicBezTo>
                      <a:pt x="37" y="19"/>
                      <a:pt x="37" y="19"/>
                      <a:pt x="37" y="19"/>
                    </a:cubicBezTo>
                    <a:cubicBezTo>
                      <a:pt x="36" y="19"/>
                      <a:pt x="36" y="19"/>
                      <a:pt x="36" y="19"/>
                    </a:cubicBezTo>
                    <a:cubicBezTo>
                      <a:pt x="35" y="19"/>
                      <a:pt x="35" y="19"/>
                      <a:pt x="35" y="19"/>
                    </a:cubicBezTo>
                    <a:cubicBezTo>
                      <a:pt x="35" y="19"/>
                      <a:pt x="35" y="19"/>
                      <a:pt x="35" y="19"/>
                    </a:cubicBezTo>
                    <a:cubicBezTo>
                      <a:pt x="34" y="20"/>
                      <a:pt x="34" y="20"/>
                      <a:pt x="34" y="20"/>
                    </a:cubicBezTo>
                    <a:cubicBezTo>
                      <a:pt x="33" y="19"/>
                      <a:pt x="33" y="19"/>
                      <a:pt x="33" y="19"/>
                    </a:cubicBezTo>
                    <a:cubicBezTo>
                      <a:pt x="31" y="19"/>
                      <a:pt x="31" y="18"/>
                      <a:pt x="30" y="18"/>
                    </a:cubicBezTo>
                    <a:cubicBezTo>
                      <a:pt x="30" y="17"/>
                      <a:pt x="30" y="17"/>
                      <a:pt x="29" y="16"/>
                    </a:cubicBezTo>
                    <a:cubicBezTo>
                      <a:pt x="29" y="16"/>
                      <a:pt x="29" y="16"/>
                      <a:pt x="29" y="16"/>
                    </a:cubicBezTo>
                    <a:cubicBezTo>
                      <a:pt x="29" y="17"/>
                      <a:pt x="29" y="17"/>
                      <a:pt x="29" y="17"/>
                    </a:cubicBezTo>
                    <a:cubicBezTo>
                      <a:pt x="29" y="17"/>
                      <a:pt x="29" y="17"/>
                      <a:pt x="29" y="17"/>
                    </a:cubicBezTo>
                    <a:cubicBezTo>
                      <a:pt x="29" y="18"/>
                      <a:pt x="29" y="18"/>
                      <a:pt x="29" y="18"/>
                    </a:cubicBezTo>
                    <a:cubicBezTo>
                      <a:pt x="30" y="20"/>
                      <a:pt x="30" y="20"/>
                      <a:pt x="30" y="20"/>
                    </a:cubicBezTo>
                    <a:cubicBezTo>
                      <a:pt x="30" y="23"/>
                      <a:pt x="30" y="23"/>
                      <a:pt x="30" y="23"/>
                    </a:cubicBezTo>
                    <a:cubicBezTo>
                      <a:pt x="29" y="23"/>
                      <a:pt x="29" y="23"/>
                      <a:pt x="29" y="23"/>
                    </a:cubicBezTo>
                    <a:cubicBezTo>
                      <a:pt x="29" y="23"/>
                      <a:pt x="28" y="24"/>
                      <a:pt x="28" y="24"/>
                    </a:cubicBezTo>
                    <a:cubicBezTo>
                      <a:pt x="28" y="24"/>
                      <a:pt x="27" y="25"/>
                      <a:pt x="27" y="25"/>
                    </a:cubicBezTo>
                    <a:cubicBezTo>
                      <a:pt x="27" y="26"/>
                      <a:pt x="26" y="27"/>
                      <a:pt x="25" y="28"/>
                    </a:cubicBezTo>
                    <a:cubicBezTo>
                      <a:pt x="25" y="29"/>
                      <a:pt x="25" y="29"/>
                      <a:pt x="25" y="29"/>
                    </a:cubicBezTo>
                    <a:cubicBezTo>
                      <a:pt x="23" y="30"/>
                      <a:pt x="23" y="30"/>
                      <a:pt x="23" y="30"/>
                    </a:cubicBezTo>
                    <a:cubicBezTo>
                      <a:pt x="21" y="32"/>
                      <a:pt x="21" y="32"/>
                      <a:pt x="21" y="32"/>
                    </a:cubicBezTo>
                    <a:cubicBezTo>
                      <a:pt x="21" y="33"/>
                      <a:pt x="21" y="33"/>
                      <a:pt x="21" y="33"/>
                    </a:cubicBezTo>
                    <a:cubicBezTo>
                      <a:pt x="19" y="33"/>
                      <a:pt x="19" y="33"/>
                      <a:pt x="19" y="33"/>
                    </a:cubicBezTo>
                    <a:cubicBezTo>
                      <a:pt x="19" y="36"/>
                      <a:pt x="19" y="36"/>
                      <a:pt x="19" y="36"/>
                    </a:cubicBezTo>
                    <a:cubicBezTo>
                      <a:pt x="17" y="36"/>
                      <a:pt x="17" y="36"/>
                      <a:pt x="17" y="36"/>
                    </a:cubicBezTo>
                    <a:cubicBezTo>
                      <a:pt x="17" y="38"/>
                      <a:pt x="17" y="38"/>
                      <a:pt x="17" y="38"/>
                    </a:cubicBezTo>
                    <a:cubicBezTo>
                      <a:pt x="15" y="39"/>
                      <a:pt x="15" y="39"/>
                      <a:pt x="15" y="39"/>
                    </a:cubicBezTo>
                    <a:cubicBezTo>
                      <a:pt x="14" y="39"/>
                      <a:pt x="14" y="39"/>
                      <a:pt x="13" y="39"/>
                    </a:cubicBezTo>
                    <a:cubicBezTo>
                      <a:pt x="13" y="39"/>
                      <a:pt x="13" y="39"/>
                      <a:pt x="13" y="39"/>
                    </a:cubicBezTo>
                    <a:cubicBezTo>
                      <a:pt x="12" y="39"/>
                      <a:pt x="12" y="39"/>
                      <a:pt x="12" y="39"/>
                    </a:cubicBezTo>
                    <a:cubicBezTo>
                      <a:pt x="12" y="40"/>
                      <a:pt x="12" y="40"/>
                      <a:pt x="12" y="40"/>
                    </a:cubicBezTo>
                    <a:cubicBezTo>
                      <a:pt x="12" y="43"/>
                      <a:pt x="12" y="43"/>
                      <a:pt x="12" y="43"/>
                    </a:cubicBezTo>
                    <a:cubicBezTo>
                      <a:pt x="12" y="43"/>
                      <a:pt x="12" y="43"/>
                      <a:pt x="12" y="43"/>
                    </a:cubicBezTo>
                    <a:cubicBezTo>
                      <a:pt x="12" y="44"/>
                      <a:pt x="11" y="44"/>
                      <a:pt x="11" y="44"/>
                    </a:cubicBezTo>
                    <a:cubicBezTo>
                      <a:pt x="12" y="45"/>
                      <a:pt x="12" y="46"/>
                      <a:pt x="12" y="46"/>
                    </a:cubicBezTo>
                    <a:cubicBezTo>
                      <a:pt x="11" y="48"/>
                      <a:pt x="11" y="48"/>
                      <a:pt x="10" y="49"/>
                    </a:cubicBezTo>
                    <a:cubicBezTo>
                      <a:pt x="9" y="50"/>
                      <a:pt x="9" y="50"/>
                      <a:pt x="9" y="50"/>
                    </a:cubicBezTo>
                    <a:cubicBezTo>
                      <a:pt x="9" y="50"/>
                      <a:pt x="8" y="50"/>
                      <a:pt x="7" y="50"/>
                    </a:cubicBezTo>
                    <a:cubicBezTo>
                      <a:pt x="7" y="50"/>
                      <a:pt x="6" y="51"/>
                      <a:pt x="6" y="51"/>
                    </a:cubicBezTo>
                    <a:cubicBezTo>
                      <a:pt x="4" y="52"/>
                      <a:pt x="4" y="52"/>
                      <a:pt x="4" y="52"/>
                    </a:cubicBezTo>
                    <a:cubicBezTo>
                      <a:pt x="2" y="54"/>
                      <a:pt x="2" y="54"/>
                      <a:pt x="2" y="54"/>
                    </a:cubicBezTo>
                    <a:cubicBezTo>
                      <a:pt x="2" y="54"/>
                      <a:pt x="2" y="54"/>
                      <a:pt x="2" y="54"/>
                    </a:cubicBezTo>
                    <a:cubicBezTo>
                      <a:pt x="2" y="54"/>
                      <a:pt x="2" y="56"/>
                      <a:pt x="1" y="57"/>
                    </a:cubicBezTo>
                    <a:cubicBezTo>
                      <a:pt x="1" y="58"/>
                      <a:pt x="1" y="59"/>
                      <a:pt x="0" y="59"/>
                    </a:cubicBezTo>
                    <a:cubicBezTo>
                      <a:pt x="1" y="60"/>
                      <a:pt x="1" y="60"/>
                      <a:pt x="1" y="60"/>
                    </a:cubicBezTo>
                    <a:cubicBezTo>
                      <a:pt x="0" y="60"/>
                      <a:pt x="0" y="60"/>
                      <a:pt x="0" y="60"/>
                    </a:cubicBezTo>
                    <a:cubicBezTo>
                      <a:pt x="2" y="61"/>
                      <a:pt x="2" y="61"/>
                      <a:pt x="2" y="61"/>
                    </a:cubicBezTo>
                    <a:cubicBezTo>
                      <a:pt x="2" y="61"/>
                      <a:pt x="2" y="61"/>
                      <a:pt x="2" y="61"/>
                    </a:cubicBezTo>
                    <a:cubicBezTo>
                      <a:pt x="3" y="60"/>
                      <a:pt x="3" y="60"/>
                      <a:pt x="3" y="60"/>
                    </a:cubicBezTo>
                    <a:cubicBezTo>
                      <a:pt x="7" y="59"/>
                      <a:pt x="7" y="59"/>
                      <a:pt x="7" y="59"/>
                    </a:cubicBezTo>
                    <a:cubicBezTo>
                      <a:pt x="10" y="58"/>
                      <a:pt x="10" y="58"/>
                      <a:pt x="10" y="58"/>
                    </a:cubicBezTo>
                    <a:cubicBezTo>
                      <a:pt x="11" y="57"/>
                      <a:pt x="13" y="57"/>
                      <a:pt x="13" y="57"/>
                    </a:cubicBezTo>
                    <a:lnTo>
                      <a:pt x="17" y="57"/>
                    </a:lnTo>
                    <a:close/>
                  </a:path>
                </a:pathLst>
              </a:custGeom>
              <a:solidFill>
                <a:srgbClr val="BFBFBF"/>
              </a:solid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79" name="Freeform 125"/>
              <p:cNvSpPr>
                <a:spLocks/>
              </p:cNvSpPr>
              <p:nvPr/>
            </p:nvSpPr>
            <p:spPr bwMode="auto">
              <a:xfrm>
                <a:off x="2670" y="2500"/>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680" name="Freeform 126"/>
              <p:cNvSpPr>
                <a:spLocks/>
              </p:cNvSpPr>
              <p:nvPr/>
            </p:nvSpPr>
            <p:spPr bwMode="auto">
              <a:xfrm>
                <a:off x="2668" y="2498"/>
                <a:ext cx="2" cy="2"/>
              </a:xfrm>
              <a:custGeom>
                <a:avLst/>
                <a:gdLst>
                  <a:gd name="T0" fmla="*/ 0 w 1"/>
                  <a:gd name="T1" fmla="*/ 1 h 1"/>
                  <a:gd name="T2" fmla="*/ 1 w 1"/>
                  <a:gd name="T3" fmla="*/ 1 h 1"/>
                  <a:gd name="T4" fmla="*/ 1 w 1"/>
                  <a:gd name="T5" fmla="*/ 0 h 1"/>
                  <a:gd name="T6" fmla="*/ 1 w 1"/>
                  <a:gd name="T7" fmla="*/ 0 h 1"/>
                  <a:gd name="T8" fmla="*/ 1 w 1"/>
                  <a:gd name="T9" fmla="*/ 0 h 1"/>
                  <a:gd name="T10" fmla="*/ 1 w 1"/>
                  <a:gd name="T11" fmla="*/ 0 h 1"/>
                  <a:gd name="T12" fmla="*/ 1 w 1"/>
                  <a:gd name="T13" fmla="*/ 0 h 1"/>
                  <a:gd name="T14" fmla="*/ 0 w 1"/>
                  <a:gd name="T15" fmla="*/ 1 h 1"/>
                  <a:gd name="T16" fmla="*/ 1 w 1"/>
                  <a:gd name="T17" fmla="*/ 1 h 1"/>
                  <a:gd name="T18" fmla="*/ 0 w 1"/>
                  <a:gd name="T19"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1">
                    <a:moveTo>
                      <a:pt x="0" y="1"/>
                    </a:moveTo>
                    <a:cubicBezTo>
                      <a:pt x="1" y="1"/>
                      <a:pt x="1" y="1"/>
                      <a:pt x="1" y="1"/>
                    </a:cubicBezTo>
                    <a:cubicBezTo>
                      <a:pt x="1" y="1"/>
                      <a:pt x="1" y="1"/>
                      <a:pt x="1" y="0"/>
                    </a:cubicBezTo>
                    <a:cubicBezTo>
                      <a:pt x="1" y="0"/>
                      <a:pt x="1" y="0"/>
                      <a:pt x="1" y="0"/>
                    </a:cubicBezTo>
                    <a:cubicBezTo>
                      <a:pt x="1" y="0"/>
                      <a:pt x="1" y="0"/>
                      <a:pt x="1" y="0"/>
                    </a:cubicBezTo>
                    <a:cubicBezTo>
                      <a:pt x="1" y="0"/>
                      <a:pt x="1" y="0"/>
                      <a:pt x="1" y="0"/>
                    </a:cubicBezTo>
                    <a:cubicBezTo>
                      <a:pt x="1" y="0"/>
                      <a:pt x="1" y="0"/>
                      <a:pt x="1" y="0"/>
                    </a:cubicBezTo>
                    <a:cubicBezTo>
                      <a:pt x="0" y="1"/>
                      <a:pt x="0" y="1"/>
                      <a:pt x="0" y="1"/>
                    </a:cubicBezTo>
                    <a:cubicBezTo>
                      <a:pt x="1" y="1"/>
                      <a:pt x="1" y="1"/>
                      <a:pt x="1" y="1"/>
                    </a:cubicBezTo>
                    <a:cubicBezTo>
                      <a:pt x="1" y="1"/>
                      <a:pt x="0" y="1"/>
                      <a:pt x="0" y="1"/>
                    </a:cubicBezTo>
                    <a:close/>
                  </a:path>
                </a:pathLst>
              </a:custGeom>
              <a:grp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681" name="Rectangle 127"/>
              <p:cNvSpPr>
                <a:spLocks noChangeArrowheads="1"/>
              </p:cNvSpPr>
              <p:nvPr/>
            </p:nvSpPr>
            <p:spPr bwMode="auto">
              <a:xfrm>
                <a:off x="2676" y="2463"/>
                <a:ext cx="1" cy="1"/>
              </a:xfrm>
              <a:prstGeom prst="rect">
                <a:avLst/>
              </a:prstGeom>
              <a:grpFill/>
              <a:ln w="9525">
                <a:solidFill>
                  <a:schemeClr val="bg1">
                    <a:alpha val="25000"/>
                  </a:schemeClr>
                </a:solidFill>
                <a:miter lim="800000"/>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682" name="Freeform 128"/>
              <p:cNvSpPr>
                <a:spLocks/>
              </p:cNvSpPr>
              <p:nvPr/>
            </p:nvSpPr>
            <p:spPr bwMode="auto">
              <a:xfrm>
                <a:off x="2913" y="2498"/>
                <a:ext cx="183" cy="140"/>
              </a:xfrm>
              <a:custGeom>
                <a:avLst/>
                <a:gdLst>
                  <a:gd name="T0" fmla="*/ 85 w 91"/>
                  <a:gd name="T1" fmla="*/ 6 h 70"/>
                  <a:gd name="T2" fmla="*/ 84 w 91"/>
                  <a:gd name="T3" fmla="*/ 3 h 70"/>
                  <a:gd name="T4" fmla="*/ 83 w 91"/>
                  <a:gd name="T5" fmla="*/ 2 h 70"/>
                  <a:gd name="T6" fmla="*/ 81 w 91"/>
                  <a:gd name="T7" fmla="*/ 0 h 70"/>
                  <a:gd name="T8" fmla="*/ 75 w 91"/>
                  <a:gd name="T9" fmla="*/ 6 h 70"/>
                  <a:gd name="T10" fmla="*/ 66 w 91"/>
                  <a:gd name="T11" fmla="*/ 11 h 70"/>
                  <a:gd name="T12" fmla="*/ 53 w 91"/>
                  <a:gd name="T13" fmla="*/ 14 h 70"/>
                  <a:gd name="T14" fmla="*/ 40 w 91"/>
                  <a:gd name="T15" fmla="*/ 21 h 70"/>
                  <a:gd name="T16" fmla="*/ 32 w 91"/>
                  <a:gd name="T17" fmla="*/ 27 h 70"/>
                  <a:gd name="T18" fmla="*/ 14 w 91"/>
                  <a:gd name="T19" fmla="*/ 25 h 70"/>
                  <a:gd name="T20" fmla="*/ 5 w 91"/>
                  <a:gd name="T21" fmla="*/ 28 h 70"/>
                  <a:gd name="T22" fmla="*/ 3 w 91"/>
                  <a:gd name="T23" fmla="*/ 30 h 70"/>
                  <a:gd name="T24" fmla="*/ 0 w 91"/>
                  <a:gd name="T25" fmla="*/ 32 h 70"/>
                  <a:gd name="T26" fmla="*/ 3 w 91"/>
                  <a:gd name="T27" fmla="*/ 35 h 70"/>
                  <a:gd name="T28" fmla="*/ 8 w 91"/>
                  <a:gd name="T29" fmla="*/ 37 h 70"/>
                  <a:gd name="T30" fmla="*/ 4 w 91"/>
                  <a:gd name="T31" fmla="*/ 44 h 70"/>
                  <a:gd name="T32" fmla="*/ 7 w 91"/>
                  <a:gd name="T33" fmla="*/ 45 h 70"/>
                  <a:gd name="T34" fmla="*/ 7 w 91"/>
                  <a:gd name="T35" fmla="*/ 51 h 70"/>
                  <a:gd name="T36" fmla="*/ 7 w 91"/>
                  <a:gd name="T37" fmla="*/ 56 h 70"/>
                  <a:gd name="T38" fmla="*/ 14 w 91"/>
                  <a:gd name="T39" fmla="*/ 62 h 70"/>
                  <a:gd name="T40" fmla="*/ 11 w 91"/>
                  <a:gd name="T41" fmla="*/ 63 h 70"/>
                  <a:gd name="T42" fmla="*/ 11 w 91"/>
                  <a:gd name="T43" fmla="*/ 65 h 70"/>
                  <a:gd name="T44" fmla="*/ 7 w 91"/>
                  <a:gd name="T45" fmla="*/ 66 h 70"/>
                  <a:gd name="T46" fmla="*/ 6 w 91"/>
                  <a:gd name="T47" fmla="*/ 68 h 70"/>
                  <a:gd name="T48" fmla="*/ 10 w 91"/>
                  <a:gd name="T49" fmla="*/ 69 h 70"/>
                  <a:gd name="T50" fmla="*/ 15 w 91"/>
                  <a:gd name="T51" fmla="*/ 70 h 70"/>
                  <a:gd name="T52" fmla="*/ 17 w 91"/>
                  <a:gd name="T53" fmla="*/ 69 h 70"/>
                  <a:gd name="T54" fmla="*/ 18 w 91"/>
                  <a:gd name="T55" fmla="*/ 67 h 70"/>
                  <a:gd name="T56" fmla="*/ 20 w 91"/>
                  <a:gd name="T57" fmla="*/ 66 h 70"/>
                  <a:gd name="T58" fmla="*/ 24 w 91"/>
                  <a:gd name="T59" fmla="*/ 67 h 70"/>
                  <a:gd name="T60" fmla="*/ 30 w 91"/>
                  <a:gd name="T61" fmla="*/ 66 h 70"/>
                  <a:gd name="T62" fmla="*/ 34 w 91"/>
                  <a:gd name="T63" fmla="*/ 63 h 70"/>
                  <a:gd name="T64" fmla="*/ 35 w 91"/>
                  <a:gd name="T65" fmla="*/ 59 h 70"/>
                  <a:gd name="T66" fmla="*/ 37 w 91"/>
                  <a:gd name="T67" fmla="*/ 59 h 70"/>
                  <a:gd name="T68" fmla="*/ 39 w 91"/>
                  <a:gd name="T69" fmla="*/ 62 h 70"/>
                  <a:gd name="T70" fmla="*/ 42 w 91"/>
                  <a:gd name="T71" fmla="*/ 65 h 70"/>
                  <a:gd name="T72" fmla="*/ 47 w 91"/>
                  <a:gd name="T73" fmla="*/ 64 h 70"/>
                  <a:gd name="T74" fmla="*/ 50 w 91"/>
                  <a:gd name="T75" fmla="*/ 64 h 70"/>
                  <a:gd name="T76" fmla="*/ 54 w 91"/>
                  <a:gd name="T77" fmla="*/ 66 h 70"/>
                  <a:gd name="T78" fmla="*/ 57 w 91"/>
                  <a:gd name="T79" fmla="*/ 65 h 70"/>
                  <a:gd name="T80" fmla="*/ 61 w 91"/>
                  <a:gd name="T81" fmla="*/ 63 h 70"/>
                  <a:gd name="T82" fmla="*/ 58 w 91"/>
                  <a:gd name="T83" fmla="*/ 59 h 70"/>
                  <a:gd name="T84" fmla="*/ 60 w 91"/>
                  <a:gd name="T85" fmla="*/ 57 h 70"/>
                  <a:gd name="T86" fmla="*/ 59 w 91"/>
                  <a:gd name="T87" fmla="*/ 53 h 70"/>
                  <a:gd name="T88" fmla="*/ 57 w 91"/>
                  <a:gd name="T89" fmla="*/ 53 h 70"/>
                  <a:gd name="T90" fmla="*/ 62 w 91"/>
                  <a:gd name="T91" fmla="*/ 50 h 70"/>
                  <a:gd name="T92" fmla="*/ 65 w 91"/>
                  <a:gd name="T93" fmla="*/ 48 h 70"/>
                  <a:gd name="T94" fmla="*/ 69 w 91"/>
                  <a:gd name="T95" fmla="*/ 47 h 70"/>
                  <a:gd name="T96" fmla="*/ 69 w 91"/>
                  <a:gd name="T97" fmla="*/ 43 h 70"/>
                  <a:gd name="T98" fmla="*/ 69 w 91"/>
                  <a:gd name="T99" fmla="*/ 38 h 70"/>
                  <a:gd name="T100" fmla="*/ 65 w 91"/>
                  <a:gd name="T101" fmla="*/ 35 h 70"/>
                  <a:gd name="T102" fmla="*/ 66 w 91"/>
                  <a:gd name="T103" fmla="*/ 30 h 70"/>
                  <a:gd name="T104" fmla="*/ 70 w 91"/>
                  <a:gd name="T105" fmla="*/ 29 h 70"/>
                  <a:gd name="T106" fmla="*/ 75 w 91"/>
                  <a:gd name="T107" fmla="*/ 26 h 70"/>
                  <a:gd name="T108" fmla="*/ 79 w 91"/>
                  <a:gd name="T109" fmla="*/ 24 h 70"/>
                  <a:gd name="T110" fmla="*/ 80 w 91"/>
                  <a:gd name="T111" fmla="*/ 21 h 70"/>
                  <a:gd name="T112" fmla="*/ 84 w 91"/>
                  <a:gd name="T113" fmla="*/ 18 h 70"/>
                  <a:gd name="T114" fmla="*/ 85 w 91"/>
                  <a:gd name="T115" fmla="*/ 16 h 70"/>
                  <a:gd name="T116" fmla="*/ 91 w 91"/>
                  <a:gd name="T117" fmla="*/ 15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1" h="70">
                    <a:moveTo>
                      <a:pt x="86" y="7"/>
                    </a:moveTo>
                    <a:cubicBezTo>
                      <a:pt x="85" y="6"/>
                      <a:pt x="85" y="6"/>
                      <a:pt x="85" y="6"/>
                    </a:cubicBezTo>
                    <a:cubicBezTo>
                      <a:pt x="85" y="6"/>
                      <a:pt x="85" y="6"/>
                      <a:pt x="85" y="6"/>
                    </a:cubicBezTo>
                    <a:cubicBezTo>
                      <a:pt x="85" y="6"/>
                      <a:pt x="85" y="5"/>
                      <a:pt x="85" y="5"/>
                    </a:cubicBezTo>
                    <a:cubicBezTo>
                      <a:pt x="84" y="4"/>
                      <a:pt x="84" y="4"/>
                      <a:pt x="84" y="4"/>
                    </a:cubicBezTo>
                    <a:cubicBezTo>
                      <a:pt x="84" y="3"/>
                      <a:pt x="84" y="3"/>
                      <a:pt x="84" y="3"/>
                    </a:cubicBezTo>
                    <a:cubicBezTo>
                      <a:pt x="84" y="3"/>
                      <a:pt x="84" y="3"/>
                      <a:pt x="84" y="3"/>
                    </a:cubicBezTo>
                    <a:cubicBezTo>
                      <a:pt x="83" y="3"/>
                      <a:pt x="83" y="2"/>
                      <a:pt x="83" y="2"/>
                    </a:cubicBezTo>
                    <a:cubicBezTo>
                      <a:pt x="83" y="2"/>
                      <a:pt x="83" y="2"/>
                      <a:pt x="83" y="2"/>
                    </a:cubicBezTo>
                    <a:cubicBezTo>
                      <a:pt x="83" y="1"/>
                      <a:pt x="83" y="1"/>
                      <a:pt x="83" y="1"/>
                    </a:cubicBezTo>
                    <a:cubicBezTo>
                      <a:pt x="81" y="0"/>
                      <a:pt x="81" y="0"/>
                      <a:pt x="81" y="0"/>
                    </a:cubicBezTo>
                    <a:cubicBezTo>
                      <a:pt x="81" y="0"/>
                      <a:pt x="81" y="0"/>
                      <a:pt x="81" y="0"/>
                    </a:cubicBezTo>
                    <a:cubicBezTo>
                      <a:pt x="80" y="2"/>
                      <a:pt x="80" y="2"/>
                      <a:pt x="80" y="2"/>
                    </a:cubicBezTo>
                    <a:cubicBezTo>
                      <a:pt x="76" y="4"/>
                      <a:pt x="76" y="4"/>
                      <a:pt x="76" y="4"/>
                    </a:cubicBezTo>
                    <a:cubicBezTo>
                      <a:pt x="75" y="6"/>
                      <a:pt x="75" y="6"/>
                      <a:pt x="75" y="6"/>
                    </a:cubicBezTo>
                    <a:cubicBezTo>
                      <a:pt x="77" y="14"/>
                      <a:pt x="77" y="14"/>
                      <a:pt x="77" y="14"/>
                    </a:cubicBezTo>
                    <a:cubicBezTo>
                      <a:pt x="69" y="10"/>
                      <a:pt x="69" y="10"/>
                      <a:pt x="69" y="10"/>
                    </a:cubicBezTo>
                    <a:cubicBezTo>
                      <a:pt x="66" y="11"/>
                      <a:pt x="66" y="11"/>
                      <a:pt x="66" y="11"/>
                    </a:cubicBezTo>
                    <a:cubicBezTo>
                      <a:pt x="63" y="12"/>
                      <a:pt x="63" y="12"/>
                      <a:pt x="63" y="12"/>
                    </a:cubicBezTo>
                    <a:cubicBezTo>
                      <a:pt x="59" y="16"/>
                      <a:pt x="59" y="16"/>
                      <a:pt x="59" y="16"/>
                    </a:cubicBezTo>
                    <a:cubicBezTo>
                      <a:pt x="53" y="14"/>
                      <a:pt x="53" y="14"/>
                      <a:pt x="53" y="14"/>
                    </a:cubicBezTo>
                    <a:cubicBezTo>
                      <a:pt x="44" y="15"/>
                      <a:pt x="44" y="15"/>
                      <a:pt x="44" y="15"/>
                    </a:cubicBezTo>
                    <a:cubicBezTo>
                      <a:pt x="42" y="16"/>
                      <a:pt x="42" y="16"/>
                      <a:pt x="42" y="16"/>
                    </a:cubicBezTo>
                    <a:cubicBezTo>
                      <a:pt x="40" y="21"/>
                      <a:pt x="40" y="21"/>
                      <a:pt x="40" y="21"/>
                    </a:cubicBezTo>
                    <a:cubicBezTo>
                      <a:pt x="37" y="22"/>
                      <a:pt x="37" y="22"/>
                      <a:pt x="37" y="22"/>
                    </a:cubicBezTo>
                    <a:cubicBezTo>
                      <a:pt x="35" y="25"/>
                      <a:pt x="35" y="25"/>
                      <a:pt x="35" y="25"/>
                    </a:cubicBezTo>
                    <a:cubicBezTo>
                      <a:pt x="32" y="27"/>
                      <a:pt x="32" y="27"/>
                      <a:pt x="32" y="27"/>
                    </a:cubicBezTo>
                    <a:cubicBezTo>
                      <a:pt x="31" y="27"/>
                      <a:pt x="31" y="27"/>
                      <a:pt x="31" y="27"/>
                    </a:cubicBezTo>
                    <a:cubicBezTo>
                      <a:pt x="22" y="26"/>
                      <a:pt x="22" y="26"/>
                      <a:pt x="22" y="26"/>
                    </a:cubicBezTo>
                    <a:cubicBezTo>
                      <a:pt x="14" y="25"/>
                      <a:pt x="14" y="25"/>
                      <a:pt x="14" y="25"/>
                    </a:cubicBezTo>
                    <a:cubicBezTo>
                      <a:pt x="8" y="24"/>
                      <a:pt x="8" y="24"/>
                      <a:pt x="8" y="24"/>
                    </a:cubicBezTo>
                    <a:cubicBezTo>
                      <a:pt x="8" y="26"/>
                      <a:pt x="7" y="27"/>
                      <a:pt x="7" y="27"/>
                    </a:cubicBezTo>
                    <a:cubicBezTo>
                      <a:pt x="7" y="28"/>
                      <a:pt x="6" y="28"/>
                      <a:pt x="5" y="28"/>
                    </a:cubicBezTo>
                    <a:cubicBezTo>
                      <a:pt x="4" y="28"/>
                      <a:pt x="4" y="28"/>
                      <a:pt x="4" y="28"/>
                    </a:cubicBezTo>
                    <a:cubicBezTo>
                      <a:pt x="4" y="28"/>
                      <a:pt x="4" y="28"/>
                      <a:pt x="4" y="28"/>
                    </a:cubicBezTo>
                    <a:cubicBezTo>
                      <a:pt x="3" y="30"/>
                      <a:pt x="3" y="30"/>
                      <a:pt x="3" y="30"/>
                    </a:cubicBezTo>
                    <a:cubicBezTo>
                      <a:pt x="3" y="30"/>
                      <a:pt x="3" y="30"/>
                      <a:pt x="3" y="30"/>
                    </a:cubicBezTo>
                    <a:cubicBezTo>
                      <a:pt x="3" y="30"/>
                      <a:pt x="2" y="31"/>
                      <a:pt x="1" y="32"/>
                    </a:cubicBezTo>
                    <a:cubicBezTo>
                      <a:pt x="0" y="32"/>
                      <a:pt x="0" y="32"/>
                      <a:pt x="0" y="32"/>
                    </a:cubicBezTo>
                    <a:cubicBezTo>
                      <a:pt x="0" y="34"/>
                      <a:pt x="0" y="34"/>
                      <a:pt x="0" y="34"/>
                    </a:cubicBezTo>
                    <a:cubicBezTo>
                      <a:pt x="1" y="34"/>
                      <a:pt x="1" y="34"/>
                      <a:pt x="1" y="34"/>
                    </a:cubicBezTo>
                    <a:cubicBezTo>
                      <a:pt x="3" y="35"/>
                      <a:pt x="3" y="35"/>
                      <a:pt x="3" y="35"/>
                    </a:cubicBezTo>
                    <a:cubicBezTo>
                      <a:pt x="4" y="35"/>
                      <a:pt x="4" y="35"/>
                      <a:pt x="4" y="35"/>
                    </a:cubicBezTo>
                    <a:cubicBezTo>
                      <a:pt x="5" y="35"/>
                      <a:pt x="5" y="35"/>
                      <a:pt x="5" y="35"/>
                    </a:cubicBezTo>
                    <a:cubicBezTo>
                      <a:pt x="8" y="37"/>
                      <a:pt x="8" y="37"/>
                      <a:pt x="8" y="37"/>
                    </a:cubicBezTo>
                    <a:cubicBezTo>
                      <a:pt x="7" y="40"/>
                      <a:pt x="7" y="40"/>
                      <a:pt x="7" y="40"/>
                    </a:cubicBezTo>
                    <a:cubicBezTo>
                      <a:pt x="7" y="41"/>
                      <a:pt x="7" y="41"/>
                      <a:pt x="7" y="41"/>
                    </a:cubicBezTo>
                    <a:cubicBezTo>
                      <a:pt x="7" y="41"/>
                      <a:pt x="4" y="43"/>
                      <a:pt x="4" y="44"/>
                    </a:cubicBezTo>
                    <a:cubicBezTo>
                      <a:pt x="4" y="44"/>
                      <a:pt x="4" y="44"/>
                      <a:pt x="4" y="44"/>
                    </a:cubicBezTo>
                    <a:cubicBezTo>
                      <a:pt x="4" y="44"/>
                      <a:pt x="4" y="44"/>
                      <a:pt x="5" y="44"/>
                    </a:cubicBezTo>
                    <a:cubicBezTo>
                      <a:pt x="5" y="44"/>
                      <a:pt x="6" y="44"/>
                      <a:pt x="7" y="45"/>
                    </a:cubicBezTo>
                    <a:cubicBezTo>
                      <a:pt x="7" y="45"/>
                      <a:pt x="8" y="46"/>
                      <a:pt x="8" y="46"/>
                    </a:cubicBezTo>
                    <a:cubicBezTo>
                      <a:pt x="8" y="47"/>
                      <a:pt x="8" y="48"/>
                      <a:pt x="8" y="49"/>
                    </a:cubicBezTo>
                    <a:cubicBezTo>
                      <a:pt x="8" y="50"/>
                      <a:pt x="8" y="50"/>
                      <a:pt x="7" y="51"/>
                    </a:cubicBezTo>
                    <a:cubicBezTo>
                      <a:pt x="7" y="52"/>
                      <a:pt x="7" y="52"/>
                      <a:pt x="7" y="52"/>
                    </a:cubicBezTo>
                    <a:cubicBezTo>
                      <a:pt x="7" y="52"/>
                      <a:pt x="10" y="54"/>
                      <a:pt x="10" y="54"/>
                    </a:cubicBezTo>
                    <a:cubicBezTo>
                      <a:pt x="7" y="56"/>
                      <a:pt x="7" y="56"/>
                      <a:pt x="7" y="56"/>
                    </a:cubicBezTo>
                    <a:cubicBezTo>
                      <a:pt x="7" y="56"/>
                      <a:pt x="7" y="56"/>
                      <a:pt x="7" y="56"/>
                    </a:cubicBezTo>
                    <a:cubicBezTo>
                      <a:pt x="7" y="59"/>
                      <a:pt x="9" y="59"/>
                      <a:pt x="11" y="61"/>
                    </a:cubicBezTo>
                    <a:cubicBezTo>
                      <a:pt x="12" y="62"/>
                      <a:pt x="15" y="62"/>
                      <a:pt x="14" y="62"/>
                    </a:cubicBezTo>
                    <a:cubicBezTo>
                      <a:pt x="14" y="63"/>
                      <a:pt x="14" y="63"/>
                      <a:pt x="13" y="63"/>
                    </a:cubicBezTo>
                    <a:cubicBezTo>
                      <a:pt x="13" y="63"/>
                      <a:pt x="13" y="63"/>
                      <a:pt x="12" y="63"/>
                    </a:cubicBezTo>
                    <a:cubicBezTo>
                      <a:pt x="12" y="63"/>
                      <a:pt x="11" y="63"/>
                      <a:pt x="11" y="63"/>
                    </a:cubicBezTo>
                    <a:cubicBezTo>
                      <a:pt x="10" y="63"/>
                      <a:pt x="10" y="64"/>
                      <a:pt x="10" y="64"/>
                    </a:cubicBezTo>
                    <a:cubicBezTo>
                      <a:pt x="10" y="64"/>
                      <a:pt x="10" y="64"/>
                      <a:pt x="10" y="64"/>
                    </a:cubicBezTo>
                    <a:cubicBezTo>
                      <a:pt x="11" y="64"/>
                      <a:pt x="10" y="64"/>
                      <a:pt x="11" y="65"/>
                    </a:cubicBezTo>
                    <a:cubicBezTo>
                      <a:pt x="11" y="66"/>
                      <a:pt x="10" y="65"/>
                      <a:pt x="10" y="65"/>
                    </a:cubicBezTo>
                    <a:cubicBezTo>
                      <a:pt x="9" y="65"/>
                      <a:pt x="9" y="65"/>
                      <a:pt x="9" y="66"/>
                    </a:cubicBezTo>
                    <a:cubicBezTo>
                      <a:pt x="9" y="66"/>
                      <a:pt x="8" y="66"/>
                      <a:pt x="7" y="66"/>
                    </a:cubicBezTo>
                    <a:cubicBezTo>
                      <a:pt x="7" y="66"/>
                      <a:pt x="6" y="66"/>
                      <a:pt x="5" y="66"/>
                    </a:cubicBezTo>
                    <a:cubicBezTo>
                      <a:pt x="5" y="66"/>
                      <a:pt x="6" y="67"/>
                      <a:pt x="6" y="67"/>
                    </a:cubicBezTo>
                    <a:cubicBezTo>
                      <a:pt x="6" y="67"/>
                      <a:pt x="6" y="68"/>
                      <a:pt x="6" y="68"/>
                    </a:cubicBezTo>
                    <a:cubicBezTo>
                      <a:pt x="6" y="69"/>
                      <a:pt x="7" y="69"/>
                      <a:pt x="7" y="69"/>
                    </a:cubicBezTo>
                    <a:cubicBezTo>
                      <a:pt x="7" y="69"/>
                      <a:pt x="8" y="69"/>
                      <a:pt x="9" y="69"/>
                    </a:cubicBezTo>
                    <a:cubicBezTo>
                      <a:pt x="9" y="69"/>
                      <a:pt x="10" y="69"/>
                      <a:pt x="10" y="69"/>
                    </a:cubicBezTo>
                    <a:cubicBezTo>
                      <a:pt x="10" y="69"/>
                      <a:pt x="12" y="69"/>
                      <a:pt x="12" y="69"/>
                    </a:cubicBezTo>
                    <a:cubicBezTo>
                      <a:pt x="13" y="69"/>
                      <a:pt x="14" y="70"/>
                      <a:pt x="14" y="70"/>
                    </a:cubicBezTo>
                    <a:cubicBezTo>
                      <a:pt x="14" y="70"/>
                      <a:pt x="15" y="70"/>
                      <a:pt x="15" y="70"/>
                    </a:cubicBezTo>
                    <a:cubicBezTo>
                      <a:pt x="16" y="70"/>
                      <a:pt x="16" y="70"/>
                      <a:pt x="16" y="70"/>
                    </a:cubicBezTo>
                    <a:cubicBezTo>
                      <a:pt x="16" y="70"/>
                      <a:pt x="16" y="69"/>
                      <a:pt x="16" y="69"/>
                    </a:cubicBezTo>
                    <a:cubicBezTo>
                      <a:pt x="16" y="69"/>
                      <a:pt x="17" y="69"/>
                      <a:pt x="17" y="69"/>
                    </a:cubicBezTo>
                    <a:cubicBezTo>
                      <a:pt x="18" y="69"/>
                      <a:pt x="18" y="68"/>
                      <a:pt x="18" y="68"/>
                    </a:cubicBezTo>
                    <a:cubicBezTo>
                      <a:pt x="19" y="68"/>
                      <a:pt x="19" y="68"/>
                      <a:pt x="19" y="67"/>
                    </a:cubicBezTo>
                    <a:cubicBezTo>
                      <a:pt x="19" y="67"/>
                      <a:pt x="18" y="67"/>
                      <a:pt x="18" y="67"/>
                    </a:cubicBezTo>
                    <a:cubicBezTo>
                      <a:pt x="18" y="66"/>
                      <a:pt x="18" y="66"/>
                      <a:pt x="18" y="66"/>
                    </a:cubicBezTo>
                    <a:cubicBezTo>
                      <a:pt x="18" y="66"/>
                      <a:pt x="19" y="66"/>
                      <a:pt x="19" y="66"/>
                    </a:cubicBezTo>
                    <a:cubicBezTo>
                      <a:pt x="19" y="66"/>
                      <a:pt x="20" y="66"/>
                      <a:pt x="20" y="66"/>
                    </a:cubicBezTo>
                    <a:cubicBezTo>
                      <a:pt x="21" y="66"/>
                      <a:pt x="21" y="67"/>
                      <a:pt x="22" y="67"/>
                    </a:cubicBezTo>
                    <a:cubicBezTo>
                      <a:pt x="22" y="67"/>
                      <a:pt x="23" y="67"/>
                      <a:pt x="23" y="67"/>
                    </a:cubicBezTo>
                    <a:cubicBezTo>
                      <a:pt x="23" y="67"/>
                      <a:pt x="24" y="67"/>
                      <a:pt x="24" y="67"/>
                    </a:cubicBezTo>
                    <a:cubicBezTo>
                      <a:pt x="26" y="66"/>
                      <a:pt x="26" y="66"/>
                      <a:pt x="26" y="66"/>
                    </a:cubicBezTo>
                    <a:cubicBezTo>
                      <a:pt x="28" y="66"/>
                      <a:pt x="28" y="66"/>
                      <a:pt x="28" y="66"/>
                    </a:cubicBezTo>
                    <a:cubicBezTo>
                      <a:pt x="30" y="66"/>
                      <a:pt x="30" y="66"/>
                      <a:pt x="30" y="66"/>
                    </a:cubicBezTo>
                    <a:cubicBezTo>
                      <a:pt x="30" y="66"/>
                      <a:pt x="31" y="65"/>
                      <a:pt x="32" y="65"/>
                    </a:cubicBezTo>
                    <a:cubicBezTo>
                      <a:pt x="32" y="64"/>
                      <a:pt x="32" y="64"/>
                      <a:pt x="33" y="64"/>
                    </a:cubicBezTo>
                    <a:cubicBezTo>
                      <a:pt x="33" y="64"/>
                      <a:pt x="34" y="63"/>
                      <a:pt x="34" y="63"/>
                    </a:cubicBezTo>
                    <a:cubicBezTo>
                      <a:pt x="34" y="62"/>
                      <a:pt x="34" y="62"/>
                      <a:pt x="33" y="62"/>
                    </a:cubicBezTo>
                    <a:cubicBezTo>
                      <a:pt x="33" y="61"/>
                      <a:pt x="34" y="61"/>
                      <a:pt x="34" y="60"/>
                    </a:cubicBezTo>
                    <a:cubicBezTo>
                      <a:pt x="34" y="60"/>
                      <a:pt x="35" y="59"/>
                      <a:pt x="35" y="59"/>
                    </a:cubicBezTo>
                    <a:cubicBezTo>
                      <a:pt x="35" y="59"/>
                      <a:pt x="35" y="58"/>
                      <a:pt x="36" y="58"/>
                    </a:cubicBezTo>
                    <a:cubicBezTo>
                      <a:pt x="36" y="57"/>
                      <a:pt x="36" y="57"/>
                      <a:pt x="36" y="57"/>
                    </a:cubicBezTo>
                    <a:cubicBezTo>
                      <a:pt x="37" y="59"/>
                      <a:pt x="37" y="59"/>
                      <a:pt x="37" y="59"/>
                    </a:cubicBezTo>
                    <a:cubicBezTo>
                      <a:pt x="37" y="59"/>
                      <a:pt x="38" y="60"/>
                      <a:pt x="38" y="60"/>
                    </a:cubicBezTo>
                    <a:cubicBezTo>
                      <a:pt x="38" y="61"/>
                      <a:pt x="39" y="61"/>
                      <a:pt x="39" y="61"/>
                    </a:cubicBezTo>
                    <a:cubicBezTo>
                      <a:pt x="40" y="61"/>
                      <a:pt x="39" y="61"/>
                      <a:pt x="39" y="62"/>
                    </a:cubicBezTo>
                    <a:cubicBezTo>
                      <a:pt x="39" y="63"/>
                      <a:pt x="39" y="63"/>
                      <a:pt x="40" y="63"/>
                    </a:cubicBezTo>
                    <a:cubicBezTo>
                      <a:pt x="40" y="63"/>
                      <a:pt x="40" y="63"/>
                      <a:pt x="41" y="63"/>
                    </a:cubicBezTo>
                    <a:cubicBezTo>
                      <a:pt x="41" y="63"/>
                      <a:pt x="42" y="64"/>
                      <a:pt x="42" y="65"/>
                    </a:cubicBezTo>
                    <a:cubicBezTo>
                      <a:pt x="43" y="65"/>
                      <a:pt x="44" y="66"/>
                      <a:pt x="45" y="66"/>
                    </a:cubicBezTo>
                    <a:cubicBezTo>
                      <a:pt x="46" y="66"/>
                      <a:pt x="45" y="66"/>
                      <a:pt x="46" y="65"/>
                    </a:cubicBezTo>
                    <a:cubicBezTo>
                      <a:pt x="47" y="65"/>
                      <a:pt x="47" y="64"/>
                      <a:pt x="47" y="64"/>
                    </a:cubicBezTo>
                    <a:cubicBezTo>
                      <a:pt x="47" y="63"/>
                      <a:pt x="47" y="63"/>
                      <a:pt x="47" y="63"/>
                    </a:cubicBezTo>
                    <a:cubicBezTo>
                      <a:pt x="48" y="64"/>
                      <a:pt x="48" y="64"/>
                      <a:pt x="48" y="64"/>
                    </a:cubicBezTo>
                    <a:cubicBezTo>
                      <a:pt x="50" y="64"/>
                      <a:pt x="50" y="64"/>
                      <a:pt x="50" y="64"/>
                    </a:cubicBezTo>
                    <a:cubicBezTo>
                      <a:pt x="50" y="64"/>
                      <a:pt x="51" y="64"/>
                      <a:pt x="51" y="64"/>
                    </a:cubicBezTo>
                    <a:cubicBezTo>
                      <a:pt x="51" y="64"/>
                      <a:pt x="52" y="65"/>
                      <a:pt x="52" y="65"/>
                    </a:cubicBezTo>
                    <a:cubicBezTo>
                      <a:pt x="52" y="65"/>
                      <a:pt x="53" y="65"/>
                      <a:pt x="54" y="66"/>
                    </a:cubicBezTo>
                    <a:cubicBezTo>
                      <a:pt x="56" y="66"/>
                      <a:pt x="55" y="66"/>
                      <a:pt x="55" y="66"/>
                    </a:cubicBezTo>
                    <a:cubicBezTo>
                      <a:pt x="55" y="66"/>
                      <a:pt x="56" y="66"/>
                      <a:pt x="56" y="66"/>
                    </a:cubicBezTo>
                    <a:cubicBezTo>
                      <a:pt x="56" y="66"/>
                      <a:pt x="57" y="65"/>
                      <a:pt x="57" y="65"/>
                    </a:cubicBezTo>
                    <a:cubicBezTo>
                      <a:pt x="57" y="64"/>
                      <a:pt x="59" y="65"/>
                      <a:pt x="59" y="65"/>
                    </a:cubicBezTo>
                    <a:cubicBezTo>
                      <a:pt x="59" y="65"/>
                      <a:pt x="61" y="64"/>
                      <a:pt x="61" y="64"/>
                    </a:cubicBezTo>
                    <a:cubicBezTo>
                      <a:pt x="61" y="64"/>
                      <a:pt x="61" y="63"/>
                      <a:pt x="61" y="63"/>
                    </a:cubicBezTo>
                    <a:cubicBezTo>
                      <a:pt x="60" y="62"/>
                      <a:pt x="60" y="62"/>
                      <a:pt x="60" y="62"/>
                    </a:cubicBezTo>
                    <a:cubicBezTo>
                      <a:pt x="60" y="62"/>
                      <a:pt x="58" y="61"/>
                      <a:pt x="58" y="61"/>
                    </a:cubicBezTo>
                    <a:cubicBezTo>
                      <a:pt x="58" y="60"/>
                      <a:pt x="58" y="59"/>
                      <a:pt x="58" y="59"/>
                    </a:cubicBezTo>
                    <a:cubicBezTo>
                      <a:pt x="58" y="59"/>
                      <a:pt x="58" y="58"/>
                      <a:pt x="58" y="58"/>
                    </a:cubicBezTo>
                    <a:cubicBezTo>
                      <a:pt x="58" y="58"/>
                      <a:pt x="58" y="58"/>
                      <a:pt x="59" y="57"/>
                    </a:cubicBezTo>
                    <a:cubicBezTo>
                      <a:pt x="59" y="57"/>
                      <a:pt x="59" y="57"/>
                      <a:pt x="60" y="57"/>
                    </a:cubicBezTo>
                    <a:cubicBezTo>
                      <a:pt x="60" y="56"/>
                      <a:pt x="61" y="56"/>
                      <a:pt x="61" y="56"/>
                    </a:cubicBezTo>
                    <a:cubicBezTo>
                      <a:pt x="60" y="54"/>
                      <a:pt x="60" y="54"/>
                      <a:pt x="60" y="54"/>
                    </a:cubicBezTo>
                    <a:cubicBezTo>
                      <a:pt x="60" y="54"/>
                      <a:pt x="59" y="54"/>
                      <a:pt x="59" y="53"/>
                    </a:cubicBezTo>
                    <a:cubicBezTo>
                      <a:pt x="59" y="53"/>
                      <a:pt x="59" y="54"/>
                      <a:pt x="59" y="54"/>
                    </a:cubicBezTo>
                    <a:cubicBezTo>
                      <a:pt x="59" y="54"/>
                      <a:pt x="58" y="54"/>
                      <a:pt x="58" y="54"/>
                    </a:cubicBezTo>
                    <a:cubicBezTo>
                      <a:pt x="57" y="53"/>
                      <a:pt x="57" y="53"/>
                      <a:pt x="57" y="53"/>
                    </a:cubicBezTo>
                    <a:cubicBezTo>
                      <a:pt x="58" y="52"/>
                      <a:pt x="58" y="52"/>
                      <a:pt x="58" y="52"/>
                    </a:cubicBezTo>
                    <a:cubicBezTo>
                      <a:pt x="60" y="51"/>
                      <a:pt x="60" y="51"/>
                      <a:pt x="60" y="51"/>
                    </a:cubicBezTo>
                    <a:cubicBezTo>
                      <a:pt x="62" y="50"/>
                      <a:pt x="62" y="50"/>
                      <a:pt x="62" y="50"/>
                    </a:cubicBezTo>
                    <a:cubicBezTo>
                      <a:pt x="62" y="48"/>
                      <a:pt x="62" y="48"/>
                      <a:pt x="62" y="48"/>
                    </a:cubicBezTo>
                    <a:cubicBezTo>
                      <a:pt x="63" y="49"/>
                      <a:pt x="63" y="49"/>
                      <a:pt x="63" y="49"/>
                    </a:cubicBezTo>
                    <a:cubicBezTo>
                      <a:pt x="65" y="48"/>
                      <a:pt x="65" y="48"/>
                      <a:pt x="65" y="48"/>
                    </a:cubicBezTo>
                    <a:cubicBezTo>
                      <a:pt x="65" y="48"/>
                      <a:pt x="66" y="48"/>
                      <a:pt x="66" y="48"/>
                    </a:cubicBezTo>
                    <a:cubicBezTo>
                      <a:pt x="66" y="48"/>
                      <a:pt x="67" y="48"/>
                      <a:pt x="68" y="48"/>
                    </a:cubicBezTo>
                    <a:cubicBezTo>
                      <a:pt x="68" y="48"/>
                      <a:pt x="69" y="47"/>
                      <a:pt x="69" y="47"/>
                    </a:cubicBezTo>
                    <a:cubicBezTo>
                      <a:pt x="70" y="46"/>
                      <a:pt x="69" y="46"/>
                      <a:pt x="69" y="46"/>
                    </a:cubicBezTo>
                    <a:cubicBezTo>
                      <a:pt x="68" y="44"/>
                      <a:pt x="68" y="44"/>
                      <a:pt x="68" y="44"/>
                    </a:cubicBezTo>
                    <a:cubicBezTo>
                      <a:pt x="69" y="43"/>
                      <a:pt x="69" y="43"/>
                      <a:pt x="69" y="43"/>
                    </a:cubicBezTo>
                    <a:cubicBezTo>
                      <a:pt x="68" y="41"/>
                      <a:pt x="68" y="41"/>
                      <a:pt x="68" y="41"/>
                    </a:cubicBezTo>
                    <a:cubicBezTo>
                      <a:pt x="68" y="41"/>
                      <a:pt x="69" y="39"/>
                      <a:pt x="69" y="39"/>
                    </a:cubicBezTo>
                    <a:cubicBezTo>
                      <a:pt x="69" y="39"/>
                      <a:pt x="69" y="38"/>
                      <a:pt x="69" y="38"/>
                    </a:cubicBezTo>
                    <a:cubicBezTo>
                      <a:pt x="68" y="37"/>
                      <a:pt x="68" y="37"/>
                      <a:pt x="68" y="37"/>
                    </a:cubicBezTo>
                    <a:cubicBezTo>
                      <a:pt x="68" y="37"/>
                      <a:pt x="67" y="37"/>
                      <a:pt x="67" y="36"/>
                    </a:cubicBezTo>
                    <a:cubicBezTo>
                      <a:pt x="67" y="36"/>
                      <a:pt x="65" y="35"/>
                      <a:pt x="65" y="35"/>
                    </a:cubicBezTo>
                    <a:cubicBezTo>
                      <a:pt x="65" y="35"/>
                      <a:pt x="65" y="33"/>
                      <a:pt x="65" y="33"/>
                    </a:cubicBezTo>
                    <a:cubicBezTo>
                      <a:pt x="65" y="33"/>
                      <a:pt x="66" y="32"/>
                      <a:pt x="66" y="32"/>
                    </a:cubicBezTo>
                    <a:cubicBezTo>
                      <a:pt x="66" y="30"/>
                      <a:pt x="66" y="30"/>
                      <a:pt x="66" y="30"/>
                    </a:cubicBezTo>
                    <a:cubicBezTo>
                      <a:pt x="66" y="30"/>
                      <a:pt x="68" y="30"/>
                      <a:pt x="68" y="30"/>
                    </a:cubicBezTo>
                    <a:cubicBezTo>
                      <a:pt x="68" y="30"/>
                      <a:pt x="70" y="30"/>
                      <a:pt x="70" y="30"/>
                    </a:cubicBezTo>
                    <a:cubicBezTo>
                      <a:pt x="70" y="29"/>
                      <a:pt x="70" y="29"/>
                      <a:pt x="70" y="29"/>
                    </a:cubicBezTo>
                    <a:cubicBezTo>
                      <a:pt x="72" y="27"/>
                      <a:pt x="72" y="27"/>
                      <a:pt x="72" y="27"/>
                    </a:cubicBezTo>
                    <a:cubicBezTo>
                      <a:pt x="74" y="27"/>
                      <a:pt x="74" y="27"/>
                      <a:pt x="74" y="27"/>
                    </a:cubicBezTo>
                    <a:cubicBezTo>
                      <a:pt x="75" y="26"/>
                      <a:pt x="75" y="26"/>
                      <a:pt x="75" y="26"/>
                    </a:cubicBezTo>
                    <a:cubicBezTo>
                      <a:pt x="76" y="26"/>
                      <a:pt x="76" y="26"/>
                      <a:pt x="76" y="26"/>
                    </a:cubicBezTo>
                    <a:cubicBezTo>
                      <a:pt x="78" y="25"/>
                      <a:pt x="78" y="25"/>
                      <a:pt x="78" y="25"/>
                    </a:cubicBezTo>
                    <a:cubicBezTo>
                      <a:pt x="79" y="24"/>
                      <a:pt x="79" y="24"/>
                      <a:pt x="79" y="24"/>
                    </a:cubicBezTo>
                    <a:cubicBezTo>
                      <a:pt x="79" y="24"/>
                      <a:pt x="79" y="22"/>
                      <a:pt x="79" y="22"/>
                    </a:cubicBezTo>
                    <a:cubicBezTo>
                      <a:pt x="79" y="22"/>
                      <a:pt x="79" y="22"/>
                      <a:pt x="79" y="22"/>
                    </a:cubicBezTo>
                    <a:cubicBezTo>
                      <a:pt x="80" y="21"/>
                      <a:pt x="80" y="21"/>
                      <a:pt x="80" y="21"/>
                    </a:cubicBezTo>
                    <a:cubicBezTo>
                      <a:pt x="81" y="20"/>
                      <a:pt x="81" y="20"/>
                      <a:pt x="81" y="20"/>
                    </a:cubicBezTo>
                    <a:cubicBezTo>
                      <a:pt x="82" y="21"/>
                      <a:pt x="82" y="21"/>
                      <a:pt x="82" y="21"/>
                    </a:cubicBezTo>
                    <a:cubicBezTo>
                      <a:pt x="86" y="22"/>
                      <a:pt x="86" y="22"/>
                      <a:pt x="84" y="18"/>
                    </a:cubicBezTo>
                    <a:cubicBezTo>
                      <a:pt x="84" y="17"/>
                      <a:pt x="84" y="17"/>
                      <a:pt x="84" y="17"/>
                    </a:cubicBezTo>
                    <a:cubicBezTo>
                      <a:pt x="85" y="17"/>
                      <a:pt x="85" y="17"/>
                      <a:pt x="85" y="17"/>
                    </a:cubicBezTo>
                    <a:cubicBezTo>
                      <a:pt x="85" y="17"/>
                      <a:pt x="85" y="16"/>
                      <a:pt x="85" y="16"/>
                    </a:cubicBezTo>
                    <a:cubicBezTo>
                      <a:pt x="86" y="15"/>
                      <a:pt x="87" y="15"/>
                      <a:pt x="87" y="15"/>
                    </a:cubicBezTo>
                    <a:cubicBezTo>
                      <a:pt x="87" y="15"/>
                      <a:pt x="89" y="15"/>
                      <a:pt x="89" y="15"/>
                    </a:cubicBezTo>
                    <a:cubicBezTo>
                      <a:pt x="89" y="15"/>
                      <a:pt x="90" y="15"/>
                      <a:pt x="91" y="15"/>
                    </a:cubicBezTo>
                    <a:cubicBezTo>
                      <a:pt x="86" y="9"/>
                      <a:pt x="86" y="9"/>
                      <a:pt x="86" y="9"/>
                    </a:cubicBezTo>
                    <a:lnTo>
                      <a:pt x="86" y="7"/>
                    </a:lnTo>
                    <a:close/>
                  </a:path>
                </a:pathLst>
              </a:custGeom>
              <a:solidFill>
                <a:srgbClr val="0181C7"/>
              </a:solid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83" name="Freeform 129"/>
              <p:cNvSpPr>
                <a:spLocks/>
              </p:cNvSpPr>
              <p:nvPr/>
            </p:nvSpPr>
            <p:spPr bwMode="auto">
              <a:xfrm>
                <a:off x="2674" y="2317"/>
                <a:ext cx="444" cy="229"/>
              </a:xfrm>
              <a:custGeom>
                <a:avLst/>
                <a:gdLst>
                  <a:gd name="T0" fmla="*/ 219 w 221"/>
                  <a:gd name="T1" fmla="*/ 34 h 114"/>
                  <a:gd name="T2" fmla="*/ 214 w 221"/>
                  <a:gd name="T3" fmla="*/ 29 h 114"/>
                  <a:gd name="T4" fmla="*/ 211 w 221"/>
                  <a:gd name="T5" fmla="*/ 22 h 114"/>
                  <a:gd name="T6" fmla="*/ 213 w 221"/>
                  <a:gd name="T7" fmla="*/ 14 h 114"/>
                  <a:gd name="T8" fmla="*/ 201 w 221"/>
                  <a:gd name="T9" fmla="*/ 6 h 114"/>
                  <a:gd name="T10" fmla="*/ 178 w 221"/>
                  <a:gd name="T11" fmla="*/ 5 h 114"/>
                  <a:gd name="T12" fmla="*/ 162 w 221"/>
                  <a:gd name="T13" fmla="*/ 3 h 114"/>
                  <a:gd name="T14" fmla="*/ 153 w 221"/>
                  <a:gd name="T15" fmla="*/ 11 h 114"/>
                  <a:gd name="T16" fmla="*/ 140 w 221"/>
                  <a:gd name="T17" fmla="*/ 18 h 114"/>
                  <a:gd name="T18" fmla="*/ 125 w 221"/>
                  <a:gd name="T19" fmla="*/ 16 h 114"/>
                  <a:gd name="T20" fmla="*/ 123 w 221"/>
                  <a:gd name="T21" fmla="*/ 23 h 114"/>
                  <a:gd name="T22" fmla="*/ 115 w 221"/>
                  <a:gd name="T23" fmla="*/ 25 h 114"/>
                  <a:gd name="T24" fmla="*/ 108 w 221"/>
                  <a:gd name="T25" fmla="*/ 36 h 114"/>
                  <a:gd name="T26" fmla="*/ 102 w 221"/>
                  <a:gd name="T27" fmla="*/ 39 h 114"/>
                  <a:gd name="T28" fmla="*/ 94 w 221"/>
                  <a:gd name="T29" fmla="*/ 44 h 114"/>
                  <a:gd name="T30" fmla="*/ 99 w 221"/>
                  <a:gd name="T31" fmla="*/ 59 h 114"/>
                  <a:gd name="T32" fmla="*/ 105 w 221"/>
                  <a:gd name="T33" fmla="*/ 61 h 114"/>
                  <a:gd name="T34" fmla="*/ 102 w 221"/>
                  <a:gd name="T35" fmla="*/ 74 h 114"/>
                  <a:gd name="T36" fmla="*/ 93 w 221"/>
                  <a:gd name="T37" fmla="*/ 65 h 114"/>
                  <a:gd name="T38" fmla="*/ 87 w 221"/>
                  <a:gd name="T39" fmla="*/ 67 h 114"/>
                  <a:gd name="T40" fmla="*/ 79 w 221"/>
                  <a:gd name="T41" fmla="*/ 64 h 114"/>
                  <a:gd name="T42" fmla="*/ 76 w 221"/>
                  <a:gd name="T43" fmla="*/ 69 h 114"/>
                  <a:gd name="T44" fmla="*/ 65 w 221"/>
                  <a:gd name="T45" fmla="*/ 71 h 114"/>
                  <a:gd name="T46" fmla="*/ 55 w 221"/>
                  <a:gd name="T47" fmla="*/ 74 h 114"/>
                  <a:gd name="T48" fmla="*/ 47 w 221"/>
                  <a:gd name="T49" fmla="*/ 77 h 114"/>
                  <a:gd name="T50" fmla="*/ 41 w 221"/>
                  <a:gd name="T51" fmla="*/ 79 h 114"/>
                  <a:gd name="T52" fmla="*/ 34 w 221"/>
                  <a:gd name="T53" fmla="*/ 73 h 114"/>
                  <a:gd name="T54" fmla="*/ 27 w 221"/>
                  <a:gd name="T55" fmla="*/ 73 h 114"/>
                  <a:gd name="T56" fmla="*/ 27 w 221"/>
                  <a:gd name="T57" fmla="*/ 77 h 114"/>
                  <a:gd name="T58" fmla="*/ 24 w 221"/>
                  <a:gd name="T59" fmla="*/ 83 h 114"/>
                  <a:gd name="T60" fmla="*/ 15 w 221"/>
                  <a:gd name="T61" fmla="*/ 81 h 114"/>
                  <a:gd name="T62" fmla="*/ 9 w 221"/>
                  <a:gd name="T63" fmla="*/ 73 h 114"/>
                  <a:gd name="T64" fmla="*/ 5 w 221"/>
                  <a:gd name="T65" fmla="*/ 75 h 114"/>
                  <a:gd name="T66" fmla="*/ 2 w 221"/>
                  <a:gd name="T67" fmla="*/ 82 h 114"/>
                  <a:gd name="T68" fmla="*/ 0 w 221"/>
                  <a:gd name="T69" fmla="*/ 87 h 114"/>
                  <a:gd name="T70" fmla="*/ 1 w 221"/>
                  <a:gd name="T71" fmla="*/ 90 h 114"/>
                  <a:gd name="T72" fmla="*/ 12 w 221"/>
                  <a:gd name="T73" fmla="*/ 96 h 114"/>
                  <a:gd name="T74" fmla="*/ 17 w 221"/>
                  <a:gd name="T75" fmla="*/ 98 h 114"/>
                  <a:gd name="T76" fmla="*/ 22 w 221"/>
                  <a:gd name="T77" fmla="*/ 95 h 114"/>
                  <a:gd name="T78" fmla="*/ 23 w 221"/>
                  <a:gd name="T79" fmla="*/ 93 h 114"/>
                  <a:gd name="T80" fmla="*/ 29 w 221"/>
                  <a:gd name="T81" fmla="*/ 94 h 114"/>
                  <a:gd name="T82" fmla="*/ 32 w 221"/>
                  <a:gd name="T83" fmla="*/ 100 h 114"/>
                  <a:gd name="T84" fmla="*/ 43 w 221"/>
                  <a:gd name="T85" fmla="*/ 96 h 114"/>
                  <a:gd name="T86" fmla="*/ 65 w 221"/>
                  <a:gd name="T87" fmla="*/ 90 h 114"/>
                  <a:gd name="T88" fmla="*/ 80 w 221"/>
                  <a:gd name="T89" fmla="*/ 93 h 114"/>
                  <a:gd name="T90" fmla="*/ 86 w 221"/>
                  <a:gd name="T91" fmla="*/ 104 h 114"/>
                  <a:gd name="T92" fmla="*/ 121 w 221"/>
                  <a:gd name="T93" fmla="*/ 109 h 114"/>
                  <a:gd name="T94" fmla="*/ 149 w 221"/>
                  <a:gd name="T95" fmla="*/ 114 h 114"/>
                  <a:gd name="T96" fmla="*/ 158 w 221"/>
                  <a:gd name="T97" fmla="*/ 108 h 114"/>
                  <a:gd name="T98" fmla="*/ 177 w 221"/>
                  <a:gd name="T99" fmla="*/ 103 h 114"/>
                  <a:gd name="T100" fmla="*/ 192 w 221"/>
                  <a:gd name="T101" fmla="*/ 96 h 114"/>
                  <a:gd name="T102" fmla="*/ 204 w 221"/>
                  <a:gd name="T103" fmla="*/ 80 h 114"/>
                  <a:gd name="T104" fmla="*/ 206 w 221"/>
                  <a:gd name="T105" fmla="*/ 66 h 114"/>
                  <a:gd name="T106" fmla="*/ 204 w 221"/>
                  <a:gd name="T107" fmla="*/ 53 h 114"/>
                  <a:gd name="T108" fmla="*/ 219 w 221"/>
                  <a:gd name="T109" fmla="*/ 5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1" h="114">
                    <a:moveTo>
                      <a:pt x="219" y="49"/>
                    </a:moveTo>
                    <a:cubicBezTo>
                      <a:pt x="219" y="47"/>
                      <a:pt x="219" y="45"/>
                      <a:pt x="219" y="45"/>
                    </a:cubicBezTo>
                    <a:cubicBezTo>
                      <a:pt x="219" y="41"/>
                      <a:pt x="219" y="41"/>
                      <a:pt x="219" y="41"/>
                    </a:cubicBezTo>
                    <a:cubicBezTo>
                      <a:pt x="219" y="41"/>
                      <a:pt x="219" y="35"/>
                      <a:pt x="219" y="35"/>
                    </a:cubicBezTo>
                    <a:cubicBezTo>
                      <a:pt x="219" y="35"/>
                      <a:pt x="219" y="35"/>
                      <a:pt x="219" y="34"/>
                    </a:cubicBezTo>
                    <a:cubicBezTo>
                      <a:pt x="218" y="34"/>
                      <a:pt x="217" y="34"/>
                      <a:pt x="217" y="34"/>
                    </a:cubicBezTo>
                    <a:cubicBezTo>
                      <a:pt x="217" y="34"/>
                      <a:pt x="215" y="33"/>
                      <a:pt x="215" y="33"/>
                    </a:cubicBezTo>
                    <a:cubicBezTo>
                      <a:pt x="215" y="33"/>
                      <a:pt x="215" y="32"/>
                      <a:pt x="215" y="31"/>
                    </a:cubicBezTo>
                    <a:cubicBezTo>
                      <a:pt x="214" y="30"/>
                      <a:pt x="214" y="29"/>
                      <a:pt x="214" y="29"/>
                    </a:cubicBezTo>
                    <a:cubicBezTo>
                      <a:pt x="214" y="29"/>
                      <a:pt x="214" y="29"/>
                      <a:pt x="214" y="29"/>
                    </a:cubicBezTo>
                    <a:cubicBezTo>
                      <a:pt x="213" y="29"/>
                      <a:pt x="212" y="28"/>
                      <a:pt x="212" y="28"/>
                    </a:cubicBezTo>
                    <a:cubicBezTo>
                      <a:pt x="212" y="28"/>
                      <a:pt x="213" y="26"/>
                      <a:pt x="212" y="26"/>
                    </a:cubicBezTo>
                    <a:cubicBezTo>
                      <a:pt x="212" y="26"/>
                      <a:pt x="211" y="26"/>
                      <a:pt x="211" y="26"/>
                    </a:cubicBezTo>
                    <a:cubicBezTo>
                      <a:pt x="211" y="26"/>
                      <a:pt x="211" y="23"/>
                      <a:pt x="211" y="23"/>
                    </a:cubicBezTo>
                    <a:cubicBezTo>
                      <a:pt x="211" y="22"/>
                      <a:pt x="211" y="22"/>
                      <a:pt x="211" y="22"/>
                    </a:cubicBezTo>
                    <a:cubicBezTo>
                      <a:pt x="212" y="20"/>
                      <a:pt x="212" y="20"/>
                      <a:pt x="212" y="20"/>
                    </a:cubicBezTo>
                    <a:cubicBezTo>
                      <a:pt x="212" y="20"/>
                      <a:pt x="212" y="19"/>
                      <a:pt x="212" y="19"/>
                    </a:cubicBezTo>
                    <a:cubicBezTo>
                      <a:pt x="212" y="18"/>
                      <a:pt x="213" y="17"/>
                      <a:pt x="213" y="17"/>
                    </a:cubicBezTo>
                    <a:cubicBezTo>
                      <a:pt x="212" y="16"/>
                      <a:pt x="212" y="16"/>
                      <a:pt x="212" y="16"/>
                    </a:cubicBezTo>
                    <a:cubicBezTo>
                      <a:pt x="213" y="14"/>
                      <a:pt x="213" y="14"/>
                      <a:pt x="213" y="14"/>
                    </a:cubicBezTo>
                    <a:cubicBezTo>
                      <a:pt x="213" y="14"/>
                      <a:pt x="213" y="14"/>
                      <a:pt x="213" y="14"/>
                    </a:cubicBezTo>
                    <a:cubicBezTo>
                      <a:pt x="212" y="13"/>
                      <a:pt x="212" y="13"/>
                      <a:pt x="212" y="13"/>
                    </a:cubicBezTo>
                    <a:cubicBezTo>
                      <a:pt x="210" y="8"/>
                      <a:pt x="210" y="8"/>
                      <a:pt x="210" y="8"/>
                    </a:cubicBezTo>
                    <a:cubicBezTo>
                      <a:pt x="210" y="8"/>
                      <a:pt x="207" y="9"/>
                      <a:pt x="205" y="9"/>
                    </a:cubicBezTo>
                    <a:cubicBezTo>
                      <a:pt x="203" y="8"/>
                      <a:pt x="201" y="6"/>
                      <a:pt x="201" y="6"/>
                    </a:cubicBezTo>
                    <a:cubicBezTo>
                      <a:pt x="200" y="6"/>
                      <a:pt x="197" y="6"/>
                      <a:pt x="197" y="6"/>
                    </a:cubicBezTo>
                    <a:cubicBezTo>
                      <a:pt x="196" y="9"/>
                      <a:pt x="196" y="9"/>
                      <a:pt x="196" y="9"/>
                    </a:cubicBezTo>
                    <a:cubicBezTo>
                      <a:pt x="187" y="9"/>
                      <a:pt x="187" y="9"/>
                      <a:pt x="187" y="9"/>
                    </a:cubicBezTo>
                    <a:cubicBezTo>
                      <a:pt x="184" y="7"/>
                      <a:pt x="184" y="7"/>
                      <a:pt x="184" y="7"/>
                    </a:cubicBezTo>
                    <a:cubicBezTo>
                      <a:pt x="178" y="5"/>
                      <a:pt x="178" y="5"/>
                      <a:pt x="178" y="5"/>
                    </a:cubicBezTo>
                    <a:cubicBezTo>
                      <a:pt x="177" y="4"/>
                      <a:pt x="177" y="4"/>
                      <a:pt x="177" y="4"/>
                    </a:cubicBezTo>
                    <a:cubicBezTo>
                      <a:pt x="177" y="4"/>
                      <a:pt x="174" y="4"/>
                      <a:pt x="173" y="4"/>
                    </a:cubicBezTo>
                    <a:cubicBezTo>
                      <a:pt x="172" y="4"/>
                      <a:pt x="169" y="4"/>
                      <a:pt x="169" y="4"/>
                    </a:cubicBezTo>
                    <a:cubicBezTo>
                      <a:pt x="169" y="4"/>
                      <a:pt x="166" y="2"/>
                      <a:pt x="165" y="2"/>
                    </a:cubicBezTo>
                    <a:cubicBezTo>
                      <a:pt x="164" y="2"/>
                      <a:pt x="162" y="3"/>
                      <a:pt x="162" y="3"/>
                    </a:cubicBezTo>
                    <a:cubicBezTo>
                      <a:pt x="159" y="2"/>
                      <a:pt x="159" y="2"/>
                      <a:pt x="159" y="2"/>
                    </a:cubicBezTo>
                    <a:cubicBezTo>
                      <a:pt x="159" y="2"/>
                      <a:pt x="156" y="0"/>
                      <a:pt x="155" y="1"/>
                    </a:cubicBezTo>
                    <a:cubicBezTo>
                      <a:pt x="153" y="1"/>
                      <a:pt x="154" y="3"/>
                      <a:pt x="154" y="3"/>
                    </a:cubicBezTo>
                    <a:cubicBezTo>
                      <a:pt x="154" y="3"/>
                      <a:pt x="154" y="7"/>
                      <a:pt x="154" y="8"/>
                    </a:cubicBezTo>
                    <a:cubicBezTo>
                      <a:pt x="154" y="9"/>
                      <a:pt x="153" y="11"/>
                      <a:pt x="153" y="11"/>
                    </a:cubicBezTo>
                    <a:cubicBezTo>
                      <a:pt x="150" y="12"/>
                      <a:pt x="150" y="12"/>
                      <a:pt x="150" y="12"/>
                    </a:cubicBezTo>
                    <a:cubicBezTo>
                      <a:pt x="150" y="12"/>
                      <a:pt x="149" y="15"/>
                      <a:pt x="148" y="15"/>
                    </a:cubicBezTo>
                    <a:cubicBezTo>
                      <a:pt x="147" y="15"/>
                      <a:pt x="147" y="19"/>
                      <a:pt x="147" y="19"/>
                    </a:cubicBezTo>
                    <a:cubicBezTo>
                      <a:pt x="144" y="20"/>
                      <a:pt x="144" y="20"/>
                      <a:pt x="144" y="20"/>
                    </a:cubicBezTo>
                    <a:cubicBezTo>
                      <a:pt x="140" y="18"/>
                      <a:pt x="140" y="18"/>
                      <a:pt x="140" y="18"/>
                    </a:cubicBezTo>
                    <a:cubicBezTo>
                      <a:pt x="138" y="19"/>
                      <a:pt x="138" y="19"/>
                      <a:pt x="138" y="19"/>
                    </a:cubicBezTo>
                    <a:cubicBezTo>
                      <a:pt x="138" y="21"/>
                      <a:pt x="138" y="21"/>
                      <a:pt x="138" y="21"/>
                    </a:cubicBezTo>
                    <a:cubicBezTo>
                      <a:pt x="138" y="21"/>
                      <a:pt x="133" y="21"/>
                      <a:pt x="133" y="21"/>
                    </a:cubicBezTo>
                    <a:cubicBezTo>
                      <a:pt x="133" y="21"/>
                      <a:pt x="129" y="19"/>
                      <a:pt x="129" y="19"/>
                    </a:cubicBezTo>
                    <a:cubicBezTo>
                      <a:pt x="129" y="19"/>
                      <a:pt x="126" y="17"/>
                      <a:pt x="125" y="16"/>
                    </a:cubicBezTo>
                    <a:cubicBezTo>
                      <a:pt x="125" y="16"/>
                      <a:pt x="123" y="15"/>
                      <a:pt x="122" y="14"/>
                    </a:cubicBezTo>
                    <a:cubicBezTo>
                      <a:pt x="122" y="15"/>
                      <a:pt x="122" y="15"/>
                      <a:pt x="122" y="15"/>
                    </a:cubicBezTo>
                    <a:cubicBezTo>
                      <a:pt x="123" y="19"/>
                      <a:pt x="123" y="19"/>
                      <a:pt x="123" y="19"/>
                    </a:cubicBezTo>
                    <a:cubicBezTo>
                      <a:pt x="123" y="22"/>
                      <a:pt x="123" y="22"/>
                      <a:pt x="123" y="22"/>
                    </a:cubicBezTo>
                    <a:cubicBezTo>
                      <a:pt x="123" y="23"/>
                      <a:pt x="123" y="23"/>
                      <a:pt x="123" y="23"/>
                    </a:cubicBezTo>
                    <a:cubicBezTo>
                      <a:pt x="122" y="24"/>
                      <a:pt x="121" y="25"/>
                      <a:pt x="121" y="25"/>
                    </a:cubicBezTo>
                    <a:cubicBezTo>
                      <a:pt x="120" y="25"/>
                      <a:pt x="119" y="26"/>
                      <a:pt x="118" y="26"/>
                    </a:cubicBezTo>
                    <a:cubicBezTo>
                      <a:pt x="117" y="27"/>
                      <a:pt x="117" y="27"/>
                      <a:pt x="117" y="27"/>
                    </a:cubicBezTo>
                    <a:cubicBezTo>
                      <a:pt x="116" y="26"/>
                      <a:pt x="116" y="26"/>
                      <a:pt x="116" y="26"/>
                    </a:cubicBezTo>
                    <a:cubicBezTo>
                      <a:pt x="116" y="26"/>
                      <a:pt x="115" y="25"/>
                      <a:pt x="115" y="25"/>
                    </a:cubicBezTo>
                    <a:cubicBezTo>
                      <a:pt x="113" y="25"/>
                      <a:pt x="113" y="25"/>
                      <a:pt x="113" y="25"/>
                    </a:cubicBezTo>
                    <a:cubicBezTo>
                      <a:pt x="113" y="25"/>
                      <a:pt x="113" y="26"/>
                      <a:pt x="113" y="26"/>
                    </a:cubicBezTo>
                    <a:cubicBezTo>
                      <a:pt x="112" y="27"/>
                      <a:pt x="112" y="27"/>
                      <a:pt x="112" y="27"/>
                    </a:cubicBezTo>
                    <a:cubicBezTo>
                      <a:pt x="113" y="32"/>
                      <a:pt x="113" y="32"/>
                      <a:pt x="113" y="32"/>
                    </a:cubicBezTo>
                    <a:cubicBezTo>
                      <a:pt x="108" y="36"/>
                      <a:pt x="108" y="36"/>
                      <a:pt x="108" y="36"/>
                    </a:cubicBezTo>
                    <a:cubicBezTo>
                      <a:pt x="108" y="36"/>
                      <a:pt x="108" y="37"/>
                      <a:pt x="107" y="37"/>
                    </a:cubicBezTo>
                    <a:cubicBezTo>
                      <a:pt x="107" y="37"/>
                      <a:pt x="107" y="37"/>
                      <a:pt x="107" y="37"/>
                    </a:cubicBezTo>
                    <a:cubicBezTo>
                      <a:pt x="106" y="37"/>
                      <a:pt x="106" y="37"/>
                      <a:pt x="106" y="37"/>
                    </a:cubicBezTo>
                    <a:cubicBezTo>
                      <a:pt x="106" y="37"/>
                      <a:pt x="105" y="37"/>
                      <a:pt x="105" y="37"/>
                    </a:cubicBezTo>
                    <a:cubicBezTo>
                      <a:pt x="105" y="37"/>
                      <a:pt x="103" y="38"/>
                      <a:pt x="102" y="39"/>
                    </a:cubicBezTo>
                    <a:cubicBezTo>
                      <a:pt x="100" y="41"/>
                      <a:pt x="100" y="41"/>
                      <a:pt x="100" y="41"/>
                    </a:cubicBezTo>
                    <a:cubicBezTo>
                      <a:pt x="99" y="41"/>
                      <a:pt x="99" y="41"/>
                      <a:pt x="99" y="41"/>
                    </a:cubicBezTo>
                    <a:cubicBezTo>
                      <a:pt x="99" y="41"/>
                      <a:pt x="99" y="41"/>
                      <a:pt x="99" y="41"/>
                    </a:cubicBezTo>
                    <a:cubicBezTo>
                      <a:pt x="99" y="41"/>
                      <a:pt x="98" y="42"/>
                      <a:pt x="95" y="44"/>
                    </a:cubicBezTo>
                    <a:cubicBezTo>
                      <a:pt x="94" y="44"/>
                      <a:pt x="94" y="44"/>
                      <a:pt x="94" y="44"/>
                    </a:cubicBezTo>
                    <a:cubicBezTo>
                      <a:pt x="95" y="46"/>
                      <a:pt x="95" y="46"/>
                      <a:pt x="95" y="46"/>
                    </a:cubicBezTo>
                    <a:cubicBezTo>
                      <a:pt x="98" y="49"/>
                      <a:pt x="98" y="49"/>
                      <a:pt x="98" y="49"/>
                    </a:cubicBezTo>
                    <a:cubicBezTo>
                      <a:pt x="100" y="53"/>
                      <a:pt x="100" y="53"/>
                      <a:pt x="100" y="53"/>
                    </a:cubicBezTo>
                    <a:cubicBezTo>
                      <a:pt x="101" y="57"/>
                      <a:pt x="101" y="57"/>
                      <a:pt x="101" y="57"/>
                    </a:cubicBezTo>
                    <a:cubicBezTo>
                      <a:pt x="101" y="57"/>
                      <a:pt x="99" y="58"/>
                      <a:pt x="99" y="59"/>
                    </a:cubicBezTo>
                    <a:cubicBezTo>
                      <a:pt x="100" y="59"/>
                      <a:pt x="100" y="59"/>
                      <a:pt x="101" y="59"/>
                    </a:cubicBezTo>
                    <a:cubicBezTo>
                      <a:pt x="102" y="59"/>
                      <a:pt x="102" y="59"/>
                      <a:pt x="102" y="59"/>
                    </a:cubicBezTo>
                    <a:cubicBezTo>
                      <a:pt x="102" y="59"/>
                      <a:pt x="102" y="59"/>
                      <a:pt x="102" y="59"/>
                    </a:cubicBezTo>
                    <a:cubicBezTo>
                      <a:pt x="104" y="60"/>
                      <a:pt x="104" y="61"/>
                      <a:pt x="104" y="61"/>
                    </a:cubicBezTo>
                    <a:cubicBezTo>
                      <a:pt x="105" y="61"/>
                      <a:pt x="105" y="61"/>
                      <a:pt x="105" y="61"/>
                    </a:cubicBezTo>
                    <a:cubicBezTo>
                      <a:pt x="104" y="65"/>
                      <a:pt x="104" y="65"/>
                      <a:pt x="104" y="65"/>
                    </a:cubicBezTo>
                    <a:cubicBezTo>
                      <a:pt x="104" y="65"/>
                      <a:pt x="104" y="67"/>
                      <a:pt x="104" y="69"/>
                    </a:cubicBezTo>
                    <a:cubicBezTo>
                      <a:pt x="105" y="71"/>
                      <a:pt x="104" y="72"/>
                      <a:pt x="104" y="73"/>
                    </a:cubicBezTo>
                    <a:cubicBezTo>
                      <a:pt x="103" y="74"/>
                      <a:pt x="103" y="74"/>
                      <a:pt x="103" y="74"/>
                    </a:cubicBezTo>
                    <a:cubicBezTo>
                      <a:pt x="102" y="74"/>
                      <a:pt x="102" y="74"/>
                      <a:pt x="102" y="74"/>
                    </a:cubicBezTo>
                    <a:cubicBezTo>
                      <a:pt x="101" y="74"/>
                      <a:pt x="101" y="74"/>
                      <a:pt x="100" y="73"/>
                    </a:cubicBezTo>
                    <a:cubicBezTo>
                      <a:pt x="96" y="72"/>
                      <a:pt x="96" y="72"/>
                      <a:pt x="96" y="72"/>
                    </a:cubicBezTo>
                    <a:cubicBezTo>
                      <a:pt x="95" y="71"/>
                      <a:pt x="94" y="70"/>
                      <a:pt x="94" y="70"/>
                    </a:cubicBezTo>
                    <a:cubicBezTo>
                      <a:pt x="93" y="69"/>
                      <a:pt x="92" y="67"/>
                      <a:pt x="93" y="65"/>
                    </a:cubicBezTo>
                    <a:cubicBezTo>
                      <a:pt x="93" y="65"/>
                      <a:pt x="93" y="65"/>
                      <a:pt x="93" y="65"/>
                    </a:cubicBezTo>
                    <a:cubicBezTo>
                      <a:pt x="93" y="65"/>
                      <a:pt x="92" y="65"/>
                      <a:pt x="92" y="65"/>
                    </a:cubicBezTo>
                    <a:cubicBezTo>
                      <a:pt x="92" y="65"/>
                      <a:pt x="92" y="65"/>
                      <a:pt x="92" y="65"/>
                    </a:cubicBezTo>
                    <a:cubicBezTo>
                      <a:pt x="91" y="65"/>
                      <a:pt x="91" y="65"/>
                      <a:pt x="90" y="65"/>
                    </a:cubicBezTo>
                    <a:cubicBezTo>
                      <a:pt x="90" y="65"/>
                      <a:pt x="89" y="66"/>
                      <a:pt x="89" y="66"/>
                    </a:cubicBezTo>
                    <a:cubicBezTo>
                      <a:pt x="89" y="67"/>
                      <a:pt x="88" y="67"/>
                      <a:pt x="87" y="67"/>
                    </a:cubicBezTo>
                    <a:cubicBezTo>
                      <a:pt x="86" y="67"/>
                      <a:pt x="86" y="67"/>
                      <a:pt x="85" y="67"/>
                    </a:cubicBezTo>
                    <a:cubicBezTo>
                      <a:pt x="84" y="66"/>
                      <a:pt x="83" y="66"/>
                      <a:pt x="83" y="65"/>
                    </a:cubicBezTo>
                    <a:cubicBezTo>
                      <a:pt x="83" y="65"/>
                      <a:pt x="82" y="65"/>
                      <a:pt x="82" y="65"/>
                    </a:cubicBezTo>
                    <a:cubicBezTo>
                      <a:pt x="81" y="64"/>
                      <a:pt x="80" y="64"/>
                      <a:pt x="80" y="64"/>
                    </a:cubicBezTo>
                    <a:cubicBezTo>
                      <a:pt x="80" y="64"/>
                      <a:pt x="79" y="64"/>
                      <a:pt x="79" y="64"/>
                    </a:cubicBezTo>
                    <a:cubicBezTo>
                      <a:pt x="79" y="64"/>
                      <a:pt x="79" y="65"/>
                      <a:pt x="79" y="65"/>
                    </a:cubicBezTo>
                    <a:cubicBezTo>
                      <a:pt x="79" y="65"/>
                      <a:pt x="80" y="67"/>
                      <a:pt x="79" y="68"/>
                    </a:cubicBezTo>
                    <a:cubicBezTo>
                      <a:pt x="78" y="68"/>
                      <a:pt x="78" y="68"/>
                      <a:pt x="78" y="68"/>
                    </a:cubicBezTo>
                    <a:cubicBezTo>
                      <a:pt x="78" y="69"/>
                      <a:pt x="78" y="69"/>
                      <a:pt x="78" y="69"/>
                    </a:cubicBezTo>
                    <a:cubicBezTo>
                      <a:pt x="77" y="69"/>
                      <a:pt x="77" y="69"/>
                      <a:pt x="76" y="69"/>
                    </a:cubicBezTo>
                    <a:cubicBezTo>
                      <a:pt x="76" y="69"/>
                      <a:pt x="76" y="69"/>
                      <a:pt x="76" y="69"/>
                    </a:cubicBezTo>
                    <a:cubicBezTo>
                      <a:pt x="75" y="69"/>
                      <a:pt x="75" y="69"/>
                      <a:pt x="75" y="69"/>
                    </a:cubicBezTo>
                    <a:cubicBezTo>
                      <a:pt x="72" y="69"/>
                      <a:pt x="72" y="69"/>
                      <a:pt x="72" y="69"/>
                    </a:cubicBezTo>
                    <a:cubicBezTo>
                      <a:pt x="72" y="69"/>
                      <a:pt x="70" y="69"/>
                      <a:pt x="70" y="69"/>
                    </a:cubicBezTo>
                    <a:cubicBezTo>
                      <a:pt x="69" y="71"/>
                      <a:pt x="67" y="71"/>
                      <a:pt x="65" y="71"/>
                    </a:cubicBezTo>
                    <a:cubicBezTo>
                      <a:pt x="62" y="71"/>
                      <a:pt x="62" y="71"/>
                      <a:pt x="62" y="71"/>
                    </a:cubicBezTo>
                    <a:cubicBezTo>
                      <a:pt x="62" y="71"/>
                      <a:pt x="61" y="72"/>
                      <a:pt x="61" y="72"/>
                    </a:cubicBezTo>
                    <a:cubicBezTo>
                      <a:pt x="60" y="73"/>
                      <a:pt x="58" y="73"/>
                      <a:pt x="56" y="73"/>
                    </a:cubicBezTo>
                    <a:cubicBezTo>
                      <a:pt x="56" y="73"/>
                      <a:pt x="56" y="73"/>
                      <a:pt x="56" y="73"/>
                    </a:cubicBezTo>
                    <a:cubicBezTo>
                      <a:pt x="55" y="74"/>
                      <a:pt x="55" y="74"/>
                      <a:pt x="55" y="74"/>
                    </a:cubicBezTo>
                    <a:cubicBezTo>
                      <a:pt x="54" y="75"/>
                      <a:pt x="54" y="75"/>
                      <a:pt x="53" y="76"/>
                    </a:cubicBezTo>
                    <a:cubicBezTo>
                      <a:pt x="52" y="77"/>
                      <a:pt x="51" y="78"/>
                      <a:pt x="50" y="78"/>
                    </a:cubicBezTo>
                    <a:cubicBezTo>
                      <a:pt x="50" y="78"/>
                      <a:pt x="49" y="78"/>
                      <a:pt x="49" y="78"/>
                    </a:cubicBezTo>
                    <a:cubicBezTo>
                      <a:pt x="49" y="78"/>
                      <a:pt x="48" y="78"/>
                      <a:pt x="47" y="78"/>
                    </a:cubicBezTo>
                    <a:cubicBezTo>
                      <a:pt x="47" y="78"/>
                      <a:pt x="47" y="77"/>
                      <a:pt x="47" y="77"/>
                    </a:cubicBezTo>
                    <a:cubicBezTo>
                      <a:pt x="47" y="78"/>
                      <a:pt x="47" y="78"/>
                      <a:pt x="47" y="78"/>
                    </a:cubicBezTo>
                    <a:cubicBezTo>
                      <a:pt x="46" y="78"/>
                      <a:pt x="46" y="78"/>
                      <a:pt x="46" y="78"/>
                    </a:cubicBezTo>
                    <a:cubicBezTo>
                      <a:pt x="45" y="79"/>
                      <a:pt x="44" y="80"/>
                      <a:pt x="43" y="80"/>
                    </a:cubicBezTo>
                    <a:cubicBezTo>
                      <a:pt x="43" y="80"/>
                      <a:pt x="42" y="79"/>
                      <a:pt x="42" y="79"/>
                    </a:cubicBezTo>
                    <a:cubicBezTo>
                      <a:pt x="41" y="79"/>
                      <a:pt x="41" y="79"/>
                      <a:pt x="41" y="79"/>
                    </a:cubicBezTo>
                    <a:cubicBezTo>
                      <a:pt x="41" y="79"/>
                      <a:pt x="41" y="79"/>
                      <a:pt x="41" y="79"/>
                    </a:cubicBezTo>
                    <a:cubicBezTo>
                      <a:pt x="39" y="79"/>
                      <a:pt x="38" y="77"/>
                      <a:pt x="38" y="75"/>
                    </a:cubicBezTo>
                    <a:cubicBezTo>
                      <a:pt x="38" y="74"/>
                      <a:pt x="38" y="74"/>
                      <a:pt x="38" y="74"/>
                    </a:cubicBezTo>
                    <a:cubicBezTo>
                      <a:pt x="38" y="74"/>
                      <a:pt x="38" y="74"/>
                      <a:pt x="38" y="74"/>
                    </a:cubicBezTo>
                    <a:cubicBezTo>
                      <a:pt x="36" y="74"/>
                      <a:pt x="35" y="73"/>
                      <a:pt x="34" y="73"/>
                    </a:cubicBezTo>
                    <a:cubicBezTo>
                      <a:pt x="34" y="73"/>
                      <a:pt x="33" y="73"/>
                      <a:pt x="33" y="73"/>
                    </a:cubicBezTo>
                    <a:cubicBezTo>
                      <a:pt x="30" y="73"/>
                      <a:pt x="30" y="73"/>
                      <a:pt x="30" y="73"/>
                    </a:cubicBezTo>
                    <a:cubicBezTo>
                      <a:pt x="29" y="73"/>
                      <a:pt x="29" y="73"/>
                      <a:pt x="28" y="73"/>
                    </a:cubicBezTo>
                    <a:cubicBezTo>
                      <a:pt x="28" y="73"/>
                      <a:pt x="27" y="73"/>
                      <a:pt x="27" y="73"/>
                    </a:cubicBezTo>
                    <a:cubicBezTo>
                      <a:pt x="27" y="73"/>
                      <a:pt x="27" y="73"/>
                      <a:pt x="27" y="73"/>
                    </a:cubicBezTo>
                    <a:cubicBezTo>
                      <a:pt x="27" y="73"/>
                      <a:pt x="27" y="73"/>
                      <a:pt x="27" y="73"/>
                    </a:cubicBezTo>
                    <a:cubicBezTo>
                      <a:pt x="27" y="74"/>
                      <a:pt x="27" y="74"/>
                      <a:pt x="28" y="75"/>
                    </a:cubicBezTo>
                    <a:cubicBezTo>
                      <a:pt x="28" y="75"/>
                      <a:pt x="28" y="75"/>
                      <a:pt x="28" y="75"/>
                    </a:cubicBezTo>
                    <a:cubicBezTo>
                      <a:pt x="28" y="75"/>
                      <a:pt x="28" y="75"/>
                      <a:pt x="28" y="75"/>
                    </a:cubicBezTo>
                    <a:cubicBezTo>
                      <a:pt x="28" y="76"/>
                      <a:pt x="27" y="76"/>
                      <a:pt x="27" y="77"/>
                    </a:cubicBezTo>
                    <a:cubicBezTo>
                      <a:pt x="27" y="77"/>
                      <a:pt x="27" y="77"/>
                      <a:pt x="27" y="77"/>
                    </a:cubicBezTo>
                    <a:cubicBezTo>
                      <a:pt x="27" y="78"/>
                      <a:pt x="27" y="79"/>
                      <a:pt x="26" y="80"/>
                    </a:cubicBezTo>
                    <a:cubicBezTo>
                      <a:pt x="26" y="80"/>
                      <a:pt x="26" y="80"/>
                      <a:pt x="26" y="80"/>
                    </a:cubicBezTo>
                    <a:cubicBezTo>
                      <a:pt x="25" y="81"/>
                      <a:pt x="25" y="81"/>
                      <a:pt x="25" y="82"/>
                    </a:cubicBezTo>
                    <a:cubicBezTo>
                      <a:pt x="24" y="83"/>
                      <a:pt x="24" y="83"/>
                      <a:pt x="24" y="83"/>
                    </a:cubicBezTo>
                    <a:cubicBezTo>
                      <a:pt x="24" y="84"/>
                      <a:pt x="23" y="86"/>
                      <a:pt x="21" y="86"/>
                    </a:cubicBezTo>
                    <a:cubicBezTo>
                      <a:pt x="20" y="86"/>
                      <a:pt x="19" y="85"/>
                      <a:pt x="19" y="85"/>
                    </a:cubicBezTo>
                    <a:cubicBezTo>
                      <a:pt x="18" y="85"/>
                      <a:pt x="18" y="85"/>
                      <a:pt x="18" y="85"/>
                    </a:cubicBezTo>
                    <a:cubicBezTo>
                      <a:pt x="17" y="84"/>
                      <a:pt x="16" y="84"/>
                      <a:pt x="15" y="83"/>
                    </a:cubicBezTo>
                    <a:cubicBezTo>
                      <a:pt x="15" y="82"/>
                      <a:pt x="15" y="82"/>
                      <a:pt x="15" y="81"/>
                    </a:cubicBezTo>
                    <a:cubicBezTo>
                      <a:pt x="15" y="81"/>
                      <a:pt x="14" y="81"/>
                      <a:pt x="13" y="80"/>
                    </a:cubicBezTo>
                    <a:cubicBezTo>
                      <a:pt x="12" y="79"/>
                      <a:pt x="12" y="77"/>
                      <a:pt x="13" y="76"/>
                    </a:cubicBezTo>
                    <a:cubicBezTo>
                      <a:pt x="13" y="75"/>
                      <a:pt x="12" y="75"/>
                      <a:pt x="12" y="75"/>
                    </a:cubicBezTo>
                    <a:cubicBezTo>
                      <a:pt x="11" y="75"/>
                      <a:pt x="10" y="74"/>
                      <a:pt x="10" y="74"/>
                    </a:cubicBezTo>
                    <a:cubicBezTo>
                      <a:pt x="9" y="74"/>
                      <a:pt x="9" y="73"/>
                      <a:pt x="9" y="73"/>
                    </a:cubicBezTo>
                    <a:cubicBezTo>
                      <a:pt x="8" y="72"/>
                      <a:pt x="7" y="72"/>
                      <a:pt x="7" y="71"/>
                    </a:cubicBezTo>
                    <a:cubicBezTo>
                      <a:pt x="6" y="72"/>
                      <a:pt x="6" y="72"/>
                      <a:pt x="6" y="72"/>
                    </a:cubicBezTo>
                    <a:cubicBezTo>
                      <a:pt x="6" y="72"/>
                      <a:pt x="6" y="72"/>
                      <a:pt x="5" y="73"/>
                    </a:cubicBezTo>
                    <a:cubicBezTo>
                      <a:pt x="5" y="73"/>
                      <a:pt x="5" y="73"/>
                      <a:pt x="5" y="73"/>
                    </a:cubicBezTo>
                    <a:cubicBezTo>
                      <a:pt x="5" y="74"/>
                      <a:pt x="5" y="75"/>
                      <a:pt x="5" y="75"/>
                    </a:cubicBezTo>
                    <a:cubicBezTo>
                      <a:pt x="5" y="76"/>
                      <a:pt x="5" y="76"/>
                      <a:pt x="5" y="76"/>
                    </a:cubicBezTo>
                    <a:cubicBezTo>
                      <a:pt x="5" y="77"/>
                      <a:pt x="5" y="78"/>
                      <a:pt x="4" y="79"/>
                    </a:cubicBezTo>
                    <a:cubicBezTo>
                      <a:pt x="4" y="80"/>
                      <a:pt x="4" y="80"/>
                      <a:pt x="4" y="80"/>
                    </a:cubicBezTo>
                    <a:cubicBezTo>
                      <a:pt x="3" y="80"/>
                      <a:pt x="3" y="80"/>
                      <a:pt x="3" y="80"/>
                    </a:cubicBezTo>
                    <a:cubicBezTo>
                      <a:pt x="3" y="81"/>
                      <a:pt x="3" y="81"/>
                      <a:pt x="2" y="82"/>
                    </a:cubicBezTo>
                    <a:cubicBezTo>
                      <a:pt x="2" y="82"/>
                      <a:pt x="2" y="83"/>
                      <a:pt x="2" y="83"/>
                    </a:cubicBezTo>
                    <a:cubicBezTo>
                      <a:pt x="2" y="83"/>
                      <a:pt x="2" y="83"/>
                      <a:pt x="2" y="83"/>
                    </a:cubicBezTo>
                    <a:cubicBezTo>
                      <a:pt x="0" y="85"/>
                      <a:pt x="0" y="85"/>
                      <a:pt x="0" y="85"/>
                    </a:cubicBezTo>
                    <a:cubicBezTo>
                      <a:pt x="0" y="86"/>
                      <a:pt x="0" y="86"/>
                      <a:pt x="0" y="86"/>
                    </a:cubicBezTo>
                    <a:cubicBezTo>
                      <a:pt x="0" y="87"/>
                      <a:pt x="0" y="87"/>
                      <a:pt x="0" y="87"/>
                    </a:cubicBezTo>
                    <a:cubicBezTo>
                      <a:pt x="0" y="88"/>
                      <a:pt x="0" y="88"/>
                      <a:pt x="0" y="88"/>
                    </a:cubicBezTo>
                    <a:cubicBezTo>
                      <a:pt x="0" y="88"/>
                      <a:pt x="0" y="88"/>
                      <a:pt x="0" y="88"/>
                    </a:cubicBezTo>
                    <a:cubicBezTo>
                      <a:pt x="0" y="88"/>
                      <a:pt x="0" y="89"/>
                      <a:pt x="0" y="89"/>
                    </a:cubicBezTo>
                    <a:cubicBezTo>
                      <a:pt x="1" y="90"/>
                      <a:pt x="1" y="90"/>
                      <a:pt x="1" y="90"/>
                    </a:cubicBezTo>
                    <a:cubicBezTo>
                      <a:pt x="1" y="90"/>
                      <a:pt x="1" y="90"/>
                      <a:pt x="1" y="90"/>
                    </a:cubicBezTo>
                    <a:cubicBezTo>
                      <a:pt x="3" y="89"/>
                      <a:pt x="3" y="89"/>
                      <a:pt x="3" y="89"/>
                    </a:cubicBezTo>
                    <a:cubicBezTo>
                      <a:pt x="7" y="90"/>
                      <a:pt x="7" y="90"/>
                      <a:pt x="7" y="90"/>
                    </a:cubicBezTo>
                    <a:cubicBezTo>
                      <a:pt x="10" y="91"/>
                      <a:pt x="10" y="91"/>
                      <a:pt x="10" y="91"/>
                    </a:cubicBezTo>
                    <a:cubicBezTo>
                      <a:pt x="12" y="94"/>
                      <a:pt x="12" y="94"/>
                      <a:pt x="12" y="94"/>
                    </a:cubicBezTo>
                    <a:cubicBezTo>
                      <a:pt x="12" y="96"/>
                      <a:pt x="12" y="96"/>
                      <a:pt x="12" y="96"/>
                    </a:cubicBezTo>
                    <a:cubicBezTo>
                      <a:pt x="13" y="96"/>
                      <a:pt x="13" y="96"/>
                      <a:pt x="13" y="96"/>
                    </a:cubicBezTo>
                    <a:cubicBezTo>
                      <a:pt x="14" y="96"/>
                      <a:pt x="14" y="96"/>
                      <a:pt x="14" y="96"/>
                    </a:cubicBezTo>
                    <a:cubicBezTo>
                      <a:pt x="16" y="97"/>
                      <a:pt x="16" y="97"/>
                      <a:pt x="16" y="97"/>
                    </a:cubicBezTo>
                    <a:cubicBezTo>
                      <a:pt x="17" y="98"/>
                      <a:pt x="17" y="98"/>
                      <a:pt x="17" y="98"/>
                    </a:cubicBezTo>
                    <a:cubicBezTo>
                      <a:pt x="17" y="98"/>
                      <a:pt x="17" y="98"/>
                      <a:pt x="17" y="98"/>
                    </a:cubicBezTo>
                    <a:cubicBezTo>
                      <a:pt x="18" y="98"/>
                      <a:pt x="18" y="98"/>
                      <a:pt x="18" y="98"/>
                    </a:cubicBezTo>
                    <a:cubicBezTo>
                      <a:pt x="18" y="98"/>
                      <a:pt x="19" y="98"/>
                      <a:pt x="19" y="98"/>
                    </a:cubicBezTo>
                    <a:cubicBezTo>
                      <a:pt x="19" y="97"/>
                      <a:pt x="19" y="97"/>
                      <a:pt x="19" y="97"/>
                    </a:cubicBezTo>
                    <a:cubicBezTo>
                      <a:pt x="20" y="95"/>
                      <a:pt x="20" y="95"/>
                      <a:pt x="20" y="95"/>
                    </a:cubicBezTo>
                    <a:cubicBezTo>
                      <a:pt x="22" y="95"/>
                      <a:pt x="22" y="95"/>
                      <a:pt x="22" y="95"/>
                    </a:cubicBezTo>
                    <a:cubicBezTo>
                      <a:pt x="22" y="95"/>
                      <a:pt x="22" y="95"/>
                      <a:pt x="22" y="95"/>
                    </a:cubicBezTo>
                    <a:cubicBezTo>
                      <a:pt x="22" y="95"/>
                      <a:pt x="22" y="95"/>
                      <a:pt x="22" y="95"/>
                    </a:cubicBezTo>
                    <a:cubicBezTo>
                      <a:pt x="22" y="95"/>
                      <a:pt x="22" y="94"/>
                      <a:pt x="22" y="94"/>
                    </a:cubicBezTo>
                    <a:cubicBezTo>
                      <a:pt x="23" y="94"/>
                      <a:pt x="23" y="94"/>
                      <a:pt x="23" y="94"/>
                    </a:cubicBezTo>
                    <a:cubicBezTo>
                      <a:pt x="23" y="93"/>
                      <a:pt x="23" y="93"/>
                      <a:pt x="23" y="93"/>
                    </a:cubicBezTo>
                    <a:cubicBezTo>
                      <a:pt x="24" y="92"/>
                      <a:pt x="25" y="92"/>
                      <a:pt x="25" y="92"/>
                    </a:cubicBezTo>
                    <a:cubicBezTo>
                      <a:pt x="25" y="92"/>
                      <a:pt x="25" y="92"/>
                      <a:pt x="25" y="92"/>
                    </a:cubicBezTo>
                    <a:cubicBezTo>
                      <a:pt x="26" y="92"/>
                      <a:pt x="26" y="92"/>
                      <a:pt x="26" y="92"/>
                    </a:cubicBezTo>
                    <a:cubicBezTo>
                      <a:pt x="26" y="92"/>
                      <a:pt x="27" y="92"/>
                      <a:pt x="28" y="93"/>
                    </a:cubicBezTo>
                    <a:cubicBezTo>
                      <a:pt x="29" y="94"/>
                      <a:pt x="29" y="94"/>
                      <a:pt x="29" y="94"/>
                    </a:cubicBezTo>
                    <a:cubicBezTo>
                      <a:pt x="30" y="95"/>
                      <a:pt x="31" y="96"/>
                      <a:pt x="30" y="98"/>
                    </a:cubicBezTo>
                    <a:cubicBezTo>
                      <a:pt x="30" y="98"/>
                      <a:pt x="30" y="98"/>
                      <a:pt x="30" y="98"/>
                    </a:cubicBezTo>
                    <a:cubicBezTo>
                      <a:pt x="30" y="98"/>
                      <a:pt x="30" y="99"/>
                      <a:pt x="30" y="99"/>
                    </a:cubicBezTo>
                    <a:cubicBezTo>
                      <a:pt x="30" y="99"/>
                      <a:pt x="30" y="99"/>
                      <a:pt x="30" y="99"/>
                    </a:cubicBezTo>
                    <a:cubicBezTo>
                      <a:pt x="32" y="100"/>
                      <a:pt x="32" y="100"/>
                      <a:pt x="32" y="100"/>
                    </a:cubicBezTo>
                    <a:cubicBezTo>
                      <a:pt x="34" y="98"/>
                      <a:pt x="34" y="98"/>
                      <a:pt x="34" y="98"/>
                    </a:cubicBezTo>
                    <a:cubicBezTo>
                      <a:pt x="39" y="101"/>
                      <a:pt x="39" y="101"/>
                      <a:pt x="39" y="101"/>
                    </a:cubicBezTo>
                    <a:cubicBezTo>
                      <a:pt x="42" y="102"/>
                      <a:pt x="42" y="102"/>
                      <a:pt x="42" y="102"/>
                    </a:cubicBezTo>
                    <a:cubicBezTo>
                      <a:pt x="43" y="100"/>
                      <a:pt x="43" y="100"/>
                      <a:pt x="43" y="100"/>
                    </a:cubicBezTo>
                    <a:cubicBezTo>
                      <a:pt x="43" y="96"/>
                      <a:pt x="43" y="96"/>
                      <a:pt x="43" y="96"/>
                    </a:cubicBezTo>
                    <a:cubicBezTo>
                      <a:pt x="49" y="93"/>
                      <a:pt x="49" y="93"/>
                      <a:pt x="49" y="93"/>
                    </a:cubicBezTo>
                    <a:cubicBezTo>
                      <a:pt x="51" y="91"/>
                      <a:pt x="51" y="91"/>
                      <a:pt x="51" y="91"/>
                    </a:cubicBezTo>
                    <a:cubicBezTo>
                      <a:pt x="65" y="90"/>
                      <a:pt x="65" y="90"/>
                      <a:pt x="65" y="90"/>
                    </a:cubicBezTo>
                    <a:cubicBezTo>
                      <a:pt x="65" y="90"/>
                      <a:pt x="65" y="90"/>
                      <a:pt x="65" y="90"/>
                    </a:cubicBezTo>
                    <a:cubicBezTo>
                      <a:pt x="65" y="90"/>
                      <a:pt x="65" y="90"/>
                      <a:pt x="65" y="90"/>
                    </a:cubicBezTo>
                    <a:cubicBezTo>
                      <a:pt x="66" y="89"/>
                      <a:pt x="72" y="88"/>
                      <a:pt x="72" y="88"/>
                    </a:cubicBezTo>
                    <a:cubicBezTo>
                      <a:pt x="73" y="88"/>
                      <a:pt x="75" y="87"/>
                      <a:pt x="77" y="87"/>
                    </a:cubicBezTo>
                    <a:cubicBezTo>
                      <a:pt x="78" y="86"/>
                      <a:pt x="78" y="86"/>
                      <a:pt x="78" y="86"/>
                    </a:cubicBezTo>
                    <a:cubicBezTo>
                      <a:pt x="81" y="90"/>
                      <a:pt x="81" y="90"/>
                      <a:pt x="81" y="90"/>
                    </a:cubicBezTo>
                    <a:cubicBezTo>
                      <a:pt x="80" y="93"/>
                      <a:pt x="80" y="93"/>
                      <a:pt x="80" y="93"/>
                    </a:cubicBezTo>
                    <a:cubicBezTo>
                      <a:pt x="81" y="95"/>
                      <a:pt x="81" y="95"/>
                      <a:pt x="81" y="95"/>
                    </a:cubicBezTo>
                    <a:cubicBezTo>
                      <a:pt x="83" y="99"/>
                      <a:pt x="83" y="99"/>
                      <a:pt x="83" y="99"/>
                    </a:cubicBezTo>
                    <a:cubicBezTo>
                      <a:pt x="83" y="100"/>
                      <a:pt x="83" y="100"/>
                      <a:pt x="83" y="100"/>
                    </a:cubicBezTo>
                    <a:cubicBezTo>
                      <a:pt x="84" y="101"/>
                      <a:pt x="85" y="102"/>
                      <a:pt x="85" y="102"/>
                    </a:cubicBezTo>
                    <a:cubicBezTo>
                      <a:pt x="85" y="103"/>
                      <a:pt x="86" y="103"/>
                      <a:pt x="86" y="104"/>
                    </a:cubicBezTo>
                    <a:cubicBezTo>
                      <a:pt x="97" y="105"/>
                      <a:pt x="97" y="105"/>
                      <a:pt x="97" y="105"/>
                    </a:cubicBezTo>
                    <a:cubicBezTo>
                      <a:pt x="105" y="107"/>
                      <a:pt x="105" y="107"/>
                      <a:pt x="105" y="107"/>
                    </a:cubicBezTo>
                    <a:cubicBezTo>
                      <a:pt x="106" y="108"/>
                      <a:pt x="111" y="109"/>
                      <a:pt x="113" y="109"/>
                    </a:cubicBezTo>
                    <a:cubicBezTo>
                      <a:pt x="113" y="109"/>
                      <a:pt x="115" y="109"/>
                      <a:pt x="115" y="109"/>
                    </a:cubicBezTo>
                    <a:cubicBezTo>
                      <a:pt x="117" y="109"/>
                      <a:pt x="120" y="109"/>
                      <a:pt x="121" y="109"/>
                    </a:cubicBezTo>
                    <a:cubicBezTo>
                      <a:pt x="127" y="109"/>
                      <a:pt x="127" y="109"/>
                      <a:pt x="127" y="109"/>
                    </a:cubicBezTo>
                    <a:cubicBezTo>
                      <a:pt x="127" y="111"/>
                      <a:pt x="127" y="111"/>
                      <a:pt x="127" y="111"/>
                    </a:cubicBezTo>
                    <a:cubicBezTo>
                      <a:pt x="134" y="113"/>
                      <a:pt x="134" y="113"/>
                      <a:pt x="134" y="113"/>
                    </a:cubicBezTo>
                    <a:cubicBezTo>
                      <a:pt x="142" y="114"/>
                      <a:pt x="142" y="114"/>
                      <a:pt x="142" y="114"/>
                    </a:cubicBezTo>
                    <a:cubicBezTo>
                      <a:pt x="149" y="114"/>
                      <a:pt x="149" y="114"/>
                      <a:pt x="149" y="114"/>
                    </a:cubicBezTo>
                    <a:cubicBezTo>
                      <a:pt x="150" y="114"/>
                      <a:pt x="150" y="114"/>
                      <a:pt x="150" y="114"/>
                    </a:cubicBezTo>
                    <a:cubicBezTo>
                      <a:pt x="153" y="113"/>
                      <a:pt x="153" y="113"/>
                      <a:pt x="153" y="113"/>
                    </a:cubicBezTo>
                    <a:cubicBezTo>
                      <a:pt x="155" y="110"/>
                      <a:pt x="155" y="110"/>
                      <a:pt x="155" y="110"/>
                    </a:cubicBezTo>
                    <a:cubicBezTo>
                      <a:pt x="157" y="110"/>
                      <a:pt x="157" y="110"/>
                      <a:pt x="157" y="110"/>
                    </a:cubicBezTo>
                    <a:cubicBezTo>
                      <a:pt x="158" y="108"/>
                      <a:pt x="158" y="108"/>
                      <a:pt x="158" y="108"/>
                    </a:cubicBezTo>
                    <a:cubicBezTo>
                      <a:pt x="160" y="105"/>
                      <a:pt x="160" y="105"/>
                      <a:pt x="160" y="105"/>
                    </a:cubicBezTo>
                    <a:cubicBezTo>
                      <a:pt x="163" y="103"/>
                      <a:pt x="163" y="103"/>
                      <a:pt x="163" y="103"/>
                    </a:cubicBezTo>
                    <a:cubicBezTo>
                      <a:pt x="167" y="103"/>
                      <a:pt x="167" y="103"/>
                      <a:pt x="167" y="103"/>
                    </a:cubicBezTo>
                    <a:cubicBezTo>
                      <a:pt x="173" y="102"/>
                      <a:pt x="173" y="102"/>
                      <a:pt x="173" y="102"/>
                    </a:cubicBezTo>
                    <a:cubicBezTo>
                      <a:pt x="177" y="103"/>
                      <a:pt x="177" y="103"/>
                      <a:pt x="177" y="103"/>
                    </a:cubicBezTo>
                    <a:cubicBezTo>
                      <a:pt x="181" y="99"/>
                      <a:pt x="181" y="99"/>
                      <a:pt x="181" y="99"/>
                    </a:cubicBezTo>
                    <a:cubicBezTo>
                      <a:pt x="184" y="99"/>
                      <a:pt x="184" y="99"/>
                      <a:pt x="184" y="99"/>
                    </a:cubicBezTo>
                    <a:cubicBezTo>
                      <a:pt x="188" y="98"/>
                      <a:pt x="188" y="98"/>
                      <a:pt x="188" y="98"/>
                    </a:cubicBezTo>
                    <a:cubicBezTo>
                      <a:pt x="193" y="101"/>
                      <a:pt x="193" y="101"/>
                      <a:pt x="193" y="101"/>
                    </a:cubicBezTo>
                    <a:cubicBezTo>
                      <a:pt x="192" y="96"/>
                      <a:pt x="192" y="96"/>
                      <a:pt x="192" y="96"/>
                    </a:cubicBezTo>
                    <a:cubicBezTo>
                      <a:pt x="193" y="92"/>
                      <a:pt x="193" y="92"/>
                      <a:pt x="193" y="92"/>
                    </a:cubicBezTo>
                    <a:cubicBezTo>
                      <a:pt x="197" y="90"/>
                      <a:pt x="197" y="90"/>
                      <a:pt x="197" y="90"/>
                    </a:cubicBezTo>
                    <a:cubicBezTo>
                      <a:pt x="199" y="84"/>
                      <a:pt x="199" y="84"/>
                      <a:pt x="199" y="84"/>
                    </a:cubicBezTo>
                    <a:cubicBezTo>
                      <a:pt x="202" y="84"/>
                      <a:pt x="202" y="84"/>
                      <a:pt x="202" y="84"/>
                    </a:cubicBezTo>
                    <a:cubicBezTo>
                      <a:pt x="204" y="80"/>
                      <a:pt x="204" y="80"/>
                      <a:pt x="204" y="80"/>
                    </a:cubicBezTo>
                    <a:cubicBezTo>
                      <a:pt x="204" y="75"/>
                      <a:pt x="204" y="75"/>
                      <a:pt x="204" y="75"/>
                    </a:cubicBezTo>
                    <a:cubicBezTo>
                      <a:pt x="203" y="73"/>
                      <a:pt x="203" y="73"/>
                      <a:pt x="203" y="73"/>
                    </a:cubicBezTo>
                    <a:cubicBezTo>
                      <a:pt x="201" y="69"/>
                      <a:pt x="201" y="69"/>
                      <a:pt x="201" y="69"/>
                    </a:cubicBezTo>
                    <a:cubicBezTo>
                      <a:pt x="201" y="69"/>
                      <a:pt x="202" y="68"/>
                      <a:pt x="203" y="68"/>
                    </a:cubicBezTo>
                    <a:cubicBezTo>
                      <a:pt x="204" y="68"/>
                      <a:pt x="206" y="66"/>
                      <a:pt x="206" y="66"/>
                    </a:cubicBezTo>
                    <a:cubicBezTo>
                      <a:pt x="211" y="63"/>
                      <a:pt x="211" y="63"/>
                      <a:pt x="211" y="63"/>
                    </a:cubicBezTo>
                    <a:cubicBezTo>
                      <a:pt x="207" y="56"/>
                      <a:pt x="207" y="56"/>
                      <a:pt x="207" y="56"/>
                    </a:cubicBezTo>
                    <a:cubicBezTo>
                      <a:pt x="205" y="57"/>
                      <a:pt x="205" y="57"/>
                      <a:pt x="205" y="57"/>
                    </a:cubicBezTo>
                    <a:cubicBezTo>
                      <a:pt x="200" y="55"/>
                      <a:pt x="200" y="55"/>
                      <a:pt x="200" y="55"/>
                    </a:cubicBezTo>
                    <a:cubicBezTo>
                      <a:pt x="204" y="53"/>
                      <a:pt x="204" y="53"/>
                      <a:pt x="204" y="53"/>
                    </a:cubicBezTo>
                    <a:cubicBezTo>
                      <a:pt x="205" y="50"/>
                      <a:pt x="205" y="50"/>
                      <a:pt x="205" y="50"/>
                    </a:cubicBezTo>
                    <a:cubicBezTo>
                      <a:pt x="211" y="53"/>
                      <a:pt x="211" y="53"/>
                      <a:pt x="211" y="53"/>
                    </a:cubicBezTo>
                    <a:cubicBezTo>
                      <a:pt x="211" y="53"/>
                      <a:pt x="214" y="54"/>
                      <a:pt x="213" y="53"/>
                    </a:cubicBezTo>
                    <a:cubicBezTo>
                      <a:pt x="213" y="51"/>
                      <a:pt x="214" y="52"/>
                      <a:pt x="214" y="53"/>
                    </a:cubicBezTo>
                    <a:cubicBezTo>
                      <a:pt x="215" y="54"/>
                      <a:pt x="217" y="52"/>
                      <a:pt x="219" y="52"/>
                    </a:cubicBezTo>
                    <a:cubicBezTo>
                      <a:pt x="221" y="52"/>
                      <a:pt x="219" y="50"/>
                      <a:pt x="219" y="49"/>
                    </a:cubicBezTo>
                    <a:close/>
                  </a:path>
                </a:pathLst>
              </a:custGeom>
              <a:solidFill>
                <a:srgbClr val="0181C7"/>
              </a:solid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84" name="Freeform 130"/>
              <p:cNvSpPr>
                <a:spLocks/>
              </p:cNvSpPr>
              <p:nvPr/>
            </p:nvSpPr>
            <p:spPr bwMode="auto">
              <a:xfrm>
                <a:off x="2480" y="1819"/>
                <a:ext cx="495" cy="667"/>
              </a:xfrm>
              <a:custGeom>
                <a:avLst/>
                <a:gdLst>
                  <a:gd name="T0" fmla="*/ 233 w 247"/>
                  <a:gd name="T1" fmla="*/ 133 h 332"/>
                  <a:gd name="T2" fmla="*/ 230 w 247"/>
                  <a:gd name="T3" fmla="*/ 100 h 332"/>
                  <a:gd name="T4" fmla="*/ 219 w 247"/>
                  <a:gd name="T5" fmla="*/ 59 h 332"/>
                  <a:gd name="T6" fmla="*/ 211 w 247"/>
                  <a:gd name="T7" fmla="*/ 41 h 332"/>
                  <a:gd name="T8" fmla="*/ 190 w 247"/>
                  <a:gd name="T9" fmla="*/ 29 h 332"/>
                  <a:gd name="T10" fmla="*/ 195 w 247"/>
                  <a:gd name="T11" fmla="*/ 17 h 332"/>
                  <a:gd name="T12" fmla="*/ 189 w 247"/>
                  <a:gd name="T13" fmla="*/ 13 h 332"/>
                  <a:gd name="T14" fmla="*/ 184 w 247"/>
                  <a:gd name="T15" fmla="*/ 15 h 332"/>
                  <a:gd name="T16" fmla="*/ 170 w 247"/>
                  <a:gd name="T17" fmla="*/ 23 h 332"/>
                  <a:gd name="T18" fmla="*/ 166 w 247"/>
                  <a:gd name="T19" fmla="*/ 24 h 332"/>
                  <a:gd name="T20" fmla="*/ 143 w 247"/>
                  <a:gd name="T21" fmla="*/ 40 h 332"/>
                  <a:gd name="T22" fmla="*/ 126 w 247"/>
                  <a:gd name="T23" fmla="*/ 40 h 332"/>
                  <a:gd name="T24" fmla="*/ 134 w 247"/>
                  <a:gd name="T25" fmla="*/ 25 h 332"/>
                  <a:gd name="T26" fmla="*/ 133 w 247"/>
                  <a:gd name="T27" fmla="*/ 24 h 332"/>
                  <a:gd name="T28" fmla="*/ 114 w 247"/>
                  <a:gd name="T29" fmla="*/ 23 h 332"/>
                  <a:gd name="T30" fmla="*/ 106 w 247"/>
                  <a:gd name="T31" fmla="*/ 8 h 332"/>
                  <a:gd name="T32" fmla="*/ 86 w 247"/>
                  <a:gd name="T33" fmla="*/ 4 h 332"/>
                  <a:gd name="T34" fmla="*/ 75 w 247"/>
                  <a:gd name="T35" fmla="*/ 12 h 332"/>
                  <a:gd name="T36" fmla="*/ 81 w 247"/>
                  <a:gd name="T37" fmla="*/ 19 h 332"/>
                  <a:gd name="T38" fmla="*/ 78 w 247"/>
                  <a:gd name="T39" fmla="*/ 33 h 332"/>
                  <a:gd name="T40" fmla="*/ 85 w 247"/>
                  <a:gd name="T41" fmla="*/ 44 h 332"/>
                  <a:gd name="T42" fmla="*/ 69 w 247"/>
                  <a:gd name="T43" fmla="*/ 52 h 332"/>
                  <a:gd name="T44" fmla="*/ 62 w 247"/>
                  <a:gd name="T45" fmla="*/ 63 h 332"/>
                  <a:gd name="T46" fmla="*/ 52 w 247"/>
                  <a:gd name="T47" fmla="*/ 49 h 332"/>
                  <a:gd name="T48" fmla="*/ 33 w 247"/>
                  <a:gd name="T49" fmla="*/ 54 h 332"/>
                  <a:gd name="T50" fmla="*/ 33 w 247"/>
                  <a:gd name="T51" fmla="*/ 70 h 332"/>
                  <a:gd name="T52" fmla="*/ 36 w 247"/>
                  <a:gd name="T53" fmla="*/ 86 h 332"/>
                  <a:gd name="T54" fmla="*/ 23 w 247"/>
                  <a:gd name="T55" fmla="*/ 104 h 332"/>
                  <a:gd name="T56" fmla="*/ 31 w 247"/>
                  <a:gd name="T57" fmla="*/ 119 h 332"/>
                  <a:gd name="T58" fmla="*/ 25 w 247"/>
                  <a:gd name="T59" fmla="*/ 126 h 332"/>
                  <a:gd name="T60" fmla="*/ 6 w 247"/>
                  <a:gd name="T61" fmla="*/ 133 h 332"/>
                  <a:gd name="T62" fmla="*/ 7 w 247"/>
                  <a:gd name="T63" fmla="*/ 143 h 332"/>
                  <a:gd name="T64" fmla="*/ 4 w 247"/>
                  <a:gd name="T65" fmla="*/ 158 h 332"/>
                  <a:gd name="T66" fmla="*/ 2 w 247"/>
                  <a:gd name="T67" fmla="*/ 169 h 332"/>
                  <a:gd name="T68" fmla="*/ 3 w 247"/>
                  <a:gd name="T69" fmla="*/ 178 h 332"/>
                  <a:gd name="T70" fmla="*/ 10 w 247"/>
                  <a:gd name="T71" fmla="*/ 189 h 332"/>
                  <a:gd name="T72" fmla="*/ 4 w 247"/>
                  <a:gd name="T73" fmla="*/ 201 h 332"/>
                  <a:gd name="T74" fmla="*/ 11 w 247"/>
                  <a:gd name="T75" fmla="*/ 217 h 332"/>
                  <a:gd name="T76" fmla="*/ 15 w 247"/>
                  <a:gd name="T77" fmla="*/ 241 h 332"/>
                  <a:gd name="T78" fmla="*/ 43 w 247"/>
                  <a:gd name="T79" fmla="*/ 252 h 332"/>
                  <a:gd name="T80" fmla="*/ 45 w 247"/>
                  <a:gd name="T81" fmla="*/ 277 h 332"/>
                  <a:gd name="T82" fmla="*/ 38 w 247"/>
                  <a:gd name="T83" fmla="*/ 311 h 332"/>
                  <a:gd name="T84" fmla="*/ 51 w 247"/>
                  <a:gd name="T85" fmla="*/ 316 h 332"/>
                  <a:gd name="T86" fmla="*/ 60 w 247"/>
                  <a:gd name="T87" fmla="*/ 313 h 332"/>
                  <a:gd name="T88" fmla="*/ 74 w 247"/>
                  <a:gd name="T89" fmla="*/ 307 h 332"/>
                  <a:gd name="T90" fmla="*/ 87 w 247"/>
                  <a:gd name="T91" fmla="*/ 311 h 332"/>
                  <a:gd name="T92" fmla="*/ 99 w 247"/>
                  <a:gd name="T93" fmla="*/ 318 h 332"/>
                  <a:gd name="T94" fmla="*/ 113 w 247"/>
                  <a:gd name="T95" fmla="*/ 327 h 332"/>
                  <a:gd name="T96" fmla="*/ 122 w 247"/>
                  <a:gd name="T97" fmla="*/ 321 h 332"/>
                  <a:gd name="T98" fmla="*/ 141 w 247"/>
                  <a:gd name="T99" fmla="*/ 325 h 332"/>
                  <a:gd name="T100" fmla="*/ 165 w 247"/>
                  <a:gd name="T101" fmla="*/ 316 h 332"/>
                  <a:gd name="T102" fmla="*/ 185 w 247"/>
                  <a:gd name="T103" fmla="*/ 313 h 332"/>
                  <a:gd name="T104" fmla="*/ 199 w 247"/>
                  <a:gd name="T105" fmla="*/ 313 h 332"/>
                  <a:gd name="T106" fmla="*/ 190 w 247"/>
                  <a:gd name="T107" fmla="*/ 296 h 332"/>
                  <a:gd name="T108" fmla="*/ 203 w 247"/>
                  <a:gd name="T109" fmla="*/ 283 h 332"/>
                  <a:gd name="T110" fmla="*/ 218 w 247"/>
                  <a:gd name="T111" fmla="*/ 270 h 332"/>
                  <a:gd name="T112" fmla="*/ 206 w 247"/>
                  <a:gd name="T113" fmla="*/ 254 h 332"/>
                  <a:gd name="T114" fmla="*/ 183 w 247"/>
                  <a:gd name="T115" fmla="*/ 234 h 332"/>
                  <a:gd name="T116" fmla="*/ 167 w 247"/>
                  <a:gd name="T117" fmla="*/ 200 h 332"/>
                  <a:gd name="T118" fmla="*/ 190 w 247"/>
                  <a:gd name="T119" fmla="*/ 193 h 332"/>
                  <a:gd name="T120" fmla="*/ 216 w 247"/>
                  <a:gd name="T121" fmla="*/ 172 h 332"/>
                  <a:gd name="T122" fmla="*/ 236 w 247"/>
                  <a:gd name="T123" fmla="*/ 171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32">
                    <a:moveTo>
                      <a:pt x="247" y="154"/>
                    </a:moveTo>
                    <a:cubicBezTo>
                      <a:pt x="247" y="154"/>
                      <a:pt x="245" y="151"/>
                      <a:pt x="244" y="151"/>
                    </a:cubicBezTo>
                    <a:cubicBezTo>
                      <a:pt x="244" y="151"/>
                      <a:pt x="242" y="148"/>
                      <a:pt x="242" y="147"/>
                    </a:cubicBezTo>
                    <a:cubicBezTo>
                      <a:pt x="242" y="147"/>
                      <a:pt x="242" y="145"/>
                      <a:pt x="242" y="145"/>
                    </a:cubicBezTo>
                    <a:cubicBezTo>
                      <a:pt x="242" y="145"/>
                      <a:pt x="240" y="144"/>
                      <a:pt x="239" y="144"/>
                    </a:cubicBezTo>
                    <a:cubicBezTo>
                      <a:pt x="239" y="143"/>
                      <a:pt x="236" y="143"/>
                      <a:pt x="236" y="143"/>
                    </a:cubicBezTo>
                    <a:cubicBezTo>
                      <a:pt x="236" y="140"/>
                      <a:pt x="236" y="140"/>
                      <a:pt x="236" y="140"/>
                    </a:cubicBezTo>
                    <a:cubicBezTo>
                      <a:pt x="237" y="136"/>
                      <a:pt x="237" y="136"/>
                      <a:pt x="237" y="136"/>
                    </a:cubicBezTo>
                    <a:cubicBezTo>
                      <a:pt x="233" y="133"/>
                      <a:pt x="233" y="133"/>
                      <a:pt x="233" y="133"/>
                    </a:cubicBezTo>
                    <a:cubicBezTo>
                      <a:pt x="232" y="130"/>
                      <a:pt x="232" y="130"/>
                      <a:pt x="232" y="130"/>
                    </a:cubicBezTo>
                    <a:cubicBezTo>
                      <a:pt x="232" y="130"/>
                      <a:pt x="233" y="128"/>
                      <a:pt x="233" y="127"/>
                    </a:cubicBezTo>
                    <a:cubicBezTo>
                      <a:pt x="234" y="126"/>
                      <a:pt x="235" y="123"/>
                      <a:pt x="235" y="123"/>
                    </a:cubicBezTo>
                    <a:cubicBezTo>
                      <a:pt x="233" y="120"/>
                      <a:pt x="233" y="120"/>
                      <a:pt x="233" y="120"/>
                    </a:cubicBezTo>
                    <a:cubicBezTo>
                      <a:pt x="233" y="120"/>
                      <a:pt x="232" y="119"/>
                      <a:pt x="233" y="118"/>
                    </a:cubicBezTo>
                    <a:cubicBezTo>
                      <a:pt x="233" y="118"/>
                      <a:pt x="232" y="113"/>
                      <a:pt x="232" y="113"/>
                    </a:cubicBezTo>
                    <a:cubicBezTo>
                      <a:pt x="232" y="113"/>
                      <a:pt x="232" y="109"/>
                      <a:pt x="230" y="109"/>
                    </a:cubicBezTo>
                    <a:cubicBezTo>
                      <a:pt x="229" y="109"/>
                      <a:pt x="228" y="106"/>
                      <a:pt x="228" y="106"/>
                    </a:cubicBezTo>
                    <a:cubicBezTo>
                      <a:pt x="230" y="100"/>
                      <a:pt x="230" y="100"/>
                      <a:pt x="230" y="100"/>
                    </a:cubicBezTo>
                    <a:cubicBezTo>
                      <a:pt x="230" y="100"/>
                      <a:pt x="231" y="96"/>
                      <a:pt x="228" y="95"/>
                    </a:cubicBezTo>
                    <a:cubicBezTo>
                      <a:pt x="225" y="94"/>
                      <a:pt x="221" y="92"/>
                      <a:pt x="220" y="91"/>
                    </a:cubicBezTo>
                    <a:cubicBezTo>
                      <a:pt x="220" y="90"/>
                      <a:pt x="218" y="88"/>
                      <a:pt x="217" y="87"/>
                    </a:cubicBezTo>
                    <a:cubicBezTo>
                      <a:pt x="216" y="87"/>
                      <a:pt x="216" y="87"/>
                      <a:pt x="216" y="87"/>
                    </a:cubicBezTo>
                    <a:cubicBezTo>
                      <a:pt x="217" y="80"/>
                      <a:pt x="217" y="80"/>
                      <a:pt x="217" y="80"/>
                    </a:cubicBezTo>
                    <a:cubicBezTo>
                      <a:pt x="221" y="77"/>
                      <a:pt x="221" y="77"/>
                      <a:pt x="221" y="77"/>
                    </a:cubicBezTo>
                    <a:cubicBezTo>
                      <a:pt x="221" y="70"/>
                      <a:pt x="221" y="70"/>
                      <a:pt x="221" y="70"/>
                    </a:cubicBezTo>
                    <a:cubicBezTo>
                      <a:pt x="221" y="63"/>
                      <a:pt x="221" y="63"/>
                      <a:pt x="221" y="63"/>
                    </a:cubicBezTo>
                    <a:cubicBezTo>
                      <a:pt x="221" y="63"/>
                      <a:pt x="222" y="61"/>
                      <a:pt x="219" y="59"/>
                    </a:cubicBezTo>
                    <a:cubicBezTo>
                      <a:pt x="217" y="56"/>
                      <a:pt x="217" y="53"/>
                      <a:pt x="217" y="52"/>
                    </a:cubicBezTo>
                    <a:cubicBezTo>
                      <a:pt x="217" y="52"/>
                      <a:pt x="216" y="49"/>
                      <a:pt x="216" y="48"/>
                    </a:cubicBezTo>
                    <a:cubicBezTo>
                      <a:pt x="216" y="47"/>
                      <a:pt x="215" y="47"/>
                      <a:pt x="215" y="46"/>
                    </a:cubicBezTo>
                    <a:cubicBezTo>
                      <a:pt x="212" y="46"/>
                      <a:pt x="208" y="47"/>
                      <a:pt x="208" y="47"/>
                    </a:cubicBezTo>
                    <a:cubicBezTo>
                      <a:pt x="208" y="47"/>
                      <a:pt x="207" y="46"/>
                      <a:pt x="206" y="46"/>
                    </a:cubicBezTo>
                    <a:cubicBezTo>
                      <a:pt x="206" y="46"/>
                      <a:pt x="204" y="44"/>
                      <a:pt x="204" y="44"/>
                    </a:cubicBezTo>
                    <a:cubicBezTo>
                      <a:pt x="206" y="44"/>
                      <a:pt x="206" y="44"/>
                      <a:pt x="206" y="44"/>
                    </a:cubicBezTo>
                    <a:cubicBezTo>
                      <a:pt x="209" y="43"/>
                      <a:pt x="209" y="43"/>
                      <a:pt x="209" y="43"/>
                    </a:cubicBezTo>
                    <a:cubicBezTo>
                      <a:pt x="211" y="41"/>
                      <a:pt x="211" y="41"/>
                      <a:pt x="211" y="41"/>
                    </a:cubicBezTo>
                    <a:cubicBezTo>
                      <a:pt x="212" y="40"/>
                      <a:pt x="212" y="40"/>
                      <a:pt x="212" y="40"/>
                    </a:cubicBezTo>
                    <a:cubicBezTo>
                      <a:pt x="211" y="36"/>
                      <a:pt x="211" y="36"/>
                      <a:pt x="211" y="36"/>
                    </a:cubicBezTo>
                    <a:cubicBezTo>
                      <a:pt x="210" y="36"/>
                      <a:pt x="210" y="36"/>
                      <a:pt x="210" y="36"/>
                    </a:cubicBezTo>
                    <a:cubicBezTo>
                      <a:pt x="210" y="36"/>
                      <a:pt x="206" y="34"/>
                      <a:pt x="206" y="33"/>
                    </a:cubicBezTo>
                    <a:cubicBezTo>
                      <a:pt x="206" y="33"/>
                      <a:pt x="205" y="31"/>
                      <a:pt x="205" y="31"/>
                    </a:cubicBezTo>
                    <a:cubicBezTo>
                      <a:pt x="203" y="31"/>
                      <a:pt x="203" y="31"/>
                      <a:pt x="203" y="31"/>
                    </a:cubicBezTo>
                    <a:cubicBezTo>
                      <a:pt x="203" y="31"/>
                      <a:pt x="197" y="31"/>
                      <a:pt x="197" y="31"/>
                    </a:cubicBezTo>
                    <a:cubicBezTo>
                      <a:pt x="197" y="32"/>
                      <a:pt x="193" y="31"/>
                      <a:pt x="193" y="31"/>
                    </a:cubicBezTo>
                    <a:cubicBezTo>
                      <a:pt x="193" y="31"/>
                      <a:pt x="191" y="30"/>
                      <a:pt x="190" y="29"/>
                    </a:cubicBezTo>
                    <a:cubicBezTo>
                      <a:pt x="190" y="28"/>
                      <a:pt x="190" y="27"/>
                      <a:pt x="190" y="26"/>
                    </a:cubicBezTo>
                    <a:cubicBezTo>
                      <a:pt x="190" y="25"/>
                      <a:pt x="190" y="26"/>
                      <a:pt x="192" y="25"/>
                    </a:cubicBezTo>
                    <a:cubicBezTo>
                      <a:pt x="193" y="24"/>
                      <a:pt x="194" y="24"/>
                      <a:pt x="195" y="24"/>
                    </a:cubicBezTo>
                    <a:cubicBezTo>
                      <a:pt x="195" y="23"/>
                      <a:pt x="195" y="23"/>
                      <a:pt x="195" y="23"/>
                    </a:cubicBezTo>
                    <a:cubicBezTo>
                      <a:pt x="195" y="23"/>
                      <a:pt x="199" y="23"/>
                      <a:pt x="199" y="23"/>
                    </a:cubicBezTo>
                    <a:cubicBezTo>
                      <a:pt x="199" y="23"/>
                      <a:pt x="199" y="21"/>
                      <a:pt x="199" y="21"/>
                    </a:cubicBezTo>
                    <a:cubicBezTo>
                      <a:pt x="197" y="20"/>
                      <a:pt x="197" y="20"/>
                      <a:pt x="197" y="20"/>
                    </a:cubicBezTo>
                    <a:cubicBezTo>
                      <a:pt x="197" y="20"/>
                      <a:pt x="195" y="18"/>
                      <a:pt x="195" y="18"/>
                    </a:cubicBezTo>
                    <a:cubicBezTo>
                      <a:pt x="195" y="17"/>
                      <a:pt x="195" y="17"/>
                      <a:pt x="195" y="17"/>
                    </a:cubicBezTo>
                    <a:cubicBezTo>
                      <a:pt x="195" y="17"/>
                      <a:pt x="197" y="15"/>
                      <a:pt x="197" y="15"/>
                    </a:cubicBezTo>
                    <a:cubicBezTo>
                      <a:pt x="198" y="14"/>
                      <a:pt x="197" y="13"/>
                      <a:pt x="197" y="13"/>
                    </a:cubicBezTo>
                    <a:cubicBezTo>
                      <a:pt x="197" y="13"/>
                      <a:pt x="196" y="12"/>
                      <a:pt x="195" y="12"/>
                    </a:cubicBezTo>
                    <a:cubicBezTo>
                      <a:pt x="195" y="12"/>
                      <a:pt x="194" y="14"/>
                      <a:pt x="194" y="14"/>
                    </a:cubicBezTo>
                    <a:cubicBezTo>
                      <a:pt x="193" y="14"/>
                      <a:pt x="193" y="16"/>
                      <a:pt x="193" y="16"/>
                    </a:cubicBezTo>
                    <a:cubicBezTo>
                      <a:pt x="193" y="16"/>
                      <a:pt x="191" y="17"/>
                      <a:pt x="191" y="17"/>
                    </a:cubicBezTo>
                    <a:cubicBezTo>
                      <a:pt x="190" y="16"/>
                      <a:pt x="191" y="16"/>
                      <a:pt x="191" y="15"/>
                    </a:cubicBezTo>
                    <a:cubicBezTo>
                      <a:pt x="191" y="15"/>
                      <a:pt x="190" y="14"/>
                      <a:pt x="190" y="14"/>
                    </a:cubicBezTo>
                    <a:cubicBezTo>
                      <a:pt x="190" y="14"/>
                      <a:pt x="189" y="13"/>
                      <a:pt x="189" y="13"/>
                    </a:cubicBezTo>
                    <a:cubicBezTo>
                      <a:pt x="189" y="12"/>
                      <a:pt x="190" y="12"/>
                      <a:pt x="191" y="12"/>
                    </a:cubicBezTo>
                    <a:cubicBezTo>
                      <a:pt x="191" y="11"/>
                      <a:pt x="191" y="10"/>
                      <a:pt x="191" y="10"/>
                    </a:cubicBezTo>
                    <a:cubicBezTo>
                      <a:pt x="191" y="10"/>
                      <a:pt x="191" y="9"/>
                      <a:pt x="190" y="9"/>
                    </a:cubicBezTo>
                    <a:cubicBezTo>
                      <a:pt x="190" y="8"/>
                      <a:pt x="189" y="9"/>
                      <a:pt x="189" y="9"/>
                    </a:cubicBezTo>
                    <a:cubicBezTo>
                      <a:pt x="189" y="9"/>
                      <a:pt x="187" y="11"/>
                      <a:pt x="187" y="11"/>
                    </a:cubicBezTo>
                    <a:cubicBezTo>
                      <a:pt x="187" y="11"/>
                      <a:pt x="186" y="12"/>
                      <a:pt x="186" y="12"/>
                    </a:cubicBezTo>
                    <a:cubicBezTo>
                      <a:pt x="186" y="12"/>
                      <a:pt x="186" y="14"/>
                      <a:pt x="186" y="14"/>
                    </a:cubicBezTo>
                    <a:cubicBezTo>
                      <a:pt x="186" y="14"/>
                      <a:pt x="184" y="15"/>
                      <a:pt x="184" y="15"/>
                    </a:cubicBezTo>
                    <a:cubicBezTo>
                      <a:pt x="184" y="15"/>
                      <a:pt x="184" y="15"/>
                      <a:pt x="184" y="15"/>
                    </a:cubicBezTo>
                    <a:cubicBezTo>
                      <a:pt x="184" y="15"/>
                      <a:pt x="183" y="17"/>
                      <a:pt x="183" y="17"/>
                    </a:cubicBezTo>
                    <a:cubicBezTo>
                      <a:pt x="183" y="17"/>
                      <a:pt x="183" y="19"/>
                      <a:pt x="183" y="19"/>
                    </a:cubicBezTo>
                    <a:cubicBezTo>
                      <a:pt x="183" y="19"/>
                      <a:pt x="182" y="20"/>
                      <a:pt x="181" y="21"/>
                    </a:cubicBezTo>
                    <a:cubicBezTo>
                      <a:pt x="180" y="21"/>
                      <a:pt x="180" y="22"/>
                      <a:pt x="180" y="22"/>
                    </a:cubicBezTo>
                    <a:cubicBezTo>
                      <a:pt x="180" y="23"/>
                      <a:pt x="180" y="23"/>
                      <a:pt x="180" y="23"/>
                    </a:cubicBezTo>
                    <a:cubicBezTo>
                      <a:pt x="177" y="24"/>
                      <a:pt x="177" y="24"/>
                      <a:pt x="177" y="24"/>
                    </a:cubicBezTo>
                    <a:cubicBezTo>
                      <a:pt x="177" y="24"/>
                      <a:pt x="175" y="23"/>
                      <a:pt x="175" y="23"/>
                    </a:cubicBezTo>
                    <a:cubicBezTo>
                      <a:pt x="175" y="23"/>
                      <a:pt x="173" y="23"/>
                      <a:pt x="173" y="23"/>
                    </a:cubicBezTo>
                    <a:cubicBezTo>
                      <a:pt x="173" y="23"/>
                      <a:pt x="170" y="23"/>
                      <a:pt x="170" y="23"/>
                    </a:cubicBezTo>
                    <a:cubicBezTo>
                      <a:pt x="170" y="23"/>
                      <a:pt x="169" y="24"/>
                      <a:pt x="169" y="24"/>
                    </a:cubicBezTo>
                    <a:cubicBezTo>
                      <a:pt x="168" y="26"/>
                      <a:pt x="168" y="26"/>
                      <a:pt x="168" y="26"/>
                    </a:cubicBezTo>
                    <a:cubicBezTo>
                      <a:pt x="168" y="26"/>
                      <a:pt x="168" y="24"/>
                      <a:pt x="168" y="24"/>
                    </a:cubicBezTo>
                    <a:cubicBezTo>
                      <a:pt x="169" y="23"/>
                      <a:pt x="170" y="22"/>
                      <a:pt x="170" y="22"/>
                    </a:cubicBezTo>
                    <a:cubicBezTo>
                      <a:pt x="171" y="22"/>
                      <a:pt x="171" y="21"/>
                      <a:pt x="171" y="20"/>
                    </a:cubicBezTo>
                    <a:cubicBezTo>
                      <a:pt x="171" y="20"/>
                      <a:pt x="170" y="19"/>
                      <a:pt x="170" y="19"/>
                    </a:cubicBezTo>
                    <a:cubicBezTo>
                      <a:pt x="168" y="20"/>
                      <a:pt x="168" y="20"/>
                      <a:pt x="168" y="20"/>
                    </a:cubicBezTo>
                    <a:cubicBezTo>
                      <a:pt x="168" y="20"/>
                      <a:pt x="167" y="22"/>
                      <a:pt x="167" y="23"/>
                    </a:cubicBezTo>
                    <a:cubicBezTo>
                      <a:pt x="167" y="24"/>
                      <a:pt x="166" y="24"/>
                      <a:pt x="166" y="24"/>
                    </a:cubicBezTo>
                    <a:cubicBezTo>
                      <a:pt x="164" y="26"/>
                      <a:pt x="164" y="26"/>
                      <a:pt x="164" y="26"/>
                    </a:cubicBezTo>
                    <a:cubicBezTo>
                      <a:pt x="163" y="28"/>
                      <a:pt x="163" y="28"/>
                      <a:pt x="163" y="28"/>
                    </a:cubicBezTo>
                    <a:cubicBezTo>
                      <a:pt x="163" y="28"/>
                      <a:pt x="160" y="31"/>
                      <a:pt x="159" y="31"/>
                    </a:cubicBezTo>
                    <a:cubicBezTo>
                      <a:pt x="159" y="32"/>
                      <a:pt x="156" y="33"/>
                      <a:pt x="156" y="33"/>
                    </a:cubicBezTo>
                    <a:cubicBezTo>
                      <a:pt x="156" y="33"/>
                      <a:pt x="151" y="33"/>
                      <a:pt x="150" y="33"/>
                    </a:cubicBezTo>
                    <a:cubicBezTo>
                      <a:pt x="149" y="33"/>
                      <a:pt x="148" y="35"/>
                      <a:pt x="148" y="35"/>
                    </a:cubicBezTo>
                    <a:cubicBezTo>
                      <a:pt x="148" y="35"/>
                      <a:pt x="147" y="36"/>
                      <a:pt x="147" y="37"/>
                    </a:cubicBezTo>
                    <a:cubicBezTo>
                      <a:pt x="146" y="37"/>
                      <a:pt x="145" y="38"/>
                      <a:pt x="145" y="38"/>
                    </a:cubicBezTo>
                    <a:cubicBezTo>
                      <a:pt x="144" y="39"/>
                      <a:pt x="143" y="40"/>
                      <a:pt x="143" y="40"/>
                    </a:cubicBezTo>
                    <a:cubicBezTo>
                      <a:pt x="143" y="40"/>
                      <a:pt x="142" y="42"/>
                      <a:pt x="142" y="42"/>
                    </a:cubicBezTo>
                    <a:cubicBezTo>
                      <a:pt x="142" y="43"/>
                      <a:pt x="139" y="42"/>
                      <a:pt x="139" y="42"/>
                    </a:cubicBezTo>
                    <a:cubicBezTo>
                      <a:pt x="138" y="41"/>
                      <a:pt x="138" y="41"/>
                      <a:pt x="138" y="41"/>
                    </a:cubicBezTo>
                    <a:cubicBezTo>
                      <a:pt x="135" y="40"/>
                      <a:pt x="135" y="40"/>
                      <a:pt x="135" y="40"/>
                    </a:cubicBezTo>
                    <a:cubicBezTo>
                      <a:pt x="132" y="40"/>
                      <a:pt x="132" y="40"/>
                      <a:pt x="132" y="40"/>
                    </a:cubicBezTo>
                    <a:cubicBezTo>
                      <a:pt x="131" y="41"/>
                      <a:pt x="131" y="41"/>
                      <a:pt x="131" y="41"/>
                    </a:cubicBezTo>
                    <a:cubicBezTo>
                      <a:pt x="130" y="42"/>
                      <a:pt x="130" y="42"/>
                      <a:pt x="130" y="42"/>
                    </a:cubicBezTo>
                    <a:cubicBezTo>
                      <a:pt x="128" y="42"/>
                      <a:pt x="128" y="42"/>
                      <a:pt x="128" y="42"/>
                    </a:cubicBezTo>
                    <a:cubicBezTo>
                      <a:pt x="126" y="40"/>
                      <a:pt x="126" y="40"/>
                      <a:pt x="126" y="40"/>
                    </a:cubicBezTo>
                    <a:cubicBezTo>
                      <a:pt x="125" y="38"/>
                      <a:pt x="125" y="38"/>
                      <a:pt x="125" y="38"/>
                    </a:cubicBezTo>
                    <a:cubicBezTo>
                      <a:pt x="126" y="37"/>
                      <a:pt x="126" y="37"/>
                      <a:pt x="126" y="37"/>
                    </a:cubicBezTo>
                    <a:cubicBezTo>
                      <a:pt x="129" y="37"/>
                      <a:pt x="129" y="37"/>
                      <a:pt x="129" y="37"/>
                    </a:cubicBezTo>
                    <a:cubicBezTo>
                      <a:pt x="131" y="35"/>
                      <a:pt x="131" y="35"/>
                      <a:pt x="131" y="35"/>
                    </a:cubicBezTo>
                    <a:cubicBezTo>
                      <a:pt x="131" y="34"/>
                      <a:pt x="131" y="34"/>
                      <a:pt x="131" y="34"/>
                    </a:cubicBezTo>
                    <a:cubicBezTo>
                      <a:pt x="131" y="34"/>
                      <a:pt x="133" y="33"/>
                      <a:pt x="133" y="33"/>
                    </a:cubicBezTo>
                    <a:cubicBezTo>
                      <a:pt x="134" y="33"/>
                      <a:pt x="134" y="31"/>
                      <a:pt x="134" y="31"/>
                    </a:cubicBezTo>
                    <a:cubicBezTo>
                      <a:pt x="134" y="28"/>
                      <a:pt x="134" y="28"/>
                      <a:pt x="134" y="28"/>
                    </a:cubicBezTo>
                    <a:cubicBezTo>
                      <a:pt x="134" y="25"/>
                      <a:pt x="134" y="25"/>
                      <a:pt x="134" y="25"/>
                    </a:cubicBezTo>
                    <a:cubicBezTo>
                      <a:pt x="135" y="23"/>
                      <a:pt x="135" y="23"/>
                      <a:pt x="135" y="23"/>
                    </a:cubicBezTo>
                    <a:cubicBezTo>
                      <a:pt x="138" y="22"/>
                      <a:pt x="138" y="22"/>
                      <a:pt x="138" y="22"/>
                    </a:cubicBezTo>
                    <a:cubicBezTo>
                      <a:pt x="138" y="20"/>
                      <a:pt x="138" y="20"/>
                      <a:pt x="138" y="20"/>
                    </a:cubicBezTo>
                    <a:cubicBezTo>
                      <a:pt x="137" y="17"/>
                      <a:pt x="137" y="17"/>
                      <a:pt x="137" y="17"/>
                    </a:cubicBezTo>
                    <a:cubicBezTo>
                      <a:pt x="137" y="17"/>
                      <a:pt x="133" y="17"/>
                      <a:pt x="133" y="17"/>
                    </a:cubicBezTo>
                    <a:cubicBezTo>
                      <a:pt x="132" y="17"/>
                      <a:pt x="131" y="18"/>
                      <a:pt x="131" y="18"/>
                    </a:cubicBezTo>
                    <a:cubicBezTo>
                      <a:pt x="131" y="21"/>
                      <a:pt x="131" y="21"/>
                      <a:pt x="131" y="21"/>
                    </a:cubicBezTo>
                    <a:cubicBezTo>
                      <a:pt x="133" y="23"/>
                      <a:pt x="133" y="23"/>
                      <a:pt x="133" y="23"/>
                    </a:cubicBezTo>
                    <a:cubicBezTo>
                      <a:pt x="133" y="24"/>
                      <a:pt x="133" y="24"/>
                      <a:pt x="133" y="24"/>
                    </a:cubicBezTo>
                    <a:cubicBezTo>
                      <a:pt x="131" y="25"/>
                      <a:pt x="131" y="25"/>
                      <a:pt x="131" y="25"/>
                    </a:cubicBezTo>
                    <a:cubicBezTo>
                      <a:pt x="129" y="24"/>
                      <a:pt x="129" y="24"/>
                      <a:pt x="129" y="24"/>
                    </a:cubicBezTo>
                    <a:cubicBezTo>
                      <a:pt x="128" y="26"/>
                      <a:pt x="128" y="26"/>
                      <a:pt x="128" y="26"/>
                    </a:cubicBezTo>
                    <a:cubicBezTo>
                      <a:pt x="127" y="28"/>
                      <a:pt x="127" y="28"/>
                      <a:pt x="127" y="28"/>
                    </a:cubicBezTo>
                    <a:cubicBezTo>
                      <a:pt x="123" y="27"/>
                      <a:pt x="123" y="27"/>
                      <a:pt x="123" y="27"/>
                    </a:cubicBezTo>
                    <a:cubicBezTo>
                      <a:pt x="120" y="25"/>
                      <a:pt x="120" y="25"/>
                      <a:pt x="120" y="25"/>
                    </a:cubicBezTo>
                    <a:cubicBezTo>
                      <a:pt x="118" y="23"/>
                      <a:pt x="118" y="23"/>
                      <a:pt x="118" y="23"/>
                    </a:cubicBezTo>
                    <a:cubicBezTo>
                      <a:pt x="115" y="23"/>
                      <a:pt x="115" y="23"/>
                      <a:pt x="115" y="23"/>
                    </a:cubicBezTo>
                    <a:cubicBezTo>
                      <a:pt x="114" y="23"/>
                      <a:pt x="114" y="23"/>
                      <a:pt x="114" y="23"/>
                    </a:cubicBezTo>
                    <a:cubicBezTo>
                      <a:pt x="111" y="23"/>
                      <a:pt x="111" y="23"/>
                      <a:pt x="111" y="23"/>
                    </a:cubicBezTo>
                    <a:cubicBezTo>
                      <a:pt x="110" y="22"/>
                      <a:pt x="110" y="22"/>
                      <a:pt x="110" y="22"/>
                    </a:cubicBezTo>
                    <a:cubicBezTo>
                      <a:pt x="109" y="21"/>
                      <a:pt x="109" y="21"/>
                      <a:pt x="109" y="21"/>
                    </a:cubicBezTo>
                    <a:cubicBezTo>
                      <a:pt x="107" y="21"/>
                      <a:pt x="107" y="21"/>
                      <a:pt x="107" y="21"/>
                    </a:cubicBezTo>
                    <a:cubicBezTo>
                      <a:pt x="105" y="20"/>
                      <a:pt x="105" y="20"/>
                      <a:pt x="105" y="20"/>
                    </a:cubicBezTo>
                    <a:cubicBezTo>
                      <a:pt x="105" y="18"/>
                      <a:pt x="105" y="18"/>
                      <a:pt x="105" y="18"/>
                    </a:cubicBezTo>
                    <a:cubicBezTo>
                      <a:pt x="105" y="18"/>
                      <a:pt x="106" y="15"/>
                      <a:pt x="106" y="14"/>
                    </a:cubicBezTo>
                    <a:cubicBezTo>
                      <a:pt x="107" y="14"/>
                      <a:pt x="107" y="12"/>
                      <a:pt x="107" y="12"/>
                    </a:cubicBezTo>
                    <a:cubicBezTo>
                      <a:pt x="106" y="8"/>
                      <a:pt x="106" y="8"/>
                      <a:pt x="106" y="8"/>
                    </a:cubicBezTo>
                    <a:cubicBezTo>
                      <a:pt x="99" y="1"/>
                      <a:pt x="99" y="1"/>
                      <a:pt x="99" y="1"/>
                    </a:cubicBezTo>
                    <a:cubicBezTo>
                      <a:pt x="99" y="3"/>
                      <a:pt x="99" y="3"/>
                      <a:pt x="99" y="3"/>
                    </a:cubicBezTo>
                    <a:cubicBezTo>
                      <a:pt x="97" y="4"/>
                      <a:pt x="97" y="4"/>
                      <a:pt x="97" y="4"/>
                    </a:cubicBezTo>
                    <a:cubicBezTo>
                      <a:pt x="96" y="2"/>
                      <a:pt x="96" y="2"/>
                      <a:pt x="96" y="2"/>
                    </a:cubicBezTo>
                    <a:cubicBezTo>
                      <a:pt x="96" y="2"/>
                      <a:pt x="95" y="1"/>
                      <a:pt x="95" y="2"/>
                    </a:cubicBezTo>
                    <a:cubicBezTo>
                      <a:pt x="94" y="2"/>
                      <a:pt x="91" y="4"/>
                      <a:pt x="91" y="4"/>
                    </a:cubicBezTo>
                    <a:cubicBezTo>
                      <a:pt x="91" y="4"/>
                      <a:pt x="90" y="4"/>
                      <a:pt x="89" y="4"/>
                    </a:cubicBezTo>
                    <a:cubicBezTo>
                      <a:pt x="89" y="4"/>
                      <a:pt x="88" y="5"/>
                      <a:pt x="88" y="5"/>
                    </a:cubicBezTo>
                    <a:cubicBezTo>
                      <a:pt x="86" y="4"/>
                      <a:pt x="86" y="4"/>
                      <a:pt x="86" y="4"/>
                    </a:cubicBezTo>
                    <a:cubicBezTo>
                      <a:pt x="83" y="2"/>
                      <a:pt x="83" y="2"/>
                      <a:pt x="83" y="2"/>
                    </a:cubicBezTo>
                    <a:cubicBezTo>
                      <a:pt x="83" y="2"/>
                      <a:pt x="81" y="2"/>
                      <a:pt x="80" y="2"/>
                    </a:cubicBezTo>
                    <a:cubicBezTo>
                      <a:pt x="79" y="2"/>
                      <a:pt x="76" y="0"/>
                      <a:pt x="76" y="0"/>
                    </a:cubicBezTo>
                    <a:cubicBezTo>
                      <a:pt x="74" y="0"/>
                      <a:pt x="74" y="0"/>
                      <a:pt x="74" y="0"/>
                    </a:cubicBezTo>
                    <a:cubicBezTo>
                      <a:pt x="71" y="1"/>
                      <a:pt x="71" y="1"/>
                      <a:pt x="71" y="1"/>
                    </a:cubicBezTo>
                    <a:cubicBezTo>
                      <a:pt x="72" y="7"/>
                      <a:pt x="72" y="7"/>
                      <a:pt x="72" y="7"/>
                    </a:cubicBezTo>
                    <a:cubicBezTo>
                      <a:pt x="73" y="9"/>
                      <a:pt x="73" y="9"/>
                      <a:pt x="73" y="9"/>
                    </a:cubicBezTo>
                    <a:cubicBezTo>
                      <a:pt x="74" y="11"/>
                      <a:pt x="74" y="11"/>
                      <a:pt x="74" y="11"/>
                    </a:cubicBezTo>
                    <a:cubicBezTo>
                      <a:pt x="75" y="12"/>
                      <a:pt x="75" y="12"/>
                      <a:pt x="75" y="12"/>
                    </a:cubicBezTo>
                    <a:cubicBezTo>
                      <a:pt x="77" y="14"/>
                      <a:pt x="77" y="14"/>
                      <a:pt x="77" y="14"/>
                    </a:cubicBezTo>
                    <a:cubicBezTo>
                      <a:pt x="79" y="17"/>
                      <a:pt x="79" y="17"/>
                      <a:pt x="79" y="17"/>
                    </a:cubicBezTo>
                    <a:cubicBezTo>
                      <a:pt x="80" y="19"/>
                      <a:pt x="80" y="19"/>
                      <a:pt x="80" y="19"/>
                    </a:cubicBezTo>
                    <a:cubicBezTo>
                      <a:pt x="79" y="19"/>
                      <a:pt x="79" y="19"/>
                      <a:pt x="79" y="19"/>
                    </a:cubicBezTo>
                    <a:cubicBezTo>
                      <a:pt x="77" y="19"/>
                      <a:pt x="77" y="19"/>
                      <a:pt x="77" y="19"/>
                    </a:cubicBezTo>
                    <a:cubicBezTo>
                      <a:pt x="77" y="21"/>
                      <a:pt x="77" y="21"/>
                      <a:pt x="77" y="21"/>
                    </a:cubicBezTo>
                    <a:cubicBezTo>
                      <a:pt x="77" y="21"/>
                      <a:pt x="78" y="21"/>
                      <a:pt x="78" y="21"/>
                    </a:cubicBezTo>
                    <a:cubicBezTo>
                      <a:pt x="79" y="21"/>
                      <a:pt x="80" y="20"/>
                      <a:pt x="80" y="20"/>
                    </a:cubicBezTo>
                    <a:cubicBezTo>
                      <a:pt x="81" y="19"/>
                      <a:pt x="81" y="19"/>
                      <a:pt x="81" y="19"/>
                    </a:cubicBezTo>
                    <a:cubicBezTo>
                      <a:pt x="82" y="21"/>
                      <a:pt x="82" y="21"/>
                      <a:pt x="82" y="21"/>
                    </a:cubicBezTo>
                    <a:cubicBezTo>
                      <a:pt x="76" y="23"/>
                      <a:pt x="76" y="23"/>
                      <a:pt x="76" y="23"/>
                    </a:cubicBezTo>
                    <a:cubicBezTo>
                      <a:pt x="72" y="24"/>
                      <a:pt x="72" y="24"/>
                      <a:pt x="72" y="24"/>
                    </a:cubicBezTo>
                    <a:cubicBezTo>
                      <a:pt x="71" y="27"/>
                      <a:pt x="71" y="27"/>
                      <a:pt x="71" y="27"/>
                    </a:cubicBezTo>
                    <a:cubicBezTo>
                      <a:pt x="73" y="29"/>
                      <a:pt x="73" y="29"/>
                      <a:pt x="73" y="29"/>
                    </a:cubicBezTo>
                    <a:cubicBezTo>
                      <a:pt x="75" y="29"/>
                      <a:pt x="75" y="29"/>
                      <a:pt x="75" y="29"/>
                    </a:cubicBezTo>
                    <a:cubicBezTo>
                      <a:pt x="78" y="29"/>
                      <a:pt x="78" y="29"/>
                      <a:pt x="78" y="29"/>
                    </a:cubicBezTo>
                    <a:cubicBezTo>
                      <a:pt x="78" y="29"/>
                      <a:pt x="78" y="30"/>
                      <a:pt x="77" y="31"/>
                    </a:cubicBezTo>
                    <a:cubicBezTo>
                      <a:pt x="77" y="33"/>
                      <a:pt x="78" y="33"/>
                      <a:pt x="78" y="33"/>
                    </a:cubicBezTo>
                    <a:cubicBezTo>
                      <a:pt x="80" y="33"/>
                      <a:pt x="80" y="33"/>
                      <a:pt x="80" y="33"/>
                    </a:cubicBezTo>
                    <a:cubicBezTo>
                      <a:pt x="80" y="33"/>
                      <a:pt x="80" y="34"/>
                      <a:pt x="79" y="35"/>
                    </a:cubicBezTo>
                    <a:cubicBezTo>
                      <a:pt x="78" y="35"/>
                      <a:pt x="78" y="38"/>
                      <a:pt x="78" y="38"/>
                    </a:cubicBezTo>
                    <a:cubicBezTo>
                      <a:pt x="81" y="40"/>
                      <a:pt x="81" y="40"/>
                      <a:pt x="81" y="40"/>
                    </a:cubicBezTo>
                    <a:cubicBezTo>
                      <a:pt x="80" y="41"/>
                      <a:pt x="80" y="41"/>
                      <a:pt x="80" y="41"/>
                    </a:cubicBezTo>
                    <a:cubicBezTo>
                      <a:pt x="79" y="43"/>
                      <a:pt x="79" y="43"/>
                      <a:pt x="79" y="43"/>
                    </a:cubicBezTo>
                    <a:cubicBezTo>
                      <a:pt x="79" y="43"/>
                      <a:pt x="81" y="45"/>
                      <a:pt x="81" y="46"/>
                    </a:cubicBezTo>
                    <a:cubicBezTo>
                      <a:pt x="81" y="46"/>
                      <a:pt x="84" y="46"/>
                      <a:pt x="84" y="46"/>
                    </a:cubicBezTo>
                    <a:cubicBezTo>
                      <a:pt x="84" y="46"/>
                      <a:pt x="85" y="44"/>
                      <a:pt x="85" y="44"/>
                    </a:cubicBezTo>
                    <a:cubicBezTo>
                      <a:pt x="85" y="44"/>
                      <a:pt x="87" y="45"/>
                      <a:pt x="87" y="45"/>
                    </a:cubicBezTo>
                    <a:cubicBezTo>
                      <a:pt x="88" y="45"/>
                      <a:pt x="89" y="47"/>
                      <a:pt x="89" y="47"/>
                    </a:cubicBezTo>
                    <a:cubicBezTo>
                      <a:pt x="86" y="47"/>
                      <a:pt x="86" y="47"/>
                      <a:pt x="86" y="47"/>
                    </a:cubicBezTo>
                    <a:cubicBezTo>
                      <a:pt x="84" y="48"/>
                      <a:pt x="84" y="48"/>
                      <a:pt x="84" y="48"/>
                    </a:cubicBezTo>
                    <a:cubicBezTo>
                      <a:pt x="79" y="48"/>
                      <a:pt x="79" y="48"/>
                      <a:pt x="79" y="48"/>
                    </a:cubicBezTo>
                    <a:cubicBezTo>
                      <a:pt x="75" y="48"/>
                      <a:pt x="75" y="48"/>
                      <a:pt x="75" y="48"/>
                    </a:cubicBezTo>
                    <a:cubicBezTo>
                      <a:pt x="73" y="47"/>
                      <a:pt x="73" y="47"/>
                      <a:pt x="73" y="47"/>
                    </a:cubicBezTo>
                    <a:cubicBezTo>
                      <a:pt x="70" y="49"/>
                      <a:pt x="70" y="49"/>
                      <a:pt x="70" y="49"/>
                    </a:cubicBezTo>
                    <a:cubicBezTo>
                      <a:pt x="69" y="52"/>
                      <a:pt x="69" y="52"/>
                      <a:pt x="69" y="52"/>
                    </a:cubicBezTo>
                    <a:cubicBezTo>
                      <a:pt x="68" y="56"/>
                      <a:pt x="68" y="56"/>
                      <a:pt x="68" y="56"/>
                    </a:cubicBezTo>
                    <a:cubicBezTo>
                      <a:pt x="68" y="56"/>
                      <a:pt x="70" y="60"/>
                      <a:pt x="71" y="60"/>
                    </a:cubicBezTo>
                    <a:cubicBezTo>
                      <a:pt x="71" y="60"/>
                      <a:pt x="68" y="61"/>
                      <a:pt x="68" y="61"/>
                    </a:cubicBezTo>
                    <a:cubicBezTo>
                      <a:pt x="66" y="60"/>
                      <a:pt x="66" y="60"/>
                      <a:pt x="66" y="60"/>
                    </a:cubicBezTo>
                    <a:cubicBezTo>
                      <a:pt x="66" y="60"/>
                      <a:pt x="64" y="58"/>
                      <a:pt x="63" y="58"/>
                    </a:cubicBezTo>
                    <a:cubicBezTo>
                      <a:pt x="62" y="57"/>
                      <a:pt x="61" y="58"/>
                      <a:pt x="61" y="58"/>
                    </a:cubicBezTo>
                    <a:cubicBezTo>
                      <a:pt x="60" y="61"/>
                      <a:pt x="60" y="61"/>
                      <a:pt x="60" y="61"/>
                    </a:cubicBezTo>
                    <a:cubicBezTo>
                      <a:pt x="61" y="61"/>
                      <a:pt x="61" y="61"/>
                      <a:pt x="61" y="61"/>
                    </a:cubicBezTo>
                    <a:cubicBezTo>
                      <a:pt x="62" y="63"/>
                      <a:pt x="62" y="63"/>
                      <a:pt x="62" y="63"/>
                    </a:cubicBezTo>
                    <a:cubicBezTo>
                      <a:pt x="62" y="65"/>
                      <a:pt x="62" y="65"/>
                      <a:pt x="62" y="65"/>
                    </a:cubicBezTo>
                    <a:cubicBezTo>
                      <a:pt x="60" y="66"/>
                      <a:pt x="60" y="66"/>
                      <a:pt x="60" y="66"/>
                    </a:cubicBezTo>
                    <a:cubicBezTo>
                      <a:pt x="60" y="66"/>
                      <a:pt x="59" y="65"/>
                      <a:pt x="59" y="64"/>
                    </a:cubicBezTo>
                    <a:cubicBezTo>
                      <a:pt x="59" y="64"/>
                      <a:pt x="58" y="61"/>
                      <a:pt x="58" y="61"/>
                    </a:cubicBezTo>
                    <a:cubicBezTo>
                      <a:pt x="58" y="60"/>
                      <a:pt x="58" y="58"/>
                      <a:pt x="58" y="58"/>
                    </a:cubicBezTo>
                    <a:cubicBezTo>
                      <a:pt x="58" y="58"/>
                      <a:pt x="57" y="56"/>
                      <a:pt x="57" y="56"/>
                    </a:cubicBezTo>
                    <a:cubicBezTo>
                      <a:pt x="58" y="55"/>
                      <a:pt x="56" y="54"/>
                      <a:pt x="56" y="53"/>
                    </a:cubicBezTo>
                    <a:cubicBezTo>
                      <a:pt x="56" y="53"/>
                      <a:pt x="54" y="51"/>
                      <a:pt x="54" y="51"/>
                    </a:cubicBezTo>
                    <a:cubicBezTo>
                      <a:pt x="52" y="49"/>
                      <a:pt x="52" y="49"/>
                      <a:pt x="52" y="49"/>
                    </a:cubicBezTo>
                    <a:cubicBezTo>
                      <a:pt x="49" y="51"/>
                      <a:pt x="49" y="51"/>
                      <a:pt x="49" y="51"/>
                    </a:cubicBezTo>
                    <a:cubicBezTo>
                      <a:pt x="44" y="50"/>
                      <a:pt x="44" y="50"/>
                      <a:pt x="44" y="50"/>
                    </a:cubicBezTo>
                    <a:cubicBezTo>
                      <a:pt x="41" y="52"/>
                      <a:pt x="41" y="52"/>
                      <a:pt x="41" y="52"/>
                    </a:cubicBezTo>
                    <a:cubicBezTo>
                      <a:pt x="41" y="53"/>
                      <a:pt x="41" y="53"/>
                      <a:pt x="41" y="53"/>
                    </a:cubicBezTo>
                    <a:cubicBezTo>
                      <a:pt x="37" y="54"/>
                      <a:pt x="37" y="54"/>
                      <a:pt x="37" y="54"/>
                    </a:cubicBezTo>
                    <a:cubicBezTo>
                      <a:pt x="37" y="54"/>
                      <a:pt x="36" y="54"/>
                      <a:pt x="36" y="54"/>
                    </a:cubicBezTo>
                    <a:cubicBezTo>
                      <a:pt x="35" y="54"/>
                      <a:pt x="35" y="54"/>
                      <a:pt x="34" y="54"/>
                    </a:cubicBezTo>
                    <a:cubicBezTo>
                      <a:pt x="33" y="54"/>
                      <a:pt x="33" y="54"/>
                      <a:pt x="33" y="54"/>
                    </a:cubicBezTo>
                    <a:cubicBezTo>
                      <a:pt x="33" y="54"/>
                      <a:pt x="33" y="54"/>
                      <a:pt x="33" y="54"/>
                    </a:cubicBezTo>
                    <a:cubicBezTo>
                      <a:pt x="32" y="54"/>
                      <a:pt x="32" y="54"/>
                      <a:pt x="32" y="54"/>
                    </a:cubicBezTo>
                    <a:cubicBezTo>
                      <a:pt x="32" y="54"/>
                      <a:pt x="32" y="54"/>
                      <a:pt x="32" y="54"/>
                    </a:cubicBezTo>
                    <a:cubicBezTo>
                      <a:pt x="30" y="56"/>
                      <a:pt x="30" y="56"/>
                      <a:pt x="30" y="56"/>
                    </a:cubicBezTo>
                    <a:cubicBezTo>
                      <a:pt x="32" y="59"/>
                      <a:pt x="32" y="59"/>
                      <a:pt x="32" y="59"/>
                    </a:cubicBezTo>
                    <a:cubicBezTo>
                      <a:pt x="32" y="62"/>
                      <a:pt x="32" y="62"/>
                      <a:pt x="32" y="62"/>
                    </a:cubicBezTo>
                    <a:cubicBezTo>
                      <a:pt x="32" y="62"/>
                      <a:pt x="30" y="64"/>
                      <a:pt x="29" y="64"/>
                    </a:cubicBezTo>
                    <a:cubicBezTo>
                      <a:pt x="29" y="64"/>
                      <a:pt x="29" y="65"/>
                      <a:pt x="28" y="67"/>
                    </a:cubicBezTo>
                    <a:cubicBezTo>
                      <a:pt x="29" y="68"/>
                      <a:pt x="29" y="68"/>
                      <a:pt x="29" y="68"/>
                    </a:cubicBezTo>
                    <a:cubicBezTo>
                      <a:pt x="33" y="70"/>
                      <a:pt x="33" y="70"/>
                      <a:pt x="33" y="70"/>
                    </a:cubicBezTo>
                    <a:cubicBezTo>
                      <a:pt x="33" y="70"/>
                      <a:pt x="33" y="72"/>
                      <a:pt x="33" y="72"/>
                    </a:cubicBezTo>
                    <a:cubicBezTo>
                      <a:pt x="34" y="72"/>
                      <a:pt x="36" y="73"/>
                      <a:pt x="36" y="73"/>
                    </a:cubicBezTo>
                    <a:cubicBezTo>
                      <a:pt x="36" y="75"/>
                      <a:pt x="36" y="75"/>
                      <a:pt x="36" y="75"/>
                    </a:cubicBezTo>
                    <a:cubicBezTo>
                      <a:pt x="36" y="76"/>
                      <a:pt x="36" y="76"/>
                      <a:pt x="36" y="76"/>
                    </a:cubicBezTo>
                    <a:cubicBezTo>
                      <a:pt x="36" y="76"/>
                      <a:pt x="36" y="76"/>
                      <a:pt x="36" y="77"/>
                    </a:cubicBezTo>
                    <a:cubicBezTo>
                      <a:pt x="36" y="77"/>
                      <a:pt x="36" y="79"/>
                      <a:pt x="36" y="79"/>
                    </a:cubicBezTo>
                    <a:cubicBezTo>
                      <a:pt x="36" y="80"/>
                      <a:pt x="36" y="85"/>
                      <a:pt x="36" y="85"/>
                    </a:cubicBezTo>
                    <a:cubicBezTo>
                      <a:pt x="36" y="86"/>
                      <a:pt x="36" y="86"/>
                      <a:pt x="36" y="86"/>
                    </a:cubicBezTo>
                    <a:cubicBezTo>
                      <a:pt x="36" y="86"/>
                      <a:pt x="36" y="86"/>
                      <a:pt x="36" y="86"/>
                    </a:cubicBezTo>
                    <a:cubicBezTo>
                      <a:pt x="36" y="86"/>
                      <a:pt x="34" y="89"/>
                      <a:pt x="33" y="91"/>
                    </a:cubicBezTo>
                    <a:cubicBezTo>
                      <a:pt x="33" y="92"/>
                      <a:pt x="33" y="92"/>
                      <a:pt x="33" y="93"/>
                    </a:cubicBezTo>
                    <a:cubicBezTo>
                      <a:pt x="33" y="93"/>
                      <a:pt x="33" y="93"/>
                      <a:pt x="33" y="93"/>
                    </a:cubicBezTo>
                    <a:cubicBezTo>
                      <a:pt x="32" y="98"/>
                      <a:pt x="32" y="98"/>
                      <a:pt x="32" y="98"/>
                    </a:cubicBezTo>
                    <a:cubicBezTo>
                      <a:pt x="32" y="99"/>
                      <a:pt x="31" y="103"/>
                      <a:pt x="29" y="103"/>
                    </a:cubicBezTo>
                    <a:cubicBezTo>
                      <a:pt x="28" y="103"/>
                      <a:pt x="28" y="103"/>
                      <a:pt x="28" y="103"/>
                    </a:cubicBezTo>
                    <a:cubicBezTo>
                      <a:pt x="28" y="103"/>
                      <a:pt x="28" y="103"/>
                      <a:pt x="28" y="103"/>
                    </a:cubicBezTo>
                    <a:cubicBezTo>
                      <a:pt x="28" y="103"/>
                      <a:pt x="27" y="103"/>
                      <a:pt x="27" y="102"/>
                    </a:cubicBezTo>
                    <a:cubicBezTo>
                      <a:pt x="23" y="104"/>
                      <a:pt x="23" y="104"/>
                      <a:pt x="23" y="104"/>
                    </a:cubicBezTo>
                    <a:cubicBezTo>
                      <a:pt x="23" y="105"/>
                      <a:pt x="23" y="105"/>
                      <a:pt x="23" y="105"/>
                    </a:cubicBezTo>
                    <a:cubicBezTo>
                      <a:pt x="23" y="105"/>
                      <a:pt x="24" y="105"/>
                      <a:pt x="24" y="105"/>
                    </a:cubicBezTo>
                    <a:cubicBezTo>
                      <a:pt x="25" y="105"/>
                      <a:pt x="25" y="105"/>
                      <a:pt x="25" y="105"/>
                    </a:cubicBezTo>
                    <a:cubicBezTo>
                      <a:pt x="27" y="106"/>
                      <a:pt x="27" y="106"/>
                      <a:pt x="27" y="106"/>
                    </a:cubicBezTo>
                    <a:cubicBezTo>
                      <a:pt x="28" y="106"/>
                      <a:pt x="28" y="106"/>
                      <a:pt x="28" y="106"/>
                    </a:cubicBezTo>
                    <a:cubicBezTo>
                      <a:pt x="32" y="111"/>
                      <a:pt x="32" y="111"/>
                      <a:pt x="32" y="111"/>
                    </a:cubicBezTo>
                    <a:cubicBezTo>
                      <a:pt x="31" y="114"/>
                      <a:pt x="31" y="114"/>
                      <a:pt x="31" y="114"/>
                    </a:cubicBezTo>
                    <a:cubicBezTo>
                      <a:pt x="31" y="114"/>
                      <a:pt x="31" y="115"/>
                      <a:pt x="31" y="116"/>
                    </a:cubicBezTo>
                    <a:cubicBezTo>
                      <a:pt x="32" y="117"/>
                      <a:pt x="32" y="118"/>
                      <a:pt x="31" y="119"/>
                    </a:cubicBezTo>
                    <a:cubicBezTo>
                      <a:pt x="31" y="119"/>
                      <a:pt x="31" y="119"/>
                      <a:pt x="31" y="119"/>
                    </a:cubicBezTo>
                    <a:cubicBezTo>
                      <a:pt x="30" y="119"/>
                      <a:pt x="30" y="119"/>
                      <a:pt x="30" y="119"/>
                    </a:cubicBezTo>
                    <a:cubicBezTo>
                      <a:pt x="29" y="119"/>
                      <a:pt x="29" y="120"/>
                      <a:pt x="29" y="120"/>
                    </a:cubicBezTo>
                    <a:cubicBezTo>
                      <a:pt x="29" y="120"/>
                      <a:pt x="29" y="120"/>
                      <a:pt x="29" y="120"/>
                    </a:cubicBezTo>
                    <a:cubicBezTo>
                      <a:pt x="28" y="121"/>
                      <a:pt x="28" y="121"/>
                      <a:pt x="28" y="121"/>
                    </a:cubicBezTo>
                    <a:cubicBezTo>
                      <a:pt x="28" y="121"/>
                      <a:pt x="27" y="122"/>
                      <a:pt x="25" y="123"/>
                    </a:cubicBezTo>
                    <a:cubicBezTo>
                      <a:pt x="25" y="123"/>
                      <a:pt x="24" y="124"/>
                      <a:pt x="22" y="124"/>
                    </a:cubicBezTo>
                    <a:cubicBezTo>
                      <a:pt x="22" y="124"/>
                      <a:pt x="22" y="124"/>
                      <a:pt x="22" y="124"/>
                    </a:cubicBezTo>
                    <a:cubicBezTo>
                      <a:pt x="25" y="126"/>
                      <a:pt x="25" y="126"/>
                      <a:pt x="25" y="126"/>
                    </a:cubicBezTo>
                    <a:cubicBezTo>
                      <a:pt x="24" y="130"/>
                      <a:pt x="24" y="130"/>
                      <a:pt x="24" y="130"/>
                    </a:cubicBezTo>
                    <a:cubicBezTo>
                      <a:pt x="21" y="131"/>
                      <a:pt x="21" y="131"/>
                      <a:pt x="21" y="131"/>
                    </a:cubicBezTo>
                    <a:cubicBezTo>
                      <a:pt x="20" y="133"/>
                      <a:pt x="20" y="133"/>
                      <a:pt x="20" y="133"/>
                    </a:cubicBezTo>
                    <a:cubicBezTo>
                      <a:pt x="17" y="133"/>
                      <a:pt x="17" y="133"/>
                      <a:pt x="17" y="133"/>
                    </a:cubicBezTo>
                    <a:cubicBezTo>
                      <a:pt x="14" y="134"/>
                      <a:pt x="14" y="134"/>
                      <a:pt x="14" y="134"/>
                    </a:cubicBezTo>
                    <a:cubicBezTo>
                      <a:pt x="13" y="134"/>
                      <a:pt x="13" y="134"/>
                      <a:pt x="13" y="134"/>
                    </a:cubicBezTo>
                    <a:cubicBezTo>
                      <a:pt x="12" y="137"/>
                      <a:pt x="12" y="137"/>
                      <a:pt x="12" y="137"/>
                    </a:cubicBezTo>
                    <a:cubicBezTo>
                      <a:pt x="8" y="134"/>
                      <a:pt x="8" y="134"/>
                      <a:pt x="8" y="134"/>
                    </a:cubicBezTo>
                    <a:cubicBezTo>
                      <a:pt x="6" y="133"/>
                      <a:pt x="6" y="133"/>
                      <a:pt x="6" y="133"/>
                    </a:cubicBezTo>
                    <a:cubicBezTo>
                      <a:pt x="4" y="134"/>
                      <a:pt x="4" y="134"/>
                      <a:pt x="4" y="134"/>
                    </a:cubicBezTo>
                    <a:cubicBezTo>
                      <a:pt x="3" y="134"/>
                      <a:pt x="3" y="134"/>
                      <a:pt x="3" y="134"/>
                    </a:cubicBezTo>
                    <a:cubicBezTo>
                      <a:pt x="3" y="134"/>
                      <a:pt x="3" y="134"/>
                      <a:pt x="3" y="134"/>
                    </a:cubicBezTo>
                    <a:cubicBezTo>
                      <a:pt x="3" y="135"/>
                      <a:pt x="4" y="135"/>
                      <a:pt x="4" y="135"/>
                    </a:cubicBezTo>
                    <a:cubicBezTo>
                      <a:pt x="5" y="136"/>
                      <a:pt x="5" y="136"/>
                      <a:pt x="5" y="136"/>
                    </a:cubicBezTo>
                    <a:cubicBezTo>
                      <a:pt x="4" y="138"/>
                      <a:pt x="4" y="138"/>
                      <a:pt x="4" y="138"/>
                    </a:cubicBezTo>
                    <a:cubicBezTo>
                      <a:pt x="6" y="140"/>
                      <a:pt x="6" y="140"/>
                      <a:pt x="6" y="140"/>
                    </a:cubicBezTo>
                    <a:cubicBezTo>
                      <a:pt x="6" y="141"/>
                      <a:pt x="6" y="141"/>
                      <a:pt x="6" y="141"/>
                    </a:cubicBezTo>
                    <a:cubicBezTo>
                      <a:pt x="7" y="143"/>
                      <a:pt x="7" y="143"/>
                      <a:pt x="7" y="143"/>
                    </a:cubicBezTo>
                    <a:cubicBezTo>
                      <a:pt x="7" y="145"/>
                      <a:pt x="7" y="145"/>
                      <a:pt x="7" y="145"/>
                    </a:cubicBezTo>
                    <a:cubicBezTo>
                      <a:pt x="9" y="148"/>
                      <a:pt x="9" y="148"/>
                      <a:pt x="9" y="148"/>
                    </a:cubicBezTo>
                    <a:cubicBezTo>
                      <a:pt x="8" y="151"/>
                      <a:pt x="8" y="151"/>
                      <a:pt x="8" y="151"/>
                    </a:cubicBezTo>
                    <a:cubicBezTo>
                      <a:pt x="8" y="152"/>
                      <a:pt x="8" y="153"/>
                      <a:pt x="8" y="154"/>
                    </a:cubicBezTo>
                    <a:cubicBezTo>
                      <a:pt x="8" y="154"/>
                      <a:pt x="8" y="154"/>
                      <a:pt x="8" y="154"/>
                    </a:cubicBezTo>
                    <a:cubicBezTo>
                      <a:pt x="7" y="154"/>
                      <a:pt x="7" y="154"/>
                      <a:pt x="7" y="154"/>
                    </a:cubicBezTo>
                    <a:cubicBezTo>
                      <a:pt x="7" y="155"/>
                      <a:pt x="6" y="156"/>
                      <a:pt x="6" y="156"/>
                    </a:cubicBezTo>
                    <a:cubicBezTo>
                      <a:pt x="4" y="158"/>
                      <a:pt x="4" y="158"/>
                      <a:pt x="4" y="158"/>
                    </a:cubicBezTo>
                    <a:cubicBezTo>
                      <a:pt x="4" y="158"/>
                      <a:pt x="4" y="158"/>
                      <a:pt x="4" y="158"/>
                    </a:cubicBezTo>
                    <a:cubicBezTo>
                      <a:pt x="6" y="159"/>
                      <a:pt x="8" y="160"/>
                      <a:pt x="7" y="162"/>
                    </a:cubicBezTo>
                    <a:cubicBezTo>
                      <a:pt x="7" y="163"/>
                      <a:pt x="7" y="163"/>
                      <a:pt x="7" y="163"/>
                    </a:cubicBezTo>
                    <a:cubicBezTo>
                      <a:pt x="7" y="163"/>
                      <a:pt x="7" y="163"/>
                      <a:pt x="7" y="163"/>
                    </a:cubicBezTo>
                    <a:cubicBezTo>
                      <a:pt x="5" y="164"/>
                      <a:pt x="4" y="164"/>
                      <a:pt x="2" y="164"/>
                    </a:cubicBezTo>
                    <a:cubicBezTo>
                      <a:pt x="1" y="164"/>
                      <a:pt x="1" y="164"/>
                      <a:pt x="1" y="164"/>
                    </a:cubicBezTo>
                    <a:cubicBezTo>
                      <a:pt x="1" y="165"/>
                      <a:pt x="1" y="165"/>
                      <a:pt x="1" y="165"/>
                    </a:cubicBezTo>
                    <a:cubicBezTo>
                      <a:pt x="0" y="166"/>
                      <a:pt x="0" y="166"/>
                      <a:pt x="0" y="166"/>
                    </a:cubicBezTo>
                    <a:cubicBezTo>
                      <a:pt x="0" y="166"/>
                      <a:pt x="2" y="167"/>
                      <a:pt x="2" y="167"/>
                    </a:cubicBezTo>
                    <a:cubicBezTo>
                      <a:pt x="2" y="167"/>
                      <a:pt x="2" y="169"/>
                      <a:pt x="2" y="169"/>
                    </a:cubicBezTo>
                    <a:cubicBezTo>
                      <a:pt x="3" y="169"/>
                      <a:pt x="3" y="170"/>
                      <a:pt x="3" y="170"/>
                    </a:cubicBezTo>
                    <a:cubicBezTo>
                      <a:pt x="4" y="170"/>
                      <a:pt x="4" y="170"/>
                      <a:pt x="4" y="170"/>
                    </a:cubicBezTo>
                    <a:cubicBezTo>
                      <a:pt x="4" y="171"/>
                      <a:pt x="4" y="171"/>
                      <a:pt x="4" y="171"/>
                    </a:cubicBezTo>
                    <a:cubicBezTo>
                      <a:pt x="4" y="171"/>
                      <a:pt x="4" y="173"/>
                      <a:pt x="3" y="174"/>
                    </a:cubicBezTo>
                    <a:cubicBezTo>
                      <a:pt x="3" y="175"/>
                      <a:pt x="3" y="176"/>
                      <a:pt x="1" y="177"/>
                    </a:cubicBezTo>
                    <a:cubicBezTo>
                      <a:pt x="1" y="177"/>
                      <a:pt x="1" y="177"/>
                      <a:pt x="1" y="177"/>
                    </a:cubicBezTo>
                    <a:cubicBezTo>
                      <a:pt x="1" y="177"/>
                      <a:pt x="1" y="177"/>
                      <a:pt x="1" y="177"/>
                    </a:cubicBezTo>
                    <a:cubicBezTo>
                      <a:pt x="2" y="177"/>
                      <a:pt x="2" y="178"/>
                      <a:pt x="3" y="178"/>
                    </a:cubicBezTo>
                    <a:cubicBezTo>
                      <a:pt x="3" y="178"/>
                      <a:pt x="3" y="178"/>
                      <a:pt x="3" y="178"/>
                    </a:cubicBezTo>
                    <a:cubicBezTo>
                      <a:pt x="4" y="180"/>
                      <a:pt x="4" y="180"/>
                      <a:pt x="4" y="180"/>
                    </a:cubicBezTo>
                    <a:cubicBezTo>
                      <a:pt x="4" y="180"/>
                      <a:pt x="4" y="180"/>
                      <a:pt x="4" y="180"/>
                    </a:cubicBezTo>
                    <a:cubicBezTo>
                      <a:pt x="4" y="180"/>
                      <a:pt x="6" y="181"/>
                      <a:pt x="6" y="181"/>
                    </a:cubicBezTo>
                    <a:cubicBezTo>
                      <a:pt x="7" y="182"/>
                      <a:pt x="7" y="182"/>
                      <a:pt x="7" y="182"/>
                    </a:cubicBezTo>
                    <a:cubicBezTo>
                      <a:pt x="7" y="183"/>
                      <a:pt x="7" y="183"/>
                      <a:pt x="7" y="183"/>
                    </a:cubicBezTo>
                    <a:cubicBezTo>
                      <a:pt x="7" y="183"/>
                      <a:pt x="7" y="185"/>
                      <a:pt x="6" y="186"/>
                    </a:cubicBezTo>
                    <a:cubicBezTo>
                      <a:pt x="7" y="187"/>
                      <a:pt x="7" y="187"/>
                      <a:pt x="7" y="187"/>
                    </a:cubicBezTo>
                    <a:cubicBezTo>
                      <a:pt x="7" y="187"/>
                      <a:pt x="8" y="187"/>
                      <a:pt x="10" y="188"/>
                    </a:cubicBezTo>
                    <a:cubicBezTo>
                      <a:pt x="10" y="189"/>
                      <a:pt x="10" y="189"/>
                      <a:pt x="10" y="189"/>
                    </a:cubicBezTo>
                    <a:cubicBezTo>
                      <a:pt x="10" y="189"/>
                      <a:pt x="10" y="189"/>
                      <a:pt x="10" y="189"/>
                    </a:cubicBezTo>
                    <a:cubicBezTo>
                      <a:pt x="10" y="189"/>
                      <a:pt x="11" y="191"/>
                      <a:pt x="11" y="192"/>
                    </a:cubicBezTo>
                    <a:cubicBezTo>
                      <a:pt x="11" y="193"/>
                      <a:pt x="10" y="194"/>
                      <a:pt x="10" y="195"/>
                    </a:cubicBezTo>
                    <a:cubicBezTo>
                      <a:pt x="10" y="196"/>
                      <a:pt x="10" y="196"/>
                      <a:pt x="10" y="196"/>
                    </a:cubicBezTo>
                    <a:cubicBezTo>
                      <a:pt x="10" y="197"/>
                      <a:pt x="10" y="198"/>
                      <a:pt x="8" y="199"/>
                    </a:cubicBezTo>
                    <a:cubicBezTo>
                      <a:pt x="8" y="199"/>
                      <a:pt x="7" y="200"/>
                      <a:pt x="7" y="200"/>
                    </a:cubicBezTo>
                    <a:cubicBezTo>
                      <a:pt x="7" y="201"/>
                      <a:pt x="6" y="201"/>
                      <a:pt x="5" y="201"/>
                    </a:cubicBezTo>
                    <a:cubicBezTo>
                      <a:pt x="5" y="201"/>
                      <a:pt x="5" y="201"/>
                      <a:pt x="5" y="201"/>
                    </a:cubicBezTo>
                    <a:cubicBezTo>
                      <a:pt x="5" y="201"/>
                      <a:pt x="5" y="201"/>
                      <a:pt x="4" y="201"/>
                    </a:cubicBezTo>
                    <a:cubicBezTo>
                      <a:pt x="4" y="203"/>
                      <a:pt x="4" y="203"/>
                      <a:pt x="4" y="203"/>
                    </a:cubicBezTo>
                    <a:cubicBezTo>
                      <a:pt x="3" y="204"/>
                      <a:pt x="3" y="204"/>
                      <a:pt x="3" y="204"/>
                    </a:cubicBezTo>
                    <a:cubicBezTo>
                      <a:pt x="3" y="204"/>
                      <a:pt x="3" y="204"/>
                      <a:pt x="3" y="204"/>
                    </a:cubicBezTo>
                    <a:cubicBezTo>
                      <a:pt x="2" y="207"/>
                      <a:pt x="2" y="207"/>
                      <a:pt x="2" y="207"/>
                    </a:cubicBezTo>
                    <a:cubicBezTo>
                      <a:pt x="3" y="210"/>
                      <a:pt x="3" y="210"/>
                      <a:pt x="3" y="210"/>
                    </a:cubicBezTo>
                    <a:cubicBezTo>
                      <a:pt x="5" y="215"/>
                      <a:pt x="5" y="215"/>
                      <a:pt x="5" y="215"/>
                    </a:cubicBezTo>
                    <a:cubicBezTo>
                      <a:pt x="5" y="215"/>
                      <a:pt x="6" y="215"/>
                      <a:pt x="6" y="216"/>
                    </a:cubicBezTo>
                    <a:cubicBezTo>
                      <a:pt x="7" y="216"/>
                      <a:pt x="7" y="216"/>
                      <a:pt x="8" y="217"/>
                    </a:cubicBezTo>
                    <a:cubicBezTo>
                      <a:pt x="8" y="217"/>
                      <a:pt x="9" y="217"/>
                      <a:pt x="11" y="217"/>
                    </a:cubicBezTo>
                    <a:cubicBezTo>
                      <a:pt x="12" y="218"/>
                      <a:pt x="12" y="218"/>
                      <a:pt x="12" y="218"/>
                    </a:cubicBezTo>
                    <a:cubicBezTo>
                      <a:pt x="13" y="222"/>
                      <a:pt x="13" y="222"/>
                      <a:pt x="13" y="222"/>
                    </a:cubicBezTo>
                    <a:cubicBezTo>
                      <a:pt x="12" y="226"/>
                      <a:pt x="12" y="226"/>
                      <a:pt x="12" y="226"/>
                    </a:cubicBezTo>
                    <a:cubicBezTo>
                      <a:pt x="10" y="228"/>
                      <a:pt x="10" y="228"/>
                      <a:pt x="10" y="228"/>
                    </a:cubicBezTo>
                    <a:cubicBezTo>
                      <a:pt x="8" y="230"/>
                      <a:pt x="8" y="230"/>
                      <a:pt x="8" y="230"/>
                    </a:cubicBezTo>
                    <a:cubicBezTo>
                      <a:pt x="9" y="232"/>
                      <a:pt x="9" y="232"/>
                      <a:pt x="9" y="232"/>
                    </a:cubicBezTo>
                    <a:cubicBezTo>
                      <a:pt x="9" y="232"/>
                      <a:pt x="9" y="232"/>
                      <a:pt x="9" y="232"/>
                    </a:cubicBezTo>
                    <a:cubicBezTo>
                      <a:pt x="14" y="237"/>
                      <a:pt x="14" y="237"/>
                      <a:pt x="14" y="237"/>
                    </a:cubicBezTo>
                    <a:cubicBezTo>
                      <a:pt x="15" y="241"/>
                      <a:pt x="15" y="241"/>
                      <a:pt x="15" y="241"/>
                    </a:cubicBezTo>
                    <a:cubicBezTo>
                      <a:pt x="17" y="244"/>
                      <a:pt x="17" y="244"/>
                      <a:pt x="17" y="244"/>
                    </a:cubicBezTo>
                    <a:cubicBezTo>
                      <a:pt x="18" y="245"/>
                      <a:pt x="18" y="245"/>
                      <a:pt x="18" y="245"/>
                    </a:cubicBezTo>
                    <a:cubicBezTo>
                      <a:pt x="21" y="243"/>
                      <a:pt x="21" y="243"/>
                      <a:pt x="21" y="243"/>
                    </a:cubicBezTo>
                    <a:cubicBezTo>
                      <a:pt x="27" y="247"/>
                      <a:pt x="27" y="247"/>
                      <a:pt x="27" y="247"/>
                    </a:cubicBezTo>
                    <a:cubicBezTo>
                      <a:pt x="30" y="248"/>
                      <a:pt x="30" y="248"/>
                      <a:pt x="30" y="248"/>
                    </a:cubicBezTo>
                    <a:cubicBezTo>
                      <a:pt x="32" y="247"/>
                      <a:pt x="32" y="247"/>
                      <a:pt x="32" y="247"/>
                    </a:cubicBezTo>
                    <a:cubicBezTo>
                      <a:pt x="37" y="245"/>
                      <a:pt x="37" y="245"/>
                      <a:pt x="37" y="245"/>
                    </a:cubicBezTo>
                    <a:cubicBezTo>
                      <a:pt x="40" y="250"/>
                      <a:pt x="40" y="250"/>
                      <a:pt x="40" y="250"/>
                    </a:cubicBezTo>
                    <a:cubicBezTo>
                      <a:pt x="43" y="252"/>
                      <a:pt x="43" y="252"/>
                      <a:pt x="43" y="252"/>
                    </a:cubicBezTo>
                    <a:cubicBezTo>
                      <a:pt x="49" y="252"/>
                      <a:pt x="49" y="252"/>
                      <a:pt x="49" y="252"/>
                    </a:cubicBezTo>
                    <a:cubicBezTo>
                      <a:pt x="62" y="256"/>
                      <a:pt x="62" y="256"/>
                      <a:pt x="62" y="256"/>
                    </a:cubicBezTo>
                    <a:cubicBezTo>
                      <a:pt x="54" y="265"/>
                      <a:pt x="54" y="265"/>
                      <a:pt x="54" y="265"/>
                    </a:cubicBezTo>
                    <a:cubicBezTo>
                      <a:pt x="54" y="265"/>
                      <a:pt x="48" y="273"/>
                      <a:pt x="45" y="275"/>
                    </a:cubicBezTo>
                    <a:cubicBezTo>
                      <a:pt x="44" y="275"/>
                      <a:pt x="44" y="275"/>
                      <a:pt x="44" y="275"/>
                    </a:cubicBezTo>
                    <a:cubicBezTo>
                      <a:pt x="44" y="275"/>
                      <a:pt x="44" y="275"/>
                      <a:pt x="44" y="275"/>
                    </a:cubicBezTo>
                    <a:cubicBezTo>
                      <a:pt x="44" y="275"/>
                      <a:pt x="44" y="275"/>
                      <a:pt x="44" y="276"/>
                    </a:cubicBezTo>
                    <a:cubicBezTo>
                      <a:pt x="45" y="276"/>
                      <a:pt x="45" y="276"/>
                      <a:pt x="45" y="276"/>
                    </a:cubicBezTo>
                    <a:cubicBezTo>
                      <a:pt x="45" y="277"/>
                      <a:pt x="45" y="277"/>
                      <a:pt x="45" y="277"/>
                    </a:cubicBezTo>
                    <a:cubicBezTo>
                      <a:pt x="45" y="286"/>
                      <a:pt x="45" y="286"/>
                      <a:pt x="45" y="286"/>
                    </a:cubicBezTo>
                    <a:cubicBezTo>
                      <a:pt x="44" y="286"/>
                      <a:pt x="44" y="286"/>
                      <a:pt x="44" y="286"/>
                    </a:cubicBezTo>
                    <a:cubicBezTo>
                      <a:pt x="44" y="286"/>
                      <a:pt x="42" y="291"/>
                      <a:pt x="40" y="294"/>
                    </a:cubicBezTo>
                    <a:cubicBezTo>
                      <a:pt x="40" y="294"/>
                      <a:pt x="40" y="294"/>
                      <a:pt x="39" y="294"/>
                    </a:cubicBezTo>
                    <a:cubicBezTo>
                      <a:pt x="40" y="294"/>
                      <a:pt x="40" y="294"/>
                      <a:pt x="40" y="294"/>
                    </a:cubicBezTo>
                    <a:cubicBezTo>
                      <a:pt x="41" y="295"/>
                      <a:pt x="41" y="301"/>
                      <a:pt x="41" y="301"/>
                    </a:cubicBezTo>
                    <a:cubicBezTo>
                      <a:pt x="41" y="303"/>
                      <a:pt x="40" y="308"/>
                      <a:pt x="40" y="309"/>
                    </a:cubicBezTo>
                    <a:cubicBezTo>
                      <a:pt x="40" y="309"/>
                      <a:pt x="40" y="309"/>
                      <a:pt x="40" y="309"/>
                    </a:cubicBezTo>
                    <a:cubicBezTo>
                      <a:pt x="38" y="311"/>
                      <a:pt x="38" y="311"/>
                      <a:pt x="38" y="311"/>
                    </a:cubicBezTo>
                    <a:cubicBezTo>
                      <a:pt x="39" y="312"/>
                      <a:pt x="41" y="313"/>
                      <a:pt x="42" y="315"/>
                    </a:cubicBezTo>
                    <a:cubicBezTo>
                      <a:pt x="42" y="315"/>
                      <a:pt x="42" y="315"/>
                      <a:pt x="42" y="315"/>
                    </a:cubicBezTo>
                    <a:cubicBezTo>
                      <a:pt x="42" y="316"/>
                      <a:pt x="42" y="316"/>
                      <a:pt x="42" y="316"/>
                    </a:cubicBezTo>
                    <a:cubicBezTo>
                      <a:pt x="43" y="315"/>
                      <a:pt x="43" y="315"/>
                      <a:pt x="44" y="315"/>
                    </a:cubicBezTo>
                    <a:cubicBezTo>
                      <a:pt x="45" y="314"/>
                      <a:pt x="46" y="313"/>
                      <a:pt x="47" y="313"/>
                    </a:cubicBezTo>
                    <a:cubicBezTo>
                      <a:pt x="48" y="313"/>
                      <a:pt x="48" y="313"/>
                      <a:pt x="48" y="313"/>
                    </a:cubicBezTo>
                    <a:cubicBezTo>
                      <a:pt x="48" y="314"/>
                      <a:pt x="48" y="314"/>
                      <a:pt x="48" y="314"/>
                    </a:cubicBezTo>
                    <a:cubicBezTo>
                      <a:pt x="49" y="314"/>
                      <a:pt x="49" y="315"/>
                      <a:pt x="50" y="316"/>
                    </a:cubicBezTo>
                    <a:cubicBezTo>
                      <a:pt x="51" y="316"/>
                      <a:pt x="51" y="316"/>
                      <a:pt x="51" y="316"/>
                    </a:cubicBezTo>
                    <a:cubicBezTo>
                      <a:pt x="52" y="316"/>
                      <a:pt x="52" y="316"/>
                      <a:pt x="52" y="316"/>
                    </a:cubicBezTo>
                    <a:cubicBezTo>
                      <a:pt x="53" y="316"/>
                      <a:pt x="53" y="316"/>
                      <a:pt x="53" y="316"/>
                    </a:cubicBezTo>
                    <a:cubicBezTo>
                      <a:pt x="54" y="315"/>
                      <a:pt x="54" y="315"/>
                      <a:pt x="55" y="314"/>
                    </a:cubicBezTo>
                    <a:cubicBezTo>
                      <a:pt x="55" y="314"/>
                      <a:pt x="56" y="313"/>
                      <a:pt x="57" y="313"/>
                    </a:cubicBezTo>
                    <a:cubicBezTo>
                      <a:pt x="58" y="313"/>
                      <a:pt x="59" y="314"/>
                      <a:pt x="59" y="314"/>
                    </a:cubicBezTo>
                    <a:cubicBezTo>
                      <a:pt x="60" y="314"/>
                      <a:pt x="60" y="314"/>
                      <a:pt x="60" y="314"/>
                    </a:cubicBezTo>
                    <a:cubicBezTo>
                      <a:pt x="60" y="314"/>
                      <a:pt x="60" y="314"/>
                      <a:pt x="60" y="314"/>
                    </a:cubicBezTo>
                    <a:cubicBezTo>
                      <a:pt x="61" y="315"/>
                      <a:pt x="61" y="315"/>
                      <a:pt x="61" y="315"/>
                    </a:cubicBezTo>
                    <a:cubicBezTo>
                      <a:pt x="61" y="314"/>
                      <a:pt x="60" y="314"/>
                      <a:pt x="60" y="313"/>
                    </a:cubicBezTo>
                    <a:cubicBezTo>
                      <a:pt x="60" y="312"/>
                      <a:pt x="59" y="311"/>
                      <a:pt x="61" y="310"/>
                    </a:cubicBezTo>
                    <a:cubicBezTo>
                      <a:pt x="61" y="310"/>
                      <a:pt x="61" y="310"/>
                      <a:pt x="61" y="310"/>
                    </a:cubicBezTo>
                    <a:cubicBezTo>
                      <a:pt x="61" y="309"/>
                      <a:pt x="62" y="308"/>
                      <a:pt x="63" y="307"/>
                    </a:cubicBezTo>
                    <a:cubicBezTo>
                      <a:pt x="63" y="307"/>
                      <a:pt x="64" y="307"/>
                      <a:pt x="64" y="307"/>
                    </a:cubicBezTo>
                    <a:cubicBezTo>
                      <a:pt x="64" y="306"/>
                      <a:pt x="64" y="306"/>
                      <a:pt x="64" y="306"/>
                    </a:cubicBezTo>
                    <a:cubicBezTo>
                      <a:pt x="70" y="305"/>
                      <a:pt x="70" y="305"/>
                      <a:pt x="70" y="305"/>
                    </a:cubicBezTo>
                    <a:cubicBezTo>
                      <a:pt x="70" y="306"/>
                      <a:pt x="70" y="306"/>
                      <a:pt x="70" y="306"/>
                    </a:cubicBezTo>
                    <a:cubicBezTo>
                      <a:pt x="71" y="306"/>
                      <a:pt x="72" y="306"/>
                      <a:pt x="73" y="307"/>
                    </a:cubicBezTo>
                    <a:cubicBezTo>
                      <a:pt x="73" y="307"/>
                      <a:pt x="74" y="307"/>
                      <a:pt x="74" y="307"/>
                    </a:cubicBezTo>
                    <a:cubicBezTo>
                      <a:pt x="74" y="307"/>
                      <a:pt x="74" y="308"/>
                      <a:pt x="74" y="308"/>
                    </a:cubicBezTo>
                    <a:cubicBezTo>
                      <a:pt x="74" y="308"/>
                      <a:pt x="74" y="308"/>
                      <a:pt x="74" y="308"/>
                    </a:cubicBezTo>
                    <a:cubicBezTo>
                      <a:pt x="75" y="308"/>
                      <a:pt x="75" y="309"/>
                      <a:pt x="76" y="309"/>
                    </a:cubicBezTo>
                    <a:cubicBezTo>
                      <a:pt x="76" y="309"/>
                      <a:pt x="77" y="310"/>
                      <a:pt x="78" y="311"/>
                    </a:cubicBezTo>
                    <a:cubicBezTo>
                      <a:pt x="79" y="311"/>
                      <a:pt x="79" y="311"/>
                      <a:pt x="80" y="310"/>
                    </a:cubicBezTo>
                    <a:cubicBezTo>
                      <a:pt x="81" y="310"/>
                      <a:pt x="81" y="310"/>
                      <a:pt x="81" y="310"/>
                    </a:cubicBezTo>
                    <a:cubicBezTo>
                      <a:pt x="82" y="310"/>
                      <a:pt x="83" y="310"/>
                      <a:pt x="83" y="311"/>
                    </a:cubicBezTo>
                    <a:cubicBezTo>
                      <a:pt x="84" y="311"/>
                      <a:pt x="84" y="311"/>
                      <a:pt x="85" y="311"/>
                    </a:cubicBezTo>
                    <a:cubicBezTo>
                      <a:pt x="87" y="311"/>
                      <a:pt x="87" y="311"/>
                      <a:pt x="87" y="311"/>
                    </a:cubicBezTo>
                    <a:cubicBezTo>
                      <a:pt x="87" y="311"/>
                      <a:pt x="88" y="311"/>
                      <a:pt x="88" y="311"/>
                    </a:cubicBezTo>
                    <a:cubicBezTo>
                      <a:pt x="89" y="311"/>
                      <a:pt x="89" y="312"/>
                      <a:pt x="90" y="312"/>
                    </a:cubicBezTo>
                    <a:cubicBezTo>
                      <a:pt x="91" y="313"/>
                      <a:pt x="91" y="313"/>
                      <a:pt x="91" y="313"/>
                    </a:cubicBezTo>
                    <a:cubicBezTo>
                      <a:pt x="91" y="313"/>
                      <a:pt x="92" y="313"/>
                      <a:pt x="92" y="313"/>
                    </a:cubicBezTo>
                    <a:cubicBezTo>
                      <a:pt x="93" y="314"/>
                      <a:pt x="93" y="314"/>
                      <a:pt x="94" y="314"/>
                    </a:cubicBezTo>
                    <a:cubicBezTo>
                      <a:pt x="94" y="314"/>
                      <a:pt x="94" y="314"/>
                      <a:pt x="95" y="315"/>
                    </a:cubicBezTo>
                    <a:cubicBezTo>
                      <a:pt x="96" y="315"/>
                      <a:pt x="96" y="315"/>
                      <a:pt x="96" y="315"/>
                    </a:cubicBezTo>
                    <a:cubicBezTo>
                      <a:pt x="97" y="316"/>
                      <a:pt x="97" y="316"/>
                      <a:pt x="98" y="316"/>
                    </a:cubicBezTo>
                    <a:cubicBezTo>
                      <a:pt x="99" y="317"/>
                      <a:pt x="99" y="318"/>
                      <a:pt x="99" y="318"/>
                    </a:cubicBezTo>
                    <a:cubicBezTo>
                      <a:pt x="99" y="319"/>
                      <a:pt x="100" y="319"/>
                      <a:pt x="100" y="319"/>
                    </a:cubicBezTo>
                    <a:cubicBezTo>
                      <a:pt x="100" y="319"/>
                      <a:pt x="100" y="319"/>
                      <a:pt x="100" y="319"/>
                    </a:cubicBezTo>
                    <a:cubicBezTo>
                      <a:pt x="101" y="318"/>
                      <a:pt x="102" y="318"/>
                      <a:pt x="102" y="318"/>
                    </a:cubicBezTo>
                    <a:cubicBezTo>
                      <a:pt x="102" y="318"/>
                      <a:pt x="104" y="316"/>
                      <a:pt x="105" y="317"/>
                    </a:cubicBezTo>
                    <a:cubicBezTo>
                      <a:pt x="106" y="318"/>
                      <a:pt x="108" y="320"/>
                      <a:pt x="108" y="320"/>
                    </a:cubicBezTo>
                    <a:cubicBezTo>
                      <a:pt x="108" y="320"/>
                      <a:pt x="109" y="321"/>
                      <a:pt x="110" y="321"/>
                    </a:cubicBezTo>
                    <a:cubicBezTo>
                      <a:pt x="110" y="321"/>
                      <a:pt x="111" y="322"/>
                      <a:pt x="112" y="322"/>
                    </a:cubicBezTo>
                    <a:cubicBezTo>
                      <a:pt x="112" y="323"/>
                      <a:pt x="112" y="322"/>
                      <a:pt x="112" y="324"/>
                    </a:cubicBezTo>
                    <a:cubicBezTo>
                      <a:pt x="112" y="325"/>
                      <a:pt x="111" y="327"/>
                      <a:pt x="113" y="327"/>
                    </a:cubicBezTo>
                    <a:cubicBezTo>
                      <a:pt x="114" y="326"/>
                      <a:pt x="114" y="326"/>
                      <a:pt x="115" y="326"/>
                    </a:cubicBezTo>
                    <a:cubicBezTo>
                      <a:pt x="115" y="327"/>
                      <a:pt x="116" y="326"/>
                      <a:pt x="115" y="328"/>
                    </a:cubicBezTo>
                    <a:cubicBezTo>
                      <a:pt x="115" y="330"/>
                      <a:pt x="114" y="330"/>
                      <a:pt x="115" y="330"/>
                    </a:cubicBezTo>
                    <a:cubicBezTo>
                      <a:pt x="117" y="331"/>
                      <a:pt x="118" y="332"/>
                      <a:pt x="119" y="331"/>
                    </a:cubicBezTo>
                    <a:cubicBezTo>
                      <a:pt x="119" y="329"/>
                      <a:pt x="119" y="331"/>
                      <a:pt x="120" y="329"/>
                    </a:cubicBezTo>
                    <a:cubicBezTo>
                      <a:pt x="121" y="327"/>
                      <a:pt x="120" y="327"/>
                      <a:pt x="121" y="327"/>
                    </a:cubicBezTo>
                    <a:cubicBezTo>
                      <a:pt x="122" y="326"/>
                      <a:pt x="121" y="326"/>
                      <a:pt x="122" y="325"/>
                    </a:cubicBezTo>
                    <a:cubicBezTo>
                      <a:pt x="122" y="323"/>
                      <a:pt x="123" y="324"/>
                      <a:pt x="122" y="323"/>
                    </a:cubicBezTo>
                    <a:cubicBezTo>
                      <a:pt x="122" y="323"/>
                      <a:pt x="122" y="322"/>
                      <a:pt x="122" y="321"/>
                    </a:cubicBezTo>
                    <a:cubicBezTo>
                      <a:pt x="121" y="320"/>
                      <a:pt x="120" y="320"/>
                      <a:pt x="122" y="320"/>
                    </a:cubicBezTo>
                    <a:cubicBezTo>
                      <a:pt x="124" y="319"/>
                      <a:pt x="124" y="319"/>
                      <a:pt x="124" y="319"/>
                    </a:cubicBezTo>
                    <a:cubicBezTo>
                      <a:pt x="125" y="318"/>
                      <a:pt x="127" y="318"/>
                      <a:pt x="127" y="318"/>
                    </a:cubicBezTo>
                    <a:cubicBezTo>
                      <a:pt x="127" y="318"/>
                      <a:pt x="129" y="318"/>
                      <a:pt x="130" y="318"/>
                    </a:cubicBezTo>
                    <a:cubicBezTo>
                      <a:pt x="130" y="318"/>
                      <a:pt x="133" y="318"/>
                      <a:pt x="133" y="319"/>
                    </a:cubicBezTo>
                    <a:cubicBezTo>
                      <a:pt x="133" y="320"/>
                      <a:pt x="135" y="320"/>
                      <a:pt x="135" y="320"/>
                    </a:cubicBezTo>
                    <a:cubicBezTo>
                      <a:pt x="135" y="320"/>
                      <a:pt x="137" y="320"/>
                      <a:pt x="137" y="322"/>
                    </a:cubicBezTo>
                    <a:cubicBezTo>
                      <a:pt x="138" y="323"/>
                      <a:pt x="138" y="325"/>
                      <a:pt x="138" y="325"/>
                    </a:cubicBezTo>
                    <a:cubicBezTo>
                      <a:pt x="139" y="325"/>
                      <a:pt x="140" y="326"/>
                      <a:pt x="141" y="325"/>
                    </a:cubicBezTo>
                    <a:cubicBezTo>
                      <a:pt x="142" y="324"/>
                      <a:pt x="142" y="324"/>
                      <a:pt x="143" y="324"/>
                    </a:cubicBezTo>
                    <a:cubicBezTo>
                      <a:pt x="144" y="323"/>
                      <a:pt x="142" y="323"/>
                      <a:pt x="145" y="323"/>
                    </a:cubicBezTo>
                    <a:cubicBezTo>
                      <a:pt x="148" y="324"/>
                      <a:pt x="147" y="324"/>
                      <a:pt x="148" y="323"/>
                    </a:cubicBezTo>
                    <a:cubicBezTo>
                      <a:pt x="150" y="321"/>
                      <a:pt x="150" y="321"/>
                      <a:pt x="151" y="320"/>
                    </a:cubicBezTo>
                    <a:cubicBezTo>
                      <a:pt x="152" y="320"/>
                      <a:pt x="152" y="319"/>
                      <a:pt x="152" y="319"/>
                    </a:cubicBezTo>
                    <a:cubicBezTo>
                      <a:pt x="153" y="319"/>
                      <a:pt x="155" y="319"/>
                      <a:pt x="156" y="319"/>
                    </a:cubicBezTo>
                    <a:cubicBezTo>
                      <a:pt x="157" y="318"/>
                      <a:pt x="157" y="316"/>
                      <a:pt x="158" y="316"/>
                    </a:cubicBezTo>
                    <a:cubicBezTo>
                      <a:pt x="158" y="316"/>
                      <a:pt x="161" y="316"/>
                      <a:pt x="162" y="316"/>
                    </a:cubicBezTo>
                    <a:cubicBezTo>
                      <a:pt x="163" y="316"/>
                      <a:pt x="165" y="316"/>
                      <a:pt x="165" y="316"/>
                    </a:cubicBezTo>
                    <a:cubicBezTo>
                      <a:pt x="165" y="315"/>
                      <a:pt x="165" y="314"/>
                      <a:pt x="167" y="314"/>
                    </a:cubicBezTo>
                    <a:cubicBezTo>
                      <a:pt x="168" y="314"/>
                      <a:pt x="169" y="314"/>
                      <a:pt x="170" y="314"/>
                    </a:cubicBezTo>
                    <a:cubicBezTo>
                      <a:pt x="172" y="314"/>
                      <a:pt x="172" y="314"/>
                      <a:pt x="172" y="314"/>
                    </a:cubicBezTo>
                    <a:cubicBezTo>
                      <a:pt x="173" y="314"/>
                      <a:pt x="174" y="316"/>
                      <a:pt x="174" y="313"/>
                    </a:cubicBezTo>
                    <a:cubicBezTo>
                      <a:pt x="173" y="311"/>
                      <a:pt x="173" y="311"/>
                      <a:pt x="174" y="310"/>
                    </a:cubicBezTo>
                    <a:cubicBezTo>
                      <a:pt x="175" y="310"/>
                      <a:pt x="177" y="310"/>
                      <a:pt x="177" y="310"/>
                    </a:cubicBezTo>
                    <a:cubicBezTo>
                      <a:pt x="177" y="310"/>
                      <a:pt x="181" y="311"/>
                      <a:pt x="181" y="311"/>
                    </a:cubicBezTo>
                    <a:cubicBezTo>
                      <a:pt x="181" y="311"/>
                      <a:pt x="182" y="312"/>
                      <a:pt x="183" y="312"/>
                    </a:cubicBezTo>
                    <a:cubicBezTo>
                      <a:pt x="183" y="312"/>
                      <a:pt x="184" y="313"/>
                      <a:pt x="185" y="313"/>
                    </a:cubicBezTo>
                    <a:cubicBezTo>
                      <a:pt x="185" y="312"/>
                      <a:pt x="186" y="311"/>
                      <a:pt x="186" y="311"/>
                    </a:cubicBezTo>
                    <a:cubicBezTo>
                      <a:pt x="187" y="311"/>
                      <a:pt x="190" y="310"/>
                      <a:pt x="190" y="311"/>
                    </a:cubicBezTo>
                    <a:cubicBezTo>
                      <a:pt x="190" y="311"/>
                      <a:pt x="193" y="312"/>
                      <a:pt x="193" y="312"/>
                    </a:cubicBezTo>
                    <a:cubicBezTo>
                      <a:pt x="192" y="312"/>
                      <a:pt x="192" y="313"/>
                      <a:pt x="192" y="314"/>
                    </a:cubicBezTo>
                    <a:cubicBezTo>
                      <a:pt x="192" y="315"/>
                      <a:pt x="192" y="316"/>
                      <a:pt x="192" y="316"/>
                    </a:cubicBezTo>
                    <a:cubicBezTo>
                      <a:pt x="193" y="317"/>
                      <a:pt x="194" y="318"/>
                      <a:pt x="194" y="318"/>
                    </a:cubicBezTo>
                    <a:cubicBezTo>
                      <a:pt x="195" y="318"/>
                      <a:pt x="198" y="319"/>
                      <a:pt x="198" y="319"/>
                    </a:cubicBezTo>
                    <a:cubicBezTo>
                      <a:pt x="198" y="319"/>
                      <a:pt x="199" y="321"/>
                      <a:pt x="199" y="317"/>
                    </a:cubicBezTo>
                    <a:cubicBezTo>
                      <a:pt x="199" y="314"/>
                      <a:pt x="199" y="313"/>
                      <a:pt x="199" y="313"/>
                    </a:cubicBezTo>
                    <a:cubicBezTo>
                      <a:pt x="199" y="310"/>
                      <a:pt x="199" y="310"/>
                      <a:pt x="199" y="310"/>
                    </a:cubicBezTo>
                    <a:cubicBezTo>
                      <a:pt x="199" y="310"/>
                      <a:pt x="199" y="309"/>
                      <a:pt x="199" y="309"/>
                    </a:cubicBezTo>
                    <a:cubicBezTo>
                      <a:pt x="198" y="309"/>
                      <a:pt x="198" y="309"/>
                      <a:pt x="198" y="309"/>
                    </a:cubicBezTo>
                    <a:cubicBezTo>
                      <a:pt x="197" y="309"/>
                      <a:pt x="194" y="309"/>
                      <a:pt x="194" y="308"/>
                    </a:cubicBezTo>
                    <a:cubicBezTo>
                      <a:pt x="193" y="308"/>
                      <a:pt x="193" y="307"/>
                      <a:pt x="193" y="306"/>
                    </a:cubicBezTo>
                    <a:cubicBezTo>
                      <a:pt x="193" y="306"/>
                      <a:pt x="195" y="304"/>
                      <a:pt x="195" y="304"/>
                    </a:cubicBezTo>
                    <a:cubicBezTo>
                      <a:pt x="195" y="302"/>
                      <a:pt x="195" y="302"/>
                      <a:pt x="195" y="302"/>
                    </a:cubicBezTo>
                    <a:cubicBezTo>
                      <a:pt x="193" y="298"/>
                      <a:pt x="193" y="298"/>
                      <a:pt x="193" y="298"/>
                    </a:cubicBezTo>
                    <a:cubicBezTo>
                      <a:pt x="190" y="296"/>
                      <a:pt x="190" y="296"/>
                      <a:pt x="190" y="296"/>
                    </a:cubicBezTo>
                    <a:cubicBezTo>
                      <a:pt x="189" y="292"/>
                      <a:pt x="189" y="292"/>
                      <a:pt x="189" y="292"/>
                    </a:cubicBezTo>
                    <a:cubicBezTo>
                      <a:pt x="189" y="292"/>
                      <a:pt x="189" y="292"/>
                      <a:pt x="189" y="292"/>
                    </a:cubicBezTo>
                    <a:cubicBezTo>
                      <a:pt x="189" y="291"/>
                      <a:pt x="189" y="291"/>
                      <a:pt x="189" y="291"/>
                    </a:cubicBezTo>
                    <a:cubicBezTo>
                      <a:pt x="191" y="290"/>
                      <a:pt x="191" y="290"/>
                      <a:pt x="191" y="290"/>
                    </a:cubicBezTo>
                    <a:cubicBezTo>
                      <a:pt x="193" y="289"/>
                      <a:pt x="195" y="287"/>
                      <a:pt x="195" y="287"/>
                    </a:cubicBezTo>
                    <a:cubicBezTo>
                      <a:pt x="195" y="287"/>
                      <a:pt x="195" y="287"/>
                      <a:pt x="196" y="286"/>
                    </a:cubicBezTo>
                    <a:cubicBezTo>
                      <a:pt x="197" y="285"/>
                      <a:pt x="197" y="285"/>
                      <a:pt x="197" y="285"/>
                    </a:cubicBezTo>
                    <a:cubicBezTo>
                      <a:pt x="197" y="285"/>
                      <a:pt x="201" y="283"/>
                      <a:pt x="202" y="283"/>
                    </a:cubicBezTo>
                    <a:cubicBezTo>
                      <a:pt x="202" y="283"/>
                      <a:pt x="202" y="283"/>
                      <a:pt x="203" y="283"/>
                    </a:cubicBezTo>
                    <a:cubicBezTo>
                      <a:pt x="203" y="283"/>
                      <a:pt x="203" y="283"/>
                      <a:pt x="203" y="283"/>
                    </a:cubicBezTo>
                    <a:cubicBezTo>
                      <a:pt x="207" y="279"/>
                      <a:pt x="207" y="279"/>
                      <a:pt x="207" y="279"/>
                    </a:cubicBezTo>
                    <a:cubicBezTo>
                      <a:pt x="207" y="275"/>
                      <a:pt x="207" y="275"/>
                      <a:pt x="207" y="275"/>
                    </a:cubicBezTo>
                    <a:cubicBezTo>
                      <a:pt x="208" y="273"/>
                      <a:pt x="208" y="273"/>
                      <a:pt x="208" y="273"/>
                    </a:cubicBezTo>
                    <a:cubicBezTo>
                      <a:pt x="208" y="272"/>
                      <a:pt x="208" y="271"/>
                      <a:pt x="208" y="271"/>
                    </a:cubicBezTo>
                    <a:cubicBezTo>
                      <a:pt x="213" y="270"/>
                      <a:pt x="213" y="270"/>
                      <a:pt x="213" y="270"/>
                    </a:cubicBezTo>
                    <a:cubicBezTo>
                      <a:pt x="213" y="270"/>
                      <a:pt x="213" y="271"/>
                      <a:pt x="214" y="272"/>
                    </a:cubicBezTo>
                    <a:cubicBezTo>
                      <a:pt x="215" y="272"/>
                      <a:pt x="216" y="271"/>
                      <a:pt x="216" y="271"/>
                    </a:cubicBezTo>
                    <a:cubicBezTo>
                      <a:pt x="217" y="271"/>
                      <a:pt x="218" y="270"/>
                      <a:pt x="218" y="270"/>
                    </a:cubicBezTo>
                    <a:cubicBezTo>
                      <a:pt x="218" y="267"/>
                      <a:pt x="218" y="267"/>
                      <a:pt x="218" y="267"/>
                    </a:cubicBezTo>
                    <a:cubicBezTo>
                      <a:pt x="217" y="263"/>
                      <a:pt x="217" y="263"/>
                      <a:pt x="217" y="263"/>
                    </a:cubicBezTo>
                    <a:cubicBezTo>
                      <a:pt x="217" y="261"/>
                      <a:pt x="217" y="261"/>
                      <a:pt x="217" y="261"/>
                    </a:cubicBezTo>
                    <a:cubicBezTo>
                      <a:pt x="217" y="261"/>
                      <a:pt x="217" y="261"/>
                      <a:pt x="217" y="261"/>
                    </a:cubicBezTo>
                    <a:cubicBezTo>
                      <a:pt x="217" y="261"/>
                      <a:pt x="217" y="260"/>
                      <a:pt x="217" y="260"/>
                    </a:cubicBezTo>
                    <a:cubicBezTo>
                      <a:pt x="215" y="258"/>
                      <a:pt x="216" y="259"/>
                      <a:pt x="215" y="258"/>
                    </a:cubicBezTo>
                    <a:cubicBezTo>
                      <a:pt x="213" y="257"/>
                      <a:pt x="212" y="257"/>
                      <a:pt x="211" y="256"/>
                    </a:cubicBezTo>
                    <a:cubicBezTo>
                      <a:pt x="211" y="255"/>
                      <a:pt x="212" y="254"/>
                      <a:pt x="210" y="254"/>
                    </a:cubicBezTo>
                    <a:cubicBezTo>
                      <a:pt x="208" y="254"/>
                      <a:pt x="207" y="255"/>
                      <a:pt x="206" y="254"/>
                    </a:cubicBezTo>
                    <a:cubicBezTo>
                      <a:pt x="205" y="253"/>
                      <a:pt x="205" y="253"/>
                      <a:pt x="204" y="252"/>
                    </a:cubicBezTo>
                    <a:cubicBezTo>
                      <a:pt x="204" y="250"/>
                      <a:pt x="204" y="248"/>
                      <a:pt x="203" y="248"/>
                    </a:cubicBezTo>
                    <a:cubicBezTo>
                      <a:pt x="201" y="248"/>
                      <a:pt x="200" y="248"/>
                      <a:pt x="200" y="248"/>
                    </a:cubicBezTo>
                    <a:cubicBezTo>
                      <a:pt x="200" y="248"/>
                      <a:pt x="199" y="248"/>
                      <a:pt x="199" y="246"/>
                    </a:cubicBezTo>
                    <a:cubicBezTo>
                      <a:pt x="198" y="244"/>
                      <a:pt x="200" y="245"/>
                      <a:pt x="197" y="243"/>
                    </a:cubicBezTo>
                    <a:cubicBezTo>
                      <a:pt x="195" y="240"/>
                      <a:pt x="196" y="241"/>
                      <a:pt x="194" y="239"/>
                    </a:cubicBezTo>
                    <a:cubicBezTo>
                      <a:pt x="192" y="238"/>
                      <a:pt x="187" y="239"/>
                      <a:pt x="187" y="239"/>
                    </a:cubicBezTo>
                    <a:cubicBezTo>
                      <a:pt x="187" y="239"/>
                      <a:pt x="187" y="238"/>
                      <a:pt x="186" y="237"/>
                    </a:cubicBezTo>
                    <a:cubicBezTo>
                      <a:pt x="184" y="235"/>
                      <a:pt x="185" y="236"/>
                      <a:pt x="183" y="234"/>
                    </a:cubicBezTo>
                    <a:cubicBezTo>
                      <a:pt x="181" y="232"/>
                      <a:pt x="182" y="233"/>
                      <a:pt x="181" y="231"/>
                    </a:cubicBezTo>
                    <a:cubicBezTo>
                      <a:pt x="181" y="228"/>
                      <a:pt x="181" y="227"/>
                      <a:pt x="180" y="226"/>
                    </a:cubicBezTo>
                    <a:cubicBezTo>
                      <a:pt x="178" y="224"/>
                      <a:pt x="177" y="223"/>
                      <a:pt x="177" y="223"/>
                    </a:cubicBezTo>
                    <a:cubicBezTo>
                      <a:pt x="177" y="223"/>
                      <a:pt x="176" y="220"/>
                      <a:pt x="177" y="219"/>
                    </a:cubicBezTo>
                    <a:cubicBezTo>
                      <a:pt x="179" y="217"/>
                      <a:pt x="179" y="216"/>
                      <a:pt x="179" y="216"/>
                    </a:cubicBezTo>
                    <a:cubicBezTo>
                      <a:pt x="179" y="215"/>
                      <a:pt x="180" y="213"/>
                      <a:pt x="178" y="211"/>
                    </a:cubicBezTo>
                    <a:cubicBezTo>
                      <a:pt x="175" y="210"/>
                      <a:pt x="175" y="209"/>
                      <a:pt x="173" y="208"/>
                    </a:cubicBezTo>
                    <a:cubicBezTo>
                      <a:pt x="171" y="207"/>
                      <a:pt x="170" y="207"/>
                      <a:pt x="169" y="206"/>
                    </a:cubicBezTo>
                    <a:cubicBezTo>
                      <a:pt x="169" y="205"/>
                      <a:pt x="167" y="200"/>
                      <a:pt x="167" y="200"/>
                    </a:cubicBezTo>
                    <a:cubicBezTo>
                      <a:pt x="166" y="198"/>
                      <a:pt x="166" y="198"/>
                      <a:pt x="166" y="198"/>
                    </a:cubicBezTo>
                    <a:cubicBezTo>
                      <a:pt x="170" y="198"/>
                      <a:pt x="170" y="198"/>
                      <a:pt x="170" y="198"/>
                    </a:cubicBezTo>
                    <a:cubicBezTo>
                      <a:pt x="171" y="200"/>
                      <a:pt x="171" y="200"/>
                      <a:pt x="171" y="200"/>
                    </a:cubicBezTo>
                    <a:cubicBezTo>
                      <a:pt x="172" y="203"/>
                      <a:pt x="172" y="203"/>
                      <a:pt x="172" y="203"/>
                    </a:cubicBezTo>
                    <a:cubicBezTo>
                      <a:pt x="174" y="198"/>
                      <a:pt x="174" y="198"/>
                      <a:pt x="174" y="198"/>
                    </a:cubicBezTo>
                    <a:cubicBezTo>
                      <a:pt x="178" y="195"/>
                      <a:pt x="178" y="195"/>
                      <a:pt x="178" y="195"/>
                    </a:cubicBezTo>
                    <a:cubicBezTo>
                      <a:pt x="178" y="195"/>
                      <a:pt x="177" y="195"/>
                      <a:pt x="180" y="194"/>
                    </a:cubicBezTo>
                    <a:cubicBezTo>
                      <a:pt x="182" y="194"/>
                      <a:pt x="184" y="193"/>
                      <a:pt x="185" y="193"/>
                    </a:cubicBezTo>
                    <a:cubicBezTo>
                      <a:pt x="186" y="193"/>
                      <a:pt x="188" y="194"/>
                      <a:pt x="190" y="193"/>
                    </a:cubicBezTo>
                    <a:cubicBezTo>
                      <a:pt x="191" y="193"/>
                      <a:pt x="192" y="193"/>
                      <a:pt x="192" y="191"/>
                    </a:cubicBezTo>
                    <a:cubicBezTo>
                      <a:pt x="192" y="190"/>
                      <a:pt x="191" y="189"/>
                      <a:pt x="194" y="188"/>
                    </a:cubicBezTo>
                    <a:cubicBezTo>
                      <a:pt x="197" y="187"/>
                      <a:pt x="197" y="186"/>
                      <a:pt x="197" y="186"/>
                    </a:cubicBezTo>
                    <a:cubicBezTo>
                      <a:pt x="200" y="184"/>
                      <a:pt x="200" y="184"/>
                      <a:pt x="200" y="184"/>
                    </a:cubicBezTo>
                    <a:cubicBezTo>
                      <a:pt x="202" y="184"/>
                      <a:pt x="206" y="180"/>
                      <a:pt x="206" y="180"/>
                    </a:cubicBezTo>
                    <a:cubicBezTo>
                      <a:pt x="211" y="178"/>
                      <a:pt x="211" y="178"/>
                      <a:pt x="211" y="178"/>
                    </a:cubicBezTo>
                    <a:cubicBezTo>
                      <a:pt x="213" y="177"/>
                      <a:pt x="213" y="177"/>
                      <a:pt x="213" y="177"/>
                    </a:cubicBezTo>
                    <a:cubicBezTo>
                      <a:pt x="214" y="173"/>
                      <a:pt x="214" y="173"/>
                      <a:pt x="214" y="173"/>
                    </a:cubicBezTo>
                    <a:cubicBezTo>
                      <a:pt x="214" y="173"/>
                      <a:pt x="213" y="172"/>
                      <a:pt x="216" y="172"/>
                    </a:cubicBezTo>
                    <a:cubicBezTo>
                      <a:pt x="218" y="172"/>
                      <a:pt x="226" y="170"/>
                      <a:pt x="226" y="170"/>
                    </a:cubicBezTo>
                    <a:cubicBezTo>
                      <a:pt x="227" y="168"/>
                      <a:pt x="227" y="168"/>
                      <a:pt x="227" y="168"/>
                    </a:cubicBezTo>
                    <a:cubicBezTo>
                      <a:pt x="224" y="166"/>
                      <a:pt x="224" y="166"/>
                      <a:pt x="224" y="166"/>
                    </a:cubicBezTo>
                    <a:cubicBezTo>
                      <a:pt x="224" y="166"/>
                      <a:pt x="225" y="163"/>
                      <a:pt x="225" y="163"/>
                    </a:cubicBezTo>
                    <a:cubicBezTo>
                      <a:pt x="226" y="163"/>
                      <a:pt x="229" y="162"/>
                      <a:pt x="230" y="162"/>
                    </a:cubicBezTo>
                    <a:cubicBezTo>
                      <a:pt x="232" y="163"/>
                      <a:pt x="234" y="164"/>
                      <a:pt x="234" y="165"/>
                    </a:cubicBezTo>
                    <a:cubicBezTo>
                      <a:pt x="234" y="166"/>
                      <a:pt x="235" y="165"/>
                      <a:pt x="235" y="166"/>
                    </a:cubicBezTo>
                    <a:cubicBezTo>
                      <a:pt x="234" y="168"/>
                      <a:pt x="235" y="169"/>
                      <a:pt x="235" y="169"/>
                    </a:cubicBezTo>
                    <a:cubicBezTo>
                      <a:pt x="235" y="169"/>
                      <a:pt x="235" y="170"/>
                      <a:pt x="236" y="171"/>
                    </a:cubicBezTo>
                    <a:cubicBezTo>
                      <a:pt x="237" y="171"/>
                      <a:pt x="238" y="171"/>
                      <a:pt x="238" y="171"/>
                    </a:cubicBezTo>
                    <a:cubicBezTo>
                      <a:pt x="238" y="171"/>
                      <a:pt x="239" y="171"/>
                      <a:pt x="239" y="171"/>
                    </a:cubicBezTo>
                    <a:cubicBezTo>
                      <a:pt x="241" y="168"/>
                      <a:pt x="241" y="168"/>
                      <a:pt x="241" y="168"/>
                    </a:cubicBezTo>
                    <a:cubicBezTo>
                      <a:pt x="242" y="167"/>
                      <a:pt x="243" y="165"/>
                      <a:pt x="243" y="165"/>
                    </a:cubicBezTo>
                    <a:cubicBezTo>
                      <a:pt x="243" y="165"/>
                      <a:pt x="244" y="164"/>
                      <a:pt x="244" y="164"/>
                    </a:cubicBezTo>
                    <a:cubicBezTo>
                      <a:pt x="244" y="164"/>
                      <a:pt x="244" y="162"/>
                      <a:pt x="244" y="161"/>
                    </a:cubicBezTo>
                    <a:cubicBezTo>
                      <a:pt x="244" y="161"/>
                      <a:pt x="242" y="160"/>
                      <a:pt x="244" y="158"/>
                    </a:cubicBezTo>
                    <a:cubicBezTo>
                      <a:pt x="247" y="156"/>
                      <a:pt x="247" y="154"/>
                      <a:pt x="247" y="154"/>
                    </a:cubicBezTo>
                    <a:close/>
                  </a:path>
                </a:pathLst>
              </a:custGeom>
              <a:solidFill>
                <a:srgbClr val="0181C7"/>
              </a:solid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85" name="Freeform 131"/>
              <p:cNvSpPr>
                <a:spLocks/>
              </p:cNvSpPr>
              <p:nvPr/>
            </p:nvSpPr>
            <p:spPr bwMode="auto">
              <a:xfrm>
                <a:off x="2293" y="2106"/>
                <a:ext cx="203" cy="171"/>
              </a:xfrm>
              <a:custGeom>
                <a:avLst/>
                <a:gdLst>
                  <a:gd name="T0" fmla="*/ 84 w 101"/>
                  <a:gd name="T1" fmla="*/ 82 h 85"/>
                  <a:gd name="T2" fmla="*/ 83 w 101"/>
                  <a:gd name="T3" fmla="*/ 80 h 85"/>
                  <a:gd name="T4" fmla="*/ 80 w 101"/>
                  <a:gd name="T5" fmla="*/ 75 h 85"/>
                  <a:gd name="T6" fmla="*/ 83 w 101"/>
                  <a:gd name="T7" fmla="*/ 67 h 85"/>
                  <a:gd name="T8" fmla="*/ 85 w 101"/>
                  <a:gd name="T9" fmla="*/ 63 h 85"/>
                  <a:gd name="T10" fmla="*/ 87 w 101"/>
                  <a:gd name="T11" fmla="*/ 60 h 85"/>
                  <a:gd name="T12" fmla="*/ 89 w 101"/>
                  <a:gd name="T13" fmla="*/ 58 h 85"/>
                  <a:gd name="T14" fmla="*/ 91 w 101"/>
                  <a:gd name="T15" fmla="*/ 57 h 85"/>
                  <a:gd name="T16" fmla="*/ 95 w 101"/>
                  <a:gd name="T17" fmla="*/ 58 h 85"/>
                  <a:gd name="T18" fmla="*/ 98 w 101"/>
                  <a:gd name="T19" fmla="*/ 56 h 85"/>
                  <a:gd name="T20" fmla="*/ 101 w 101"/>
                  <a:gd name="T21" fmla="*/ 52 h 85"/>
                  <a:gd name="T22" fmla="*/ 97 w 101"/>
                  <a:gd name="T23" fmla="*/ 46 h 85"/>
                  <a:gd name="T24" fmla="*/ 96 w 101"/>
                  <a:gd name="T25" fmla="*/ 39 h 85"/>
                  <a:gd name="T26" fmla="*/ 91 w 101"/>
                  <a:gd name="T27" fmla="*/ 35 h 85"/>
                  <a:gd name="T28" fmla="*/ 83 w 101"/>
                  <a:gd name="T29" fmla="*/ 34 h 85"/>
                  <a:gd name="T30" fmla="*/ 83 w 101"/>
                  <a:gd name="T31" fmla="*/ 28 h 85"/>
                  <a:gd name="T32" fmla="*/ 88 w 101"/>
                  <a:gd name="T33" fmla="*/ 20 h 85"/>
                  <a:gd name="T34" fmla="*/ 80 w 101"/>
                  <a:gd name="T35" fmla="*/ 14 h 85"/>
                  <a:gd name="T36" fmla="*/ 75 w 101"/>
                  <a:gd name="T37" fmla="*/ 11 h 85"/>
                  <a:gd name="T38" fmla="*/ 69 w 101"/>
                  <a:gd name="T39" fmla="*/ 8 h 85"/>
                  <a:gd name="T40" fmla="*/ 67 w 101"/>
                  <a:gd name="T41" fmla="*/ 2 h 85"/>
                  <a:gd name="T42" fmla="*/ 61 w 101"/>
                  <a:gd name="T43" fmla="*/ 3 h 85"/>
                  <a:gd name="T44" fmla="*/ 57 w 101"/>
                  <a:gd name="T45" fmla="*/ 3 h 85"/>
                  <a:gd name="T46" fmla="*/ 51 w 101"/>
                  <a:gd name="T47" fmla="*/ 1 h 85"/>
                  <a:gd name="T48" fmla="*/ 47 w 101"/>
                  <a:gd name="T49" fmla="*/ 5 h 85"/>
                  <a:gd name="T50" fmla="*/ 31 w 101"/>
                  <a:gd name="T51" fmla="*/ 8 h 85"/>
                  <a:gd name="T52" fmla="*/ 24 w 101"/>
                  <a:gd name="T53" fmla="*/ 6 h 85"/>
                  <a:gd name="T54" fmla="*/ 15 w 101"/>
                  <a:gd name="T55" fmla="*/ 5 h 85"/>
                  <a:gd name="T56" fmla="*/ 0 w 101"/>
                  <a:gd name="T57" fmla="*/ 17 h 85"/>
                  <a:gd name="T58" fmla="*/ 2 w 101"/>
                  <a:gd name="T59" fmla="*/ 24 h 85"/>
                  <a:gd name="T60" fmla="*/ 9 w 101"/>
                  <a:gd name="T61" fmla="*/ 27 h 85"/>
                  <a:gd name="T62" fmla="*/ 17 w 101"/>
                  <a:gd name="T63" fmla="*/ 30 h 85"/>
                  <a:gd name="T64" fmla="*/ 19 w 101"/>
                  <a:gd name="T65" fmla="*/ 39 h 85"/>
                  <a:gd name="T66" fmla="*/ 23 w 101"/>
                  <a:gd name="T67" fmla="*/ 38 h 85"/>
                  <a:gd name="T68" fmla="*/ 27 w 101"/>
                  <a:gd name="T69" fmla="*/ 43 h 85"/>
                  <a:gd name="T70" fmla="*/ 30 w 101"/>
                  <a:gd name="T71" fmla="*/ 47 h 85"/>
                  <a:gd name="T72" fmla="*/ 38 w 101"/>
                  <a:gd name="T73" fmla="*/ 47 h 85"/>
                  <a:gd name="T74" fmla="*/ 43 w 101"/>
                  <a:gd name="T75" fmla="*/ 51 h 85"/>
                  <a:gd name="T76" fmla="*/ 42 w 101"/>
                  <a:gd name="T77" fmla="*/ 57 h 85"/>
                  <a:gd name="T78" fmla="*/ 41 w 101"/>
                  <a:gd name="T79" fmla="*/ 64 h 85"/>
                  <a:gd name="T80" fmla="*/ 48 w 101"/>
                  <a:gd name="T81" fmla="*/ 64 h 85"/>
                  <a:gd name="T82" fmla="*/ 53 w 101"/>
                  <a:gd name="T83" fmla="*/ 59 h 85"/>
                  <a:gd name="T84" fmla="*/ 57 w 101"/>
                  <a:gd name="T85" fmla="*/ 56 h 85"/>
                  <a:gd name="T86" fmla="*/ 61 w 101"/>
                  <a:gd name="T87" fmla="*/ 62 h 85"/>
                  <a:gd name="T88" fmla="*/ 59 w 101"/>
                  <a:gd name="T89" fmla="*/ 67 h 85"/>
                  <a:gd name="T90" fmla="*/ 60 w 101"/>
                  <a:gd name="T91" fmla="*/ 72 h 85"/>
                  <a:gd name="T92" fmla="*/ 67 w 101"/>
                  <a:gd name="T93" fmla="*/ 74 h 85"/>
                  <a:gd name="T94" fmla="*/ 72 w 101"/>
                  <a:gd name="T95" fmla="*/ 80 h 85"/>
                  <a:gd name="T96" fmla="*/ 76 w 101"/>
                  <a:gd name="T97" fmla="*/ 82 h 85"/>
                  <a:gd name="T98" fmla="*/ 79 w 101"/>
                  <a:gd name="T99" fmla="*/ 84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1" h="85">
                    <a:moveTo>
                      <a:pt x="80" y="84"/>
                    </a:moveTo>
                    <a:cubicBezTo>
                      <a:pt x="80" y="84"/>
                      <a:pt x="82" y="84"/>
                      <a:pt x="83" y="83"/>
                    </a:cubicBezTo>
                    <a:cubicBezTo>
                      <a:pt x="83" y="83"/>
                      <a:pt x="83" y="83"/>
                      <a:pt x="83" y="83"/>
                    </a:cubicBezTo>
                    <a:cubicBezTo>
                      <a:pt x="84" y="82"/>
                      <a:pt x="84" y="82"/>
                      <a:pt x="84" y="82"/>
                    </a:cubicBezTo>
                    <a:cubicBezTo>
                      <a:pt x="84" y="82"/>
                      <a:pt x="84" y="81"/>
                      <a:pt x="84" y="81"/>
                    </a:cubicBezTo>
                    <a:cubicBezTo>
                      <a:pt x="84" y="81"/>
                      <a:pt x="84" y="81"/>
                      <a:pt x="84" y="81"/>
                    </a:cubicBezTo>
                    <a:cubicBezTo>
                      <a:pt x="84" y="81"/>
                      <a:pt x="84" y="81"/>
                      <a:pt x="84" y="81"/>
                    </a:cubicBezTo>
                    <a:cubicBezTo>
                      <a:pt x="83" y="80"/>
                      <a:pt x="83" y="80"/>
                      <a:pt x="83" y="80"/>
                    </a:cubicBezTo>
                    <a:cubicBezTo>
                      <a:pt x="82" y="77"/>
                      <a:pt x="82" y="77"/>
                      <a:pt x="82" y="77"/>
                    </a:cubicBezTo>
                    <a:cubicBezTo>
                      <a:pt x="80" y="77"/>
                      <a:pt x="80" y="77"/>
                      <a:pt x="80" y="77"/>
                    </a:cubicBezTo>
                    <a:cubicBezTo>
                      <a:pt x="80" y="76"/>
                      <a:pt x="80" y="76"/>
                      <a:pt x="80" y="76"/>
                    </a:cubicBezTo>
                    <a:cubicBezTo>
                      <a:pt x="80" y="75"/>
                      <a:pt x="80" y="75"/>
                      <a:pt x="80" y="75"/>
                    </a:cubicBezTo>
                    <a:cubicBezTo>
                      <a:pt x="80" y="74"/>
                      <a:pt x="81" y="73"/>
                      <a:pt x="81" y="73"/>
                    </a:cubicBezTo>
                    <a:cubicBezTo>
                      <a:pt x="81" y="72"/>
                      <a:pt x="81" y="72"/>
                      <a:pt x="81" y="72"/>
                    </a:cubicBezTo>
                    <a:cubicBezTo>
                      <a:pt x="81" y="72"/>
                      <a:pt x="80" y="71"/>
                      <a:pt x="80" y="70"/>
                    </a:cubicBezTo>
                    <a:cubicBezTo>
                      <a:pt x="81" y="69"/>
                      <a:pt x="83" y="67"/>
                      <a:pt x="83" y="67"/>
                    </a:cubicBezTo>
                    <a:cubicBezTo>
                      <a:pt x="83" y="66"/>
                      <a:pt x="83" y="66"/>
                      <a:pt x="83" y="66"/>
                    </a:cubicBezTo>
                    <a:cubicBezTo>
                      <a:pt x="83" y="65"/>
                      <a:pt x="83" y="65"/>
                      <a:pt x="83" y="65"/>
                    </a:cubicBezTo>
                    <a:cubicBezTo>
                      <a:pt x="84" y="65"/>
                      <a:pt x="84" y="64"/>
                      <a:pt x="85" y="63"/>
                    </a:cubicBezTo>
                    <a:cubicBezTo>
                      <a:pt x="85" y="63"/>
                      <a:pt x="85" y="63"/>
                      <a:pt x="85" y="63"/>
                    </a:cubicBezTo>
                    <a:cubicBezTo>
                      <a:pt x="85" y="63"/>
                      <a:pt x="85" y="63"/>
                      <a:pt x="85" y="63"/>
                    </a:cubicBezTo>
                    <a:cubicBezTo>
                      <a:pt x="85" y="62"/>
                      <a:pt x="85" y="62"/>
                      <a:pt x="85" y="62"/>
                    </a:cubicBezTo>
                    <a:cubicBezTo>
                      <a:pt x="85" y="61"/>
                      <a:pt x="86" y="60"/>
                      <a:pt x="87" y="60"/>
                    </a:cubicBezTo>
                    <a:cubicBezTo>
                      <a:pt x="87" y="60"/>
                      <a:pt x="87" y="60"/>
                      <a:pt x="87" y="60"/>
                    </a:cubicBezTo>
                    <a:cubicBezTo>
                      <a:pt x="87" y="59"/>
                      <a:pt x="87" y="59"/>
                      <a:pt x="87" y="59"/>
                    </a:cubicBezTo>
                    <a:cubicBezTo>
                      <a:pt x="88" y="59"/>
                      <a:pt x="88" y="58"/>
                      <a:pt x="88" y="58"/>
                    </a:cubicBezTo>
                    <a:cubicBezTo>
                      <a:pt x="88" y="58"/>
                      <a:pt x="88" y="58"/>
                      <a:pt x="88" y="58"/>
                    </a:cubicBezTo>
                    <a:cubicBezTo>
                      <a:pt x="89" y="58"/>
                      <a:pt x="89" y="58"/>
                      <a:pt x="89" y="58"/>
                    </a:cubicBezTo>
                    <a:cubicBezTo>
                      <a:pt x="89" y="58"/>
                      <a:pt x="89" y="57"/>
                      <a:pt x="89" y="57"/>
                    </a:cubicBezTo>
                    <a:cubicBezTo>
                      <a:pt x="90" y="57"/>
                      <a:pt x="91" y="57"/>
                      <a:pt x="91" y="57"/>
                    </a:cubicBezTo>
                    <a:cubicBezTo>
                      <a:pt x="91" y="57"/>
                      <a:pt x="91" y="57"/>
                      <a:pt x="91" y="57"/>
                    </a:cubicBezTo>
                    <a:cubicBezTo>
                      <a:pt x="91" y="57"/>
                      <a:pt x="91" y="57"/>
                      <a:pt x="91" y="57"/>
                    </a:cubicBezTo>
                    <a:cubicBezTo>
                      <a:pt x="92" y="57"/>
                      <a:pt x="92" y="57"/>
                      <a:pt x="92" y="58"/>
                    </a:cubicBezTo>
                    <a:cubicBezTo>
                      <a:pt x="93" y="57"/>
                      <a:pt x="93" y="57"/>
                      <a:pt x="93" y="57"/>
                    </a:cubicBezTo>
                    <a:cubicBezTo>
                      <a:pt x="94" y="57"/>
                      <a:pt x="94" y="57"/>
                      <a:pt x="94" y="57"/>
                    </a:cubicBezTo>
                    <a:cubicBezTo>
                      <a:pt x="95" y="58"/>
                      <a:pt x="95" y="58"/>
                      <a:pt x="95" y="58"/>
                    </a:cubicBezTo>
                    <a:cubicBezTo>
                      <a:pt x="95" y="58"/>
                      <a:pt x="95" y="58"/>
                      <a:pt x="95" y="58"/>
                    </a:cubicBezTo>
                    <a:cubicBezTo>
                      <a:pt x="96" y="57"/>
                      <a:pt x="96" y="57"/>
                      <a:pt x="96" y="57"/>
                    </a:cubicBezTo>
                    <a:cubicBezTo>
                      <a:pt x="96" y="57"/>
                      <a:pt x="96" y="56"/>
                      <a:pt x="97" y="56"/>
                    </a:cubicBezTo>
                    <a:cubicBezTo>
                      <a:pt x="97" y="56"/>
                      <a:pt x="97" y="56"/>
                      <a:pt x="98" y="56"/>
                    </a:cubicBezTo>
                    <a:cubicBezTo>
                      <a:pt x="99" y="56"/>
                      <a:pt x="99" y="54"/>
                      <a:pt x="99" y="54"/>
                    </a:cubicBezTo>
                    <a:cubicBezTo>
                      <a:pt x="100" y="54"/>
                      <a:pt x="100" y="54"/>
                      <a:pt x="100" y="54"/>
                    </a:cubicBezTo>
                    <a:cubicBezTo>
                      <a:pt x="100" y="54"/>
                      <a:pt x="101" y="53"/>
                      <a:pt x="101" y="53"/>
                    </a:cubicBezTo>
                    <a:cubicBezTo>
                      <a:pt x="101" y="52"/>
                      <a:pt x="101" y="52"/>
                      <a:pt x="101" y="52"/>
                    </a:cubicBezTo>
                    <a:cubicBezTo>
                      <a:pt x="101" y="52"/>
                      <a:pt x="101" y="50"/>
                      <a:pt x="101" y="49"/>
                    </a:cubicBezTo>
                    <a:cubicBezTo>
                      <a:pt x="101" y="48"/>
                      <a:pt x="101" y="47"/>
                      <a:pt x="101" y="47"/>
                    </a:cubicBezTo>
                    <a:cubicBezTo>
                      <a:pt x="101" y="47"/>
                      <a:pt x="100" y="46"/>
                      <a:pt x="100" y="46"/>
                    </a:cubicBezTo>
                    <a:cubicBezTo>
                      <a:pt x="99" y="46"/>
                      <a:pt x="98" y="46"/>
                      <a:pt x="97" y="46"/>
                    </a:cubicBezTo>
                    <a:cubicBezTo>
                      <a:pt x="97" y="46"/>
                      <a:pt x="96" y="44"/>
                      <a:pt x="96" y="44"/>
                    </a:cubicBezTo>
                    <a:cubicBezTo>
                      <a:pt x="96" y="44"/>
                      <a:pt x="97" y="43"/>
                      <a:pt x="97" y="43"/>
                    </a:cubicBezTo>
                    <a:cubicBezTo>
                      <a:pt x="98" y="42"/>
                      <a:pt x="98" y="40"/>
                      <a:pt x="98" y="40"/>
                    </a:cubicBezTo>
                    <a:cubicBezTo>
                      <a:pt x="98" y="40"/>
                      <a:pt x="96" y="40"/>
                      <a:pt x="96" y="39"/>
                    </a:cubicBezTo>
                    <a:cubicBezTo>
                      <a:pt x="96" y="39"/>
                      <a:pt x="95" y="39"/>
                      <a:pt x="95" y="39"/>
                    </a:cubicBezTo>
                    <a:cubicBezTo>
                      <a:pt x="94" y="37"/>
                      <a:pt x="94" y="37"/>
                      <a:pt x="94" y="37"/>
                    </a:cubicBezTo>
                    <a:cubicBezTo>
                      <a:pt x="94" y="37"/>
                      <a:pt x="93" y="36"/>
                      <a:pt x="92" y="36"/>
                    </a:cubicBezTo>
                    <a:cubicBezTo>
                      <a:pt x="92" y="36"/>
                      <a:pt x="91" y="35"/>
                      <a:pt x="91" y="35"/>
                    </a:cubicBezTo>
                    <a:cubicBezTo>
                      <a:pt x="91" y="35"/>
                      <a:pt x="90" y="34"/>
                      <a:pt x="89" y="34"/>
                    </a:cubicBezTo>
                    <a:cubicBezTo>
                      <a:pt x="89" y="34"/>
                      <a:pt x="88" y="34"/>
                      <a:pt x="87" y="34"/>
                    </a:cubicBezTo>
                    <a:cubicBezTo>
                      <a:pt x="86" y="34"/>
                      <a:pt x="85" y="34"/>
                      <a:pt x="85" y="34"/>
                    </a:cubicBezTo>
                    <a:cubicBezTo>
                      <a:pt x="83" y="34"/>
                      <a:pt x="83" y="34"/>
                      <a:pt x="83" y="34"/>
                    </a:cubicBezTo>
                    <a:cubicBezTo>
                      <a:pt x="83" y="33"/>
                      <a:pt x="83" y="33"/>
                      <a:pt x="83" y="33"/>
                    </a:cubicBezTo>
                    <a:cubicBezTo>
                      <a:pt x="81" y="31"/>
                      <a:pt x="81" y="31"/>
                      <a:pt x="81" y="31"/>
                    </a:cubicBezTo>
                    <a:cubicBezTo>
                      <a:pt x="81" y="31"/>
                      <a:pt x="81" y="29"/>
                      <a:pt x="81" y="29"/>
                    </a:cubicBezTo>
                    <a:cubicBezTo>
                      <a:pt x="81" y="28"/>
                      <a:pt x="82" y="28"/>
                      <a:pt x="83" y="28"/>
                    </a:cubicBezTo>
                    <a:cubicBezTo>
                      <a:pt x="83" y="28"/>
                      <a:pt x="84" y="26"/>
                      <a:pt x="84" y="26"/>
                    </a:cubicBezTo>
                    <a:cubicBezTo>
                      <a:pt x="84" y="26"/>
                      <a:pt x="85" y="25"/>
                      <a:pt x="86" y="24"/>
                    </a:cubicBezTo>
                    <a:cubicBezTo>
                      <a:pt x="86" y="24"/>
                      <a:pt x="87" y="22"/>
                      <a:pt x="87" y="21"/>
                    </a:cubicBezTo>
                    <a:cubicBezTo>
                      <a:pt x="87" y="21"/>
                      <a:pt x="88" y="20"/>
                      <a:pt x="88" y="20"/>
                    </a:cubicBezTo>
                    <a:cubicBezTo>
                      <a:pt x="88" y="20"/>
                      <a:pt x="89" y="18"/>
                      <a:pt x="89" y="18"/>
                    </a:cubicBezTo>
                    <a:cubicBezTo>
                      <a:pt x="89" y="17"/>
                      <a:pt x="88" y="17"/>
                      <a:pt x="87" y="17"/>
                    </a:cubicBezTo>
                    <a:cubicBezTo>
                      <a:pt x="87" y="17"/>
                      <a:pt x="84" y="16"/>
                      <a:pt x="84" y="15"/>
                    </a:cubicBezTo>
                    <a:cubicBezTo>
                      <a:pt x="84" y="15"/>
                      <a:pt x="82" y="15"/>
                      <a:pt x="80" y="14"/>
                    </a:cubicBezTo>
                    <a:cubicBezTo>
                      <a:pt x="78" y="14"/>
                      <a:pt x="80" y="13"/>
                      <a:pt x="80" y="12"/>
                    </a:cubicBezTo>
                    <a:cubicBezTo>
                      <a:pt x="80" y="11"/>
                      <a:pt x="78" y="11"/>
                      <a:pt x="78" y="11"/>
                    </a:cubicBezTo>
                    <a:cubicBezTo>
                      <a:pt x="78" y="10"/>
                      <a:pt x="78" y="11"/>
                      <a:pt x="77" y="12"/>
                    </a:cubicBezTo>
                    <a:cubicBezTo>
                      <a:pt x="76" y="12"/>
                      <a:pt x="75" y="11"/>
                      <a:pt x="75" y="11"/>
                    </a:cubicBezTo>
                    <a:cubicBezTo>
                      <a:pt x="74" y="11"/>
                      <a:pt x="72" y="11"/>
                      <a:pt x="72" y="11"/>
                    </a:cubicBezTo>
                    <a:cubicBezTo>
                      <a:pt x="72" y="11"/>
                      <a:pt x="72" y="10"/>
                      <a:pt x="72" y="9"/>
                    </a:cubicBezTo>
                    <a:cubicBezTo>
                      <a:pt x="72" y="8"/>
                      <a:pt x="71" y="9"/>
                      <a:pt x="71" y="9"/>
                    </a:cubicBezTo>
                    <a:cubicBezTo>
                      <a:pt x="71" y="9"/>
                      <a:pt x="70" y="8"/>
                      <a:pt x="69" y="8"/>
                    </a:cubicBezTo>
                    <a:cubicBezTo>
                      <a:pt x="69" y="8"/>
                      <a:pt x="70" y="8"/>
                      <a:pt x="70" y="7"/>
                    </a:cubicBezTo>
                    <a:cubicBezTo>
                      <a:pt x="70" y="7"/>
                      <a:pt x="69" y="7"/>
                      <a:pt x="69" y="7"/>
                    </a:cubicBezTo>
                    <a:cubicBezTo>
                      <a:pt x="68" y="7"/>
                      <a:pt x="68" y="5"/>
                      <a:pt x="68" y="5"/>
                    </a:cubicBezTo>
                    <a:cubicBezTo>
                      <a:pt x="68" y="5"/>
                      <a:pt x="67" y="3"/>
                      <a:pt x="67" y="2"/>
                    </a:cubicBezTo>
                    <a:cubicBezTo>
                      <a:pt x="67" y="1"/>
                      <a:pt x="66" y="2"/>
                      <a:pt x="66" y="2"/>
                    </a:cubicBezTo>
                    <a:cubicBezTo>
                      <a:pt x="65" y="5"/>
                      <a:pt x="65" y="5"/>
                      <a:pt x="65" y="5"/>
                    </a:cubicBezTo>
                    <a:cubicBezTo>
                      <a:pt x="65" y="5"/>
                      <a:pt x="64" y="5"/>
                      <a:pt x="62" y="4"/>
                    </a:cubicBezTo>
                    <a:cubicBezTo>
                      <a:pt x="60" y="3"/>
                      <a:pt x="61" y="3"/>
                      <a:pt x="61" y="3"/>
                    </a:cubicBezTo>
                    <a:cubicBezTo>
                      <a:pt x="62" y="1"/>
                      <a:pt x="62" y="1"/>
                      <a:pt x="62" y="1"/>
                    </a:cubicBezTo>
                    <a:cubicBezTo>
                      <a:pt x="62" y="1"/>
                      <a:pt x="61" y="1"/>
                      <a:pt x="60" y="0"/>
                    </a:cubicBezTo>
                    <a:cubicBezTo>
                      <a:pt x="59" y="0"/>
                      <a:pt x="59" y="0"/>
                      <a:pt x="58" y="1"/>
                    </a:cubicBezTo>
                    <a:cubicBezTo>
                      <a:pt x="58" y="2"/>
                      <a:pt x="57" y="3"/>
                      <a:pt x="57" y="3"/>
                    </a:cubicBezTo>
                    <a:cubicBezTo>
                      <a:pt x="56" y="4"/>
                      <a:pt x="56" y="3"/>
                      <a:pt x="55" y="3"/>
                    </a:cubicBezTo>
                    <a:cubicBezTo>
                      <a:pt x="53" y="3"/>
                      <a:pt x="53" y="3"/>
                      <a:pt x="53" y="3"/>
                    </a:cubicBezTo>
                    <a:cubicBezTo>
                      <a:pt x="53" y="2"/>
                      <a:pt x="52" y="2"/>
                      <a:pt x="52" y="1"/>
                    </a:cubicBezTo>
                    <a:cubicBezTo>
                      <a:pt x="52" y="0"/>
                      <a:pt x="51" y="1"/>
                      <a:pt x="51" y="1"/>
                    </a:cubicBezTo>
                    <a:cubicBezTo>
                      <a:pt x="51" y="1"/>
                      <a:pt x="50" y="1"/>
                      <a:pt x="49" y="2"/>
                    </a:cubicBezTo>
                    <a:cubicBezTo>
                      <a:pt x="49" y="2"/>
                      <a:pt x="49" y="3"/>
                      <a:pt x="50" y="4"/>
                    </a:cubicBezTo>
                    <a:cubicBezTo>
                      <a:pt x="50" y="4"/>
                      <a:pt x="50" y="6"/>
                      <a:pt x="50" y="6"/>
                    </a:cubicBezTo>
                    <a:cubicBezTo>
                      <a:pt x="50" y="6"/>
                      <a:pt x="48" y="5"/>
                      <a:pt x="47" y="5"/>
                    </a:cubicBezTo>
                    <a:cubicBezTo>
                      <a:pt x="47" y="5"/>
                      <a:pt x="46" y="5"/>
                      <a:pt x="45" y="5"/>
                    </a:cubicBezTo>
                    <a:cubicBezTo>
                      <a:pt x="43" y="4"/>
                      <a:pt x="44" y="6"/>
                      <a:pt x="44" y="6"/>
                    </a:cubicBezTo>
                    <a:cubicBezTo>
                      <a:pt x="44" y="6"/>
                      <a:pt x="42" y="8"/>
                      <a:pt x="42" y="8"/>
                    </a:cubicBezTo>
                    <a:cubicBezTo>
                      <a:pt x="34" y="10"/>
                      <a:pt x="37" y="9"/>
                      <a:pt x="31" y="8"/>
                    </a:cubicBezTo>
                    <a:cubicBezTo>
                      <a:pt x="31" y="8"/>
                      <a:pt x="31" y="4"/>
                      <a:pt x="30" y="4"/>
                    </a:cubicBezTo>
                    <a:cubicBezTo>
                      <a:pt x="29" y="3"/>
                      <a:pt x="28" y="4"/>
                      <a:pt x="27" y="4"/>
                    </a:cubicBezTo>
                    <a:cubicBezTo>
                      <a:pt x="27" y="5"/>
                      <a:pt x="27" y="6"/>
                      <a:pt x="26" y="6"/>
                    </a:cubicBezTo>
                    <a:cubicBezTo>
                      <a:pt x="26" y="7"/>
                      <a:pt x="25" y="6"/>
                      <a:pt x="24" y="6"/>
                    </a:cubicBezTo>
                    <a:cubicBezTo>
                      <a:pt x="24" y="5"/>
                      <a:pt x="23" y="3"/>
                      <a:pt x="23" y="3"/>
                    </a:cubicBezTo>
                    <a:cubicBezTo>
                      <a:pt x="22" y="4"/>
                      <a:pt x="22" y="4"/>
                      <a:pt x="22" y="4"/>
                    </a:cubicBezTo>
                    <a:cubicBezTo>
                      <a:pt x="19" y="4"/>
                      <a:pt x="19" y="4"/>
                      <a:pt x="19" y="4"/>
                    </a:cubicBezTo>
                    <a:cubicBezTo>
                      <a:pt x="15" y="5"/>
                      <a:pt x="15" y="5"/>
                      <a:pt x="15" y="5"/>
                    </a:cubicBezTo>
                    <a:cubicBezTo>
                      <a:pt x="15" y="5"/>
                      <a:pt x="9" y="9"/>
                      <a:pt x="4" y="11"/>
                    </a:cubicBezTo>
                    <a:cubicBezTo>
                      <a:pt x="1" y="14"/>
                      <a:pt x="1" y="14"/>
                      <a:pt x="1" y="14"/>
                    </a:cubicBezTo>
                    <a:cubicBezTo>
                      <a:pt x="1" y="15"/>
                      <a:pt x="1" y="15"/>
                      <a:pt x="0" y="15"/>
                    </a:cubicBezTo>
                    <a:cubicBezTo>
                      <a:pt x="0" y="17"/>
                      <a:pt x="0" y="17"/>
                      <a:pt x="0" y="17"/>
                    </a:cubicBezTo>
                    <a:cubicBezTo>
                      <a:pt x="0" y="17"/>
                      <a:pt x="0" y="17"/>
                      <a:pt x="1" y="17"/>
                    </a:cubicBezTo>
                    <a:cubicBezTo>
                      <a:pt x="2" y="18"/>
                      <a:pt x="2" y="19"/>
                      <a:pt x="2" y="21"/>
                    </a:cubicBezTo>
                    <a:cubicBezTo>
                      <a:pt x="2" y="23"/>
                      <a:pt x="2" y="23"/>
                      <a:pt x="2" y="23"/>
                    </a:cubicBezTo>
                    <a:cubicBezTo>
                      <a:pt x="2" y="23"/>
                      <a:pt x="2" y="24"/>
                      <a:pt x="2" y="24"/>
                    </a:cubicBezTo>
                    <a:cubicBezTo>
                      <a:pt x="3" y="25"/>
                      <a:pt x="4" y="26"/>
                      <a:pt x="5" y="27"/>
                    </a:cubicBezTo>
                    <a:cubicBezTo>
                      <a:pt x="5" y="28"/>
                      <a:pt x="5" y="28"/>
                      <a:pt x="5" y="29"/>
                    </a:cubicBezTo>
                    <a:cubicBezTo>
                      <a:pt x="6" y="28"/>
                      <a:pt x="6" y="27"/>
                      <a:pt x="8" y="27"/>
                    </a:cubicBezTo>
                    <a:cubicBezTo>
                      <a:pt x="8" y="27"/>
                      <a:pt x="9" y="27"/>
                      <a:pt x="9" y="27"/>
                    </a:cubicBezTo>
                    <a:cubicBezTo>
                      <a:pt x="9" y="27"/>
                      <a:pt x="10" y="27"/>
                      <a:pt x="11" y="26"/>
                    </a:cubicBezTo>
                    <a:cubicBezTo>
                      <a:pt x="12" y="25"/>
                      <a:pt x="12" y="25"/>
                      <a:pt x="12" y="25"/>
                    </a:cubicBezTo>
                    <a:cubicBezTo>
                      <a:pt x="15" y="28"/>
                      <a:pt x="15" y="28"/>
                      <a:pt x="15" y="28"/>
                    </a:cubicBezTo>
                    <a:cubicBezTo>
                      <a:pt x="16" y="29"/>
                      <a:pt x="16" y="29"/>
                      <a:pt x="17" y="30"/>
                    </a:cubicBezTo>
                    <a:cubicBezTo>
                      <a:pt x="18" y="31"/>
                      <a:pt x="18" y="33"/>
                      <a:pt x="17" y="34"/>
                    </a:cubicBezTo>
                    <a:cubicBezTo>
                      <a:pt x="18" y="34"/>
                      <a:pt x="18" y="35"/>
                      <a:pt x="18" y="35"/>
                    </a:cubicBezTo>
                    <a:cubicBezTo>
                      <a:pt x="18" y="35"/>
                      <a:pt x="18" y="36"/>
                      <a:pt x="18" y="36"/>
                    </a:cubicBezTo>
                    <a:cubicBezTo>
                      <a:pt x="19" y="36"/>
                      <a:pt x="19" y="37"/>
                      <a:pt x="19" y="39"/>
                    </a:cubicBezTo>
                    <a:cubicBezTo>
                      <a:pt x="19" y="39"/>
                      <a:pt x="19" y="39"/>
                      <a:pt x="19" y="39"/>
                    </a:cubicBezTo>
                    <a:cubicBezTo>
                      <a:pt x="20" y="39"/>
                      <a:pt x="20" y="39"/>
                      <a:pt x="20" y="39"/>
                    </a:cubicBezTo>
                    <a:cubicBezTo>
                      <a:pt x="20" y="39"/>
                      <a:pt x="21" y="38"/>
                      <a:pt x="21" y="38"/>
                    </a:cubicBezTo>
                    <a:cubicBezTo>
                      <a:pt x="23" y="38"/>
                      <a:pt x="23" y="38"/>
                      <a:pt x="23" y="38"/>
                    </a:cubicBezTo>
                    <a:cubicBezTo>
                      <a:pt x="24" y="40"/>
                      <a:pt x="24" y="40"/>
                      <a:pt x="24" y="40"/>
                    </a:cubicBezTo>
                    <a:cubicBezTo>
                      <a:pt x="25" y="39"/>
                      <a:pt x="25" y="39"/>
                      <a:pt x="25" y="39"/>
                    </a:cubicBezTo>
                    <a:cubicBezTo>
                      <a:pt x="26" y="40"/>
                      <a:pt x="26" y="40"/>
                      <a:pt x="26" y="40"/>
                    </a:cubicBezTo>
                    <a:cubicBezTo>
                      <a:pt x="26" y="40"/>
                      <a:pt x="27" y="42"/>
                      <a:pt x="27" y="43"/>
                    </a:cubicBezTo>
                    <a:cubicBezTo>
                      <a:pt x="28" y="43"/>
                      <a:pt x="28" y="44"/>
                      <a:pt x="28" y="44"/>
                    </a:cubicBezTo>
                    <a:cubicBezTo>
                      <a:pt x="29" y="45"/>
                      <a:pt x="29" y="45"/>
                      <a:pt x="29" y="45"/>
                    </a:cubicBezTo>
                    <a:cubicBezTo>
                      <a:pt x="29" y="47"/>
                      <a:pt x="29" y="47"/>
                      <a:pt x="29" y="47"/>
                    </a:cubicBezTo>
                    <a:cubicBezTo>
                      <a:pt x="29" y="47"/>
                      <a:pt x="29" y="47"/>
                      <a:pt x="30" y="47"/>
                    </a:cubicBezTo>
                    <a:cubicBezTo>
                      <a:pt x="31" y="47"/>
                      <a:pt x="32" y="47"/>
                      <a:pt x="32" y="47"/>
                    </a:cubicBezTo>
                    <a:cubicBezTo>
                      <a:pt x="33" y="47"/>
                      <a:pt x="33" y="47"/>
                      <a:pt x="34" y="47"/>
                    </a:cubicBezTo>
                    <a:cubicBezTo>
                      <a:pt x="34" y="47"/>
                      <a:pt x="35" y="47"/>
                      <a:pt x="35" y="47"/>
                    </a:cubicBezTo>
                    <a:cubicBezTo>
                      <a:pt x="36" y="47"/>
                      <a:pt x="38" y="47"/>
                      <a:pt x="38" y="47"/>
                    </a:cubicBezTo>
                    <a:cubicBezTo>
                      <a:pt x="38" y="47"/>
                      <a:pt x="38" y="47"/>
                      <a:pt x="38" y="47"/>
                    </a:cubicBezTo>
                    <a:cubicBezTo>
                      <a:pt x="39" y="48"/>
                      <a:pt x="39" y="48"/>
                      <a:pt x="39" y="48"/>
                    </a:cubicBezTo>
                    <a:cubicBezTo>
                      <a:pt x="39" y="48"/>
                      <a:pt x="40" y="49"/>
                      <a:pt x="40" y="50"/>
                    </a:cubicBezTo>
                    <a:cubicBezTo>
                      <a:pt x="40" y="51"/>
                      <a:pt x="43" y="51"/>
                      <a:pt x="43" y="51"/>
                    </a:cubicBezTo>
                    <a:cubicBezTo>
                      <a:pt x="43" y="52"/>
                      <a:pt x="43" y="52"/>
                      <a:pt x="43" y="52"/>
                    </a:cubicBezTo>
                    <a:cubicBezTo>
                      <a:pt x="43" y="54"/>
                      <a:pt x="43" y="56"/>
                      <a:pt x="42" y="56"/>
                    </a:cubicBezTo>
                    <a:cubicBezTo>
                      <a:pt x="42" y="57"/>
                      <a:pt x="42" y="57"/>
                      <a:pt x="42" y="57"/>
                    </a:cubicBezTo>
                    <a:cubicBezTo>
                      <a:pt x="42" y="57"/>
                      <a:pt x="42" y="57"/>
                      <a:pt x="42" y="57"/>
                    </a:cubicBezTo>
                    <a:cubicBezTo>
                      <a:pt x="43" y="61"/>
                      <a:pt x="43" y="61"/>
                      <a:pt x="43" y="61"/>
                    </a:cubicBezTo>
                    <a:cubicBezTo>
                      <a:pt x="43" y="62"/>
                      <a:pt x="43" y="62"/>
                      <a:pt x="43" y="62"/>
                    </a:cubicBezTo>
                    <a:cubicBezTo>
                      <a:pt x="43" y="62"/>
                      <a:pt x="42" y="63"/>
                      <a:pt x="41" y="63"/>
                    </a:cubicBezTo>
                    <a:cubicBezTo>
                      <a:pt x="41" y="64"/>
                      <a:pt x="41" y="64"/>
                      <a:pt x="41" y="64"/>
                    </a:cubicBezTo>
                    <a:cubicBezTo>
                      <a:pt x="42" y="64"/>
                      <a:pt x="42" y="64"/>
                      <a:pt x="42" y="64"/>
                    </a:cubicBezTo>
                    <a:cubicBezTo>
                      <a:pt x="45" y="65"/>
                      <a:pt x="45" y="65"/>
                      <a:pt x="45" y="65"/>
                    </a:cubicBezTo>
                    <a:cubicBezTo>
                      <a:pt x="45" y="65"/>
                      <a:pt x="47" y="65"/>
                      <a:pt x="47" y="65"/>
                    </a:cubicBezTo>
                    <a:cubicBezTo>
                      <a:pt x="47" y="64"/>
                      <a:pt x="48" y="64"/>
                      <a:pt x="48" y="64"/>
                    </a:cubicBezTo>
                    <a:cubicBezTo>
                      <a:pt x="48" y="64"/>
                      <a:pt x="50" y="63"/>
                      <a:pt x="51" y="63"/>
                    </a:cubicBezTo>
                    <a:cubicBezTo>
                      <a:pt x="51" y="63"/>
                      <a:pt x="51" y="63"/>
                      <a:pt x="51" y="63"/>
                    </a:cubicBezTo>
                    <a:cubicBezTo>
                      <a:pt x="52" y="62"/>
                      <a:pt x="52" y="62"/>
                      <a:pt x="52" y="62"/>
                    </a:cubicBezTo>
                    <a:cubicBezTo>
                      <a:pt x="53" y="59"/>
                      <a:pt x="53" y="59"/>
                      <a:pt x="53" y="59"/>
                    </a:cubicBezTo>
                    <a:cubicBezTo>
                      <a:pt x="53" y="59"/>
                      <a:pt x="53" y="59"/>
                      <a:pt x="53" y="59"/>
                    </a:cubicBezTo>
                    <a:cubicBezTo>
                      <a:pt x="54" y="58"/>
                      <a:pt x="54" y="58"/>
                      <a:pt x="54" y="58"/>
                    </a:cubicBezTo>
                    <a:cubicBezTo>
                      <a:pt x="54" y="58"/>
                      <a:pt x="54" y="58"/>
                      <a:pt x="54" y="58"/>
                    </a:cubicBezTo>
                    <a:cubicBezTo>
                      <a:pt x="55" y="57"/>
                      <a:pt x="56" y="56"/>
                      <a:pt x="57" y="56"/>
                    </a:cubicBezTo>
                    <a:cubicBezTo>
                      <a:pt x="58" y="56"/>
                      <a:pt x="58" y="56"/>
                      <a:pt x="58" y="56"/>
                    </a:cubicBezTo>
                    <a:cubicBezTo>
                      <a:pt x="61" y="58"/>
                      <a:pt x="61" y="58"/>
                      <a:pt x="61" y="58"/>
                    </a:cubicBezTo>
                    <a:cubicBezTo>
                      <a:pt x="61" y="59"/>
                      <a:pt x="61" y="59"/>
                      <a:pt x="61" y="59"/>
                    </a:cubicBezTo>
                    <a:cubicBezTo>
                      <a:pt x="62" y="59"/>
                      <a:pt x="61" y="60"/>
                      <a:pt x="61" y="62"/>
                    </a:cubicBezTo>
                    <a:cubicBezTo>
                      <a:pt x="60" y="63"/>
                      <a:pt x="60" y="63"/>
                      <a:pt x="60" y="63"/>
                    </a:cubicBezTo>
                    <a:cubicBezTo>
                      <a:pt x="60" y="64"/>
                      <a:pt x="60" y="64"/>
                      <a:pt x="60" y="64"/>
                    </a:cubicBezTo>
                    <a:cubicBezTo>
                      <a:pt x="60" y="65"/>
                      <a:pt x="60" y="65"/>
                      <a:pt x="60" y="66"/>
                    </a:cubicBezTo>
                    <a:cubicBezTo>
                      <a:pt x="59" y="66"/>
                      <a:pt x="59" y="67"/>
                      <a:pt x="59" y="67"/>
                    </a:cubicBezTo>
                    <a:cubicBezTo>
                      <a:pt x="60" y="68"/>
                      <a:pt x="60" y="68"/>
                      <a:pt x="60" y="68"/>
                    </a:cubicBezTo>
                    <a:cubicBezTo>
                      <a:pt x="60" y="71"/>
                      <a:pt x="60" y="71"/>
                      <a:pt x="60" y="71"/>
                    </a:cubicBezTo>
                    <a:cubicBezTo>
                      <a:pt x="60" y="71"/>
                      <a:pt x="60" y="72"/>
                      <a:pt x="60" y="72"/>
                    </a:cubicBezTo>
                    <a:cubicBezTo>
                      <a:pt x="60" y="72"/>
                      <a:pt x="60" y="72"/>
                      <a:pt x="60" y="72"/>
                    </a:cubicBezTo>
                    <a:cubicBezTo>
                      <a:pt x="61" y="72"/>
                      <a:pt x="62" y="72"/>
                      <a:pt x="62" y="73"/>
                    </a:cubicBezTo>
                    <a:cubicBezTo>
                      <a:pt x="63" y="73"/>
                      <a:pt x="63" y="73"/>
                      <a:pt x="64" y="73"/>
                    </a:cubicBezTo>
                    <a:cubicBezTo>
                      <a:pt x="64" y="73"/>
                      <a:pt x="64" y="73"/>
                      <a:pt x="64" y="73"/>
                    </a:cubicBezTo>
                    <a:cubicBezTo>
                      <a:pt x="65" y="73"/>
                      <a:pt x="66" y="74"/>
                      <a:pt x="67" y="74"/>
                    </a:cubicBezTo>
                    <a:cubicBezTo>
                      <a:pt x="67" y="75"/>
                      <a:pt x="68" y="76"/>
                      <a:pt x="68" y="76"/>
                    </a:cubicBezTo>
                    <a:cubicBezTo>
                      <a:pt x="69" y="77"/>
                      <a:pt x="69" y="77"/>
                      <a:pt x="69" y="77"/>
                    </a:cubicBezTo>
                    <a:cubicBezTo>
                      <a:pt x="69" y="77"/>
                      <a:pt x="69" y="77"/>
                      <a:pt x="69" y="77"/>
                    </a:cubicBezTo>
                    <a:cubicBezTo>
                      <a:pt x="71" y="77"/>
                      <a:pt x="72" y="79"/>
                      <a:pt x="72" y="80"/>
                    </a:cubicBezTo>
                    <a:cubicBezTo>
                      <a:pt x="73" y="80"/>
                      <a:pt x="73" y="80"/>
                      <a:pt x="73" y="80"/>
                    </a:cubicBezTo>
                    <a:cubicBezTo>
                      <a:pt x="73" y="81"/>
                      <a:pt x="73" y="81"/>
                      <a:pt x="73" y="81"/>
                    </a:cubicBezTo>
                    <a:cubicBezTo>
                      <a:pt x="73" y="81"/>
                      <a:pt x="73" y="81"/>
                      <a:pt x="73" y="81"/>
                    </a:cubicBezTo>
                    <a:cubicBezTo>
                      <a:pt x="76" y="82"/>
                      <a:pt x="76" y="82"/>
                      <a:pt x="76" y="82"/>
                    </a:cubicBezTo>
                    <a:cubicBezTo>
                      <a:pt x="76" y="85"/>
                      <a:pt x="76" y="85"/>
                      <a:pt x="76" y="85"/>
                    </a:cubicBezTo>
                    <a:cubicBezTo>
                      <a:pt x="76" y="85"/>
                      <a:pt x="76" y="85"/>
                      <a:pt x="76" y="85"/>
                    </a:cubicBezTo>
                    <a:cubicBezTo>
                      <a:pt x="77" y="85"/>
                      <a:pt x="77" y="85"/>
                      <a:pt x="77" y="85"/>
                    </a:cubicBezTo>
                    <a:cubicBezTo>
                      <a:pt x="79" y="84"/>
                      <a:pt x="79" y="84"/>
                      <a:pt x="79" y="84"/>
                    </a:cubicBezTo>
                    <a:cubicBezTo>
                      <a:pt x="80" y="84"/>
                      <a:pt x="80" y="84"/>
                      <a:pt x="80" y="84"/>
                    </a:cubicBezTo>
                    <a:close/>
                  </a:path>
                </a:pathLst>
              </a:custGeom>
              <a:solidFill>
                <a:srgbClr val="0181C7"/>
              </a:solid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86" name="Freeform 132"/>
              <p:cNvSpPr>
                <a:spLocks/>
              </p:cNvSpPr>
              <p:nvPr/>
            </p:nvSpPr>
            <p:spPr bwMode="auto">
              <a:xfrm>
                <a:off x="3182" y="1739"/>
                <a:ext cx="152" cy="80"/>
              </a:xfrm>
              <a:custGeom>
                <a:avLst/>
                <a:gdLst>
                  <a:gd name="T0" fmla="*/ 7 w 76"/>
                  <a:gd name="T1" fmla="*/ 30 h 40"/>
                  <a:gd name="T2" fmla="*/ 11 w 76"/>
                  <a:gd name="T3" fmla="*/ 32 h 40"/>
                  <a:gd name="T4" fmla="*/ 4 w 76"/>
                  <a:gd name="T5" fmla="*/ 39 h 40"/>
                  <a:gd name="T6" fmla="*/ 3 w 76"/>
                  <a:gd name="T7" fmla="*/ 40 h 40"/>
                  <a:gd name="T8" fmla="*/ 13 w 76"/>
                  <a:gd name="T9" fmla="*/ 39 h 40"/>
                  <a:gd name="T10" fmla="*/ 14 w 76"/>
                  <a:gd name="T11" fmla="*/ 39 h 40"/>
                  <a:gd name="T12" fmla="*/ 19 w 76"/>
                  <a:gd name="T13" fmla="*/ 39 h 40"/>
                  <a:gd name="T14" fmla="*/ 29 w 76"/>
                  <a:gd name="T15" fmla="*/ 38 h 40"/>
                  <a:gd name="T16" fmla="*/ 37 w 76"/>
                  <a:gd name="T17" fmla="*/ 37 h 40"/>
                  <a:gd name="T18" fmla="*/ 49 w 76"/>
                  <a:gd name="T19" fmla="*/ 36 h 40"/>
                  <a:gd name="T20" fmla="*/ 65 w 76"/>
                  <a:gd name="T21" fmla="*/ 34 h 40"/>
                  <a:gd name="T22" fmla="*/ 66 w 76"/>
                  <a:gd name="T23" fmla="*/ 34 h 40"/>
                  <a:gd name="T24" fmla="*/ 71 w 76"/>
                  <a:gd name="T25" fmla="*/ 30 h 40"/>
                  <a:gd name="T26" fmla="*/ 76 w 76"/>
                  <a:gd name="T27" fmla="*/ 30 h 40"/>
                  <a:gd name="T28" fmla="*/ 74 w 76"/>
                  <a:gd name="T29" fmla="*/ 28 h 40"/>
                  <a:gd name="T30" fmla="*/ 74 w 76"/>
                  <a:gd name="T31" fmla="*/ 20 h 40"/>
                  <a:gd name="T32" fmla="*/ 74 w 76"/>
                  <a:gd name="T33" fmla="*/ 17 h 40"/>
                  <a:gd name="T34" fmla="*/ 76 w 76"/>
                  <a:gd name="T35" fmla="*/ 12 h 40"/>
                  <a:gd name="T36" fmla="*/ 73 w 76"/>
                  <a:gd name="T37" fmla="*/ 9 h 40"/>
                  <a:gd name="T38" fmla="*/ 70 w 76"/>
                  <a:gd name="T39" fmla="*/ 6 h 40"/>
                  <a:gd name="T40" fmla="*/ 68 w 76"/>
                  <a:gd name="T41" fmla="*/ 6 h 40"/>
                  <a:gd name="T42" fmla="*/ 66 w 76"/>
                  <a:gd name="T43" fmla="*/ 3 h 40"/>
                  <a:gd name="T44" fmla="*/ 61 w 76"/>
                  <a:gd name="T45" fmla="*/ 4 h 40"/>
                  <a:gd name="T46" fmla="*/ 57 w 76"/>
                  <a:gd name="T47" fmla="*/ 5 h 40"/>
                  <a:gd name="T48" fmla="*/ 55 w 76"/>
                  <a:gd name="T49" fmla="*/ 7 h 40"/>
                  <a:gd name="T50" fmla="*/ 46 w 76"/>
                  <a:gd name="T51" fmla="*/ 6 h 40"/>
                  <a:gd name="T52" fmla="*/ 42 w 76"/>
                  <a:gd name="T53" fmla="*/ 3 h 40"/>
                  <a:gd name="T54" fmla="*/ 39 w 76"/>
                  <a:gd name="T55" fmla="*/ 3 h 40"/>
                  <a:gd name="T56" fmla="*/ 36 w 76"/>
                  <a:gd name="T57" fmla="*/ 0 h 40"/>
                  <a:gd name="T58" fmla="*/ 32 w 76"/>
                  <a:gd name="T59" fmla="*/ 1 h 40"/>
                  <a:gd name="T60" fmla="*/ 31 w 76"/>
                  <a:gd name="T61" fmla="*/ 6 h 40"/>
                  <a:gd name="T62" fmla="*/ 21 w 76"/>
                  <a:gd name="T63" fmla="*/ 19 h 40"/>
                  <a:gd name="T64" fmla="*/ 8 w 76"/>
                  <a:gd name="T65" fmla="*/ 17 h 40"/>
                  <a:gd name="T66" fmla="*/ 3 w 76"/>
                  <a:gd name="T67" fmla="*/ 28 h 40"/>
                  <a:gd name="T68" fmla="*/ 7 w 76"/>
                  <a:gd name="T69" fmla="*/ 3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6" h="40">
                    <a:moveTo>
                      <a:pt x="7" y="30"/>
                    </a:moveTo>
                    <a:cubicBezTo>
                      <a:pt x="11" y="32"/>
                      <a:pt x="11" y="32"/>
                      <a:pt x="11" y="32"/>
                    </a:cubicBezTo>
                    <a:cubicBezTo>
                      <a:pt x="14" y="31"/>
                      <a:pt x="4" y="39"/>
                      <a:pt x="4" y="39"/>
                    </a:cubicBezTo>
                    <a:cubicBezTo>
                      <a:pt x="4" y="39"/>
                      <a:pt x="4" y="40"/>
                      <a:pt x="3" y="40"/>
                    </a:cubicBezTo>
                    <a:cubicBezTo>
                      <a:pt x="4" y="40"/>
                      <a:pt x="7" y="40"/>
                      <a:pt x="13" y="39"/>
                    </a:cubicBezTo>
                    <a:cubicBezTo>
                      <a:pt x="14" y="39"/>
                      <a:pt x="14" y="39"/>
                      <a:pt x="14" y="39"/>
                    </a:cubicBezTo>
                    <a:cubicBezTo>
                      <a:pt x="15" y="39"/>
                      <a:pt x="18" y="39"/>
                      <a:pt x="19" y="39"/>
                    </a:cubicBezTo>
                    <a:cubicBezTo>
                      <a:pt x="21" y="39"/>
                      <a:pt x="28" y="38"/>
                      <a:pt x="29" y="38"/>
                    </a:cubicBezTo>
                    <a:cubicBezTo>
                      <a:pt x="37" y="37"/>
                      <a:pt x="37" y="37"/>
                      <a:pt x="37" y="37"/>
                    </a:cubicBezTo>
                    <a:cubicBezTo>
                      <a:pt x="38" y="37"/>
                      <a:pt x="48" y="36"/>
                      <a:pt x="49" y="36"/>
                    </a:cubicBezTo>
                    <a:cubicBezTo>
                      <a:pt x="50" y="36"/>
                      <a:pt x="53" y="36"/>
                      <a:pt x="65" y="34"/>
                    </a:cubicBezTo>
                    <a:cubicBezTo>
                      <a:pt x="66" y="34"/>
                      <a:pt x="66" y="34"/>
                      <a:pt x="66" y="34"/>
                    </a:cubicBezTo>
                    <a:cubicBezTo>
                      <a:pt x="71" y="30"/>
                      <a:pt x="71" y="30"/>
                      <a:pt x="71" y="30"/>
                    </a:cubicBezTo>
                    <a:cubicBezTo>
                      <a:pt x="76" y="30"/>
                      <a:pt x="76" y="30"/>
                      <a:pt x="76" y="30"/>
                    </a:cubicBezTo>
                    <a:cubicBezTo>
                      <a:pt x="74" y="28"/>
                      <a:pt x="74" y="28"/>
                      <a:pt x="74" y="28"/>
                    </a:cubicBezTo>
                    <a:cubicBezTo>
                      <a:pt x="74" y="20"/>
                      <a:pt x="74" y="20"/>
                      <a:pt x="74" y="20"/>
                    </a:cubicBezTo>
                    <a:cubicBezTo>
                      <a:pt x="74" y="17"/>
                      <a:pt x="74" y="17"/>
                      <a:pt x="74" y="17"/>
                    </a:cubicBezTo>
                    <a:cubicBezTo>
                      <a:pt x="76" y="12"/>
                      <a:pt x="76" y="12"/>
                      <a:pt x="76" y="12"/>
                    </a:cubicBezTo>
                    <a:cubicBezTo>
                      <a:pt x="76" y="12"/>
                      <a:pt x="74" y="11"/>
                      <a:pt x="73" y="9"/>
                    </a:cubicBezTo>
                    <a:cubicBezTo>
                      <a:pt x="72" y="8"/>
                      <a:pt x="70" y="6"/>
                      <a:pt x="70" y="6"/>
                    </a:cubicBezTo>
                    <a:cubicBezTo>
                      <a:pt x="68" y="6"/>
                      <a:pt x="68" y="6"/>
                      <a:pt x="68" y="6"/>
                    </a:cubicBezTo>
                    <a:cubicBezTo>
                      <a:pt x="66" y="3"/>
                      <a:pt x="66" y="3"/>
                      <a:pt x="66" y="3"/>
                    </a:cubicBezTo>
                    <a:cubicBezTo>
                      <a:pt x="61" y="4"/>
                      <a:pt x="61" y="4"/>
                      <a:pt x="61" y="4"/>
                    </a:cubicBezTo>
                    <a:cubicBezTo>
                      <a:pt x="57" y="5"/>
                      <a:pt x="57" y="5"/>
                      <a:pt x="57" y="5"/>
                    </a:cubicBezTo>
                    <a:cubicBezTo>
                      <a:pt x="55" y="7"/>
                      <a:pt x="55" y="7"/>
                      <a:pt x="55" y="7"/>
                    </a:cubicBezTo>
                    <a:cubicBezTo>
                      <a:pt x="46" y="6"/>
                      <a:pt x="46" y="6"/>
                      <a:pt x="46" y="6"/>
                    </a:cubicBezTo>
                    <a:cubicBezTo>
                      <a:pt x="42" y="3"/>
                      <a:pt x="42" y="3"/>
                      <a:pt x="42" y="3"/>
                    </a:cubicBezTo>
                    <a:cubicBezTo>
                      <a:pt x="39" y="3"/>
                      <a:pt x="39" y="3"/>
                      <a:pt x="39" y="3"/>
                    </a:cubicBezTo>
                    <a:cubicBezTo>
                      <a:pt x="36" y="0"/>
                      <a:pt x="36" y="0"/>
                      <a:pt x="36" y="0"/>
                    </a:cubicBezTo>
                    <a:cubicBezTo>
                      <a:pt x="35" y="2"/>
                      <a:pt x="33" y="0"/>
                      <a:pt x="32" y="1"/>
                    </a:cubicBezTo>
                    <a:cubicBezTo>
                      <a:pt x="31" y="1"/>
                      <a:pt x="31" y="4"/>
                      <a:pt x="31" y="6"/>
                    </a:cubicBezTo>
                    <a:cubicBezTo>
                      <a:pt x="32" y="15"/>
                      <a:pt x="34" y="20"/>
                      <a:pt x="21" y="19"/>
                    </a:cubicBezTo>
                    <a:cubicBezTo>
                      <a:pt x="16" y="19"/>
                      <a:pt x="10" y="18"/>
                      <a:pt x="8" y="17"/>
                    </a:cubicBezTo>
                    <a:cubicBezTo>
                      <a:pt x="4" y="17"/>
                      <a:pt x="0" y="21"/>
                      <a:pt x="3" y="28"/>
                    </a:cubicBezTo>
                    <a:lnTo>
                      <a:pt x="7" y="30"/>
                    </a:lnTo>
                    <a:close/>
                  </a:path>
                </a:pathLst>
              </a:custGeom>
              <a:solidFill>
                <a:srgbClr val="BDC3C7"/>
              </a:solid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87" name="Freeform 133"/>
              <p:cNvSpPr>
                <a:spLocks/>
              </p:cNvSpPr>
              <p:nvPr/>
            </p:nvSpPr>
            <p:spPr bwMode="auto">
              <a:xfrm>
                <a:off x="3102" y="2239"/>
                <a:ext cx="309" cy="170"/>
              </a:xfrm>
              <a:custGeom>
                <a:avLst/>
                <a:gdLst>
                  <a:gd name="T0" fmla="*/ 152 w 154"/>
                  <a:gd name="T1" fmla="*/ 9 h 85"/>
                  <a:gd name="T2" fmla="*/ 147 w 154"/>
                  <a:gd name="T3" fmla="*/ 9 h 85"/>
                  <a:gd name="T4" fmla="*/ 137 w 154"/>
                  <a:gd name="T5" fmla="*/ 6 h 85"/>
                  <a:gd name="T6" fmla="*/ 136 w 154"/>
                  <a:gd name="T7" fmla="*/ 3 h 85"/>
                  <a:gd name="T8" fmla="*/ 135 w 154"/>
                  <a:gd name="T9" fmla="*/ 3 h 85"/>
                  <a:gd name="T10" fmla="*/ 133 w 154"/>
                  <a:gd name="T11" fmla="*/ 1 h 85"/>
                  <a:gd name="T12" fmla="*/ 127 w 154"/>
                  <a:gd name="T13" fmla="*/ 0 h 85"/>
                  <a:gd name="T14" fmla="*/ 123 w 154"/>
                  <a:gd name="T15" fmla="*/ 0 h 85"/>
                  <a:gd name="T16" fmla="*/ 118 w 154"/>
                  <a:gd name="T17" fmla="*/ 1 h 85"/>
                  <a:gd name="T18" fmla="*/ 116 w 154"/>
                  <a:gd name="T19" fmla="*/ 3 h 85"/>
                  <a:gd name="T20" fmla="*/ 110 w 154"/>
                  <a:gd name="T21" fmla="*/ 7 h 85"/>
                  <a:gd name="T22" fmla="*/ 107 w 154"/>
                  <a:gd name="T23" fmla="*/ 9 h 85"/>
                  <a:gd name="T24" fmla="*/ 103 w 154"/>
                  <a:gd name="T25" fmla="*/ 8 h 85"/>
                  <a:gd name="T26" fmla="*/ 99 w 154"/>
                  <a:gd name="T27" fmla="*/ 6 h 85"/>
                  <a:gd name="T28" fmla="*/ 97 w 154"/>
                  <a:gd name="T29" fmla="*/ 7 h 85"/>
                  <a:gd name="T30" fmla="*/ 92 w 154"/>
                  <a:gd name="T31" fmla="*/ 8 h 85"/>
                  <a:gd name="T32" fmla="*/ 89 w 154"/>
                  <a:gd name="T33" fmla="*/ 11 h 85"/>
                  <a:gd name="T34" fmla="*/ 85 w 154"/>
                  <a:gd name="T35" fmla="*/ 18 h 85"/>
                  <a:gd name="T36" fmla="*/ 83 w 154"/>
                  <a:gd name="T37" fmla="*/ 18 h 85"/>
                  <a:gd name="T38" fmla="*/ 76 w 154"/>
                  <a:gd name="T39" fmla="*/ 19 h 85"/>
                  <a:gd name="T40" fmla="*/ 74 w 154"/>
                  <a:gd name="T41" fmla="*/ 14 h 85"/>
                  <a:gd name="T42" fmla="*/ 72 w 154"/>
                  <a:gd name="T43" fmla="*/ 11 h 85"/>
                  <a:gd name="T44" fmla="*/ 62 w 154"/>
                  <a:gd name="T45" fmla="*/ 6 h 85"/>
                  <a:gd name="T46" fmla="*/ 61 w 154"/>
                  <a:gd name="T47" fmla="*/ 11 h 85"/>
                  <a:gd name="T48" fmla="*/ 56 w 154"/>
                  <a:gd name="T49" fmla="*/ 13 h 85"/>
                  <a:gd name="T50" fmla="*/ 49 w 154"/>
                  <a:gd name="T51" fmla="*/ 10 h 85"/>
                  <a:gd name="T52" fmla="*/ 43 w 154"/>
                  <a:gd name="T53" fmla="*/ 11 h 85"/>
                  <a:gd name="T54" fmla="*/ 38 w 154"/>
                  <a:gd name="T55" fmla="*/ 16 h 85"/>
                  <a:gd name="T56" fmla="*/ 32 w 154"/>
                  <a:gd name="T57" fmla="*/ 25 h 85"/>
                  <a:gd name="T58" fmla="*/ 26 w 154"/>
                  <a:gd name="T59" fmla="*/ 38 h 85"/>
                  <a:gd name="T60" fmla="*/ 20 w 154"/>
                  <a:gd name="T61" fmla="*/ 43 h 85"/>
                  <a:gd name="T62" fmla="*/ 16 w 154"/>
                  <a:gd name="T63" fmla="*/ 45 h 85"/>
                  <a:gd name="T64" fmla="*/ 13 w 154"/>
                  <a:gd name="T65" fmla="*/ 44 h 85"/>
                  <a:gd name="T66" fmla="*/ 11 w 154"/>
                  <a:gd name="T67" fmla="*/ 45 h 85"/>
                  <a:gd name="T68" fmla="*/ 6 w 154"/>
                  <a:gd name="T69" fmla="*/ 44 h 85"/>
                  <a:gd name="T70" fmla="*/ 5 w 154"/>
                  <a:gd name="T71" fmla="*/ 45 h 85"/>
                  <a:gd name="T72" fmla="*/ 2 w 154"/>
                  <a:gd name="T73" fmla="*/ 52 h 85"/>
                  <a:gd name="T74" fmla="*/ 2 w 154"/>
                  <a:gd name="T75" fmla="*/ 58 h 85"/>
                  <a:gd name="T76" fmla="*/ 0 w 154"/>
                  <a:gd name="T77" fmla="*/ 62 h 85"/>
                  <a:gd name="T78" fmla="*/ 2 w 154"/>
                  <a:gd name="T79" fmla="*/ 67 h 85"/>
                  <a:gd name="T80" fmla="*/ 5 w 154"/>
                  <a:gd name="T81" fmla="*/ 71 h 85"/>
                  <a:gd name="T82" fmla="*/ 8 w 154"/>
                  <a:gd name="T83" fmla="*/ 80 h 85"/>
                  <a:gd name="T84" fmla="*/ 15 w 154"/>
                  <a:gd name="T85" fmla="*/ 76 h 85"/>
                  <a:gd name="T86" fmla="*/ 28 w 154"/>
                  <a:gd name="T87" fmla="*/ 85 h 85"/>
                  <a:gd name="T88" fmla="*/ 61 w 154"/>
                  <a:gd name="T89" fmla="*/ 78 h 85"/>
                  <a:gd name="T90" fmla="*/ 67 w 154"/>
                  <a:gd name="T91" fmla="*/ 66 h 85"/>
                  <a:gd name="T92" fmla="*/ 83 w 154"/>
                  <a:gd name="T93" fmla="*/ 59 h 85"/>
                  <a:gd name="T94" fmla="*/ 95 w 154"/>
                  <a:gd name="T95" fmla="*/ 55 h 85"/>
                  <a:gd name="T96" fmla="*/ 104 w 154"/>
                  <a:gd name="T97" fmla="*/ 41 h 85"/>
                  <a:gd name="T98" fmla="*/ 129 w 154"/>
                  <a:gd name="T99" fmla="*/ 36 h 85"/>
                  <a:gd name="T100" fmla="*/ 148 w 154"/>
                  <a:gd name="T101" fmla="*/ 42 h 85"/>
                  <a:gd name="T102" fmla="*/ 149 w 154"/>
                  <a:gd name="T103" fmla="*/ 36 h 85"/>
                  <a:gd name="T104" fmla="*/ 148 w 154"/>
                  <a:gd name="T105" fmla="*/ 30 h 85"/>
                  <a:gd name="T106" fmla="*/ 151 w 154"/>
                  <a:gd name="T107" fmla="*/ 25 h 85"/>
                  <a:gd name="T108" fmla="*/ 152 w 154"/>
                  <a:gd name="T109" fmla="*/ 20 h 85"/>
                  <a:gd name="T110" fmla="*/ 153 w 154"/>
                  <a:gd name="T111" fmla="*/ 14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4" h="85">
                    <a:moveTo>
                      <a:pt x="154" y="11"/>
                    </a:moveTo>
                    <a:cubicBezTo>
                      <a:pt x="153" y="11"/>
                      <a:pt x="153" y="11"/>
                      <a:pt x="153" y="11"/>
                    </a:cubicBezTo>
                    <a:cubicBezTo>
                      <a:pt x="152" y="9"/>
                      <a:pt x="152" y="9"/>
                      <a:pt x="152" y="9"/>
                    </a:cubicBezTo>
                    <a:cubicBezTo>
                      <a:pt x="152" y="9"/>
                      <a:pt x="152" y="9"/>
                      <a:pt x="152" y="9"/>
                    </a:cubicBezTo>
                    <a:cubicBezTo>
                      <a:pt x="152" y="9"/>
                      <a:pt x="151" y="9"/>
                      <a:pt x="151" y="10"/>
                    </a:cubicBezTo>
                    <a:cubicBezTo>
                      <a:pt x="151" y="10"/>
                      <a:pt x="151" y="10"/>
                      <a:pt x="151" y="10"/>
                    </a:cubicBezTo>
                    <a:cubicBezTo>
                      <a:pt x="150" y="10"/>
                      <a:pt x="149" y="9"/>
                      <a:pt x="148" y="8"/>
                    </a:cubicBezTo>
                    <a:cubicBezTo>
                      <a:pt x="147" y="9"/>
                      <a:pt x="147" y="9"/>
                      <a:pt x="147" y="9"/>
                    </a:cubicBezTo>
                    <a:cubicBezTo>
                      <a:pt x="144" y="8"/>
                      <a:pt x="144" y="8"/>
                      <a:pt x="144" y="8"/>
                    </a:cubicBezTo>
                    <a:cubicBezTo>
                      <a:pt x="144" y="8"/>
                      <a:pt x="143" y="8"/>
                      <a:pt x="143" y="8"/>
                    </a:cubicBezTo>
                    <a:cubicBezTo>
                      <a:pt x="143" y="7"/>
                      <a:pt x="142" y="7"/>
                      <a:pt x="141" y="7"/>
                    </a:cubicBezTo>
                    <a:cubicBezTo>
                      <a:pt x="138" y="7"/>
                      <a:pt x="138" y="7"/>
                      <a:pt x="137" y="6"/>
                    </a:cubicBezTo>
                    <a:cubicBezTo>
                      <a:pt x="137" y="6"/>
                      <a:pt x="136" y="5"/>
                      <a:pt x="136" y="4"/>
                    </a:cubicBezTo>
                    <a:cubicBezTo>
                      <a:pt x="136" y="3"/>
                      <a:pt x="136" y="3"/>
                      <a:pt x="136" y="3"/>
                    </a:cubicBezTo>
                    <a:cubicBezTo>
                      <a:pt x="136" y="3"/>
                      <a:pt x="136" y="3"/>
                      <a:pt x="136" y="3"/>
                    </a:cubicBezTo>
                    <a:cubicBezTo>
                      <a:pt x="136" y="3"/>
                      <a:pt x="136" y="3"/>
                      <a:pt x="136" y="3"/>
                    </a:cubicBezTo>
                    <a:cubicBezTo>
                      <a:pt x="136" y="3"/>
                      <a:pt x="136" y="3"/>
                      <a:pt x="136" y="3"/>
                    </a:cubicBezTo>
                    <a:cubicBezTo>
                      <a:pt x="136" y="3"/>
                      <a:pt x="136" y="3"/>
                      <a:pt x="136" y="3"/>
                    </a:cubicBezTo>
                    <a:cubicBezTo>
                      <a:pt x="137" y="2"/>
                      <a:pt x="137" y="2"/>
                      <a:pt x="137" y="2"/>
                    </a:cubicBezTo>
                    <a:cubicBezTo>
                      <a:pt x="135" y="3"/>
                      <a:pt x="135" y="3"/>
                      <a:pt x="135" y="3"/>
                    </a:cubicBezTo>
                    <a:cubicBezTo>
                      <a:pt x="135" y="2"/>
                      <a:pt x="135" y="2"/>
                      <a:pt x="135" y="2"/>
                    </a:cubicBezTo>
                    <a:cubicBezTo>
                      <a:pt x="135" y="2"/>
                      <a:pt x="135" y="2"/>
                      <a:pt x="135" y="2"/>
                    </a:cubicBezTo>
                    <a:cubicBezTo>
                      <a:pt x="134" y="2"/>
                      <a:pt x="133" y="2"/>
                      <a:pt x="133" y="1"/>
                    </a:cubicBezTo>
                    <a:cubicBezTo>
                      <a:pt x="133" y="1"/>
                      <a:pt x="133" y="1"/>
                      <a:pt x="133" y="1"/>
                    </a:cubicBezTo>
                    <a:cubicBezTo>
                      <a:pt x="132" y="1"/>
                      <a:pt x="132" y="1"/>
                      <a:pt x="132" y="1"/>
                    </a:cubicBezTo>
                    <a:cubicBezTo>
                      <a:pt x="132" y="2"/>
                      <a:pt x="131" y="2"/>
                      <a:pt x="130" y="2"/>
                    </a:cubicBezTo>
                    <a:cubicBezTo>
                      <a:pt x="130" y="2"/>
                      <a:pt x="129" y="2"/>
                      <a:pt x="128" y="1"/>
                    </a:cubicBezTo>
                    <a:cubicBezTo>
                      <a:pt x="128" y="1"/>
                      <a:pt x="127" y="0"/>
                      <a:pt x="127" y="0"/>
                    </a:cubicBezTo>
                    <a:cubicBezTo>
                      <a:pt x="127" y="0"/>
                      <a:pt x="127" y="0"/>
                      <a:pt x="127" y="0"/>
                    </a:cubicBezTo>
                    <a:cubicBezTo>
                      <a:pt x="127" y="0"/>
                      <a:pt x="127" y="0"/>
                      <a:pt x="127" y="0"/>
                    </a:cubicBezTo>
                    <a:cubicBezTo>
                      <a:pt x="126" y="0"/>
                      <a:pt x="126" y="0"/>
                      <a:pt x="125" y="0"/>
                    </a:cubicBezTo>
                    <a:cubicBezTo>
                      <a:pt x="125" y="0"/>
                      <a:pt x="124" y="0"/>
                      <a:pt x="123" y="0"/>
                    </a:cubicBezTo>
                    <a:cubicBezTo>
                      <a:pt x="123" y="1"/>
                      <a:pt x="122" y="2"/>
                      <a:pt x="121" y="2"/>
                    </a:cubicBezTo>
                    <a:cubicBezTo>
                      <a:pt x="121" y="2"/>
                      <a:pt x="120" y="1"/>
                      <a:pt x="120" y="1"/>
                    </a:cubicBezTo>
                    <a:cubicBezTo>
                      <a:pt x="119" y="1"/>
                      <a:pt x="119" y="1"/>
                      <a:pt x="119" y="1"/>
                    </a:cubicBezTo>
                    <a:cubicBezTo>
                      <a:pt x="118" y="1"/>
                      <a:pt x="118" y="1"/>
                      <a:pt x="118" y="1"/>
                    </a:cubicBezTo>
                    <a:cubicBezTo>
                      <a:pt x="118" y="1"/>
                      <a:pt x="118" y="1"/>
                      <a:pt x="118" y="1"/>
                    </a:cubicBezTo>
                    <a:cubicBezTo>
                      <a:pt x="118" y="1"/>
                      <a:pt x="118" y="1"/>
                      <a:pt x="118" y="1"/>
                    </a:cubicBezTo>
                    <a:cubicBezTo>
                      <a:pt x="117" y="1"/>
                      <a:pt x="117" y="1"/>
                      <a:pt x="117" y="1"/>
                    </a:cubicBezTo>
                    <a:cubicBezTo>
                      <a:pt x="116" y="3"/>
                      <a:pt x="116" y="3"/>
                      <a:pt x="116" y="3"/>
                    </a:cubicBezTo>
                    <a:cubicBezTo>
                      <a:pt x="114" y="3"/>
                      <a:pt x="114" y="3"/>
                      <a:pt x="114" y="3"/>
                    </a:cubicBezTo>
                    <a:cubicBezTo>
                      <a:pt x="114" y="3"/>
                      <a:pt x="114" y="3"/>
                      <a:pt x="114" y="3"/>
                    </a:cubicBezTo>
                    <a:cubicBezTo>
                      <a:pt x="113" y="5"/>
                      <a:pt x="112" y="5"/>
                      <a:pt x="111" y="6"/>
                    </a:cubicBezTo>
                    <a:cubicBezTo>
                      <a:pt x="111" y="6"/>
                      <a:pt x="110" y="6"/>
                      <a:pt x="110" y="7"/>
                    </a:cubicBezTo>
                    <a:cubicBezTo>
                      <a:pt x="110" y="7"/>
                      <a:pt x="110" y="8"/>
                      <a:pt x="110" y="8"/>
                    </a:cubicBezTo>
                    <a:cubicBezTo>
                      <a:pt x="109" y="9"/>
                      <a:pt x="109" y="9"/>
                      <a:pt x="109" y="9"/>
                    </a:cubicBezTo>
                    <a:cubicBezTo>
                      <a:pt x="109" y="9"/>
                      <a:pt x="109" y="9"/>
                      <a:pt x="109" y="9"/>
                    </a:cubicBezTo>
                    <a:cubicBezTo>
                      <a:pt x="108" y="9"/>
                      <a:pt x="108" y="9"/>
                      <a:pt x="107" y="9"/>
                    </a:cubicBezTo>
                    <a:cubicBezTo>
                      <a:pt x="107" y="9"/>
                      <a:pt x="106" y="9"/>
                      <a:pt x="106" y="9"/>
                    </a:cubicBezTo>
                    <a:cubicBezTo>
                      <a:pt x="106" y="9"/>
                      <a:pt x="106" y="9"/>
                      <a:pt x="106" y="9"/>
                    </a:cubicBezTo>
                    <a:cubicBezTo>
                      <a:pt x="106" y="9"/>
                      <a:pt x="105" y="9"/>
                      <a:pt x="104" y="8"/>
                    </a:cubicBezTo>
                    <a:cubicBezTo>
                      <a:pt x="103" y="8"/>
                      <a:pt x="103" y="8"/>
                      <a:pt x="103" y="8"/>
                    </a:cubicBezTo>
                    <a:cubicBezTo>
                      <a:pt x="102" y="8"/>
                      <a:pt x="102" y="8"/>
                      <a:pt x="102" y="8"/>
                    </a:cubicBezTo>
                    <a:cubicBezTo>
                      <a:pt x="102" y="7"/>
                      <a:pt x="102" y="7"/>
                      <a:pt x="101" y="6"/>
                    </a:cubicBezTo>
                    <a:cubicBezTo>
                      <a:pt x="101" y="6"/>
                      <a:pt x="100" y="6"/>
                      <a:pt x="100" y="6"/>
                    </a:cubicBezTo>
                    <a:cubicBezTo>
                      <a:pt x="100" y="6"/>
                      <a:pt x="99" y="6"/>
                      <a:pt x="99" y="6"/>
                    </a:cubicBezTo>
                    <a:cubicBezTo>
                      <a:pt x="99" y="6"/>
                      <a:pt x="99" y="6"/>
                      <a:pt x="99" y="6"/>
                    </a:cubicBezTo>
                    <a:cubicBezTo>
                      <a:pt x="98" y="6"/>
                      <a:pt x="98" y="6"/>
                      <a:pt x="98" y="7"/>
                    </a:cubicBezTo>
                    <a:cubicBezTo>
                      <a:pt x="97" y="7"/>
                      <a:pt x="97" y="7"/>
                      <a:pt x="97" y="7"/>
                    </a:cubicBezTo>
                    <a:cubicBezTo>
                      <a:pt x="97" y="7"/>
                      <a:pt x="97" y="7"/>
                      <a:pt x="97" y="7"/>
                    </a:cubicBezTo>
                    <a:cubicBezTo>
                      <a:pt x="97" y="7"/>
                      <a:pt x="97" y="7"/>
                      <a:pt x="97" y="7"/>
                    </a:cubicBezTo>
                    <a:cubicBezTo>
                      <a:pt x="96" y="7"/>
                      <a:pt x="96" y="7"/>
                      <a:pt x="96" y="7"/>
                    </a:cubicBezTo>
                    <a:cubicBezTo>
                      <a:pt x="95" y="7"/>
                      <a:pt x="95" y="7"/>
                      <a:pt x="94" y="7"/>
                    </a:cubicBezTo>
                    <a:cubicBezTo>
                      <a:pt x="94" y="8"/>
                      <a:pt x="93" y="8"/>
                      <a:pt x="92" y="8"/>
                    </a:cubicBezTo>
                    <a:cubicBezTo>
                      <a:pt x="92" y="8"/>
                      <a:pt x="92" y="8"/>
                      <a:pt x="92" y="8"/>
                    </a:cubicBezTo>
                    <a:cubicBezTo>
                      <a:pt x="91" y="9"/>
                      <a:pt x="91" y="9"/>
                      <a:pt x="90" y="10"/>
                    </a:cubicBezTo>
                    <a:cubicBezTo>
                      <a:pt x="90" y="10"/>
                      <a:pt x="89" y="10"/>
                      <a:pt x="89" y="10"/>
                    </a:cubicBezTo>
                    <a:cubicBezTo>
                      <a:pt x="89" y="10"/>
                      <a:pt x="89" y="11"/>
                      <a:pt x="89" y="11"/>
                    </a:cubicBezTo>
                    <a:cubicBezTo>
                      <a:pt x="88" y="11"/>
                      <a:pt x="88" y="11"/>
                      <a:pt x="87" y="12"/>
                    </a:cubicBezTo>
                    <a:cubicBezTo>
                      <a:pt x="87" y="12"/>
                      <a:pt x="87" y="13"/>
                      <a:pt x="87" y="13"/>
                    </a:cubicBezTo>
                    <a:cubicBezTo>
                      <a:pt x="87" y="14"/>
                      <a:pt x="87" y="14"/>
                      <a:pt x="87" y="14"/>
                    </a:cubicBezTo>
                    <a:cubicBezTo>
                      <a:pt x="87" y="16"/>
                      <a:pt x="86" y="17"/>
                      <a:pt x="85" y="18"/>
                    </a:cubicBezTo>
                    <a:cubicBezTo>
                      <a:pt x="85" y="18"/>
                      <a:pt x="85" y="18"/>
                      <a:pt x="85" y="18"/>
                    </a:cubicBezTo>
                    <a:cubicBezTo>
                      <a:pt x="85" y="18"/>
                      <a:pt x="85" y="18"/>
                      <a:pt x="85" y="18"/>
                    </a:cubicBezTo>
                    <a:cubicBezTo>
                      <a:pt x="84" y="18"/>
                      <a:pt x="84" y="18"/>
                      <a:pt x="84" y="18"/>
                    </a:cubicBezTo>
                    <a:cubicBezTo>
                      <a:pt x="83" y="18"/>
                      <a:pt x="83" y="18"/>
                      <a:pt x="83" y="18"/>
                    </a:cubicBezTo>
                    <a:cubicBezTo>
                      <a:pt x="82" y="17"/>
                      <a:pt x="82" y="17"/>
                      <a:pt x="81" y="17"/>
                    </a:cubicBezTo>
                    <a:cubicBezTo>
                      <a:pt x="81" y="18"/>
                      <a:pt x="80" y="18"/>
                      <a:pt x="78" y="19"/>
                    </a:cubicBezTo>
                    <a:cubicBezTo>
                      <a:pt x="77" y="19"/>
                      <a:pt x="77" y="19"/>
                      <a:pt x="77" y="19"/>
                    </a:cubicBezTo>
                    <a:cubicBezTo>
                      <a:pt x="76" y="19"/>
                      <a:pt x="76" y="19"/>
                      <a:pt x="76" y="19"/>
                    </a:cubicBezTo>
                    <a:cubicBezTo>
                      <a:pt x="76" y="19"/>
                      <a:pt x="76" y="19"/>
                      <a:pt x="76" y="19"/>
                    </a:cubicBezTo>
                    <a:cubicBezTo>
                      <a:pt x="76" y="19"/>
                      <a:pt x="76" y="19"/>
                      <a:pt x="76" y="19"/>
                    </a:cubicBezTo>
                    <a:cubicBezTo>
                      <a:pt x="73" y="18"/>
                      <a:pt x="73" y="18"/>
                      <a:pt x="73" y="18"/>
                    </a:cubicBezTo>
                    <a:cubicBezTo>
                      <a:pt x="74" y="14"/>
                      <a:pt x="74" y="14"/>
                      <a:pt x="74" y="14"/>
                    </a:cubicBezTo>
                    <a:cubicBezTo>
                      <a:pt x="74" y="13"/>
                      <a:pt x="74" y="13"/>
                      <a:pt x="74" y="13"/>
                    </a:cubicBezTo>
                    <a:cubicBezTo>
                      <a:pt x="74" y="12"/>
                      <a:pt x="74" y="12"/>
                      <a:pt x="74" y="12"/>
                    </a:cubicBezTo>
                    <a:cubicBezTo>
                      <a:pt x="73" y="11"/>
                      <a:pt x="73" y="11"/>
                      <a:pt x="73" y="11"/>
                    </a:cubicBezTo>
                    <a:cubicBezTo>
                      <a:pt x="72" y="11"/>
                      <a:pt x="72" y="11"/>
                      <a:pt x="72" y="11"/>
                    </a:cubicBezTo>
                    <a:cubicBezTo>
                      <a:pt x="66" y="7"/>
                      <a:pt x="66" y="7"/>
                      <a:pt x="66" y="7"/>
                    </a:cubicBezTo>
                    <a:cubicBezTo>
                      <a:pt x="64" y="3"/>
                      <a:pt x="64" y="3"/>
                      <a:pt x="64" y="3"/>
                    </a:cubicBezTo>
                    <a:cubicBezTo>
                      <a:pt x="64" y="4"/>
                      <a:pt x="64" y="4"/>
                      <a:pt x="64" y="4"/>
                    </a:cubicBezTo>
                    <a:cubicBezTo>
                      <a:pt x="64" y="5"/>
                      <a:pt x="63" y="6"/>
                      <a:pt x="62" y="6"/>
                    </a:cubicBezTo>
                    <a:cubicBezTo>
                      <a:pt x="61" y="7"/>
                      <a:pt x="61" y="7"/>
                      <a:pt x="61" y="7"/>
                    </a:cubicBezTo>
                    <a:cubicBezTo>
                      <a:pt x="61" y="7"/>
                      <a:pt x="61" y="8"/>
                      <a:pt x="61" y="8"/>
                    </a:cubicBezTo>
                    <a:cubicBezTo>
                      <a:pt x="61" y="9"/>
                      <a:pt x="61" y="10"/>
                      <a:pt x="61" y="10"/>
                    </a:cubicBezTo>
                    <a:cubicBezTo>
                      <a:pt x="61" y="11"/>
                      <a:pt x="61" y="11"/>
                      <a:pt x="61" y="11"/>
                    </a:cubicBezTo>
                    <a:cubicBezTo>
                      <a:pt x="61" y="12"/>
                      <a:pt x="61" y="12"/>
                      <a:pt x="61" y="12"/>
                    </a:cubicBezTo>
                    <a:cubicBezTo>
                      <a:pt x="60" y="12"/>
                      <a:pt x="60" y="13"/>
                      <a:pt x="59" y="13"/>
                    </a:cubicBezTo>
                    <a:cubicBezTo>
                      <a:pt x="58" y="13"/>
                      <a:pt x="58" y="13"/>
                      <a:pt x="57" y="12"/>
                    </a:cubicBezTo>
                    <a:cubicBezTo>
                      <a:pt x="57" y="12"/>
                      <a:pt x="57" y="12"/>
                      <a:pt x="56" y="13"/>
                    </a:cubicBezTo>
                    <a:cubicBezTo>
                      <a:pt x="55" y="14"/>
                      <a:pt x="53" y="14"/>
                      <a:pt x="52" y="14"/>
                    </a:cubicBezTo>
                    <a:cubicBezTo>
                      <a:pt x="51" y="14"/>
                      <a:pt x="51" y="14"/>
                      <a:pt x="51" y="14"/>
                    </a:cubicBezTo>
                    <a:cubicBezTo>
                      <a:pt x="51" y="14"/>
                      <a:pt x="51" y="14"/>
                      <a:pt x="51" y="14"/>
                    </a:cubicBezTo>
                    <a:cubicBezTo>
                      <a:pt x="50" y="13"/>
                      <a:pt x="49" y="11"/>
                      <a:pt x="49" y="10"/>
                    </a:cubicBezTo>
                    <a:cubicBezTo>
                      <a:pt x="49" y="10"/>
                      <a:pt x="49" y="10"/>
                      <a:pt x="49" y="10"/>
                    </a:cubicBezTo>
                    <a:cubicBezTo>
                      <a:pt x="48" y="10"/>
                      <a:pt x="47" y="10"/>
                      <a:pt x="47" y="10"/>
                    </a:cubicBezTo>
                    <a:cubicBezTo>
                      <a:pt x="46" y="10"/>
                      <a:pt x="45" y="11"/>
                      <a:pt x="44" y="11"/>
                    </a:cubicBezTo>
                    <a:cubicBezTo>
                      <a:pt x="44" y="11"/>
                      <a:pt x="43" y="11"/>
                      <a:pt x="43" y="11"/>
                    </a:cubicBezTo>
                    <a:cubicBezTo>
                      <a:pt x="41" y="11"/>
                      <a:pt x="41" y="11"/>
                      <a:pt x="41" y="11"/>
                    </a:cubicBezTo>
                    <a:cubicBezTo>
                      <a:pt x="41" y="13"/>
                      <a:pt x="41" y="13"/>
                      <a:pt x="41" y="13"/>
                    </a:cubicBezTo>
                    <a:cubicBezTo>
                      <a:pt x="39" y="14"/>
                      <a:pt x="39" y="14"/>
                      <a:pt x="39" y="14"/>
                    </a:cubicBezTo>
                    <a:cubicBezTo>
                      <a:pt x="38" y="16"/>
                      <a:pt x="38" y="16"/>
                      <a:pt x="38" y="16"/>
                    </a:cubicBezTo>
                    <a:cubicBezTo>
                      <a:pt x="37" y="19"/>
                      <a:pt x="37" y="19"/>
                      <a:pt x="37" y="19"/>
                    </a:cubicBezTo>
                    <a:cubicBezTo>
                      <a:pt x="34" y="21"/>
                      <a:pt x="34" y="21"/>
                      <a:pt x="34" y="21"/>
                    </a:cubicBezTo>
                    <a:cubicBezTo>
                      <a:pt x="33" y="22"/>
                      <a:pt x="32" y="23"/>
                      <a:pt x="32" y="23"/>
                    </a:cubicBezTo>
                    <a:cubicBezTo>
                      <a:pt x="32" y="24"/>
                      <a:pt x="32" y="24"/>
                      <a:pt x="32" y="25"/>
                    </a:cubicBezTo>
                    <a:cubicBezTo>
                      <a:pt x="32" y="27"/>
                      <a:pt x="32" y="27"/>
                      <a:pt x="32" y="27"/>
                    </a:cubicBezTo>
                    <a:cubicBezTo>
                      <a:pt x="31" y="32"/>
                      <a:pt x="31" y="32"/>
                      <a:pt x="31" y="32"/>
                    </a:cubicBezTo>
                    <a:cubicBezTo>
                      <a:pt x="27" y="34"/>
                      <a:pt x="27" y="34"/>
                      <a:pt x="27" y="34"/>
                    </a:cubicBezTo>
                    <a:cubicBezTo>
                      <a:pt x="26" y="38"/>
                      <a:pt x="26" y="38"/>
                      <a:pt x="26" y="38"/>
                    </a:cubicBezTo>
                    <a:cubicBezTo>
                      <a:pt x="25" y="39"/>
                      <a:pt x="25" y="39"/>
                      <a:pt x="25" y="39"/>
                    </a:cubicBezTo>
                    <a:cubicBezTo>
                      <a:pt x="25" y="39"/>
                      <a:pt x="24" y="39"/>
                      <a:pt x="24" y="39"/>
                    </a:cubicBezTo>
                    <a:cubicBezTo>
                      <a:pt x="24" y="40"/>
                      <a:pt x="24" y="40"/>
                      <a:pt x="24" y="40"/>
                    </a:cubicBezTo>
                    <a:cubicBezTo>
                      <a:pt x="20" y="43"/>
                      <a:pt x="20" y="43"/>
                      <a:pt x="20" y="43"/>
                    </a:cubicBezTo>
                    <a:cubicBezTo>
                      <a:pt x="19" y="43"/>
                      <a:pt x="19" y="43"/>
                      <a:pt x="19" y="43"/>
                    </a:cubicBezTo>
                    <a:cubicBezTo>
                      <a:pt x="19" y="43"/>
                      <a:pt x="19" y="43"/>
                      <a:pt x="18" y="43"/>
                    </a:cubicBezTo>
                    <a:cubicBezTo>
                      <a:pt x="18" y="43"/>
                      <a:pt x="18" y="43"/>
                      <a:pt x="18" y="43"/>
                    </a:cubicBezTo>
                    <a:cubicBezTo>
                      <a:pt x="18" y="44"/>
                      <a:pt x="17" y="45"/>
                      <a:pt x="16" y="45"/>
                    </a:cubicBezTo>
                    <a:cubicBezTo>
                      <a:pt x="16" y="45"/>
                      <a:pt x="16" y="45"/>
                      <a:pt x="16" y="45"/>
                    </a:cubicBezTo>
                    <a:cubicBezTo>
                      <a:pt x="16" y="45"/>
                      <a:pt x="16" y="45"/>
                      <a:pt x="16" y="45"/>
                    </a:cubicBezTo>
                    <a:cubicBezTo>
                      <a:pt x="15" y="45"/>
                      <a:pt x="15" y="45"/>
                      <a:pt x="15" y="45"/>
                    </a:cubicBezTo>
                    <a:cubicBezTo>
                      <a:pt x="14" y="45"/>
                      <a:pt x="14" y="45"/>
                      <a:pt x="13" y="44"/>
                    </a:cubicBezTo>
                    <a:cubicBezTo>
                      <a:pt x="13" y="44"/>
                      <a:pt x="13" y="44"/>
                      <a:pt x="13" y="44"/>
                    </a:cubicBezTo>
                    <a:cubicBezTo>
                      <a:pt x="13" y="44"/>
                      <a:pt x="13" y="44"/>
                      <a:pt x="13" y="44"/>
                    </a:cubicBezTo>
                    <a:cubicBezTo>
                      <a:pt x="13" y="44"/>
                      <a:pt x="11" y="45"/>
                      <a:pt x="11" y="45"/>
                    </a:cubicBezTo>
                    <a:cubicBezTo>
                      <a:pt x="11" y="45"/>
                      <a:pt x="11" y="45"/>
                      <a:pt x="11" y="45"/>
                    </a:cubicBezTo>
                    <a:cubicBezTo>
                      <a:pt x="11" y="45"/>
                      <a:pt x="11" y="45"/>
                      <a:pt x="11" y="45"/>
                    </a:cubicBezTo>
                    <a:cubicBezTo>
                      <a:pt x="10" y="45"/>
                      <a:pt x="9" y="45"/>
                      <a:pt x="9" y="44"/>
                    </a:cubicBezTo>
                    <a:cubicBezTo>
                      <a:pt x="7" y="44"/>
                      <a:pt x="7" y="44"/>
                      <a:pt x="7" y="44"/>
                    </a:cubicBezTo>
                    <a:cubicBezTo>
                      <a:pt x="7" y="44"/>
                      <a:pt x="6" y="44"/>
                      <a:pt x="6" y="44"/>
                    </a:cubicBezTo>
                    <a:cubicBezTo>
                      <a:pt x="6" y="44"/>
                      <a:pt x="6" y="44"/>
                      <a:pt x="6" y="44"/>
                    </a:cubicBezTo>
                    <a:cubicBezTo>
                      <a:pt x="6" y="44"/>
                      <a:pt x="6" y="44"/>
                      <a:pt x="6" y="44"/>
                    </a:cubicBezTo>
                    <a:cubicBezTo>
                      <a:pt x="5" y="44"/>
                      <a:pt x="5" y="44"/>
                      <a:pt x="5" y="44"/>
                    </a:cubicBezTo>
                    <a:cubicBezTo>
                      <a:pt x="5" y="45"/>
                      <a:pt x="5" y="45"/>
                      <a:pt x="5" y="45"/>
                    </a:cubicBezTo>
                    <a:cubicBezTo>
                      <a:pt x="5" y="46"/>
                      <a:pt x="4" y="47"/>
                      <a:pt x="4" y="47"/>
                    </a:cubicBezTo>
                    <a:cubicBezTo>
                      <a:pt x="3" y="47"/>
                      <a:pt x="3" y="48"/>
                      <a:pt x="3" y="48"/>
                    </a:cubicBezTo>
                    <a:cubicBezTo>
                      <a:pt x="3" y="50"/>
                      <a:pt x="3" y="50"/>
                      <a:pt x="2" y="51"/>
                    </a:cubicBezTo>
                    <a:cubicBezTo>
                      <a:pt x="2" y="52"/>
                      <a:pt x="2" y="52"/>
                      <a:pt x="2" y="52"/>
                    </a:cubicBezTo>
                    <a:cubicBezTo>
                      <a:pt x="2" y="54"/>
                      <a:pt x="2" y="54"/>
                      <a:pt x="2" y="54"/>
                    </a:cubicBezTo>
                    <a:cubicBezTo>
                      <a:pt x="2" y="55"/>
                      <a:pt x="2" y="55"/>
                      <a:pt x="2" y="55"/>
                    </a:cubicBezTo>
                    <a:cubicBezTo>
                      <a:pt x="2" y="56"/>
                      <a:pt x="2" y="56"/>
                      <a:pt x="2" y="56"/>
                    </a:cubicBezTo>
                    <a:cubicBezTo>
                      <a:pt x="2" y="58"/>
                      <a:pt x="2" y="58"/>
                      <a:pt x="2" y="58"/>
                    </a:cubicBezTo>
                    <a:cubicBezTo>
                      <a:pt x="2" y="58"/>
                      <a:pt x="2" y="58"/>
                      <a:pt x="2" y="58"/>
                    </a:cubicBezTo>
                    <a:cubicBezTo>
                      <a:pt x="2" y="58"/>
                      <a:pt x="1" y="59"/>
                      <a:pt x="1" y="60"/>
                    </a:cubicBezTo>
                    <a:cubicBezTo>
                      <a:pt x="0" y="61"/>
                      <a:pt x="0" y="61"/>
                      <a:pt x="0" y="61"/>
                    </a:cubicBezTo>
                    <a:cubicBezTo>
                      <a:pt x="0" y="62"/>
                      <a:pt x="0" y="62"/>
                      <a:pt x="0" y="62"/>
                    </a:cubicBezTo>
                    <a:cubicBezTo>
                      <a:pt x="0" y="62"/>
                      <a:pt x="0" y="62"/>
                      <a:pt x="0" y="62"/>
                    </a:cubicBezTo>
                    <a:cubicBezTo>
                      <a:pt x="0" y="62"/>
                      <a:pt x="0" y="63"/>
                      <a:pt x="0" y="63"/>
                    </a:cubicBezTo>
                    <a:cubicBezTo>
                      <a:pt x="1" y="64"/>
                      <a:pt x="2" y="64"/>
                      <a:pt x="2" y="66"/>
                    </a:cubicBezTo>
                    <a:cubicBezTo>
                      <a:pt x="2" y="66"/>
                      <a:pt x="2" y="66"/>
                      <a:pt x="2" y="67"/>
                    </a:cubicBezTo>
                    <a:cubicBezTo>
                      <a:pt x="2" y="67"/>
                      <a:pt x="3" y="67"/>
                      <a:pt x="3" y="67"/>
                    </a:cubicBezTo>
                    <a:cubicBezTo>
                      <a:pt x="3" y="68"/>
                      <a:pt x="4" y="69"/>
                      <a:pt x="4" y="70"/>
                    </a:cubicBezTo>
                    <a:cubicBezTo>
                      <a:pt x="4" y="70"/>
                      <a:pt x="4" y="70"/>
                      <a:pt x="4" y="71"/>
                    </a:cubicBezTo>
                    <a:cubicBezTo>
                      <a:pt x="4" y="71"/>
                      <a:pt x="4" y="71"/>
                      <a:pt x="5" y="71"/>
                    </a:cubicBezTo>
                    <a:cubicBezTo>
                      <a:pt x="6" y="71"/>
                      <a:pt x="6" y="71"/>
                      <a:pt x="6" y="71"/>
                    </a:cubicBezTo>
                    <a:cubicBezTo>
                      <a:pt x="7" y="71"/>
                      <a:pt x="8" y="73"/>
                      <a:pt x="8" y="74"/>
                    </a:cubicBezTo>
                    <a:cubicBezTo>
                      <a:pt x="8" y="74"/>
                      <a:pt x="8" y="78"/>
                      <a:pt x="8" y="80"/>
                    </a:cubicBezTo>
                    <a:cubicBezTo>
                      <a:pt x="8" y="80"/>
                      <a:pt x="8" y="80"/>
                      <a:pt x="8" y="80"/>
                    </a:cubicBezTo>
                    <a:cubicBezTo>
                      <a:pt x="9" y="79"/>
                      <a:pt x="9" y="79"/>
                      <a:pt x="9" y="79"/>
                    </a:cubicBezTo>
                    <a:cubicBezTo>
                      <a:pt x="9" y="76"/>
                      <a:pt x="9" y="76"/>
                      <a:pt x="9" y="76"/>
                    </a:cubicBezTo>
                    <a:cubicBezTo>
                      <a:pt x="9" y="76"/>
                      <a:pt x="9" y="76"/>
                      <a:pt x="9" y="76"/>
                    </a:cubicBezTo>
                    <a:cubicBezTo>
                      <a:pt x="15" y="76"/>
                      <a:pt x="15" y="76"/>
                      <a:pt x="15" y="76"/>
                    </a:cubicBezTo>
                    <a:cubicBezTo>
                      <a:pt x="15" y="76"/>
                      <a:pt x="15" y="76"/>
                      <a:pt x="15" y="76"/>
                    </a:cubicBezTo>
                    <a:cubicBezTo>
                      <a:pt x="20" y="80"/>
                      <a:pt x="20" y="80"/>
                      <a:pt x="20" y="80"/>
                    </a:cubicBezTo>
                    <a:cubicBezTo>
                      <a:pt x="25" y="83"/>
                      <a:pt x="25" y="83"/>
                      <a:pt x="25" y="83"/>
                    </a:cubicBezTo>
                    <a:cubicBezTo>
                      <a:pt x="28" y="85"/>
                      <a:pt x="28" y="85"/>
                      <a:pt x="28" y="85"/>
                    </a:cubicBezTo>
                    <a:cubicBezTo>
                      <a:pt x="36" y="84"/>
                      <a:pt x="36" y="84"/>
                      <a:pt x="36" y="84"/>
                    </a:cubicBezTo>
                    <a:cubicBezTo>
                      <a:pt x="49" y="83"/>
                      <a:pt x="49" y="83"/>
                      <a:pt x="49" y="83"/>
                    </a:cubicBezTo>
                    <a:cubicBezTo>
                      <a:pt x="49" y="83"/>
                      <a:pt x="56" y="82"/>
                      <a:pt x="57" y="81"/>
                    </a:cubicBezTo>
                    <a:cubicBezTo>
                      <a:pt x="58" y="80"/>
                      <a:pt x="63" y="79"/>
                      <a:pt x="61" y="78"/>
                    </a:cubicBezTo>
                    <a:cubicBezTo>
                      <a:pt x="60" y="77"/>
                      <a:pt x="56" y="75"/>
                      <a:pt x="56" y="75"/>
                    </a:cubicBezTo>
                    <a:cubicBezTo>
                      <a:pt x="56" y="73"/>
                      <a:pt x="56" y="73"/>
                      <a:pt x="56" y="73"/>
                    </a:cubicBezTo>
                    <a:cubicBezTo>
                      <a:pt x="60" y="69"/>
                      <a:pt x="60" y="69"/>
                      <a:pt x="60" y="69"/>
                    </a:cubicBezTo>
                    <a:cubicBezTo>
                      <a:pt x="67" y="66"/>
                      <a:pt x="67" y="66"/>
                      <a:pt x="67" y="66"/>
                    </a:cubicBezTo>
                    <a:cubicBezTo>
                      <a:pt x="73" y="66"/>
                      <a:pt x="73" y="66"/>
                      <a:pt x="73" y="66"/>
                    </a:cubicBezTo>
                    <a:cubicBezTo>
                      <a:pt x="76" y="65"/>
                      <a:pt x="76" y="65"/>
                      <a:pt x="76" y="65"/>
                    </a:cubicBezTo>
                    <a:cubicBezTo>
                      <a:pt x="78" y="60"/>
                      <a:pt x="78" y="60"/>
                      <a:pt x="78" y="60"/>
                    </a:cubicBezTo>
                    <a:cubicBezTo>
                      <a:pt x="83" y="59"/>
                      <a:pt x="83" y="59"/>
                      <a:pt x="83" y="59"/>
                    </a:cubicBezTo>
                    <a:cubicBezTo>
                      <a:pt x="86" y="60"/>
                      <a:pt x="86" y="60"/>
                      <a:pt x="86" y="60"/>
                    </a:cubicBezTo>
                    <a:cubicBezTo>
                      <a:pt x="90" y="60"/>
                      <a:pt x="90" y="60"/>
                      <a:pt x="90" y="60"/>
                    </a:cubicBezTo>
                    <a:cubicBezTo>
                      <a:pt x="93" y="57"/>
                      <a:pt x="93" y="57"/>
                      <a:pt x="93" y="57"/>
                    </a:cubicBezTo>
                    <a:cubicBezTo>
                      <a:pt x="95" y="55"/>
                      <a:pt x="95" y="55"/>
                      <a:pt x="95" y="55"/>
                    </a:cubicBezTo>
                    <a:cubicBezTo>
                      <a:pt x="99" y="54"/>
                      <a:pt x="99" y="54"/>
                      <a:pt x="99" y="54"/>
                    </a:cubicBezTo>
                    <a:cubicBezTo>
                      <a:pt x="101" y="49"/>
                      <a:pt x="101" y="49"/>
                      <a:pt x="101" y="49"/>
                    </a:cubicBezTo>
                    <a:cubicBezTo>
                      <a:pt x="103" y="43"/>
                      <a:pt x="103" y="43"/>
                      <a:pt x="103" y="43"/>
                    </a:cubicBezTo>
                    <a:cubicBezTo>
                      <a:pt x="104" y="41"/>
                      <a:pt x="104" y="41"/>
                      <a:pt x="104" y="41"/>
                    </a:cubicBezTo>
                    <a:cubicBezTo>
                      <a:pt x="115" y="37"/>
                      <a:pt x="115" y="37"/>
                      <a:pt x="115" y="37"/>
                    </a:cubicBezTo>
                    <a:cubicBezTo>
                      <a:pt x="119" y="40"/>
                      <a:pt x="119" y="40"/>
                      <a:pt x="119" y="40"/>
                    </a:cubicBezTo>
                    <a:cubicBezTo>
                      <a:pt x="124" y="39"/>
                      <a:pt x="124" y="39"/>
                      <a:pt x="124" y="39"/>
                    </a:cubicBezTo>
                    <a:cubicBezTo>
                      <a:pt x="129" y="36"/>
                      <a:pt x="129" y="36"/>
                      <a:pt x="129" y="36"/>
                    </a:cubicBezTo>
                    <a:cubicBezTo>
                      <a:pt x="134" y="37"/>
                      <a:pt x="134" y="37"/>
                      <a:pt x="134" y="37"/>
                    </a:cubicBezTo>
                    <a:cubicBezTo>
                      <a:pt x="140" y="43"/>
                      <a:pt x="140" y="43"/>
                      <a:pt x="140" y="43"/>
                    </a:cubicBezTo>
                    <a:cubicBezTo>
                      <a:pt x="146" y="43"/>
                      <a:pt x="146" y="43"/>
                      <a:pt x="146" y="43"/>
                    </a:cubicBezTo>
                    <a:cubicBezTo>
                      <a:pt x="148" y="42"/>
                      <a:pt x="148" y="42"/>
                      <a:pt x="148" y="42"/>
                    </a:cubicBezTo>
                    <a:cubicBezTo>
                      <a:pt x="147" y="39"/>
                      <a:pt x="147" y="39"/>
                      <a:pt x="147" y="39"/>
                    </a:cubicBezTo>
                    <a:cubicBezTo>
                      <a:pt x="148" y="39"/>
                      <a:pt x="148" y="39"/>
                      <a:pt x="148" y="39"/>
                    </a:cubicBezTo>
                    <a:cubicBezTo>
                      <a:pt x="149" y="38"/>
                      <a:pt x="149" y="38"/>
                      <a:pt x="149" y="38"/>
                    </a:cubicBezTo>
                    <a:cubicBezTo>
                      <a:pt x="149" y="38"/>
                      <a:pt x="149" y="37"/>
                      <a:pt x="149" y="36"/>
                    </a:cubicBezTo>
                    <a:cubicBezTo>
                      <a:pt x="149" y="36"/>
                      <a:pt x="148" y="35"/>
                      <a:pt x="148" y="35"/>
                    </a:cubicBezTo>
                    <a:cubicBezTo>
                      <a:pt x="148" y="35"/>
                      <a:pt x="149" y="34"/>
                      <a:pt x="149" y="34"/>
                    </a:cubicBezTo>
                    <a:cubicBezTo>
                      <a:pt x="149" y="34"/>
                      <a:pt x="148" y="33"/>
                      <a:pt x="148" y="33"/>
                    </a:cubicBezTo>
                    <a:cubicBezTo>
                      <a:pt x="148" y="32"/>
                      <a:pt x="148" y="31"/>
                      <a:pt x="148" y="30"/>
                    </a:cubicBezTo>
                    <a:cubicBezTo>
                      <a:pt x="148" y="30"/>
                      <a:pt x="149" y="29"/>
                      <a:pt x="149" y="29"/>
                    </a:cubicBezTo>
                    <a:cubicBezTo>
                      <a:pt x="149" y="28"/>
                      <a:pt x="149" y="28"/>
                      <a:pt x="149" y="28"/>
                    </a:cubicBezTo>
                    <a:cubicBezTo>
                      <a:pt x="149" y="28"/>
                      <a:pt x="150" y="26"/>
                      <a:pt x="150" y="26"/>
                    </a:cubicBezTo>
                    <a:cubicBezTo>
                      <a:pt x="150" y="26"/>
                      <a:pt x="151" y="26"/>
                      <a:pt x="151" y="25"/>
                    </a:cubicBezTo>
                    <a:cubicBezTo>
                      <a:pt x="152" y="25"/>
                      <a:pt x="151" y="24"/>
                      <a:pt x="151" y="24"/>
                    </a:cubicBezTo>
                    <a:cubicBezTo>
                      <a:pt x="151" y="22"/>
                      <a:pt x="151" y="22"/>
                      <a:pt x="151" y="22"/>
                    </a:cubicBezTo>
                    <a:cubicBezTo>
                      <a:pt x="152" y="21"/>
                      <a:pt x="152" y="21"/>
                      <a:pt x="152" y="21"/>
                    </a:cubicBezTo>
                    <a:cubicBezTo>
                      <a:pt x="152" y="20"/>
                      <a:pt x="152" y="20"/>
                      <a:pt x="152" y="20"/>
                    </a:cubicBezTo>
                    <a:cubicBezTo>
                      <a:pt x="152" y="20"/>
                      <a:pt x="152" y="19"/>
                      <a:pt x="152" y="19"/>
                    </a:cubicBezTo>
                    <a:cubicBezTo>
                      <a:pt x="151" y="18"/>
                      <a:pt x="152" y="17"/>
                      <a:pt x="152" y="17"/>
                    </a:cubicBezTo>
                    <a:cubicBezTo>
                      <a:pt x="152" y="16"/>
                      <a:pt x="152" y="16"/>
                      <a:pt x="152" y="16"/>
                    </a:cubicBezTo>
                    <a:cubicBezTo>
                      <a:pt x="152" y="16"/>
                      <a:pt x="152" y="14"/>
                      <a:pt x="153" y="14"/>
                    </a:cubicBezTo>
                    <a:cubicBezTo>
                      <a:pt x="153" y="14"/>
                      <a:pt x="153" y="14"/>
                      <a:pt x="153" y="14"/>
                    </a:cubicBezTo>
                    <a:cubicBezTo>
                      <a:pt x="153" y="14"/>
                      <a:pt x="153" y="12"/>
                      <a:pt x="153" y="11"/>
                    </a:cubicBezTo>
                    <a:cubicBezTo>
                      <a:pt x="153" y="11"/>
                      <a:pt x="154" y="11"/>
                      <a:pt x="154" y="11"/>
                    </a:cubicBezTo>
                    <a:close/>
                  </a:path>
                </a:pathLst>
              </a:custGeom>
              <a:solidFill>
                <a:schemeClr val="bg1">
                  <a:lumMod val="75000"/>
                </a:schemeClr>
              </a:solid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88" name="Freeform 134"/>
              <p:cNvSpPr>
                <a:spLocks/>
              </p:cNvSpPr>
              <p:nvPr/>
            </p:nvSpPr>
            <p:spPr bwMode="auto">
              <a:xfrm>
                <a:off x="3078" y="2317"/>
                <a:ext cx="379" cy="267"/>
              </a:xfrm>
              <a:custGeom>
                <a:avLst/>
                <a:gdLst>
                  <a:gd name="T0" fmla="*/ 184 w 189"/>
                  <a:gd name="T1" fmla="*/ 10 h 133"/>
                  <a:gd name="T2" fmla="*/ 175 w 189"/>
                  <a:gd name="T3" fmla="*/ 5 h 133"/>
                  <a:gd name="T4" fmla="*/ 166 w 189"/>
                  <a:gd name="T5" fmla="*/ 0 h 133"/>
                  <a:gd name="T6" fmla="*/ 163 w 189"/>
                  <a:gd name="T7" fmla="*/ 4 h 133"/>
                  <a:gd name="T8" fmla="*/ 145 w 189"/>
                  <a:gd name="T9" fmla="*/ 0 h 133"/>
                  <a:gd name="T10" fmla="*/ 131 w 189"/>
                  <a:gd name="T11" fmla="*/ 3 h 133"/>
                  <a:gd name="T12" fmla="*/ 117 w 189"/>
                  <a:gd name="T13" fmla="*/ 5 h 133"/>
                  <a:gd name="T14" fmla="*/ 108 w 189"/>
                  <a:gd name="T15" fmla="*/ 18 h 133"/>
                  <a:gd name="T16" fmla="*/ 95 w 189"/>
                  <a:gd name="T17" fmla="*/ 22 h 133"/>
                  <a:gd name="T18" fmla="*/ 86 w 189"/>
                  <a:gd name="T19" fmla="*/ 29 h 133"/>
                  <a:gd name="T20" fmla="*/ 71 w 189"/>
                  <a:gd name="T21" fmla="*/ 35 h 133"/>
                  <a:gd name="T22" fmla="*/ 76 w 189"/>
                  <a:gd name="T23" fmla="*/ 40 h 133"/>
                  <a:gd name="T24" fmla="*/ 61 w 189"/>
                  <a:gd name="T25" fmla="*/ 46 h 133"/>
                  <a:gd name="T26" fmla="*/ 40 w 189"/>
                  <a:gd name="T27" fmla="*/ 48 h 133"/>
                  <a:gd name="T28" fmla="*/ 30 w 189"/>
                  <a:gd name="T29" fmla="*/ 43 h 133"/>
                  <a:gd name="T30" fmla="*/ 23 w 189"/>
                  <a:gd name="T31" fmla="*/ 41 h 133"/>
                  <a:gd name="T32" fmla="*/ 21 w 189"/>
                  <a:gd name="T33" fmla="*/ 45 h 133"/>
                  <a:gd name="T34" fmla="*/ 21 w 189"/>
                  <a:gd name="T35" fmla="*/ 49 h 133"/>
                  <a:gd name="T36" fmla="*/ 17 w 189"/>
                  <a:gd name="T37" fmla="*/ 55 h 133"/>
                  <a:gd name="T38" fmla="*/ 12 w 189"/>
                  <a:gd name="T39" fmla="*/ 56 h 133"/>
                  <a:gd name="T40" fmla="*/ 13 w 189"/>
                  <a:gd name="T41" fmla="*/ 64 h 133"/>
                  <a:gd name="T42" fmla="*/ 5 w 189"/>
                  <a:gd name="T43" fmla="*/ 73 h 133"/>
                  <a:gd name="T44" fmla="*/ 3 w 189"/>
                  <a:gd name="T45" fmla="*/ 86 h 133"/>
                  <a:gd name="T46" fmla="*/ 3 w 189"/>
                  <a:gd name="T47" fmla="*/ 89 h 133"/>
                  <a:gd name="T48" fmla="*/ 4 w 189"/>
                  <a:gd name="T49" fmla="*/ 93 h 133"/>
                  <a:gd name="T50" fmla="*/ 12 w 189"/>
                  <a:gd name="T51" fmla="*/ 105 h 133"/>
                  <a:gd name="T52" fmla="*/ 14 w 189"/>
                  <a:gd name="T53" fmla="*/ 109 h 133"/>
                  <a:gd name="T54" fmla="*/ 22 w 189"/>
                  <a:gd name="T55" fmla="*/ 117 h 133"/>
                  <a:gd name="T56" fmla="*/ 37 w 189"/>
                  <a:gd name="T57" fmla="*/ 127 h 133"/>
                  <a:gd name="T58" fmla="*/ 45 w 189"/>
                  <a:gd name="T59" fmla="*/ 130 h 133"/>
                  <a:gd name="T60" fmla="*/ 55 w 189"/>
                  <a:gd name="T61" fmla="*/ 133 h 133"/>
                  <a:gd name="T62" fmla="*/ 68 w 189"/>
                  <a:gd name="T63" fmla="*/ 131 h 133"/>
                  <a:gd name="T64" fmla="*/ 78 w 189"/>
                  <a:gd name="T65" fmla="*/ 128 h 133"/>
                  <a:gd name="T66" fmla="*/ 85 w 189"/>
                  <a:gd name="T67" fmla="*/ 123 h 133"/>
                  <a:gd name="T68" fmla="*/ 92 w 189"/>
                  <a:gd name="T69" fmla="*/ 119 h 133"/>
                  <a:gd name="T70" fmla="*/ 97 w 189"/>
                  <a:gd name="T71" fmla="*/ 115 h 133"/>
                  <a:gd name="T72" fmla="*/ 106 w 189"/>
                  <a:gd name="T73" fmla="*/ 109 h 133"/>
                  <a:gd name="T74" fmla="*/ 116 w 189"/>
                  <a:gd name="T75" fmla="*/ 108 h 133"/>
                  <a:gd name="T76" fmla="*/ 125 w 189"/>
                  <a:gd name="T77" fmla="*/ 108 h 133"/>
                  <a:gd name="T78" fmla="*/ 138 w 189"/>
                  <a:gd name="T79" fmla="*/ 107 h 133"/>
                  <a:gd name="T80" fmla="*/ 144 w 189"/>
                  <a:gd name="T81" fmla="*/ 104 h 133"/>
                  <a:gd name="T82" fmla="*/ 152 w 189"/>
                  <a:gd name="T83" fmla="*/ 92 h 133"/>
                  <a:gd name="T84" fmla="*/ 155 w 189"/>
                  <a:gd name="T85" fmla="*/ 85 h 133"/>
                  <a:gd name="T86" fmla="*/ 158 w 189"/>
                  <a:gd name="T87" fmla="*/ 75 h 133"/>
                  <a:gd name="T88" fmla="*/ 161 w 189"/>
                  <a:gd name="T89" fmla="*/ 63 h 133"/>
                  <a:gd name="T90" fmla="*/ 165 w 189"/>
                  <a:gd name="T91" fmla="*/ 47 h 133"/>
                  <a:gd name="T92" fmla="*/ 168 w 189"/>
                  <a:gd name="T93" fmla="*/ 38 h 133"/>
                  <a:gd name="T94" fmla="*/ 173 w 189"/>
                  <a:gd name="T95" fmla="*/ 29 h 133"/>
                  <a:gd name="T96" fmla="*/ 182 w 189"/>
                  <a:gd name="T97" fmla="*/ 25 h 133"/>
                  <a:gd name="T98" fmla="*/ 189 w 189"/>
                  <a:gd name="T99" fmla="*/ 19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9" h="133">
                    <a:moveTo>
                      <a:pt x="187" y="15"/>
                    </a:moveTo>
                    <a:cubicBezTo>
                      <a:pt x="188" y="13"/>
                      <a:pt x="188" y="13"/>
                      <a:pt x="188" y="13"/>
                    </a:cubicBezTo>
                    <a:cubicBezTo>
                      <a:pt x="184" y="10"/>
                      <a:pt x="184" y="10"/>
                      <a:pt x="184" y="10"/>
                    </a:cubicBezTo>
                    <a:cubicBezTo>
                      <a:pt x="180" y="11"/>
                      <a:pt x="180" y="11"/>
                      <a:pt x="180" y="11"/>
                    </a:cubicBezTo>
                    <a:cubicBezTo>
                      <a:pt x="178" y="8"/>
                      <a:pt x="178" y="8"/>
                      <a:pt x="178" y="8"/>
                    </a:cubicBezTo>
                    <a:cubicBezTo>
                      <a:pt x="175" y="5"/>
                      <a:pt x="175" y="5"/>
                      <a:pt x="175" y="5"/>
                    </a:cubicBezTo>
                    <a:cubicBezTo>
                      <a:pt x="171" y="5"/>
                      <a:pt x="171" y="5"/>
                      <a:pt x="171" y="5"/>
                    </a:cubicBezTo>
                    <a:cubicBezTo>
                      <a:pt x="169" y="3"/>
                      <a:pt x="169" y="3"/>
                      <a:pt x="169" y="3"/>
                    </a:cubicBezTo>
                    <a:cubicBezTo>
                      <a:pt x="166" y="0"/>
                      <a:pt x="166" y="0"/>
                      <a:pt x="166" y="0"/>
                    </a:cubicBezTo>
                    <a:cubicBezTo>
                      <a:pt x="162" y="2"/>
                      <a:pt x="162" y="2"/>
                      <a:pt x="162" y="2"/>
                    </a:cubicBezTo>
                    <a:cubicBezTo>
                      <a:pt x="162" y="2"/>
                      <a:pt x="162" y="2"/>
                      <a:pt x="162" y="2"/>
                    </a:cubicBezTo>
                    <a:cubicBezTo>
                      <a:pt x="163" y="4"/>
                      <a:pt x="163" y="4"/>
                      <a:pt x="163" y="4"/>
                    </a:cubicBezTo>
                    <a:cubicBezTo>
                      <a:pt x="159" y="6"/>
                      <a:pt x="159" y="6"/>
                      <a:pt x="159" y="6"/>
                    </a:cubicBezTo>
                    <a:cubicBezTo>
                      <a:pt x="152" y="7"/>
                      <a:pt x="152" y="7"/>
                      <a:pt x="152" y="7"/>
                    </a:cubicBezTo>
                    <a:cubicBezTo>
                      <a:pt x="145" y="0"/>
                      <a:pt x="145" y="0"/>
                      <a:pt x="145" y="0"/>
                    </a:cubicBezTo>
                    <a:cubicBezTo>
                      <a:pt x="141" y="0"/>
                      <a:pt x="141" y="0"/>
                      <a:pt x="141" y="0"/>
                    </a:cubicBezTo>
                    <a:cubicBezTo>
                      <a:pt x="137" y="2"/>
                      <a:pt x="137" y="2"/>
                      <a:pt x="137" y="2"/>
                    </a:cubicBezTo>
                    <a:cubicBezTo>
                      <a:pt x="131" y="3"/>
                      <a:pt x="131" y="3"/>
                      <a:pt x="131" y="3"/>
                    </a:cubicBezTo>
                    <a:cubicBezTo>
                      <a:pt x="126" y="1"/>
                      <a:pt x="126" y="1"/>
                      <a:pt x="126" y="1"/>
                    </a:cubicBezTo>
                    <a:cubicBezTo>
                      <a:pt x="118" y="4"/>
                      <a:pt x="118" y="4"/>
                      <a:pt x="118" y="4"/>
                    </a:cubicBezTo>
                    <a:cubicBezTo>
                      <a:pt x="117" y="5"/>
                      <a:pt x="117" y="5"/>
                      <a:pt x="117" y="5"/>
                    </a:cubicBezTo>
                    <a:cubicBezTo>
                      <a:pt x="115" y="11"/>
                      <a:pt x="115" y="11"/>
                      <a:pt x="115" y="11"/>
                    </a:cubicBezTo>
                    <a:cubicBezTo>
                      <a:pt x="112" y="16"/>
                      <a:pt x="112" y="16"/>
                      <a:pt x="112" y="16"/>
                    </a:cubicBezTo>
                    <a:cubicBezTo>
                      <a:pt x="108" y="18"/>
                      <a:pt x="108" y="18"/>
                      <a:pt x="108" y="18"/>
                    </a:cubicBezTo>
                    <a:cubicBezTo>
                      <a:pt x="107" y="19"/>
                      <a:pt x="107" y="19"/>
                      <a:pt x="107" y="19"/>
                    </a:cubicBezTo>
                    <a:cubicBezTo>
                      <a:pt x="104" y="23"/>
                      <a:pt x="104" y="23"/>
                      <a:pt x="104" y="23"/>
                    </a:cubicBezTo>
                    <a:cubicBezTo>
                      <a:pt x="95" y="22"/>
                      <a:pt x="95" y="22"/>
                      <a:pt x="95" y="22"/>
                    </a:cubicBezTo>
                    <a:cubicBezTo>
                      <a:pt x="92" y="23"/>
                      <a:pt x="92" y="23"/>
                      <a:pt x="92" y="23"/>
                    </a:cubicBezTo>
                    <a:cubicBezTo>
                      <a:pt x="90" y="27"/>
                      <a:pt x="90" y="27"/>
                      <a:pt x="90" y="27"/>
                    </a:cubicBezTo>
                    <a:cubicBezTo>
                      <a:pt x="86" y="29"/>
                      <a:pt x="86" y="29"/>
                      <a:pt x="86" y="29"/>
                    </a:cubicBezTo>
                    <a:cubicBezTo>
                      <a:pt x="80" y="30"/>
                      <a:pt x="80" y="30"/>
                      <a:pt x="80" y="30"/>
                    </a:cubicBezTo>
                    <a:cubicBezTo>
                      <a:pt x="74" y="32"/>
                      <a:pt x="74" y="32"/>
                      <a:pt x="74" y="32"/>
                    </a:cubicBezTo>
                    <a:cubicBezTo>
                      <a:pt x="71" y="35"/>
                      <a:pt x="71" y="35"/>
                      <a:pt x="71" y="35"/>
                    </a:cubicBezTo>
                    <a:cubicBezTo>
                      <a:pt x="72" y="35"/>
                      <a:pt x="73" y="36"/>
                      <a:pt x="74" y="37"/>
                    </a:cubicBezTo>
                    <a:cubicBezTo>
                      <a:pt x="75" y="37"/>
                      <a:pt x="75" y="37"/>
                      <a:pt x="75" y="37"/>
                    </a:cubicBezTo>
                    <a:cubicBezTo>
                      <a:pt x="75" y="37"/>
                      <a:pt x="76" y="39"/>
                      <a:pt x="76" y="40"/>
                    </a:cubicBezTo>
                    <a:cubicBezTo>
                      <a:pt x="76" y="42"/>
                      <a:pt x="74" y="43"/>
                      <a:pt x="72" y="43"/>
                    </a:cubicBezTo>
                    <a:cubicBezTo>
                      <a:pt x="71" y="43"/>
                      <a:pt x="71" y="44"/>
                      <a:pt x="71" y="44"/>
                    </a:cubicBezTo>
                    <a:cubicBezTo>
                      <a:pt x="70" y="44"/>
                      <a:pt x="69" y="45"/>
                      <a:pt x="61" y="46"/>
                    </a:cubicBezTo>
                    <a:cubicBezTo>
                      <a:pt x="48" y="47"/>
                      <a:pt x="48" y="47"/>
                      <a:pt x="48" y="47"/>
                    </a:cubicBezTo>
                    <a:cubicBezTo>
                      <a:pt x="40" y="48"/>
                      <a:pt x="40" y="48"/>
                      <a:pt x="40" y="48"/>
                    </a:cubicBezTo>
                    <a:cubicBezTo>
                      <a:pt x="40" y="48"/>
                      <a:pt x="40" y="48"/>
                      <a:pt x="40" y="48"/>
                    </a:cubicBezTo>
                    <a:cubicBezTo>
                      <a:pt x="40" y="48"/>
                      <a:pt x="40" y="48"/>
                      <a:pt x="40" y="48"/>
                    </a:cubicBezTo>
                    <a:cubicBezTo>
                      <a:pt x="36" y="46"/>
                      <a:pt x="36" y="46"/>
                      <a:pt x="36" y="46"/>
                    </a:cubicBezTo>
                    <a:cubicBezTo>
                      <a:pt x="30" y="43"/>
                      <a:pt x="30" y="43"/>
                      <a:pt x="30" y="43"/>
                    </a:cubicBezTo>
                    <a:cubicBezTo>
                      <a:pt x="26" y="39"/>
                      <a:pt x="26" y="39"/>
                      <a:pt x="26" y="39"/>
                    </a:cubicBezTo>
                    <a:cubicBezTo>
                      <a:pt x="23" y="39"/>
                      <a:pt x="23" y="39"/>
                      <a:pt x="23" y="39"/>
                    </a:cubicBezTo>
                    <a:cubicBezTo>
                      <a:pt x="23" y="41"/>
                      <a:pt x="23" y="41"/>
                      <a:pt x="23" y="41"/>
                    </a:cubicBezTo>
                    <a:cubicBezTo>
                      <a:pt x="21" y="44"/>
                      <a:pt x="21" y="44"/>
                      <a:pt x="21" y="44"/>
                    </a:cubicBezTo>
                    <a:cubicBezTo>
                      <a:pt x="21" y="45"/>
                      <a:pt x="21" y="45"/>
                      <a:pt x="21" y="45"/>
                    </a:cubicBezTo>
                    <a:cubicBezTo>
                      <a:pt x="21" y="45"/>
                      <a:pt x="21" y="45"/>
                      <a:pt x="21" y="45"/>
                    </a:cubicBezTo>
                    <a:cubicBezTo>
                      <a:pt x="21" y="46"/>
                      <a:pt x="21" y="46"/>
                      <a:pt x="21" y="46"/>
                    </a:cubicBezTo>
                    <a:cubicBezTo>
                      <a:pt x="20" y="47"/>
                      <a:pt x="20" y="48"/>
                      <a:pt x="20" y="48"/>
                    </a:cubicBezTo>
                    <a:cubicBezTo>
                      <a:pt x="20" y="48"/>
                      <a:pt x="20" y="49"/>
                      <a:pt x="21" y="49"/>
                    </a:cubicBezTo>
                    <a:cubicBezTo>
                      <a:pt x="21" y="50"/>
                      <a:pt x="21" y="51"/>
                      <a:pt x="21" y="53"/>
                    </a:cubicBezTo>
                    <a:cubicBezTo>
                      <a:pt x="20" y="53"/>
                      <a:pt x="20" y="54"/>
                      <a:pt x="18" y="54"/>
                    </a:cubicBezTo>
                    <a:cubicBezTo>
                      <a:pt x="18" y="54"/>
                      <a:pt x="18" y="55"/>
                      <a:pt x="17" y="55"/>
                    </a:cubicBezTo>
                    <a:cubicBezTo>
                      <a:pt x="16" y="55"/>
                      <a:pt x="15" y="56"/>
                      <a:pt x="14" y="56"/>
                    </a:cubicBezTo>
                    <a:cubicBezTo>
                      <a:pt x="14" y="56"/>
                      <a:pt x="14" y="55"/>
                      <a:pt x="13" y="55"/>
                    </a:cubicBezTo>
                    <a:cubicBezTo>
                      <a:pt x="13" y="56"/>
                      <a:pt x="12" y="56"/>
                      <a:pt x="12" y="56"/>
                    </a:cubicBezTo>
                    <a:cubicBezTo>
                      <a:pt x="11" y="56"/>
                      <a:pt x="9" y="55"/>
                      <a:pt x="9" y="55"/>
                    </a:cubicBezTo>
                    <a:cubicBezTo>
                      <a:pt x="7" y="54"/>
                      <a:pt x="7" y="54"/>
                      <a:pt x="7" y="54"/>
                    </a:cubicBezTo>
                    <a:cubicBezTo>
                      <a:pt x="13" y="64"/>
                      <a:pt x="13" y="64"/>
                      <a:pt x="13" y="64"/>
                    </a:cubicBezTo>
                    <a:cubicBezTo>
                      <a:pt x="6" y="68"/>
                      <a:pt x="6" y="68"/>
                      <a:pt x="6" y="68"/>
                    </a:cubicBezTo>
                    <a:cubicBezTo>
                      <a:pt x="5" y="68"/>
                      <a:pt x="4" y="69"/>
                      <a:pt x="3" y="70"/>
                    </a:cubicBezTo>
                    <a:cubicBezTo>
                      <a:pt x="5" y="73"/>
                      <a:pt x="5" y="73"/>
                      <a:pt x="5" y="73"/>
                    </a:cubicBezTo>
                    <a:cubicBezTo>
                      <a:pt x="5" y="75"/>
                      <a:pt x="5" y="75"/>
                      <a:pt x="5" y="75"/>
                    </a:cubicBezTo>
                    <a:cubicBezTo>
                      <a:pt x="6" y="80"/>
                      <a:pt x="6" y="80"/>
                      <a:pt x="6" y="80"/>
                    </a:cubicBezTo>
                    <a:cubicBezTo>
                      <a:pt x="3" y="86"/>
                      <a:pt x="3" y="86"/>
                      <a:pt x="3" y="86"/>
                    </a:cubicBezTo>
                    <a:cubicBezTo>
                      <a:pt x="0" y="86"/>
                      <a:pt x="0" y="86"/>
                      <a:pt x="0" y="86"/>
                    </a:cubicBezTo>
                    <a:cubicBezTo>
                      <a:pt x="0" y="87"/>
                      <a:pt x="0" y="87"/>
                      <a:pt x="0" y="87"/>
                    </a:cubicBezTo>
                    <a:cubicBezTo>
                      <a:pt x="3" y="89"/>
                      <a:pt x="3" y="89"/>
                      <a:pt x="3" y="89"/>
                    </a:cubicBezTo>
                    <a:cubicBezTo>
                      <a:pt x="4" y="92"/>
                      <a:pt x="4" y="92"/>
                      <a:pt x="4" y="92"/>
                    </a:cubicBezTo>
                    <a:cubicBezTo>
                      <a:pt x="4" y="92"/>
                      <a:pt x="4" y="92"/>
                      <a:pt x="4" y="92"/>
                    </a:cubicBezTo>
                    <a:cubicBezTo>
                      <a:pt x="4" y="93"/>
                      <a:pt x="4" y="93"/>
                      <a:pt x="4" y="93"/>
                    </a:cubicBezTo>
                    <a:cubicBezTo>
                      <a:pt x="7" y="96"/>
                      <a:pt x="7" y="96"/>
                      <a:pt x="7" y="96"/>
                    </a:cubicBezTo>
                    <a:cubicBezTo>
                      <a:pt x="6" y="98"/>
                      <a:pt x="6" y="98"/>
                      <a:pt x="6" y="98"/>
                    </a:cubicBezTo>
                    <a:cubicBezTo>
                      <a:pt x="12" y="105"/>
                      <a:pt x="12" y="105"/>
                      <a:pt x="12" y="105"/>
                    </a:cubicBezTo>
                    <a:cubicBezTo>
                      <a:pt x="10" y="106"/>
                      <a:pt x="10" y="106"/>
                      <a:pt x="10" y="106"/>
                    </a:cubicBezTo>
                    <a:cubicBezTo>
                      <a:pt x="11" y="107"/>
                      <a:pt x="11" y="107"/>
                      <a:pt x="11" y="107"/>
                    </a:cubicBezTo>
                    <a:cubicBezTo>
                      <a:pt x="14" y="109"/>
                      <a:pt x="14" y="109"/>
                      <a:pt x="14" y="109"/>
                    </a:cubicBezTo>
                    <a:cubicBezTo>
                      <a:pt x="17" y="112"/>
                      <a:pt x="17" y="112"/>
                      <a:pt x="17" y="112"/>
                    </a:cubicBezTo>
                    <a:cubicBezTo>
                      <a:pt x="19" y="114"/>
                      <a:pt x="19" y="114"/>
                      <a:pt x="19" y="114"/>
                    </a:cubicBezTo>
                    <a:cubicBezTo>
                      <a:pt x="22" y="117"/>
                      <a:pt x="22" y="117"/>
                      <a:pt x="22" y="117"/>
                    </a:cubicBezTo>
                    <a:cubicBezTo>
                      <a:pt x="29" y="119"/>
                      <a:pt x="29" y="119"/>
                      <a:pt x="29" y="119"/>
                    </a:cubicBezTo>
                    <a:cubicBezTo>
                      <a:pt x="33" y="124"/>
                      <a:pt x="33" y="124"/>
                      <a:pt x="33" y="124"/>
                    </a:cubicBezTo>
                    <a:cubicBezTo>
                      <a:pt x="37" y="127"/>
                      <a:pt x="37" y="127"/>
                      <a:pt x="37" y="127"/>
                    </a:cubicBezTo>
                    <a:cubicBezTo>
                      <a:pt x="40" y="127"/>
                      <a:pt x="40" y="127"/>
                      <a:pt x="40" y="127"/>
                    </a:cubicBezTo>
                    <a:cubicBezTo>
                      <a:pt x="41" y="129"/>
                      <a:pt x="41" y="129"/>
                      <a:pt x="41" y="129"/>
                    </a:cubicBezTo>
                    <a:cubicBezTo>
                      <a:pt x="45" y="130"/>
                      <a:pt x="45" y="130"/>
                      <a:pt x="45" y="130"/>
                    </a:cubicBezTo>
                    <a:cubicBezTo>
                      <a:pt x="48" y="132"/>
                      <a:pt x="48" y="132"/>
                      <a:pt x="48" y="132"/>
                    </a:cubicBezTo>
                    <a:cubicBezTo>
                      <a:pt x="53" y="133"/>
                      <a:pt x="53" y="133"/>
                      <a:pt x="53" y="133"/>
                    </a:cubicBezTo>
                    <a:cubicBezTo>
                      <a:pt x="55" y="133"/>
                      <a:pt x="55" y="133"/>
                      <a:pt x="55" y="133"/>
                    </a:cubicBezTo>
                    <a:cubicBezTo>
                      <a:pt x="55" y="133"/>
                      <a:pt x="59" y="133"/>
                      <a:pt x="60" y="133"/>
                    </a:cubicBezTo>
                    <a:cubicBezTo>
                      <a:pt x="61" y="133"/>
                      <a:pt x="62" y="132"/>
                      <a:pt x="62" y="132"/>
                    </a:cubicBezTo>
                    <a:cubicBezTo>
                      <a:pt x="68" y="131"/>
                      <a:pt x="68" y="131"/>
                      <a:pt x="68" y="131"/>
                    </a:cubicBezTo>
                    <a:cubicBezTo>
                      <a:pt x="72" y="131"/>
                      <a:pt x="72" y="131"/>
                      <a:pt x="72" y="131"/>
                    </a:cubicBezTo>
                    <a:cubicBezTo>
                      <a:pt x="72" y="131"/>
                      <a:pt x="76" y="131"/>
                      <a:pt x="76" y="130"/>
                    </a:cubicBezTo>
                    <a:cubicBezTo>
                      <a:pt x="76" y="130"/>
                      <a:pt x="78" y="128"/>
                      <a:pt x="78" y="128"/>
                    </a:cubicBezTo>
                    <a:cubicBezTo>
                      <a:pt x="80" y="125"/>
                      <a:pt x="80" y="125"/>
                      <a:pt x="80" y="125"/>
                    </a:cubicBezTo>
                    <a:cubicBezTo>
                      <a:pt x="82" y="125"/>
                      <a:pt x="82" y="125"/>
                      <a:pt x="82" y="125"/>
                    </a:cubicBezTo>
                    <a:cubicBezTo>
                      <a:pt x="85" y="123"/>
                      <a:pt x="85" y="123"/>
                      <a:pt x="85" y="123"/>
                    </a:cubicBezTo>
                    <a:cubicBezTo>
                      <a:pt x="88" y="119"/>
                      <a:pt x="88" y="119"/>
                      <a:pt x="88" y="119"/>
                    </a:cubicBezTo>
                    <a:cubicBezTo>
                      <a:pt x="89" y="120"/>
                      <a:pt x="89" y="120"/>
                      <a:pt x="89" y="120"/>
                    </a:cubicBezTo>
                    <a:cubicBezTo>
                      <a:pt x="89" y="120"/>
                      <a:pt x="91" y="119"/>
                      <a:pt x="92" y="119"/>
                    </a:cubicBezTo>
                    <a:cubicBezTo>
                      <a:pt x="94" y="119"/>
                      <a:pt x="94" y="119"/>
                      <a:pt x="94" y="119"/>
                    </a:cubicBezTo>
                    <a:cubicBezTo>
                      <a:pt x="96" y="117"/>
                      <a:pt x="96" y="117"/>
                      <a:pt x="96" y="117"/>
                    </a:cubicBezTo>
                    <a:cubicBezTo>
                      <a:pt x="97" y="115"/>
                      <a:pt x="97" y="115"/>
                      <a:pt x="97" y="115"/>
                    </a:cubicBezTo>
                    <a:cubicBezTo>
                      <a:pt x="97" y="115"/>
                      <a:pt x="99" y="113"/>
                      <a:pt x="101" y="113"/>
                    </a:cubicBezTo>
                    <a:cubicBezTo>
                      <a:pt x="102" y="112"/>
                      <a:pt x="101" y="111"/>
                      <a:pt x="101" y="111"/>
                    </a:cubicBezTo>
                    <a:cubicBezTo>
                      <a:pt x="101" y="111"/>
                      <a:pt x="105" y="109"/>
                      <a:pt x="106" y="109"/>
                    </a:cubicBezTo>
                    <a:cubicBezTo>
                      <a:pt x="107" y="109"/>
                      <a:pt x="107" y="110"/>
                      <a:pt x="107" y="110"/>
                    </a:cubicBezTo>
                    <a:cubicBezTo>
                      <a:pt x="111" y="109"/>
                      <a:pt x="111" y="109"/>
                      <a:pt x="111" y="109"/>
                    </a:cubicBezTo>
                    <a:cubicBezTo>
                      <a:pt x="111" y="109"/>
                      <a:pt x="116" y="108"/>
                      <a:pt x="116" y="108"/>
                    </a:cubicBezTo>
                    <a:cubicBezTo>
                      <a:pt x="117" y="108"/>
                      <a:pt x="119" y="108"/>
                      <a:pt x="119" y="108"/>
                    </a:cubicBezTo>
                    <a:cubicBezTo>
                      <a:pt x="119" y="108"/>
                      <a:pt x="123" y="108"/>
                      <a:pt x="124" y="108"/>
                    </a:cubicBezTo>
                    <a:cubicBezTo>
                      <a:pt x="125" y="108"/>
                      <a:pt x="125" y="108"/>
                      <a:pt x="125" y="108"/>
                    </a:cubicBezTo>
                    <a:cubicBezTo>
                      <a:pt x="131" y="109"/>
                      <a:pt x="131" y="109"/>
                      <a:pt x="131" y="109"/>
                    </a:cubicBezTo>
                    <a:cubicBezTo>
                      <a:pt x="132" y="109"/>
                      <a:pt x="132" y="109"/>
                      <a:pt x="132" y="109"/>
                    </a:cubicBezTo>
                    <a:cubicBezTo>
                      <a:pt x="132" y="109"/>
                      <a:pt x="136" y="108"/>
                      <a:pt x="138" y="107"/>
                    </a:cubicBezTo>
                    <a:cubicBezTo>
                      <a:pt x="139" y="106"/>
                      <a:pt x="138" y="105"/>
                      <a:pt x="138" y="105"/>
                    </a:cubicBezTo>
                    <a:cubicBezTo>
                      <a:pt x="140" y="103"/>
                      <a:pt x="140" y="103"/>
                      <a:pt x="140" y="103"/>
                    </a:cubicBezTo>
                    <a:cubicBezTo>
                      <a:pt x="144" y="104"/>
                      <a:pt x="144" y="104"/>
                      <a:pt x="144" y="104"/>
                    </a:cubicBezTo>
                    <a:cubicBezTo>
                      <a:pt x="150" y="98"/>
                      <a:pt x="150" y="98"/>
                      <a:pt x="150" y="98"/>
                    </a:cubicBezTo>
                    <a:cubicBezTo>
                      <a:pt x="152" y="94"/>
                      <a:pt x="152" y="94"/>
                      <a:pt x="152" y="94"/>
                    </a:cubicBezTo>
                    <a:cubicBezTo>
                      <a:pt x="152" y="92"/>
                      <a:pt x="152" y="92"/>
                      <a:pt x="152" y="92"/>
                    </a:cubicBezTo>
                    <a:cubicBezTo>
                      <a:pt x="153" y="91"/>
                      <a:pt x="153" y="91"/>
                      <a:pt x="153" y="91"/>
                    </a:cubicBezTo>
                    <a:cubicBezTo>
                      <a:pt x="155" y="88"/>
                      <a:pt x="155" y="88"/>
                      <a:pt x="155" y="88"/>
                    </a:cubicBezTo>
                    <a:cubicBezTo>
                      <a:pt x="155" y="85"/>
                      <a:pt x="155" y="85"/>
                      <a:pt x="155" y="85"/>
                    </a:cubicBezTo>
                    <a:cubicBezTo>
                      <a:pt x="156" y="82"/>
                      <a:pt x="156" y="82"/>
                      <a:pt x="156" y="82"/>
                    </a:cubicBezTo>
                    <a:cubicBezTo>
                      <a:pt x="155" y="79"/>
                      <a:pt x="155" y="79"/>
                      <a:pt x="155" y="79"/>
                    </a:cubicBezTo>
                    <a:cubicBezTo>
                      <a:pt x="158" y="75"/>
                      <a:pt x="158" y="75"/>
                      <a:pt x="158" y="75"/>
                    </a:cubicBezTo>
                    <a:cubicBezTo>
                      <a:pt x="157" y="69"/>
                      <a:pt x="157" y="69"/>
                      <a:pt x="157" y="69"/>
                    </a:cubicBezTo>
                    <a:cubicBezTo>
                      <a:pt x="157" y="69"/>
                      <a:pt x="159" y="67"/>
                      <a:pt x="160" y="67"/>
                    </a:cubicBezTo>
                    <a:cubicBezTo>
                      <a:pt x="162" y="67"/>
                      <a:pt x="161" y="63"/>
                      <a:pt x="161" y="63"/>
                    </a:cubicBezTo>
                    <a:cubicBezTo>
                      <a:pt x="161" y="57"/>
                      <a:pt x="161" y="57"/>
                      <a:pt x="161" y="57"/>
                    </a:cubicBezTo>
                    <a:cubicBezTo>
                      <a:pt x="164" y="54"/>
                      <a:pt x="164" y="54"/>
                      <a:pt x="164" y="54"/>
                    </a:cubicBezTo>
                    <a:cubicBezTo>
                      <a:pt x="165" y="47"/>
                      <a:pt x="165" y="47"/>
                      <a:pt x="165" y="47"/>
                    </a:cubicBezTo>
                    <a:cubicBezTo>
                      <a:pt x="165" y="47"/>
                      <a:pt x="166" y="47"/>
                      <a:pt x="167" y="46"/>
                    </a:cubicBezTo>
                    <a:cubicBezTo>
                      <a:pt x="169" y="46"/>
                      <a:pt x="167" y="42"/>
                      <a:pt x="167" y="42"/>
                    </a:cubicBezTo>
                    <a:cubicBezTo>
                      <a:pt x="168" y="38"/>
                      <a:pt x="168" y="38"/>
                      <a:pt x="168" y="38"/>
                    </a:cubicBezTo>
                    <a:cubicBezTo>
                      <a:pt x="171" y="36"/>
                      <a:pt x="171" y="36"/>
                      <a:pt x="171" y="36"/>
                    </a:cubicBezTo>
                    <a:cubicBezTo>
                      <a:pt x="172" y="31"/>
                      <a:pt x="172" y="31"/>
                      <a:pt x="172" y="31"/>
                    </a:cubicBezTo>
                    <a:cubicBezTo>
                      <a:pt x="173" y="29"/>
                      <a:pt x="173" y="29"/>
                      <a:pt x="173" y="29"/>
                    </a:cubicBezTo>
                    <a:cubicBezTo>
                      <a:pt x="176" y="29"/>
                      <a:pt x="176" y="29"/>
                      <a:pt x="176" y="29"/>
                    </a:cubicBezTo>
                    <a:cubicBezTo>
                      <a:pt x="179" y="28"/>
                      <a:pt x="179" y="28"/>
                      <a:pt x="179" y="28"/>
                    </a:cubicBezTo>
                    <a:cubicBezTo>
                      <a:pt x="182" y="25"/>
                      <a:pt x="182" y="25"/>
                      <a:pt x="182" y="25"/>
                    </a:cubicBezTo>
                    <a:cubicBezTo>
                      <a:pt x="182" y="25"/>
                      <a:pt x="183" y="24"/>
                      <a:pt x="184" y="24"/>
                    </a:cubicBezTo>
                    <a:cubicBezTo>
                      <a:pt x="185" y="24"/>
                      <a:pt x="186" y="22"/>
                      <a:pt x="186" y="22"/>
                    </a:cubicBezTo>
                    <a:cubicBezTo>
                      <a:pt x="189" y="19"/>
                      <a:pt x="189" y="19"/>
                      <a:pt x="189" y="19"/>
                    </a:cubicBezTo>
                    <a:lnTo>
                      <a:pt x="187" y="15"/>
                    </a:lnTo>
                    <a:close/>
                  </a:path>
                </a:pathLst>
              </a:custGeom>
              <a:solidFill>
                <a:srgbClr val="BFBFBF"/>
              </a:solid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689" name="Freeform 135"/>
              <p:cNvSpPr>
                <a:spLocks/>
              </p:cNvSpPr>
              <p:nvPr/>
            </p:nvSpPr>
            <p:spPr bwMode="auto">
              <a:xfrm>
                <a:off x="3421" y="2622"/>
                <a:ext cx="2" cy="2"/>
              </a:xfrm>
              <a:custGeom>
                <a:avLst/>
                <a:gdLst>
                  <a:gd name="T0" fmla="*/ 1 w 1"/>
                  <a:gd name="T1" fmla="*/ 1 h 1"/>
                  <a:gd name="T2" fmla="*/ 1 w 1"/>
                  <a:gd name="T3" fmla="*/ 1 h 1"/>
                  <a:gd name="T4" fmla="*/ 0 w 1"/>
                  <a:gd name="T5" fmla="*/ 0 h 1"/>
                  <a:gd name="T6" fmla="*/ 1 w 1"/>
                  <a:gd name="T7" fmla="*/ 1 h 1"/>
                </a:gdLst>
                <a:ahLst/>
                <a:cxnLst>
                  <a:cxn ang="0">
                    <a:pos x="T0" y="T1"/>
                  </a:cxn>
                  <a:cxn ang="0">
                    <a:pos x="T2" y="T3"/>
                  </a:cxn>
                  <a:cxn ang="0">
                    <a:pos x="T4" y="T5"/>
                  </a:cxn>
                  <a:cxn ang="0">
                    <a:pos x="T6" y="T7"/>
                  </a:cxn>
                </a:cxnLst>
                <a:rect l="0" t="0" r="r" b="b"/>
                <a:pathLst>
                  <a:path w="1" h="1">
                    <a:moveTo>
                      <a:pt x="1" y="1"/>
                    </a:moveTo>
                    <a:cubicBezTo>
                      <a:pt x="1" y="1"/>
                      <a:pt x="1" y="1"/>
                      <a:pt x="1" y="1"/>
                    </a:cubicBezTo>
                    <a:cubicBezTo>
                      <a:pt x="0" y="0"/>
                      <a:pt x="0" y="0"/>
                      <a:pt x="0" y="0"/>
                    </a:cubicBezTo>
                    <a:lnTo>
                      <a:pt x="1" y="1"/>
                    </a:lnTo>
                    <a:close/>
                  </a:path>
                </a:pathLst>
              </a:custGeom>
              <a:grp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690" name="Freeform 136"/>
              <p:cNvSpPr>
                <a:spLocks/>
              </p:cNvSpPr>
              <p:nvPr/>
            </p:nvSpPr>
            <p:spPr bwMode="auto">
              <a:xfrm>
                <a:off x="3702" y="230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691" name="Rectangle 137"/>
              <p:cNvSpPr>
                <a:spLocks noChangeArrowheads="1"/>
              </p:cNvSpPr>
              <p:nvPr/>
            </p:nvSpPr>
            <p:spPr bwMode="auto">
              <a:xfrm>
                <a:off x="3718" y="2323"/>
                <a:ext cx="1" cy="1"/>
              </a:xfrm>
              <a:prstGeom prst="rect">
                <a:avLst/>
              </a:prstGeom>
              <a:grpFill/>
              <a:ln w="9525">
                <a:solidFill>
                  <a:schemeClr val="bg1">
                    <a:alpha val="25000"/>
                  </a:schemeClr>
                </a:solidFill>
                <a:miter lim="800000"/>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692" name="Freeform 138"/>
              <p:cNvSpPr>
                <a:spLocks/>
              </p:cNvSpPr>
              <p:nvPr/>
            </p:nvSpPr>
            <p:spPr bwMode="auto">
              <a:xfrm>
                <a:off x="3499" y="2662"/>
                <a:ext cx="2" cy="2"/>
              </a:xfrm>
              <a:custGeom>
                <a:avLst/>
                <a:gdLst>
                  <a:gd name="T0" fmla="*/ 0 w 2"/>
                  <a:gd name="T1" fmla="*/ 0 h 2"/>
                  <a:gd name="T2" fmla="*/ 2 w 2"/>
                  <a:gd name="T3" fmla="*/ 0 h 2"/>
                  <a:gd name="T4" fmla="*/ 0 w 2"/>
                  <a:gd name="T5" fmla="*/ 2 h 2"/>
                  <a:gd name="T6" fmla="*/ 0 w 2"/>
                  <a:gd name="T7" fmla="*/ 0 h 2"/>
                </a:gdLst>
                <a:ahLst/>
                <a:cxnLst>
                  <a:cxn ang="0">
                    <a:pos x="T0" y="T1"/>
                  </a:cxn>
                  <a:cxn ang="0">
                    <a:pos x="T2" y="T3"/>
                  </a:cxn>
                  <a:cxn ang="0">
                    <a:pos x="T4" y="T5"/>
                  </a:cxn>
                  <a:cxn ang="0">
                    <a:pos x="T6" y="T7"/>
                  </a:cxn>
                </a:cxnLst>
                <a:rect l="0" t="0" r="r" b="b"/>
                <a:pathLst>
                  <a:path w="2" h="2">
                    <a:moveTo>
                      <a:pt x="0" y="0"/>
                    </a:moveTo>
                    <a:lnTo>
                      <a:pt x="2" y="0"/>
                    </a:lnTo>
                    <a:lnTo>
                      <a:pt x="0" y="2"/>
                    </a:lnTo>
                    <a:lnTo>
                      <a:pt x="0" y="0"/>
                    </a:lnTo>
                    <a:close/>
                  </a:path>
                </a:pathLst>
              </a:custGeom>
              <a:grp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693" name="Freeform 139"/>
              <p:cNvSpPr>
                <a:spLocks/>
              </p:cNvSpPr>
              <p:nvPr/>
            </p:nvSpPr>
            <p:spPr bwMode="auto">
              <a:xfrm>
                <a:off x="3680" y="228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694" name="Freeform 140"/>
              <p:cNvSpPr>
                <a:spLocks/>
              </p:cNvSpPr>
              <p:nvPr/>
            </p:nvSpPr>
            <p:spPr bwMode="auto">
              <a:xfrm>
                <a:off x="3696" y="2295"/>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695" name="Rectangle 141"/>
              <p:cNvSpPr>
                <a:spLocks noChangeArrowheads="1"/>
              </p:cNvSpPr>
              <p:nvPr/>
            </p:nvSpPr>
            <p:spPr bwMode="auto">
              <a:xfrm>
                <a:off x="3698" y="2297"/>
                <a:ext cx="1" cy="1"/>
              </a:xfrm>
              <a:prstGeom prst="rect">
                <a:avLst/>
              </a:prstGeom>
              <a:grpFill/>
              <a:ln w="9525">
                <a:solidFill>
                  <a:schemeClr val="bg1">
                    <a:alpha val="25000"/>
                  </a:schemeClr>
                </a:solidFill>
                <a:miter lim="800000"/>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696" name="Rectangle 142"/>
              <p:cNvSpPr>
                <a:spLocks noChangeArrowheads="1"/>
              </p:cNvSpPr>
              <p:nvPr/>
            </p:nvSpPr>
            <p:spPr bwMode="auto">
              <a:xfrm>
                <a:off x="3790" y="2403"/>
                <a:ext cx="1" cy="2"/>
              </a:xfrm>
              <a:prstGeom prst="rect">
                <a:avLst/>
              </a:prstGeom>
              <a:grpFill/>
              <a:ln w="9525">
                <a:solidFill>
                  <a:schemeClr val="bg1">
                    <a:alpha val="25000"/>
                  </a:schemeClr>
                </a:solidFill>
                <a:miter lim="800000"/>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697" name="Freeform 143"/>
              <p:cNvSpPr>
                <a:spLocks/>
              </p:cNvSpPr>
              <p:nvPr/>
            </p:nvSpPr>
            <p:spPr bwMode="auto">
              <a:xfrm>
                <a:off x="3268" y="2626"/>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698" name="Rectangle 144"/>
              <p:cNvSpPr>
                <a:spLocks noChangeArrowheads="1"/>
              </p:cNvSpPr>
              <p:nvPr/>
            </p:nvSpPr>
            <p:spPr bwMode="auto">
              <a:xfrm>
                <a:off x="3483" y="2650"/>
                <a:ext cx="1" cy="1"/>
              </a:xfrm>
              <a:prstGeom prst="rect">
                <a:avLst/>
              </a:prstGeom>
              <a:grpFill/>
              <a:ln w="9525">
                <a:solidFill>
                  <a:schemeClr val="bg1">
                    <a:alpha val="25000"/>
                  </a:schemeClr>
                </a:solidFill>
                <a:miter lim="800000"/>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699" name="Freeform 145"/>
              <p:cNvSpPr>
                <a:spLocks/>
              </p:cNvSpPr>
              <p:nvPr/>
            </p:nvSpPr>
            <p:spPr bwMode="auto">
              <a:xfrm>
                <a:off x="3501" y="2662"/>
                <a:ext cx="0" cy="2"/>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lnTo>
                      <a:pt x="0" y="2"/>
                    </a:lnTo>
                    <a:lnTo>
                      <a:pt x="0" y="0"/>
                    </a:lnTo>
                    <a:close/>
                  </a:path>
                </a:pathLst>
              </a:custGeom>
              <a:grp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700" name="Freeform 146"/>
              <p:cNvSpPr>
                <a:spLocks/>
              </p:cNvSpPr>
              <p:nvPr/>
            </p:nvSpPr>
            <p:spPr bwMode="auto">
              <a:xfrm>
                <a:off x="3328" y="279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701" name="Freeform 147"/>
              <p:cNvSpPr>
                <a:spLocks/>
              </p:cNvSpPr>
              <p:nvPr/>
            </p:nvSpPr>
            <p:spPr bwMode="auto">
              <a:xfrm>
                <a:off x="3292" y="2767"/>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702" name="Freeform 148"/>
              <p:cNvSpPr>
                <a:spLocks/>
              </p:cNvSpPr>
              <p:nvPr/>
            </p:nvSpPr>
            <p:spPr bwMode="auto">
              <a:xfrm>
                <a:off x="3272" y="264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703" name="Freeform 149"/>
              <p:cNvSpPr>
                <a:spLocks/>
              </p:cNvSpPr>
              <p:nvPr/>
            </p:nvSpPr>
            <p:spPr bwMode="auto">
              <a:xfrm>
                <a:off x="3278" y="2682"/>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704" name="Freeform 150"/>
              <p:cNvSpPr>
                <a:spLocks/>
              </p:cNvSpPr>
              <p:nvPr/>
            </p:nvSpPr>
            <p:spPr bwMode="auto">
              <a:xfrm>
                <a:off x="3292" y="2767"/>
                <a:ext cx="2" cy="0"/>
              </a:xfrm>
              <a:custGeom>
                <a:avLst/>
                <a:gdLst>
                  <a:gd name="T0" fmla="*/ 2 w 2"/>
                  <a:gd name="T1" fmla="*/ 2 w 2"/>
                  <a:gd name="T2" fmla="*/ 0 w 2"/>
                  <a:gd name="T3" fmla="*/ 2 w 2"/>
                </a:gdLst>
                <a:ahLst/>
                <a:cxnLst>
                  <a:cxn ang="0">
                    <a:pos x="T0" y="0"/>
                  </a:cxn>
                  <a:cxn ang="0">
                    <a:pos x="T1" y="0"/>
                  </a:cxn>
                  <a:cxn ang="0">
                    <a:pos x="T2" y="0"/>
                  </a:cxn>
                  <a:cxn ang="0">
                    <a:pos x="T3" y="0"/>
                  </a:cxn>
                </a:cxnLst>
                <a:rect l="0" t="0" r="r" b="b"/>
                <a:pathLst>
                  <a:path w="2">
                    <a:moveTo>
                      <a:pt x="2" y="0"/>
                    </a:moveTo>
                    <a:lnTo>
                      <a:pt x="2" y="0"/>
                    </a:lnTo>
                    <a:lnTo>
                      <a:pt x="0" y="0"/>
                    </a:lnTo>
                    <a:lnTo>
                      <a:pt x="2" y="0"/>
                    </a:ln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705" name="Freeform 151"/>
              <p:cNvSpPr>
                <a:spLocks/>
              </p:cNvSpPr>
              <p:nvPr/>
            </p:nvSpPr>
            <p:spPr bwMode="auto">
              <a:xfrm>
                <a:off x="3064" y="2640"/>
                <a:ext cx="248" cy="219"/>
              </a:xfrm>
              <a:custGeom>
                <a:avLst/>
                <a:gdLst>
                  <a:gd name="T0" fmla="*/ 122 w 124"/>
                  <a:gd name="T1" fmla="*/ 43 h 109"/>
                  <a:gd name="T2" fmla="*/ 120 w 124"/>
                  <a:gd name="T3" fmla="*/ 38 h 109"/>
                  <a:gd name="T4" fmla="*/ 114 w 124"/>
                  <a:gd name="T5" fmla="*/ 33 h 109"/>
                  <a:gd name="T6" fmla="*/ 107 w 124"/>
                  <a:gd name="T7" fmla="*/ 29 h 109"/>
                  <a:gd name="T8" fmla="*/ 107 w 124"/>
                  <a:gd name="T9" fmla="*/ 19 h 109"/>
                  <a:gd name="T10" fmla="*/ 111 w 124"/>
                  <a:gd name="T11" fmla="*/ 8 h 109"/>
                  <a:gd name="T12" fmla="*/ 106 w 124"/>
                  <a:gd name="T13" fmla="*/ 6 h 109"/>
                  <a:gd name="T14" fmla="*/ 103 w 124"/>
                  <a:gd name="T15" fmla="*/ 9 h 109"/>
                  <a:gd name="T16" fmla="*/ 92 w 124"/>
                  <a:gd name="T17" fmla="*/ 9 h 109"/>
                  <a:gd name="T18" fmla="*/ 90 w 124"/>
                  <a:gd name="T19" fmla="*/ 4 h 109"/>
                  <a:gd name="T20" fmla="*/ 83 w 124"/>
                  <a:gd name="T21" fmla="*/ 2 h 109"/>
                  <a:gd name="T22" fmla="*/ 79 w 124"/>
                  <a:gd name="T23" fmla="*/ 2 h 109"/>
                  <a:gd name="T24" fmla="*/ 75 w 124"/>
                  <a:gd name="T25" fmla="*/ 1 h 109"/>
                  <a:gd name="T26" fmla="*/ 72 w 124"/>
                  <a:gd name="T27" fmla="*/ 1 h 109"/>
                  <a:gd name="T28" fmla="*/ 70 w 124"/>
                  <a:gd name="T29" fmla="*/ 2 h 109"/>
                  <a:gd name="T30" fmla="*/ 65 w 124"/>
                  <a:gd name="T31" fmla="*/ 3 h 109"/>
                  <a:gd name="T32" fmla="*/ 63 w 124"/>
                  <a:gd name="T33" fmla="*/ 4 h 109"/>
                  <a:gd name="T34" fmla="*/ 60 w 124"/>
                  <a:gd name="T35" fmla="*/ 4 h 109"/>
                  <a:gd name="T36" fmla="*/ 46 w 124"/>
                  <a:gd name="T37" fmla="*/ 2 h 109"/>
                  <a:gd name="T38" fmla="*/ 37 w 124"/>
                  <a:gd name="T39" fmla="*/ 2 h 109"/>
                  <a:gd name="T40" fmla="*/ 32 w 124"/>
                  <a:gd name="T41" fmla="*/ 0 h 109"/>
                  <a:gd name="T42" fmla="*/ 25 w 124"/>
                  <a:gd name="T43" fmla="*/ 2 h 109"/>
                  <a:gd name="T44" fmla="*/ 21 w 124"/>
                  <a:gd name="T45" fmla="*/ 5 h 109"/>
                  <a:gd name="T46" fmla="*/ 18 w 124"/>
                  <a:gd name="T47" fmla="*/ 11 h 109"/>
                  <a:gd name="T48" fmla="*/ 10 w 124"/>
                  <a:gd name="T49" fmla="*/ 11 h 109"/>
                  <a:gd name="T50" fmla="*/ 1 w 124"/>
                  <a:gd name="T51" fmla="*/ 6 h 109"/>
                  <a:gd name="T52" fmla="*/ 1 w 124"/>
                  <a:gd name="T53" fmla="*/ 13 h 109"/>
                  <a:gd name="T54" fmla="*/ 1 w 124"/>
                  <a:gd name="T55" fmla="*/ 21 h 109"/>
                  <a:gd name="T56" fmla="*/ 5 w 124"/>
                  <a:gd name="T57" fmla="*/ 22 h 109"/>
                  <a:gd name="T58" fmla="*/ 10 w 124"/>
                  <a:gd name="T59" fmla="*/ 27 h 109"/>
                  <a:gd name="T60" fmla="*/ 14 w 124"/>
                  <a:gd name="T61" fmla="*/ 34 h 109"/>
                  <a:gd name="T62" fmla="*/ 17 w 124"/>
                  <a:gd name="T63" fmla="*/ 38 h 109"/>
                  <a:gd name="T64" fmla="*/ 21 w 124"/>
                  <a:gd name="T65" fmla="*/ 46 h 109"/>
                  <a:gd name="T66" fmla="*/ 27 w 124"/>
                  <a:gd name="T67" fmla="*/ 52 h 109"/>
                  <a:gd name="T68" fmla="*/ 34 w 124"/>
                  <a:gd name="T69" fmla="*/ 58 h 109"/>
                  <a:gd name="T70" fmla="*/ 41 w 124"/>
                  <a:gd name="T71" fmla="*/ 63 h 109"/>
                  <a:gd name="T72" fmla="*/ 47 w 124"/>
                  <a:gd name="T73" fmla="*/ 69 h 109"/>
                  <a:gd name="T74" fmla="*/ 53 w 124"/>
                  <a:gd name="T75" fmla="*/ 73 h 109"/>
                  <a:gd name="T76" fmla="*/ 63 w 124"/>
                  <a:gd name="T77" fmla="*/ 84 h 109"/>
                  <a:gd name="T78" fmla="*/ 67 w 124"/>
                  <a:gd name="T79" fmla="*/ 90 h 109"/>
                  <a:gd name="T80" fmla="*/ 71 w 124"/>
                  <a:gd name="T81" fmla="*/ 92 h 109"/>
                  <a:gd name="T82" fmla="*/ 79 w 124"/>
                  <a:gd name="T83" fmla="*/ 99 h 109"/>
                  <a:gd name="T84" fmla="*/ 92 w 124"/>
                  <a:gd name="T85" fmla="*/ 106 h 109"/>
                  <a:gd name="T86" fmla="*/ 97 w 124"/>
                  <a:gd name="T87" fmla="*/ 109 h 109"/>
                  <a:gd name="T88" fmla="*/ 100 w 124"/>
                  <a:gd name="T89" fmla="*/ 105 h 109"/>
                  <a:gd name="T90" fmla="*/ 99 w 124"/>
                  <a:gd name="T91" fmla="*/ 101 h 109"/>
                  <a:gd name="T92" fmla="*/ 97 w 124"/>
                  <a:gd name="T93" fmla="*/ 95 h 109"/>
                  <a:gd name="T94" fmla="*/ 97 w 124"/>
                  <a:gd name="T95" fmla="*/ 88 h 109"/>
                  <a:gd name="T96" fmla="*/ 100 w 124"/>
                  <a:gd name="T97" fmla="*/ 81 h 109"/>
                  <a:gd name="T98" fmla="*/ 104 w 124"/>
                  <a:gd name="T99" fmla="*/ 73 h 109"/>
                  <a:gd name="T100" fmla="*/ 109 w 124"/>
                  <a:gd name="T101" fmla="*/ 75 h 109"/>
                  <a:gd name="T102" fmla="*/ 111 w 124"/>
                  <a:gd name="T103" fmla="*/ 72 h 109"/>
                  <a:gd name="T104" fmla="*/ 108 w 124"/>
                  <a:gd name="T105" fmla="*/ 68 h 109"/>
                  <a:gd name="T106" fmla="*/ 106 w 124"/>
                  <a:gd name="T107" fmla="*/ 66 h 109"/>
                  <a:gd name="T108" fmla="*/ 110 w 124"/>
                  <a:gd name="T109" fmla="*/ 65 h 109"/>
                  <a:gd name="T110" fmla="*/ 114 w 124"/>
                  <a:gd name="T111" fmla="*/ 63 h 109"/>
                  <a:gd name="T112" fmla="*/ 122 w 124"/>
                  <a:gd name="T113" fmla="*/ 61 h 109"/>
                  <a:gd name="T114" fmla="*/ 119 w 124"/>
                  <a:gd name="T115" fmla="*/ 51 h 109"/>
                  <a:gd name="T116" fmla="*/ 113 w 124"/>
                  <a:gd name="T117" fmla="*/ 4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4" h="109">
                    <a:moveTo>
                      <a:pt x="114" y="44"/>
                    </a:moveTo>
                    <a:cubicBezTo>
                      <a:pt x="115" y="44"/>
                      <a:pt x="116" y="44"/>
                      <a:pt x="117" y="44"/>
                    </a:cubicBezTo>
                    <a:cubicBezTo>
                      <a:pt x="118" y="44"/>
                      <a:pt x="119" y="44"/>
                      <a:pt x="119" y="44"/>
                    </a:cubicBezTo>
                    <a:cubicBezTo>
                      <a:pt x="120" y="44"/>
                      <a:pt x="122" y="43"/>
                      <a:pt x="122" y="43"/>
                    </a:cubicBezTo>
                    <a:cubicBezTo>
                      <a:pt x="122" y="43"/>
                      <a:pt x="123" y="42"/>
                      <a:pt x="123" y="42"/>
                    </a:cubicBezTo>
                    <a:cubicBezTo>
                      <a:pt x="123" y="42"/>
                      <a:pt x="124" y="41"/>
                      <a:pt x="124" y="40"/>
                    </a:cubicBezTo>
                    <a:cubicBezTo>
                      <a:pt x="123" y="40"/>
                      <a:pt x="122" y="39"/>
                      <a:pt x="122" y="39"/>
                    </a:cubicBezTo>
                    <a:cubicBezTo>
                      <a:pt x="121" y="39"/>
                      <a:pt x="120" y="38"/>
                      <a:pt x="120" y="38"/>
                    </a:cubicBezTo>
                    <a:cubicBezTo>
                      <a:pt x="120" y="37"/>
                      <a:pt x="119" y="36"/>
                      <a:pt x="118" y="36"/>
                    </a:cubicBezTo>
                    <a:cubicBezTo>
                      <a:pt x="118" y="36"/>
                      <a:pt x="118" y="37"/>
                      <a:pt x="117" y="36"/>
                    </a:cubicBezTo>
                    <a:cubicBezTo>
                      <a:pt x="116" y="36"/>
                      <a:pt x="115" y="35"/>
                      <a:pt x="115" y="35"/>
                    </a:cubicBezTo>
                    <a:cubicBezTo>
                      <a:pt x="115" y="34"/>
                      <a:pt x="115" y="34"/>
                      <a:pt x="114" y="33"/>
                    </a:cubicBezTo>
                    <a:cubicBezTo>
                      <a:pt x="113" y="33"/>
                      <a:pt x="112" y="32"/>
                      <a:pt x="111" y="32"/>
                    </a:cubicBezTo>
                    <a:cubicBezTo>
                      <a:pt x="110" y="32"/>
                      <a:pt x="111" y="32"/>
                      <a:pt x="109" y="32"/>
                    </a:cubicBezTo>
                    <a:cubicBezTo>
                      <a:pt x="107" y="32"/>
                      <a:pt x="106" y="31"/>
                      <a:pt x="106" y="30"/>
                    </a:cubicBezTo>
                    <a:cubicBezTo>
                      <a:pt x="106" y="29"/>
                      <a:pt x="106" y="30"/>
                      <a:pt x="107" y="29"/>
                    </a:cubicBezTo>
                    <a:cubicBezTo>
                      <a:pt x="107" y="28"/>
                      <a:pt x="107" y="26"/>
                      <a:pt x="107" y="25"/>
                    </a:cubicBezTo>
                    <a:cubicBezTo>
                      <a:pt x="106" y="25"/>
                      <a:pt x="106" y="25"/>
                      <a:pt x="105" y="23"/>
                    </a:cubicBezTo>
                    <a:cubicBezTo>
                      <a:pt x="105" y="21"/>
                      <a:pt x="107" y="22"/>
                      <a:pt x="107" y="22"/>
                    </a:cubicBezTo>
                    <a:cubicBezTo>
                      <a:pt x="107" y="22"/>
                      <a:pt x="107" y="20"/>
                      <a:pt x="107" y="19"/>
                    </a:cubicBezTo>
                    <a:cubicBezTo>
                      <a:pt x="107" y="19"/>
                      <a:pt x="108" y="17"/>
                      <a:pt x="108" y="17"/>
                    </a:cubicBezTo>
                    <a:cubicBezTo>
                      <a:pt x="110" y="14"/>
                      <a:pt x="110" y="14"/>
                      <a:pt x="110" y="14"/>
                    </a:cubicBezTo>
                    <a:cubicBezTo>
                      <a:pt x="111" y="11"/>
                      <a:pt x="111" y="11"/>
                      <a:pt x="111" y="11"/>
                    </a:cubicBezTo>
                    <a:cubicBezTo>
                      <a:pt x="111" y="8"/>
                      <a:pt x="111" y="8"/>
                      <a:pt x="111" y="8"/>
                    </a:cubicBezTo>
                    <a:cubicBezTo>
                      <a:pt x="111" y="5"/>
                      <a:pt x="111" y="5"/>
                      <a:pt x="111" y="5"/>
                    </a:cubicBezTo>
                    <a:cubicBezTo>
                      <a:pt x="108" y="5"/>
                      <a:pt x="108" y="5"/>
                      <a:pt x="108" y="5"/>
                    </a:cubicBezTo>
                    <a:cubicBezTo>
                      <a:pt x="106" y="4"/>
                      <a:pt x="106" y="4"/>
                      <a:pt x="106" y="4"/>
                    </a:cubicBezTo>
                    <a:cubicBezTo>
                      <a:pt x="106" y="5"/>
                      <a:pt x="106" y="5"/>
                      <a:pt x="106" y="6"/>
                    </a:cubicBezTo>
                    <a:cubicBezTo>
                      <a:pt x="106" y="6"/>
                      <a:pt x="106" y="8"/>
                      <a:pt x="105" y="8"/>
                    </a:cubicBezTo>
                    <a:cubicBezTo>
                      <a:pt x="105" y="9"/>
                      <a:pt x="105" y="9"/>
                      <a:pt x="105" y="9"/>
                    </a:cubicBezTo>
                    <a:cubicBezTo>
                      <a:pt x="104" y="9"/>
                      <a:pt x="104" y="9"/>
                      <a:pt x="104" y="9"/>
                    </a:cubicBezTo>
                    <a:cubicBezTo>
                      <a:pt x="104" y="9"/>
                      <a:pt x="104" y="9"/>
                      <a:pt x="103" y="9"/>
                    </a:cubicBezTo>
                    <a:cubicBezTo>
                      <a:pt x="103" y="10"/>
                      <a:pt x="103" y="10"/>
                      <a:pt x="103" y="10"/>
                    </a:cubicBezTo>
                    <a:cubicBezTo>
                      <a:pt x="101" y="12"/>
                      <a:pt x="101" y="12"/>
                      <a:pt x="101" y="12"/>
                    </a:cubicBezTo>
                    <a:cubicBezTo>
                      <a:pt x="100" y="12"/>
                      <a:pt x="100" y="12"/>
                      <a:pt x="100" y="12"/>
                    </a:cubicBezTo>
                    <a:cubicBezTo>
                      <a:pt x="99" y="12"/>
                      <a:pt x="97" y="11"/>
                      <a:pt x="92" y="9"/>
                    </a:cubicBezTo>
                    <a:cubicBezTo>
                      <a:pt x="92" y="9"/>
                      <a:pt x="92" y="9"/>
                      <a:pt x="92" y="9"/>
                    </a:cubicBezTo>
                    <a:cubicBezTo>
                      <a:pt x="92" y="9"/>
                      <a:pt x="92" y="9"/>
                      <a:pt x="92" y="9"/>
                    </a:cubicBezTo>
                    <a:cubicBezTo>
                      <a:pt x="92" y="9"/>
                      <a:pt x="90" y="8"/>
                      <a:pt x="90" y="6"/>
                    </a:cubicBezTo>
                    <a:cubicBezTo>
                      <a:pt x="90" y="6"/>
                      <a:pt x="90" y="5"/>
                      <a:pt x="90" y="4"/>
                    </a:cubicBezTo>
                    <a:cubicBezTo>
                      <a:pt x="87" y="2"/>
                      <a:pt x="87" y="2"/>
                      <a:pt x="87" y="2"/>
                    </a:cubicBezTo>
                    <a:cubicBezTo>
                      <a:pt x="87" y="2"/>
                      <a:pt x="87" y="2"/>
                      <a:pt x="87" y="2"/>
                    </a:cubicBezTo>
                    <a:cubicBezTo>
                      <a:pt x="87" y="2"/>
                      <a:pt x="87" y="1"/>
                      <a:pt x="86" y="1"/>
                    </a:cubicBezTo>
                    <a:cubicBezTo>
                      <a:pt x="83" y="2"/>
                      <a:pt x="83" y="2"/>
                      <a:pt x="83" y="2"/>
                    </a:cubicBezTo>
                    <a:cubicBezTo>
                      <a:pt x="83" y="2"/>
                      <a:pt x="83" y="2"/>
                      <a:pt x="83" y="2"/>
                    </a:cubicBezTo>
                    <a:cubicBezTo>
                      <a:pt x="83" y="2"/>
                      <a:pt x="83" y="2"/>
                      <a:pt x="83" y="2"/>
                    </a:cubicBezTo>
                    <a:cubicBezTo>
                      <a:pt x="80" y="2"/>
                      <a:pt x="80" y="2"/>
                      <a:pt x="80" y="2"/>
                    </a:cubicBezTo>
                    <a:cubicBezTo>
                      <a:pt x="79" y="2"/>
                      <a:pt x="79" y="2"/>
                      <a:pt x="79" y="2"/>
                    </a:cubicBezTo>
                    <a:cubicBezTo>
                      <a:pt x="78" y="1"/>
                      <a:pt x="77" y="1"/>
                      <a:pt x="77" y="0"/>
                    </a:cubicBezTo>
                    <a:cubicBezTo>
                      <a:pt x="76" y="0"/>
                      <a:pt x="76" y="0"/>
                      <a:pt x="76" y="0"/>
                    </a:cubicBezTo>
                    <a:cubicBezTo>
                      <a:pt x="76" y="0"/>
                      <a:pt x="76" y="0"/>
                      <a:pt x="75" y="1"/>
                    </a:cubicBezTo>
                    <a:cubicBezTo>
                      <a:pt x="75" y="1"/>
                      <a:pt x="75" y="1"/>
                      <a:pt x="75" y="1"/>
                    </a:cubicBezTo>
                    <a:cubicBezTo>
                      <a:pt x="74" y="1"/>
                      <a:pt x="74" y="1"/>
                      <a:pt x="74" y="1"/>
                    </a:cubicBezTo>
                    <a:cubicBezTo>
                      <a:pt x="73" y="1"/>
                      <a:pt x="73" y="1"/>
                      <a:pt x="73" y="1"/>
                    </a:cubicBezTo>
                    <a:cubicBezTo>
                      <a:pt x="73" y="1"/>
                      <a:pt x="73" y="1"/>
                      <a:pt x="73" y="1"/>
                    </a:cubicBezTo>
                    <a:cubicBezTo>
                      <a:pt x="73" y="1"/>
                      <a:pt x="73" y="1"/>
                      <a:pt x="72" y="1"/>
                    </a:cubicBezTo>
                    <a:cubicBezTo>
                      <a:pt x="71" y="1"/>
                      <a:pt x="71" y="1"/>
                      <a:pt x="71" y="1"/>
                    </a:cubicBezTo>
                    <a:cubicBezTo>
                      <a:pt x="70" y="2"/>
                      <a:pt x="70" y="2"/>
                      <a:pt x="70" y="2"/>
                    </a:cubicBezTo>
                    <a:cubicBezTo>
                      <a:pt x="70" y="2"/>
                      <a:pt x="70" y="2"/>
                      <a:pt x="70" y="2"/>
                    </a:cubicBezTo>
                    <a:cubicBezTo>
                      <a:pt x="70" y="2"/>
                      <a:pt x="70" y="2"/>
                      <a:pt x="70" y="2"/>
                    </a:cubicBezTo>
                    <a:cubicBezTo>
                      <a:pt x="69" y="3"/>
                      <a:pt x="69" y="3"/>
                      <a:pt x="69" y="3"/>
                    </a:cubicBezTo>
                    <a:cubicBezTo>
                      <a:pt x="68" y="3"/>
                      <a:pt x="68" y="3"/>
                      <a:pt x="68" y="3"/>
                    </a:cubicBezTo>
                    <a:cubicBezTo>
                      <a:pt x="67" y="3"/>
                      <a:pt x="67" y="3"/>
                      <a:pt x="67" y="3"/>
                    </a:cubicBezTo>
                    <a:cubicBezTo>
                      <a:pt x="65" y="3"/>
                      <a:pt x="65" y="3"/>
                      <a:pt x="65" y="3"/>
                    </a:cubicBezTo>
                    <a:cubicBezTo>
                      <a:pt x="65" y="3"/>
                      <a:pt x="65" y="3"/>
                      <a:pt x="65" y="3"/>
                    </a:cubicBezTo>
                    <a:cubicBezTo>
                      <a:pt x="64" y="3"/>
                      <a:pt x="64" y="3"/>
                      <a:pt x="64" y="3"/>
                    </a:cubicBezTo>
                    <a:cubicBezTo>
                      <a:pt x="64" y="3"/>
                      <a:pt x="63" y="3"/>
                      <a:pt x="63" y="3"/>
                    </a:cubicBezTo>
                    <a:cubicBezTo>
                      <a:pt x="63" y="4"/>
                      <a:pt x="63" y="4"/>
                      <a:pt x="63" y="4"/>
                    </a:cubicBezTo>
                    <a:cubicBezTo>
                      <a:pt x="62" y="5"/>
                      <a:pt x="62" y="5"/>
                      <a:pt x="62" y="5"/>
                    </a:cubicBezTo>
                    <a:cubicBezTo>
                      <a:pt x="61" y="5"/>
                      <a:pt x="61" y="5"/>
                      <a:pt x="61" y="5"/>
                    </a:cubicBezTo>
                    <a:cubicBezTo>
                      <a:pt x="60" y="5"/>
                      <a:pt x="60" y="5"/>
                      <a:pt x="60" y="5"/>
                    </a:cubicBezTo>
                    <a:cubicBezTo>
                      <a:pt x="60" y="4"/>
                      <a:pt x="60" y="4"/>
                      <a:pt x="60" y="4"/>
                    </a:cubicBezTo>
                    <a:cubicBezTo>
                      <a:pt x="58" y="4"/>
                      <a:pt x="58" y="4"/>
                      <a:pt x="58" y="4"/>
                    </a:cubicBezTo>
                    <a:cubicBezTo>
                      <a:pt x="53" y="3"/>
                      <a:pt x="53" y="3"/>
                      <a:pt x="53" y="3"/>
                    </a:cubicBezTo>
                    <a:cubicBezTo>
                      <a:pt x="50" y="3"/>
                      <a:pt x="50" y="3"/>
                      <a:pt x="50" y="3"/>
                    </a:cubicBezTo>
                    <a:cubicBezTo>
                      <a:pt x="46" y="2"/>
                      <a:pt x="46" y="2"/>
                      <a:pt x="46" y="2"/>
                    </a:cubicBezTo>
                    <a:cubicBezTo>
                      <a:pt x="44" y="2"/>
                      <a:pt x="44" y="2"/>
                      <a:pt x="44" y="2"/>
                    </a:cubicBezTo>
                    <a:cubicBezTo>
                      <a:pt x="44" y="2"/>
                      <a:pt x="44" y="2"/>
                      <a:pt x="44" y="2"/>
                    </a:cubicBezTo>
                    <a:cubicBezTo>
                      <a:pt x="41" y="3"/>
                      <a:pt x="41" y="3"/>
                      <a:pt x="41" y="3"/>
                    </a:cubicBezTo>
                    <a:cubicBezTo>
                      <a:pt x="37" y="2"/>
                      <a:pt x="37" y="2"/>
                      <a:pt x="37" y="2"/>
                    </a:cubicBezTo>
                    <a:cubicBezTo>
                      <a:pt x="35" y="0"/>
                      <a:pt x="35" y="0"/>
                      <a:pt x="35" y="0"/>
                    </a:cubicBezTo>
                    <a:cubicBezTo>
                      <a:pt x="33" y="0"/>
                      <a:pt x="33" y="0"/>
                      <a:pt x="33" y="0"/>
                    </a:cubicBezTo>
                    <a:cubicBezTo>
                      <a:pt x="33" y="0"/>
                      <a:pt x="33" y="0"/>
                      <a:pt x="33" y="0"/>
                    </a:cubicBezTo>
                    <a:cubicBezTo>
                      <a:pt x="32" y="0"/>
                      <a:pt x="32" y="0"/>
                      <a:pt x="32" y="0"/>
                    </a:cubicBezTo>
                    <a:cubicBezTo>
                      <a:pt x="31" y="2"/>
                      <a:pt x="31" y="2"/>
                      <a:pt x="31" y="2"/>
                    </a:cubicBezTo>
                    <a:cubicBezTo>
                      <a:pt x="31" y="2"/>
                      <a:pt x="31" y="2"/>
                      <a:pt x="31" y="2"/>
                    </a:cubicBezTo>
                    <a:cubicBezTo>
                      <a:pt x="30" y="3"/>
                      <a:pt x="30" y="3"/>
                      <a:pt x="29" y="3"/>
                    </a:cubicBezTo>
                    <a:cubicBezTo>
                      <a:pt x="28" y="3"/>
                      <a:pt x="26" y="2"/>
                      <a:pt x="25" y="2"/>
                    </a:cubicBezTo>
                    <a:cubicBezTo>
                      <a:pt x="23" y="3"/>
                      <a:pt x="23" y="3"/>
                      <a:pt x="23" y="3"/>
                    </a:cubicBezTo>
                    <a:cubicBezTo>
                      <a:pt x="21" y="3"/>
                      <a:pt x="21" y="3"/>
                      <a:pt x="21" y="3"/>
                    </a:cubicBezTo>
                    <a:cubicBezTo>
                      <a:pt x="21" y="4"/>
                      <a:pt x="21" y="4"/>
                      <a:pt x="21" y="4"/>
                    </a:cubicBezTo>
                    <a:cubicBezTo>
                      <a:pt x="21" y="5"/>
                      <a:pt x="21" y="5"/>
                      <a:pt x="21" y="5"/>
                    </a:cubicBezTo>
                    <a:cubicBezTo>
                      <a:pt x="19" y="7"/>
                      <a:pt x="19" y="7"/>
                      <a:pt x="19" y="7"/>
                    </a:cubicBezTo>
                    <a:cubicBezTo>
                      <a:pt x="18" y="8"/>
                      <a:pt x="18" y="8"/>
                      <a:pt x="18" y="8"/>
                    </a:cubicBezTo>
                    <a:cubicBezTo>
                      <a:pt x="18" y="8"/>
                      <a:pt x="18" y="9"/>
                      <a:pt x="18" y="10"/>
                    </a:cubicBezTo>
                    <a:cubicBezTo>
                      <a:pt x="18" y="11"/>
                      <a:pt x="18" y="11"/>
                      <a:pt x="18" y="11"/>
                    </a:cubicBezTo>
                    <a:cubicBezTo>
                      <a:pt x="15" y="12"/>
                      <a:pt x="15" y="12"/>
                      <a:pt x="15" y="12"/>
                    </a:cubicBezTo>
                    <a:cubicBezTo>
                      <a:pt x="15" y="13"/>
                      <a:pt x="15" y="13"/>
                      <a:pt x="15" y="13"/>
                    </a:cubicBezTo>
                    <a:cubicBezTo>
                      <a:pt x="14" y="13"/>
                      <a:pt x="14" y="13"/>
                      <a:pt x="14" y="13"/>
                    </a:cubicBezTo>
                    <a:cubicBezTo>
                      <a:pt x="10" y="11"/>
                      <a:pt x="10" y="11"/>
                      <a:pt x="10" y="11"/>
                    </a:cubicBezTo>
                    <a:cubicBezTo>
                      <a:pt x="5" y="4"/>
                      <a:pt x="5" y="4"/>
                      <a:pt x="5" y="4"/>
                    </a:cubicBezTo>
                    <a:cubicBezTo>
                      <a:pt x="4" y="4"/>
                      <a:pt x="4" y="4"/>
                      <a:pt x="4" y="4"/>
                    </a:cubicBezTo>
                    <a:cubicBezTo>
                      <a:pt x="3" y="5"/>
                      <a:pt x="1" y="5"/>
                      <a:pt x="1" y="6"/>
                    </a:cubicBezTo>
                    <a:cubicBezTo>
                      <a:pt x="1" y="6"/>
                      <a:pt x="1" y="6"/>
                      <a:pt x="1" y="6"/>
                    </a:cubicBezTo>
                    <a:cubicBezTo>
                      <a:pt x="1" y="6"/>
                      <a:pt x="1" y="7"/>
                      <a:pt x="1" y="9"/>
                    </a:cubicBezTo>
                    <a:cubicBezTo>
                      <a:pt x="1" y="9"/>
                      <a:pt x="1" y="9"/>
                      <a:pt x="1" y="9"/>
                    </a:cubicBezTo>
                    <a:cubicBezTo>
                      <a:pt x="0" y="11"/>
                      <a:pt x="0" y="11"/>
                      <a:pt x="0" y="11"/>
                    </a:cubicBezTo>
                    <a:cubicBezTo>
                      <a:pt x="1" y="13"/>
                      <a:pt x="1" y="13"/>
                      <a:pt x="1" y="13"/>
                    </a:cubicBezTo>
                    <a:cubicBezTo>
                      <a:pt x="1" y="15"/>
                      <a:pt x="1" y="15"/>
                      <a:pt x="1" y="15"/>
                    </a:cubicBezTo>
                    <a:cubicBezTo>
                      <a:pt x="1" y="16"/>
                      <a:pt x="1" y="16"/>
                      <a:pt x="1" y="16"/>
                    </a:cubicBezTo>
                    <a:cubicBezTo>
                      <a:pt x="1" y="16"/>
                      <a:pt x="2" y="17"/>
                      <a:pt x="2" y="18"/>
                    </a:cubicBezTo>
                    <a:cubicBezTo>
                      <a:pt x="2" y="18"/>
                      <a:pt x="2" y="20"/>
                      <a:pt x="1" y="21"/>
                    </a:cubicBezTo>
                    <a:cubicBezTo>
                      <a:pt x="1" y="21"/>
                      <a:pt x="1" y="22"/>
                      <a:pt x="1" y="22"/>
                    </a:cubicBezTo>
                    <a:cubicBezTo>
                      <a:pt x="1" y="22"/>
                      <a:pt x="1" y="22"/>
                      <a:pt x="1" y="22"/>
                    </a:cubicBezTo>
                    <a:cubicBezTo>
                      <a:pt x="1" y="22"/>
                      <a:pt x="1" y="22"/>
                      <a:pt x="1" y="22"/>
                    </a:cubicBezTo>
                    <a:cubicBezTo>
                      <a:pt x="5" y="22"/>
                      <a:pt x="5" y="22"/>
                      <a:pt x="5" y="22"/>
                    </a:cubicBezTo>
                    <a:cubicBezTo>
                      <a:pt x="5" y="22"/>
                      <a:pt x="5" y="22"/>
                      <a:pt x="5" y="22"/>
                    </a:cubicBezTo>
                    <a:cubicBezTo>
                      <a:pt x="6" y="23"/>
                      <a:pt x="7" y="24"/>
                      <a:pt x="8" y="25"/>
                    </a:cubicBezTo>
                    <a:cubicBezTo>
                      <a:pt x="10" y="26"/>
                      <a:pt x="10" y="26"/>
                      <a:pt x="10" y="26"/>
                    </a:cubicBezTo>
                    <a:cubicBezTo>
                      <a:pt x="10" y="27"/>
                      <a:pt x="10" y="27"/>
                      <a:pt x="10" y="27"/>
                    </a:cubicBezTo>
                    <a:cubicBezTo>
                      <a:pt x="10" y="28"/>
                      <a:pt x="10" y="29"/>
                      <a:pt x="10" y="29"/>
                    </a:cubicBezTo>
                    <a:cubicBezTo>
                      <a:pt x="12" y="29"/>
                      <a:pt x="12" y="29"/>
                      <a:pt x="12" y="29"/>
                    </a:cubicBezTo>
                    <a:cubicBezTo>
                      <a:pt x="13" y="30"/>
                      <a:pt x="13" y="30"/>
                      <a:pt x="13" y="30"/>
                    </a:cubicBezTo>
                    <a:cubicBezTo>
                      <a:pt x="14" y="31"/>
                      <a:pt x="15" y="33"/>
                      <a:pt x="14" y="34"/>
                    </a:cubicBezTo>
                    <a:cubicBezTo>
                      <a:pt x="14" y="34"/>
                      <a:pt x="15" y="34"/>
                      <a:pt x="15" y="35"/>
                    </a:cubicBezTo>
                    <a:cubicBezTo>
                      <a:pt x="15" y="35"/>
                      <a:pt x="15" y="36"/>
                      <a:pt x="15" y="36"/>
                    </a:cubicBezTo>
                    <a:cubicBezTo>
                      <a:pt x="15" y="37"/>
                      <a:pt x="15" y="37"/>
                      <a:pt x="15" y="37"/>
                    </a:cubicBezTo>
                    <a:cubicBezTo>
                      <a:pt x="16" y="37"/>
                      <a:pt x="16" y="38"/>
                      <a:pt x="17" y="38"/>
                    </a:cubicBezTo>
                    <a:cubicBezTo>
                      <a:pt x="18" y="39"/>
                      <a:pt x="18" y="39"/>
                      <a:pt x="18" y="39"/>
                    </a:cubicBezTo>
                    <a:cubicBezTo>
                      <a:pt x="17" y="42"/>
                      <a:pt x="17" y="42"/>
                      <a:pt x="17" y="42"/>
                    </a:cubicBezTo>
                    <a:cubicBezTo>
                      <a:pt x="18" y="43"/>
                      <a:pt x="18" y="43"/>
                      <a:pt x="18" y="43"/>
                    </a:cubicBezTo>
                    <a:cubicBezTo>
                      <a:pt x="21" y="46"/>
                      <a:pt x="21" y="46"/>
                      <a:pt x="21" y="46"/>
                    </a:cubicBezTo>
                    <a:cubicBezTo>
                      <a:pt x="23" y="49"/>
                      <a:pt x="23" y="49"/>
                      <a:pt x="23" y="49"/>
                    </a:cubicBezTo>
                    <a:cubicBezTo>
                      <a:pt x="24" y="49"/>
                      <a:pt x="24" y="49"/>
                      <a:pt x="24" y="49"/>
                    </a:cubicBezTo>
                    <a:cubicBezTo>
                      <a:pt x="25" y="51"/>
                      <a:pt x="25" y="51"/>
                      <a:pt x="25" y="51"/>
                    </a:cubicBezTo>
                    <a:cubicBezTo>
                      <a:pt x="27" y="52"/>
                      <a:pt x="27" y="52"/>
                      <a:pt x="27" y="52"/>
                    </a:cubicBezTo>
                    <a:cubicBezTo>
                      <a:pt x="29" y="55"/>
                      <a:pt x="29" y="55"/>
                      <a:pt x="29" y="55"/>
                    </a:cubicBezTo>
                    <a:cubicBezTo>
                      <a:pt x="31" y="56"/>
                      <a:pt x="31" y="56"/>
                      <a:pt x="31" y="56"/>
                    </a:cubicBezTo>
                    <a:cubicBezTo>
                      <a:pt x="31" y="58"/>
                      <a:pt x="31" y="58"/>
                      <a:pt x="31" y="58"/>
                    </a:cubicBezTo>
                    <a:cubicBezTo>
                      <a:pt x="34" y="58"/>
                      <a:pt x="34" y="58"/>
                      <a:pt x="34" y="58"/>
                    </a:cubicBezTo>
                    <a:cubicBezTo>
                      <a:pt x="34" y="60"/>
                      <a:pt x="34" y="60"/>
                      <a:pt x="34" y="60"/>
                    </a:cubicBezTo>
                    <a:cubicBezTo>
                      <a:pt x="35" y="60"/>
                      <a:pt x="35" y="60"/>
                      <a:pt x="35" y="60"/>
                    </a:cubicBezTo>
                    <a:cubicBezTo>
                      <a:pt x="37" y="62"/>
                      <a:pt x="37" y="62"/>
                      <a:pt x="37" y="62"/>
                    </a:cubicBezTo>
                    <a:cubicBezTo>
                      <a:pt x="41" y="63"/>
                      <a:pt x="41" y="63"/>
                      <a:pt x="41" y="63"/>
                    </a:cubicBezTo>
                    <a:cubicBezTo>
                      <a:pt x="42" y="64"/>
                      <a:pt x="42" y="64"/>
                      <a:pt x="42" y="64"/>
                    </a:cubicBezTo>
                    <a:cubicBezTo>
                      <a:pt x="44" y="67"/>
                      <a:pt x="44" y="67"/>
                      <a:pt x="44" y="67"/>
                    </a:cubicBezTo>
                    <a:cubicBezTo>
                      <a:pt x="45" y="67"/>
                      <a:pt x="45" y="67"/>
                      <a:pt x="45" y="67"/>
                    </a:cubicBezTo>
                    <a:cubicBezTo>
                      <a:pt x="47" y="69"/>
                      <a:pt x="47" y="69"/>
                      <a:pt x="47" y="69"/>
                    </a:cubicBezTo>
                    <a:cubicBezTo>
                      <a:pt x="47" y="69"/>
                      <a:pt x="47" y="70"/>
                      <a:pt x="48" y="70"/>
                    </a:cubicBezTo>
                    <a:cubicBezTo>
                      <a:pt x="48" y="71"/>
                      <a:pt x="50" y="71"/>
                      <a:pt x="52" y="72"/>
                    </a:cubicBezTo>
                    <a:cubicBezTo>
                      <a:pt x="53" y="72"/>
                      <a:pt x="53" y="72"/>
                      <a:pt x="53" y="72"/>
                    </a:cubicBezTo>
                    <a:cubicBezTo>
                      <a:pt x="53" y="73"/>
                      <a:pt x="53" y="73"/>
                      <a:pt x="53" y="73"/>
                    </a:cubicBezTo>
                    <a:cubicBezTo>
                      <a:pt x="54" y="76"/>
                      <a:pt x="54" y="76"/>
                      <a:pt x="54" y="76"/>
                    </a:cubicBezTo>
                    <a:cubicBezTo>
                      <a:pt x="55" y="78"/>
                      <a:pt x="55" y="78"/>
                      <a:pt x="55" y="78"/>
                    </a:cubicBezTo>
                    <a:cubicBezTo>
                      <a:pt x="55" y="78"/>
                      <a:pt x="55" y="78"/>
                      <a:pt x="55" y="78"/>
                    </a:cubicBezTo>
                    <a:cubicBezTo>
                      <a:pt x="63" y="84"/>
                      <a:pt x="63" y="84"/>
                      <a:pt x="63" y="84"/>
                    </a:cubicBezTo>
                    <a:cubicBezTo>
                      <a:pt x="64" y="86"/>
                      <a:pt x="64" y="86"/>
                      <a:pt x="64" y="86"/>
                    </a:cubicBezTo>
                    <a:cubicBezTo>
                      <a:pt x="68" y="87"/>
                      <a:pt x="68" y="87"/>
                      <a:pt x="68" y="87"/>
                    </a:cubicBezTo>
                    <a:cubicBezTo>
                      <a:pt x="67" y="89"/>
                      <a:pt x="67" y="89"/>
                      <a:pt x="67" y="89"/>
                    </a:cubicBezTo>
                    <a:cubicBezTo>
                      <a:pt x="67" y="89"/>
                      <a:pt x="67" y="89"/>
                      <a:pt x="67" y="90"/>
                    </a:cubicBezTo>
                    <a:cubicBezTo>
                      <a:pt x="67" y="90"/>
                      <a:pt x="67" y="90"/>
                      <a:pt x="67" y="90"/>
                    </a:cubicBezTo>
                    <a:cubicBezTo>
                      <a:pt x="68" y="90"/>
                      <a:pt x="68" y="90"/>
                      <a:pt x="68" y="90"/>
                    </a:cubicBezTo>
                    <a:cubicBezTo>
                      <a:pt x="71" y="90"/>
                      <a:pt x="71" y="90"/>
                      <a:pt x="71" y="90"/>
                    </a:cubicBezTo>
                    <a:cubicBezTo>
                      <a:pt x="71" y="92"/>
                      <a:pt x="71" y="92"/>
                      <a:pt x="71" y="92"/>
                    </a:cubicBezTo>
                    <a:cubicBezTo>
                      <a:pt x="71" y="92"/>
                      <a:pt x="71" y="93"/>
                      <a:pt x="71" y="94"/>
                    </a:cubicBezTo>
                    <a:cubicBezTo>
                      <a:pt x="73" y="94"/>
                      <a:pt x="73" y="94"/>
                      <a:pt x="73" y="94"/>
                    </a:cubicBezTo>
                    <a:cubicBezTo>
                      <a:pt x="78" y="97"/>
                      <a:pt x="78" y="97"/>
                      <a:pt x="78" y="97"/>
                    </a:cubicBezTo>
                    <a:cubicBezTo>
                      <a:pt x="79" y="99"/>
                      <a:pt x="79" y="99"/>
                      <a:pt x="79" y="99"/>
                    </a:cubicBezTo>
                    <a:cubicBezTo>
                      <a:pt x="80" y="100"/>
                      <a:pt x="80" y="100"/>
                      <a:pt x="80" y="100"/>
                    </a:cubicBezTo>
                    <a:cubicBezTo>
                      <a:pt x="84" y="102"/>
                      <a:pt x="84" y="102"/>
                      <a:pt x="84" y="102"/>
                    </a:cubicBezTo>
                    <a:cubicBezTo>
                      <a:pt x="89" y="104"/>
                      <a:pt x="89" y="104"/>
                      <a:pt x="89" y="104"/>
                    </a:cubicBezTo>
                    <a:cubicBezTo>
                      <a:pt x="90" y="105"/>
                      <a:pt x="92" y="106"/>
                      <a:pt x="92" y="106"/>
                    </a:cubicBezTo>
                    <a:cubicBezTo>
                      <a:pt x="93" y="106"/>
                      <a:pt x="93" y="107"/>
                      <a:pt x="94" y="108"/>
                    </a:cubicBezTo>
                    <a:cubicBezTo>
                      <a:pt x="94" y="108"/>
                      <a:pt x="94" y="108"/>
                      <a:pt x="94" y="108"/>
                    </a:cubicBezTo>
                    <a:cubicBezTo>
                      <a:pt x="97" y="108"/>
                      <a:pt x="97" y="108"/>
                      <a:pt x="97" y="108"/>
                    </a:cubicBezTo>
                    <a:cubicBezTo>
                      <a:pt x="97" y="109"/>
                      <a:pt x="97" y="109"/>
                      <a:pt x="97" y="109"/>
                    </a:cubicBezTo>
                    <a:cubicBezTo>
                      <a:pt x="98" y="107"/>
                      <a:pt x="98" y="107"/>
                      <a:pt x="98" y="107"/>
                    </a:cubicBezTo>
                    <a:cubicBezTo>
                      <a:pt x="99" y="108"/>
                      <a:pt x="99" y="108"/>
                      <a:pt x="99" y="108"/>
                    </a:cubicBezTo>
                    <a:cubicBezTo>
                      <a:pt x="99" y="106"/>
                      <a:pt x="99" y="106"/>
                      <a:pt x="99" y="106"/>
                    </a:cubicBezTo>
                    <a:cubicBezTo>
                      <a:pt x="100" y="105"/>
                      <a:pt x="100" y="105"/>
                      <a:pt x="100" y="105"/>
                    </a:cubicBezTo>
                    <a:cubicBezTo>
                      <a:pt x="100" y="103"/>
                      <a:pt x="100" y="103"/>
                      <a:pt x="100" y="103"/>
                    </a:cubicBezTo>
                    <a:cubicBezTo>
                      <a:pt x="100" y="102"/>
                      <a:pt x="100" y="102"/>
                      <a:pt x="100" y="102"/>
                    </a:cubicBezTo>
                    <a:cubicBezTo>
                      <a:pt x="100" y="101"/>
                      <a:pt x="100" y="101"/>
                      <a:pt x="100" y="101"/>
                    </a:cubicBezTo>
                    <a:cubicBezTo>
                      <a:pt x="99" y="101"/>
                      <a:pt x="99" y="101"/>
                      <a:pt x="99" y="101"/>
                    </a:cubicBezTo>
                    <a:cubicBezTo>
                      <a:pt x="98" y="101"/>
                      <a:pt x="98" y="101"/>
                      <a:pt x="98" y="101"/>
                    </a:cubicBezTo>
                    <a:cubicBezTo>
                      <a:pt x="96" y="97"/>
                      <a:pt x="96" y="97"/>
                      <a:pt x="96" y="97"/>
                    </a:cubicBezTo>
                    <a:cubicBezTo>
                      <a:pt x="96" y="96"/>
                      <a:pt x="96" y="96"/>
                      <a:pt x="96" y="96"/>
                    </a:cubicBezTo>
                    <a:cubicBezTo>
                      <a:pt x="97" y="95"/>
                      <a:pt x="97" y="95"/>
                      <a:pt x="97" y="95"/>
                    </a:cubicBezTo>
                    <a:cubicBezTo>
                      <a:pt x="95" y="93"/>
                      <a:pt x="95" y="93"/>
                      <a:pt x="95" y="93"/>
                    </a:cubicBezTo>
                    <a:cubicBezTo>
                      <a:pt x="94" y="92"/>
                      <a:pt x="94" y="92"/>
                      <a:pt x="94" y="92"/>
                    </a:cubicBezTo>
                    <a:cubicBezTo>
                      <a:pt x="94" y="89"/>
                      <a:pt x="94" y="89"/>
                      <a:pt x="94" y="89"/>
                    </a:cubicBezTo>
                    <a:cubicBezTo>
                      <a:pt x="97" y="88"/>
                      <a:pt x="97" y="88"/>
                      <a:pt x="97" y="88"/>
                    </a:cubicBezTo>
                    <a:cubicBezTo>
                      <a:pt x="101" y="88"/>
                      <a:pt x="101" y="88"/>
                      <a:pt x="101" y="88"/>
                    </a:cubicBezTo>
                    <a:cubicBezTo>
                      <a:pt x="100" y="85"/>
                      <a:pt x="100" y="85"/>
                      <a:pt x="100" y="85"/>
                    </a:cubicBezTo>
                    <a:cubicBezTo>
                      <a:pt x="99" y="84"/>
                      <a:pt x="99" y="84"/>
                      <a:pt x="99" y="84"/>
                    </a:cubicBezTo>
                    <a:cubicBezTo>
                      <a:pt x="100" y="81"/>
                      <a:pt x="100" y="81"/>
                      <a:pt x="100" y="81"/>
                    </a:cubicBezTo>
                    <a:cubicBezTo>
                      <a:pt x="101" y="79"/>
                      <a:pt x="101" y="79"/>
                      <a:pt x="101" y="79"/>
                    </a:cubicBezTo>
                    <a:cubicBezTo>
                      <a:pt x="100" y="78"/>
                      <a:pt x="100" y="78"/>
                      <a:pt x="100" y="78"/>
                    </a:cubicBezTo>
                    <a:cubicBezTo>
                      <a:pt x="104" y="74"/>
                      <a:pt x="104" y="74"/>
                      <a:pt x="104" y="74"/>
                    </a:cubicBezTo>
                    <a:cubicBezTo>
                      <a:pt x="104" y="73"/>
                      <a:pt x="104" y="73"/>
                      <a:pt x="104" y="73"/>
                    </a:cubicBezTo>
                    <a:cubicBezTo>
                      <a:pt x="106" y="72"/>
                      <a:pt x="106" y="72"/>
                      <a:pt x="106" y="72"/>
                    </a:cubicBezTo>
                    <a:cubicBezTo>
                      <a:pt x="107" y="73"/>
                      <a:pt x="107" y="73"/>
                      <a:pt x="107" y="73"/>
                    </a:cubicBezTo>
                    <a:cubicBezTo>
                      <a:pt x="108" y="74"/>
                      <a:pt x="108" y="74"/>
                      <a:pt x="108" y="74"/>
                    </a:cubicBezTo>
                    <a:cubicBezTo>
                      <a:pt x="109" y="75"/>
                      <a:pt x="109" y="75"/>
                      <a:pt x="109" y="75"/>
                    </a:cubicBezTo>
                    <a:cubicBezTo>
                      <a:pt x="110" y="76"/>
                      <a:pt x="110" y="76"/>
                      <a:pt x="110" y="76"/>
                    </a:cubicBezTo>
                    <a:cubicBezTo>
                      <a:pt x="111" y="74"/>
                      <a:pt x="111" y="74"/>
                      <a:pt x="111" y="74"/>
                    </a:cubicBezTo>
                    <a:cubicBezTo>
                      <a:pt x="112" y="73"/>
                      <a:pt x="112" y="73"/>
                      <a:pt x="112" y="73"/>
                    </a:cubicBezTo>
                    <a:cubicBezTo>
                      <a:pt x="111" y="72"/>
                      <a:pt x="111" y="72"/>
                      <a:pt x="111" y="72"/>
                    </a:cubicBezTo>
                    <a:cubicBezTo>
                      <a:pt x="110" y="71"/>
                      <a:pt x="110" y="71"/>
                      <a:pt x="110" y="71"/>
                    </a:cubicBezTo>
                    <a:cubicBezTo>
                      <a:pt x="110" y="70"/>
                      <a:pt x="110" y="70"/>
                      <a:pt x="110" y="70"/>
                    </a:cubicBezTo>
                    <a:cubicBezTo>
                      <a:pt x="109" y="69"/>
                      <a:pt x="109" y="69"/>
                      <a:pt x="109" y="69"/>
                    </a:cubicBezTo>
                    <a:cubicBezTo>
                      <a:pt x="109" y="69"/>
                      <a:pt x="108" y="68"/>
                      <a:pt x="108" y="68"/>
                    </a:cubicBezTo>
                    <a:cubicBezTo>
                      <a:pt x="108" y="68"/>
                      <a:pt x="107" y="68"/>
                      <a:pt x="107" y="68"/>
                    </a:cubicBezTo>
                    <a:cubicBezTo>
                      <a:pt x="107" y="67"/>
                      <a:pt x="107" y="67"/>
                      <a:pt x="107" y="67"/>
                    </a:cubicBezTo>
                    <a:cubicBezTo>
                      <a:pt x="107" y="67"/>
                      <a:pt x="106" y="67"/>
                      <a:pt x="106" y="67"/>
                    </a:cubicBezTo>
                    <a:cubicBezTo>
                      <a:pt x="106" y="67"/>
                      <a:pt x="106" y="66"/>
                      <a:pt x="106" y="66"/>
                    </a:cubicBezTo>
                    <a:cubicBezTo>
                      <a:pt x="107" y="65"/>
                      <a:pt x="107" y="65"/>
                      <a:pt x="107" y="65"/>
                    </a:cubicBezTo>
                    <a:cubicBezTo>
                      <a:pt x="108" y="64"/>
                      <a:pt x="108" y="64"/>
                      <a:pt x="108" y="64"/>
                    </a:cubicBezTo>
                    <a:cubicBezTo>
                      <a:pt x="109" y="64"/>
                      <a:pt x="109" y="64"/>
                      <a:pt x="109" y="64"/>
                    </a:cubicBezTo>
                    <a:cubicBezTo>
                      <a:pt x="110" y="65"/>
                      <a:pt x="110" y="65"/>
                      <a:pt x="110" y="65"/>
                    </a:cubicBezTo>
                    <a:cubicBezTo>
                      <a:pt x="110" y="65"/>
                      <a:pt x="110" y="65"/>
                      <a:pt x="110" y="65"/>
                    </a:cubicBezTo>
                    <a:cubicBezTo>
                      <a:pt x="110" y="65"/>
                      <a:pt x="111" y="64"/>
                      <a:pt x="111" y="64"/>
                    </a:cubicBezTo>
                    <a:cubicBezTo>
                      <a:pt x="111" y="64"/>
                      <a:pt x="113" y="63"/>
                      <a:pt x="113" y="63"/>
                    </a:cubicBezTo>
                    <a:cubicBezTo>
                      <a:pt x="114" y="63"/>
                      <a:pt x="114" y="63"/>
                      <a:pt x="114" y="63"/>
                    </a:cubicBezTo>
                    <a:cubicBezTo>
                      <a:pt x="115" y="63"/>
                      <a:pt x="116" y="62"/>
                      <a:pt x="116" y="62"/>
                    </a:cubicBezTo>
                    <a:cubicBezTo>
                      <a:pt x="118" y="60"/>
                      <a:pt x="118" y="60"/>
                      <a:pt x="118" y="60"/>
                    </a:cubicBezTo>
                    <a:cubicBezTo>
                      <a:pt x="118" y="60"/>
                      <a:pt x="118" y="60"/>
                      <a:pt x="119" y="60"/>
                    </a:cubicBezTo>
                    <a:cubicBezTo>
                      <a:pt x="120" y="61"/>
                      <a:pt x="121" y="61"/>
                      <a:pt x="122" y="61"/>
                    </a:cubicBezTo>
                    <a:cubicBezTo>
                      <a:pt x="123" y="61"/>
                      <a:pt x="123" y="62"/>
                      <a:pt x="123" y="60"/>
                    </a:cubicBezTo>
                    <a:cubicBezTo>
                      <a:pt x="124" y="57"/>
                      <a:pt x="123" y="56"/>
                      <a:pt x="123" y="56"/>
                    </a:cubicBezTo>
                    <a:cubicBezTo>
                      <a:pt x="120" y="53"/>
                      <a:pt x="120" y="53"/>
                      <a:pt x="120" y="53"/>
                    </a:cubicBezTo>
                    <a:cubicBezTo>
                      <a:pt x="120" y="53"/>
                      <a:pt x="120" y="52"/>
                      <a:pt x="119" y="51"/>
                    </a:cubicBezTo>
                    <a:cubicBezTo>
                      <a:pt x="118" y="50"/>
                      <a:pt x="117" y="49"/>
                      <a:pt x="117" y="49"/>
                    </a:cubicBezTo>
                    <a:cubicBezTo>
                      <a:pt x="117" y="49"/>
                      <a:pt x="114" y="47"/>
                      <a:pt x="114" y="47"/>
                    </a:cubicBezTo>
                    <a:cubicBezTo>
                      <a:pt x="114" y="47"/>
                      <a:pt x="113" y="46"/>
                      <a:pt x="113" y="46"/>
                    </a:cubicBezTo>
                    <a:cubicBezTo>
                      <a:pt x="113" y="45"/>
                      <a:pt x="113" y="44"/>
                      <a:pt x="113" y="44"/>
                    </a:cubicBezTo>
                    <a:cubicBezTo>
                      <a:pt x="114" y="44"/>
                      <a:pt x="114" y="43"/>
                      <a:pt x="114" y="44"/>
                    </a:cubicBezTo>
                    <a:close/>
                  </a:path>
                </a:pathLst>
              </a:custGeom>
              <a:solidFill>
                <a:srgbClr val="BFBFBF"/>
              </a:solid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706" name="Freeform 152"/>
              <p:cNvSpPr>
                <a:spLocks/>
              </p:cNvSpPr>
              <p:nvPr/>
            </p:nvSpPr>
            <p:spPr bwMode="auto">
              <a:xfrm>
                <a:off x="3258" y="2773"/>
                <a:ext cx="123" cy="138"/>
              </a:xfrm>
              <a:custGeom>
                <a:avLst/>
                <a:gdLst>
                  <a:gd name="T0" fmla="*/ 52 w 61"/>
                  <a:gd name="T1" fmla="*/ 16 h 69"/>
                  <a:gd name="T2" fmla="*/ 44 w 61"/>
                  <a:gd name="T3" fmla="*/ 13 h 69"/>
                  <a:gd name="T4" fmla="*/ 42 w 61"/>
                  <a:gd name="T5" fmla="*/ 12 h 69"/>
                  <a:gd name="T6" fmla="*/ 36 w 61"/>
                  <a:gd name="T7" fmla="*/ 10 h 69"/>
                  <a:gd name="T8" fmla="*/ 32 w 61"/>
                  <a:gd name="T9" fmla="*/ 10 h 69"/>
                  <a:gd name="T10" fmla="*/ 29 w 61"/>
                  <a:gd name="T11" fmla="*/ 8 h 69"/>
                  <a:gd name="T12" fmla="*/ 25 w 61"/>
                  <a:gd name="T13" fmla="*/ 5 h 69"/>
                  <a:gd name="T14" fmla="*/ 22 w 61"/>
                  <a:gd name="T15" fmla="*/ 3 h 69"/>
                  <a:gd name="T16" fmla="*/ 17 w 61"/>
                  <a:gd name="T17" fmla="*/ 0 h 69"/>
                  <a:gd name="T18" fmla="*/ 17 w 61"/>
                  <a:gd name="T19" fmla="*/ 0 h 69"/>
                  <a:gd name="T20" fmla="*/ 15 w 61"/>
                  <a:gd name="T21" fmla="*/ 1 h 69"/>
                  <a:gd name="T22" fmla="*/ 15 w 61"/>
                  <a:gd name="T23" fmla="*/ 4 h 69"/>
                  <a:gd name="T24" fmla="*/ 14 w 61"/>
                  <a:gd name="T25" fmla="*/ 12 h 69"/>
                  <a:gd name="T26" fmla="*/ 6 w 61"/>
                  <a:gd name="T27" fmla="*/ 12 h 69"/>
                  <a:gd name="T28" fmla="*/ 5 w 61"/>
                  <a:gd name="T29" fmla="*/ 17 h 69"/>
                  <a:gd name="T30" fmla="*/ 0 w 61"/>
                  <a:gd name="T31" fmla="*/ 25 h 69"/>
                  <a:gd name="T32" fmla="*/ 1 w 61"/>
                  <a:gd name="T33" fmla="*/ 31 h 69"/>
                  <a:gd name="T34" fmla="*/ 5 w 61"/>
                  <a:gd name="T35" fmla="*/ 36 h 69"/>
                  <a:gd name="T36" fmla="*/ 4 w 61"/>
                  <a:gd name="T37" fmla="*/ 41 h 69"/>
                  <a:gd name="T38" fmla="*/ 2 w 61"/>
                  <a:gd name="T39" fmla="*/ 44 h 69"/>
                  <a:gd name="T40" fmla="*/ 0 w 61"/>
                  <a:gd name="T41" fmla="*/ 45 h 69"/>
                  <a:gd name="T42" fmla="*/ 7 w 61"/>
                  <a:gd name="T43" fmla="*/ 47 h 69"/>
                  <a:gd name="T44" fmla="*/ 7 w 61"/>
                  <a:gd name="T45" fmla="*/ 44 h 69"/>
                  <a:gd name="T46" fmla="*/ 11 w 61"/>
                  <a:gd name="T47" fmla="*/ 44 h 69"/>
                  <a:gd name="T48" fmla="*/ 9 w 61"/>
                  <a:gd name="T49" fmla="*/ 46 h 69"/>
                  <a:gd name="T50" fmla="*/ 8 w 61"/>
                  <a:gd name="T51" fmla="*/ 49 h 69"/>
                  <a:gd name="T52" fmla="*/ 4 w 61"/>
                  <a:gd name="T53" fmla="*/ 48 h 69"/>
                  <a:gd name="T54" fmla="*/ 7 w 61"/>
                  <a:gd name="T55" fmla="*/ 49 h 69"/>
                  <a:gd name="T56" fmla="*/ 10 w 61"/>
                  <a:gd name="T57" fmla="*/ 51 h 69"/>
                  <a:gd name="T58" fmla="*/ 15 w 61"/>
                  <a:gd name="T59" fmla="*/ 52 h 69"/>
                  <a:gd name="T60" fmla="*/ 20 w 61"/>
                  <a:gd name="T61" fmla="*/ 57 h 69"/>
                  <a:gd name="T62" fmla="*/ 23 w 61"/>
                  <a:gd name="T63" fmla="*/ 59 h 69"/>
                  <a:gd name="T64" fmla="*/ 25 w 61"/>
                  <a:gd name="T65" fmla="*/ 61 h 69"/>
                  <a:gd name="T66" fmla="*/ 26 w 61"/>
                  <a:gd name="T67" fmla="*/ 64 h 69"/>
                  <a:gd name="T68" fmla="*/ 29 w 61"/>
                  <a:gd name="T69" fmla="*/ 66 h 69"/>
                  <a:gd name="T70" fmla="*/ 31 w 61"/>
                  <a:gd name="T71" fmla="*/ 67 h 69"/>
                  <a:gd name="T72" fmla="*/ 34 w 61"/>
                  <a:gd name="T73" fmla="*/ 68 h 69"/>
                  <a:gd name="T74" fmla="*/ 32 w 61"/>
                  <a:gd name="T75" fmla="*/ 65 h 69"/>
                  <a:gd name="T76" fmla="*/ 33 w 61"/>
                  <a:gd name="T77" fmla="*/ 62 h 69"/>
                  <a:gd name="T78" fmla="*/ 33 w 61"/>
                  <a:gd name="T79" fmla="*/ 58 h 69"/>
                  <a:gd name="T80" fmla="*/ 30 w 61"/>
                  <a:gd name="T81" fmla="*/ 55 h 69"/>
                  <a:gd name="T82" fmla="*/ 31 w 61"/>
                  <a:gd name="T83" fmla="*/ 51 h 69"/>
                  <a:gd name="T84" fmla="*/ 32 w 61"/>
                  <a:gd name="T85" fmla="*/ 47 h 69"/>
                  <a:gd name="T86" fmla="*/ 33 w 61"/>
                  <a:gd name="T87" fmla="*/ 44 h 69"/>
                  <a:gd name="T88" fmla="*/ 36 w 61"/>
                  <a:gd name="T89" fmla="*/ 40 h 69"/>
                  <a:gd name="T90" fmla="*/ 37 w 61"/>
                  <a:gd name="T91" fmla="*/ 36 h 69"/>
                  <a:gd name="T92" fmla="*/ 42 w 61"/>
                  <a:gd name="T93" fmla="*/ 33 h 69"/>
                  <a:gd name="T94" fmla="*/ 43 w 61"/>
                  <a:gd name="T95" fmla="*/ 36 h 69"/>
                  <a:gd name="T96" fmla="*/ 44 w 61"/>
                  <a:gd name="T97" fmla="*/ 39 h 69"/>
                  <a:gd name="T98" fmla="*/ 47 w 61"/>
                  <a:gd name="T99" fmla="*/ 40 h 69"/>
                  <a:gd name="T100" fmla="*/ 52 w 61"/>
                  <a:gd name="T101" fmla="*/ 36 h 69"/>
                  <a:gd name="T102" fmla="*/ 52 w 61"/>
                  <a:gd name="T103" fmla="*/ 31 h 69"/>
                  <a:gd name="T104" fmla="*/ 51 w 61"/>
                  <a:gd name="T105" fmla="*/ 30 h 69"/>
                  <a:gd name="T106" fmla="*/ 55 w 61"/>
                  <a:gd name="T107" fmla="*/ 24 h 69"/>
                  <a:gd name="T108" fmla="*/ 61 w 61"/>
                  <a:gd name="T109" fmla="*/ 2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1" h="69">
                    <a:moveTo>
                      <a:pt x="56" y="18"/>
                    </a:moveTo>
                    <a:cubicBezTo>
                      <a:pt x="56" y="18"/>
                      <a:pt x="56" y="18"/>
                      <a:pt x="55" y="17"/>
                    </a:cubicBezTo>
                    <a:cubicBezTo>
                      <a:pt x="54" y="17"/>
                      <a:pt x="52" y="16"/>
                      <a:pt x="52" y="16"/>
                    </a:cubicBezTo>
                    <a:cubicBezTo>
                      <a:pt x="50" y="16"/>
                      <a:pt x="50" y="16"/>
                      <a:pt x="50" y="16"/>
                    </a:cubicBezTo>
                    <a:cubicBezTo>
                      <a:pt x="50" y="16"/>
                      <a:pt x="47" y="14"/>
                      <a:pt x="47" y="14"/>
                    </a:cubicBezTo>
                    <a:cubicBezTo>
                      <a:pt x="47" y="14"/>
                      <a:pt x="44" y="13"/>
                      <a:pt x="44" y="13"/>
                    </a:cubicBezTo>
                    <a:cubicBezTo>
                      <a:pt x="44" y="11"/>
                      <a:pt x="44" y="11"/>
                      <a:pt x="44" y="11"/>
                    </a:cubicBezTo>
                    <a:cubicBezTo>
                      <a:pt x="44" y="11"/>
                      <a:pt x="43" y="11"/>
                      <a:pt x="43" y="11"/>
                    </a:cubicBezTo>
                    <a:cubicBezTo>
                      <a:pt x="43" y="11"/>
                      <a:pt x="42" y="12"/>
                      <a:pt x="42" y="12"/>
                    </a:cubicBezTo>
                    <a:cubicBezTo>
                      <a:pt x="39" y="13"/>
                      <a:pt x="39" y="13"/>
                      <a:pt x="39" y="13"/>
                    </a:cubicBezTo>
                    <a:cubicBezTo>
                      <a:pt x="39" y="13"/>
                      <a:pt x="38" y="13"/>
                      <a:pt x="38" y="12"/>
                    </a:cubicBezTo>
                    <a:cubicBezTo>
                      <a:pt x="37" y="12"/>
                      <a:pt x="36" y="10"/>
                      <a:pt x="36" y="10"/>
                    </a:cubicBezTo>
                    <a:cubicBezTo>
                      <a:pt x="36" y="10"/>
                      <a:pt x="36" y="10"/>
                      <a:pt x="35" y="10"/>
                    </a:cubicBezTo>
                    <a:cubicBezTo>
                      <a:pt x="35" y="11"/>
                      <a:pt x="36" y="11"/>
                      <a:pt x="34" y="11"/>
                    </a:cubicBezTo>
                    <a:cubicBezTo>
                      <a:pt x="32" y="10"/>
                      <a:pt x="32" y="10"/>
                      <a:pt x="32" y="10"/>
                    </a:cubicBezTo>
                    <a:cubicBezTo>
                      <a:pt x="30" y="9"/>
                      <a:pt x="30" y="9"/>
                      <a:pt x="30" y="9"/>
                    </a:cubicBezTo>
                    <a:cubicBezTo>
                      <a:pt x="30" y="8"/>
                      <a:pt x="30" y="8"/>
                      <a:pt x="30" y="8"/>
                    </a:cubicBezTo>
                    <a:cubicBezTo>
                      <a:pt x="29" y="8"/>
                      <a:pt x="29" y="8"/>
                      <a:pt x="29" y="8"/>
                    </a:cubicBezTo>
                    <a:cubicBezTo>
                      <a:pt x="29" y="8"/>
                      <a:pt x="28" y="7"/>
                      <a:pt x="28" y="7"/>
                    </a:cubicBezTo>
                    <a:cubicBezTo>
                      <a:pt x="28" y="7"/>
                      <a:pt x="28" y="5"/>
                      <a:pt x="28" y="5"/>
                    </a:cubicBezTo>
                    <a:cubicBezTo>
                      <a:pt x="28" y="5"/>
                      <a:pt x="25" y="5"/>
                      <a:pt x="25" y="5"/>
                    </a:cubicBezTo>
                    <a:cubicBezTo>
                      <a:pt x="24" y="3"/>
                      <a:pt x="24" y="3"/>
                      <a:pt x="24" y="3"/>
                    </a:cubicBezTo>
                    <a:cubicBezTo>
                      <a:pt x="24" y="3"/>
                      <a:pt x="24" y="3"/>
                      <a:pt x="24" y="3"/>
                    </a:cubicBezTo>
                    <a:cubicBezTo>
                      <a:pt x="23" y="3"/>
                      <a:pt x="22" y="3"/>
                      <a:pt x="22" y="3"/>
                    </a:cubicBezTo>
                    <a:cubicBezTo>
                      <a:pt x="21" y="1"/>
                      <a:pt x="21" y="1"/>
                      <a:pt x="21" y="1"/>
                    </a:cubicBezTo>
                    <a:cubicBezTo>
                      <a:pt x="19" y="1"/>
                      <a:pt x="19" y="1"/>
                      <a:pt x="19" y="1"/>
                    </a:cubicBezTo>
                    <a:cubicBezTo>
                      <a:pt x="17" y="0"/>
                      <a:pt x="17" y="0"/>
                      <a:pt x="17" y="0"/>
                    </a:cubicBezTo>
                    <a:cubicBezTo>
                      <a:pt x="17" y="0"/>
                      <a:pt x="17" y="0"/>
                      <a:pt x="17" y="0"/>
                    </a:cubicBezTo>
                    <a:cubicBezTo>
                      <a:pt x="17" y="0"/>
                      <a:pt x="17" y="0"/>
                      <a:pt x="17" y="0"/>
                    </a:cubicBezTo>
                    <a:cubicBezTo>
                      <a:pt x="17" y="0"/>
                      <a:pt x="17" y="0"/>
                      <a:pt x="17" y="0"/>
                    </a:cubicBezTo>
                    <a:cubicBezTo>
                      <a:pt x="16" y="0"/>
                      <a:pt x="16" y="0"/>
                      <a:pt x="16" y="0"/>
                    </a:cubicBezTo>
                    <a:cubicBezTo>
                      <a:pt x="16" y="0"/>
                      <a:pt x="16" y="0"/>
                      <a:pt x="16" y="0"/>
                    </a:cubicBezTo>
                    <a:cubicBezTo>
                      <a:pt x="16" y="0"/>
                      <a:pt x="15" y="0"/>
                      <a:pt x="15" y="1"/>
                    </a:cubicBezTo>
                    <a:cubicBezTo>
                      <a:pt x="14" y="1"/>
                      <a:pt x="14" y="1"/>
                      <a:pt x="14" y="1"/>
                    </a:cubicBezTo>
                    <a:cubicBezTo>
                      <a:pt x="15" y="3"/>
                      <a:pt x="15" y="3"/>
                      <a:pt x="15" y="3"/>
                    </a:cubicBezTo>
                    <a:cubicBezTo>
                      <a:pt x="15" y="4"/>
                      <a:pt x="15" y="4"/>
                      <a:pt x="15" y="4"/>
                    </a:cubicBezTo>
                    <a:cubicBezTo>
                      <a:pt x="16" y="4"/>
                      <a:pt x="16" y="4"/>
                      <a:pt x="16" y="4"/>
                    </a:cubicBezTo>
                    <a:cubicBezTo>
                      <a:pt x="17" y="8"/>
                      <a:pt x="17" y="8"/>
                      <a:pt x="17" y="8"/>
                    </a:cubicBezTo>
                    <a:cubicBezTo>
                      <a:pt x="14" y="12"/>
                      <a:pt x="14" y="12"/>
                      <a:pt x="14" y="12"/>
                    </a:cubicBezTo>
                    <a:cubicBezTo>
                      <a:pt x="10" y="12"/>
                      <a:pt x="10" y="12"/>
                      <a:pt x="10" y="12"/>
                    </a:cubicBezTo>
                    <a:cubicBezTo>
                      <a:pt x="9" y="10"/>
                      <a:pt x="9" y="10"/>
                      <a:pt x="9" y="10"/>
                    </a:cubicBezTo>
                    <a:cubicBezTo>
                      <a:pt x="6" y="12"/>
                      <a:pt x="6" y="12"/>
                      <a:pt x="6" y="12"/>
                    </a:cubicBezTo>
                    <a:cubicBezTo>
                      <a:pt x="7" y="13"/>
                      <a:pt x="7" y="13"/>
                      <a:pt x="7" y="13"/>
                    </a:cubicBezTo>
                    <a:cubicBezTo>
                      <a:pt x="5" y="16"/>
                      <a:pt x="5" y="16"/>
                      <a:pt x="5" y="16"/>
                    </a:cubicBezTo>
                    <a:cubicBezTo>
                      <a:pt x="5" y="17"/>
                      <a:pt x="5" y="17"/>
                      <a:pt x="5" y="17"/>
                    </a:cubicBezTo>
                    <a:cubicBezTo>
                      <a:pt x="5" y="19"/>
                      <a:pt x="5" y="19"/>
                      <a:pt x="5" y="19"/>
                    </a:cubicBezTo>
                    <a:cubicBezTo>
                      <a:pt x="6" y="23"/>
                      <a:pt x="6" y="23"/>
                      <a:pt x="6" y="23"/>
                    </a:cubicBezTo>
                    <a:cubicBezTo>
                      <a:pt x="0" y="25"/>
                      <a:pt x="0" y="25"/>
                      <a:pt x="0" y="25"/>
                    </a:cubicBezTo>
                    <a:cubicBezTo>
                      <a:pt x="0" y="25"/>
                      <a:pt x="0" y="25"/>
                      <a:pt x="0" y="25"/>
                    </a:cubicBezTo>
                    <a:cubicBezTo>
                      <a:pt x="2" y="29"/>
                      <a:pt x="2" y="29"/>
                      <a:pt x="2" y="29"/>
                    </a:cubicBezTo>
                    <a:cubicBezTo>
                      <a:pt x="1" y="31"/>
                      <a:pt x="1" y="31"/>
                      <a:pt x="1" y="31"/>
                    </a:cubicBezTo>
                    <a:cubicBezTo>
                      <a:pt x="3" y="33"/>
                      <a:pt x="3" y="33"/>
                      <a:pt x="3" y="33"/>
                    </a:cubicBezTo>
                    <a:cubicBezTo>
                      <a:pt x="5" y="33"/>
                      <a:pt x="5" y="33"/>
                      <a:pt x="5" y="33"/>
                    </a:cubicBezTo>
                    <a:cubicBezTo>
                      <a:pt x="5" y="36"/>
                      <a:pt x="5" y="36"/>
                      <a:pt x="5" y="36"/>
                    </a:cubicBezTo>
                    <a:cubicBezTo>
                      <a:pt x="6" y="37"/>
                      <a:pt x="6" y="37"/>
                      <a:pt x="6" y="37"/>
                    </a:cubicBezTo>
                    <a:cubicBezTo>
                      <a:pt x="5" y="40"/>
                      <a:pt x="5" y="40"/>
                      <a:pt x="5" y="40"/>
                    </a:cubicBezTo>
                    <a:cubicBezTo>
                      <a:pt x="4" y="41"/>
                      <a:pt x="4" y="41"/>
                      <a:pt x="4" y="41"/>
                    </a:cubicBezTo>
                    <a:cubicBezTo>
                      <a:pt x="5" y="44"/>
                      <a:pt x="5" y="44"/>
                      <a:pt x="5" y="44"/>
                    </a:cubicBezTo>
                    <a:cubicBezTo>
                      <a:pt x="2" y="44"/>
                      <a:pt x="2" y="44"/>
                      <a:pt x="2" y="44"/>
                    </a:cubicBezTo>
                    <a:cubicBezTo>
                      <a:pt x="2" y="44"/>
                      <a:pt x="2" y="44"/>
                      <a:pt x="2" y="44"/>
                    </a:cubicBezTo>
                    <a:cubicBezTo>
                      <a:pt x="1" y="45"/>
                      <a:pt x="1" y="45"/>
                      <a:pt x="1" y="45"/>
                    </a:cubicBezTo>
                    <a:cubicBezTo>
                      <a:pt x="1" y="45"/>
                      <a:pt x="1" y="45"/>
                      <a:pt x="1" y="45"/>
                    </a:cubicBezTo>
                    <a:cubicBezTo>
                      <a:pt x="0" y="45"/>
                      <a:pt x="0" y="45"/>
                      <a:pt x="0" y="45"/>
                    </a:cubicBezTo>
                    <a:cubicBezTo>
                      <a:pt x="1" y="46"/>
                      <a:pt x="1" y="46"/>
                      <a:pt x="1" y="46"/>
                    </a:cubicBezTo>
                    <a:cubicBezTo>
                      <a:pt x="5" y="47"/>
                      <a:pt x="5" y="47"/>
                      <a:pt x="5" y="47"/>
                    </a:cubicBezTo>
                    <a:cubicBezTo>
                      <a:pt x="7" y="47"/>
                      <a:pt x="7" y="47"/>
                      <a:pt x="7" y="47"/>
                    </a:cubicBezTo>
                    <a:cubicBezTo>
                      <a:pt x="7" y="46"/>
                      <a:pt x="7" y="46"/>
                      <a:pt x="7" y="46"/>
                    </a:cubicBezTo>
                    <a:cubicBezTo>
                      <a:pt x="7" y="45"/>
                      <a:pt x="7" y="45"/>
                      <a:pt x="7" y="45"/>
                    </a:cubicBezTo>
                    <a:cubicBezTo>
                      <a:pt x="7" y="45"/>
                      <a:pt x="7" y="44"/>
                      <a:pt x="7" y="44"/>
                    </a:cubicBezTo>
                    <a:cubicBezTo>
                      <a:pt x="7" y="43"/>
                      <a:pt x="8" y="43"/>
                      <a:pt x="8" y="43"/>
                    </a:cubicBezTo>
                    <a:cubicBezTo>
                      <a:pt x="8" y="44"/>
                      <a:pt x="8" y="44"/>
                      <a:pt x="8" y="44"/>
                    </a:cubicBezTo>
                    <a:cubicBezTo>
                      <a:pt x="11" y="44"/>
                      <a:pt x="11" y="44"/>
                      <a:pt x="11" y="44"/>
                    </a:cubicBezTo>
                    <a:cubicBezTo>
                      <a:pt x="10" y="46"/>
                      <a:pt x="10" y="46"/>
                      <a:pt x="10" y="46"/>
                    </a:cubicBezTo>
                    <a:cubicBezTo>
                      <a:pt x="10" y="46"/>
                      <a:pt x="10" y="46"/>
                      <a:pt x="10" y="46"/>
                    </a:cubicBezTo>
                    <a:cubicBezTo>
                      <a:pt x="9" y="46"/>
                      <a:pt x="9" y="46"/>
                      <a:pt x="9" y="46"/>
                    </a:cubicBezTo>
                    <a:cubicBezTo>
                      <a:pt x="9" y="46"/>
                      <a:pt x="9" y="46"/>
                      <a:pt x="9" y="46"/>
                    </a:cubicBezTo>
                    <a:cubicBezTo>
                      <a:pt x="9" y="47"/>
                      <a:pt x="9" y="49"/>
                      <a:pt x="9" y="49"/>
                    </a:cubicBezTo>
                    <a:cubicBezTo>
                      <a:pt x="9" y="49"/>
                      <a:pt x="9" y="49"/>
                      <a:pt x="8" y="49"/>
                    </a:cubicBezTo>
                    <a:cubicBezTo>
                      <a:pt x="8" y="48"/>
                      <a:pt x="7" y="48"/>
                      <a:pt x="7" y="48"/>
                    </a:cubicBezTo>
                    <a:cubicBezTo>
                      <a:pt x="5" y="47"/>
                      <a:pt x="5" y="47"/>
                      <a:pt x="5" y="47"/>
                    </a:cubicBezTo>
                    <a:cubicBezTo>
                      <a:pt x="4" y="48"/>
                      <a:pt x="4" y="48"/>
                      <a:pt x="4" y="48"/>
                    </a:cubicBezTo>
                    <a:cubicBezTo>
                      <a:pt x="4" y="48"/>
                      <a:pt x="4" y="49"/>
                      <a:pt x="4" y="49"/>
                    </a:cubicBezTo>
                    <a:cubicBezTo>
                      <a:pt x="5" y="49"/>
                      <a:pt x="5" y="50"/>
                      <a:pt x="6" y="50"/>
                    </a:cubicBezTo>
                    <a:cubicBezTo>
                      <a:pt x="6" y="50"/>
                      <a:pt x="7" y="49"/>
                      <a:pt x="7" y="49"/>
                    </a:cubicBezTo>
                    <a:cubicBezTo>
                      <a:pt x="7" y="49"/>
                      <a:pt x="8" y="49"/>
                      <a:pt x="8" y="50"/>
                    </a:cubicBezTo>
                    <a:cubicBezTo>
                      <a:pt x="8" y="50"/>
                      <a:pt x="9" y="50"/>
                      <a:pt x="9" y="50"/>
                    </a:cubicBezTo>
                    <a:cubicBezTo>
                      <a:pt x="10" y="51"/>
                      <a:pt x="10" y="51"/>
                      <a:pt x="10" y="51"/>
                    </a:cubicBezTo>
                    <a:cubicBezTo>
                      <a:pt x="11" y="52"/>
                      <a:pt x="11" y="52"/>
                      <a:pt x="11" y="52"/>
                    </a:cubicBezTo>
                    <a:cubicBezTo>
                      <a:pt x="14" y="52"/>
                      <a:pt x="14" y="52"/>
                      <a:pt x="14" y="52"/>
                    </a:cubicBezTo>
                    <a:cubicBezTo>
                      <a:pt x="15" y="52"/>
                      <a:pt x="15" y="52"/>
                      <a:pt x="15" y="52"/>
                    </a:cubicBezTo>
                    <a:cubicBezTo>
                      <a:pt x="17" y="55"/>
                      <a:pt x="17" y="55"/>
                      <a:pt x="17" y="55"/>
                    </a:cubicBezTo>
                    <a:cubicBezTo>
                      <a:pt x="17" y="55"/>
                      <a:pt x="19" y="56"/>
                      <a:pt x="19" y="56"/>
                    </a:cubicBezTo>
                    <a:cubicBezTo>
                      <a:pt x="19" y="56"/>
                      <a:pt x="20" y="57"/>
                      <a:pt x="20" y="57"/>
                    </a:cubicBezTo>
                    <a:cubicBezTo>
                      <a:pt x="21" y="57"/>
                      <a:pt x="21" y="57"/>
                      <a:pt x="21" y="57"/>
                    </a:cubicBezTo>
                    <a:cubicBezTo>
                      <a:pt x="22" y="58"/>
                      <a:pt x="22" y="58"/>
                      <a:pt x="22" y="58"/>
                    </a:cubicBezTo>
                    <a:cubicBezTo>
                      <a:pt x="22" y="58"/>
                      <a:pt x="23" y="58"/>
                      <a:pt x="23" y="59"/>
                    </a:cubicBezTo>
                    <a:cubicBezTo>
                      <a:pt x="23" y="59"/>
                      <a:pt x="22" y="59"/>
                      <a:pt x="22" y="59"/>
                    </a:cubicBezTo>
                    <a:cubicBezTo>
                      <a:pt x="23" y="61"/>
                      <a:pt x="23" y="61"/>
                      <a:pt x="23" y="61"/>
                    </a:cubicBezTo>
                    <a:cubicBezTo>
                      <a:pt x="25" y="61"/>
                      <a:pt x="25" y="61"/>
                      <a:pt x="25" y="61"/>
                    </a:cubicBezTo>
                    <a:cubicBezTo>
                      <a:pt x="25" y="61"/>
                      <a:pt x="25" y="61"/>
                      <a:pt x="25" y="61"/>
                    </a:cubicBezTo>
                    <a:cubicBezTo>
                      <a:pt x="25" y="62"/>
                      <a:pt x="25" y="63"/>
                      <a:pt x="25" y="63"/>
                    </a:cubicBezTo>
                    <a:cubicBezTo>
                      <a:pt x="26" y="64"/>
                      <a:pt x="26" y="64"/>
                      <a:pt x="26" y="64"/>
                    </a:cubicBezTo>
                    <a:cubicBezTo>
                      <a:pt x="26" y="64"/>
                      <a:pt x="26" y="64"/>
                      <a:pt x="27" y="65"/>
                    </a:cubicBezTo>
                    <a:cubicBezTo>
                      <a:pt x="27" y="65"/>
                      <a:pt x="26" y="65"/>
                      <a:pt x="27" y="65"/>
                    </a:cubicBezTo>
                    <a:cubicBezTo>
                      <a:pt x="27" y="66"/>
                      <a:pt x="29" y="66"/>
                      <a:pt x="29" y="66"/>
                    </a:cubicBezTo>
                    <a:cubicBezTo>
                      <a:pt x="30" y="66"/>
                      <a:pt x="30" y="66"/>
                      <a:pt x="30" y="66"/>
                    </a:cubicBezTo>
                    <a:cubicBezTo>
                      <a:pt x="31" y="67"/>
                      <a:pt x="31" y="67"/>
                      <a:pt x="31" y="67"/>
                    </a:cubicBezTo>
                    <a:cubicBezTo>
                      <a:pt x="31" y="67"/>
                      <a:pt x="31" y="67"/>
                      <a:pt x="31" y="67"/>
                    </a:cubicBezTo>
                    <a:cubicBezTo>
                      <a:pt x="31" y="67"/>
                      <a:pt x="35" y="69"/>
                      <a:pt x="35" y="69"/>
                    </a:cubicBezTo>
                    <a:cubicBezTo>
                      <a:pt x="35" y="69"/>
                      <a:pt x="35" y="68"/>
                      <a:pt x="34" y="68"/>
                    </a:cubicBezTo>
                    <a:cubicBezTo>
                      <a:pt x="34" y="68"/>
                      <a:pt x="34" y="68"/>
                      <a:pt x="34" y="68"/>
                    </a:cubicBezTo>
                    <a:cubicBezTo>
                      <a:pt x="34" y="68"/>
                      <a:pt x="33" y="68"/>
                      <a:pt x="33" y="67"/>
                    </a:cubicBezTo>
                    <a:cubicBezTo>
                      <a:pt x="33" y="67"/>
                      <a:pt x="33" y="66"/>
                      <a:pt x="33" y="66"/>
                    </a:cubicBezTo>
                    <a:cubicBezTo>
                      <a:pt x="33" y="66"/>
                      <a:pt x="32" y="65"/>
                      <a:pt x="32" y="65"/>
                    </a:cubicBezTo>
                    <a:cubicBezTo>
                      <a:pt x="33" y="64"/>
                      <a:pt x="33" y="64"/>
                      <a:pt x="33" y="64"/>
                    </a:cubicBezTo>
                    <a:cubicBezTo>
                      <a:pt x="33" y="64"/>
                      <a:pt x="33" y="63"/>
                      <a:pt x="33" y="63"/>
                    </a:cubicBezTo>
                    <a:cubicBezTo>
                      <a:pt x="33" y="62"/>
                      <a:pt x="33" y="62"/>
                      <a:pt x="33" y="62"/>
                    </a:cubicBezTo>
                    <a:cubicBezTo>
                      <a:pt x="33" y="62"/>
                      <a:pt x="32" y="60"/>
                      <a:pt x="32" y="60"/>
                    </a:cubicBezTo>
                    <a:cubicBezTo>
                      <a:pt x="33" y="59"/>
                      <a:pt x="33" y="59"/>
                      <a:pt x="33" y="59"/>
                    </a:cubicBezTo>
                    <a:cubicBezTo>
                      <a:pt x="33" y="59"/>
                      <a:pt x="33" y="58"/>
                      <a:pt x="33" y="58"/>
                    </a:cubicBezTo>
                    <a:cubicBezTo>
                      <a:pt x="33" y="58"/>
                      <a:pt x="33" y="57"/>
                      <a:pt x="33" y="57"/>
                    </a:cubicBezTo>
                    <a:cubicBezTo>
                      <a:pt x="32" y="56"/>
                      <a:pt x="32" y="56"/>
                      <a:pt x="32" y="56"/>
                    </a:cubicBezTo>
                    <a:cubicBezTo>
                      <a:pt x="30" y="55"/>
                      <a:pt x="30" y="55"/>
                      <a:pt x="30" y="55"/>
                    </a:cubicBezTo>
                    <a:cubicBezTo>
                      <a:pt x="29" y="54"/>
                      <a:pt x="29" y="54"/>
                      <a:pt x="29" y="54"/>
                    </a:cubicBezTo>
                    <a:cubicBezTo>
                      <a:pt x="29" y="53"/>
                      <a:pt x="29" y="53"/>
                      <a:pt x="29" y="53"/>
                    </a:cubicBezTo>
                    <a:cubicBezTo>
                      <a:pt x="31" y="51"/>
                      <a:pt x="31" y="51"/>
                      <a:pt x="31" y="51"/>
                    </a:cubicBezTo>
                    <a:cubicBezTo>
                      <a:pt x="31" y="49"/>
                      <a:pt x="31" y="49"/>
                      <a:pt x="31" y="49"/>
                    </a:cubicBezTo>
                    <a:cubicBezTo>
                      <a:pt x="31" y="49"/>
                      <a:pt x="32" y="49"/>
                      <a:pt x="32" y="48"/>
                    </a:cubicBezTo>
                    <a:cubicBezTo>
                      <a:pt x="32" y="48"/>
                      <a:pt x="32" y="47"/>
                      <a:pt x="32" y="47"/>
                    </a:cubicBezTo>
                    <a:cubicBezTo>
                      <a:pt x="32" y="45"/>
                      <a:pt x="32" y="45"/>
                      <a:pt x="32" y="45"/>
                    </a:cubicBezTo>
                    <a:cubicBezTo>
                      <a:pt x="33" y="45"/>
                      <a:pt x="33" y="45"/>
                      <a:pt x="33" y="45"/>
                    </a:cubicBezTo>
                    <a:cubicBezTo>
                      <a:pt x="33" y="44"/>
                      <a:pt x="33" y="44"/>
                      <a:pt x="33" y="44"/>
                    </a:cubicBezTo>
                    <a:cubicBezTo>
                      <a:pt x="33" y="44"/>
                      <a:pt x="34" y="43"/>
                      <a:pt x="34" y="43"/>
                    </a:cubicBezTo>
                    <a:cubicBezTo>
                      <a:pt x="35" y="43"/>
                      <a:pt x="35" y="42"/>
                      <a:pt x="35" y="42"/>
                    </a:cubicBezTo>
                    <a:cubicBezTo>
                      <a:pt x="36" y="40"/>
                      <a:pt x="36" y="40"/>
                      <a:pt x="36" y="40"/>
                    </a:cubicBezTo>
                    <a:cubicBezTo>
                      <a:pt x="37" y="38"/>
                      <a:pt x="37" y="38"/>
                      <a:pt x="37" y="38"/>
                    </a:cubicBezTo>
                    <a:cubicBezTo>
                      <a:pt x="38" y="37"/>
                      <a:pt x="38" y="37"/>
                      <a:pt x="38" y="37"/>
                    </a:cubicBezTo>
                    <a:cubicBezTo>
                      <a:pt x="37" y="36"/>
                      <a:pt x="37" y="36"/>
                      <a:pt x="37" y="36"/>
                    </a:cubicBezTo>
                    <a:cubicBezTo>
                      <a:pt x="37" y="36"/>
                      <a:pt x="40" y="33"/>
                      <a:pt x="40" y="33"/>
                    </a:cubicBezTo>
                    <a:cubicBezTo>
                      <a:pt x="40" y="33"/>
                      <a:pt x="41" y="33"/>
                      <a:pt x="41" y="33"/>
                    </a:cubicBezTo>
                    <a:cubicBezTo>
                      <a:pt x="42" y="33"/>
                      <a:pt x="42" y="33"/>
                      <a:pt x="42" y="33"/>
                    </a:cubicBezTo>
                    <a:cubicBezTo>
                      <a:pt x="43" y="35"/>
                      <a:pt x="43" y="35"/>
                      <a:pt x="43" y="35"/>
                    </a:cubicBezTo>
                    <a:cubicBezTo>
                      <a:pt x="43" y="35"/>
                      <a:pt x="43" y="35"/>
                      <a:pt x="43" y="35"/>
                    </a:cubicBezTo>
                    <a:cubicBezTo>
                      <a:pt x="43" y="35"/>
                      <a:pt x="43" y="36"/>
                      <a:pt x="43" y="36"/>
                    </a:cubicBezTo>
                    <a:cubicBezTo>
                      <a:pt x="43" y="37"/>
                      <a:pt x="43" y="37"/>
                      <a:pt x="43" y="37"/>
                    </a:cubicBezTo>
                    <a:cubicBezTo>
                      <a:pt x="43" y="37"/>
                      <a:pt x="43" y="38"/>
                      <a:pt x="43" y="39"/>
                    </a:cubicBezTo>
                    <a:cubicBezTo>
                      <a:pt x="44" y="39"/>
                      <a:pt x="44" y="39"/>
                      <a:pt x="44" y="39"/>
                    </a:cubicBezTo>
                    <a:cubicBezTo>
                      <a:pt x="44" y="39"/>
                      <a:pt x="44" y="40"/>
                      <a:pt x="45" y="40"/>
                    </a:cubicBezTo>
                    <a:cubicBezTo>
                      <a:pt x="45" y="40"/>
                      <a:pt x="45" y="40"/>
                      <a:pt x="45" y="40"/>
                    </a:cubicBezTo>
                    <a:cubicBezTo>
                      <a:pt x="47" y="40"/>
                      <a:pt x="47" y="40"/>
                      <a:pt x="47" y="40"/>
                    </a:cubicBezTo>
                    <a:cubicBezTo>
                      <a:pt x="48" y="38"/>
                      <a:pt x="48" y="38"/>
                      <a:pt x="48" y="38"/>
                    </a:cubicBezTo>
                    <a:cubicBezTo>
                      <a:pt x="48" y="38"/>
                      <a:pt x="50" y="38"/>
                      <a:pt x="51" y="38"/>
                    </a:cubicBezTo>
                    <a:cubicBezTo>
                      <a:pt x="51" y="37"/>
                      <a:pt x="52" y="36"/>
                      <a:pt x="52" y="36"/>
                    </a:cubicBezTo>
                    <a:cubicBezTo>
                      <a:pt x="52" y="36"/>
                      <a:pt x="52" y="36"/>
                      <a:pt x="52" y="36"/>
                    </a:cubicBezTo>
                    <a:cubicBezTo>
                      <a:pt x="53" y="36"/>
                      <a:pt x="53" y="36"/>
                      <a:pt x="53" y="36"/>
                    </a:cubicBezTo>
                    <a:cubicBezTo>
                      <a:pt x="51" y="34"/>
                      <a:pt x="53" y="33"/>
                      <a:pt x="52" y="31"/>
                    </a:cubicBezTo>
                    <a:cubicBezTo>
                      <a:pt x="52" y="31"/>
                      <a:pt x="52" y="31"/>
                      <a:pt x="51" y="30"/>
                    </a:cubicBezTo>
                    <a:cubicBezTo>
                      <a:pt x="51" y="30"/>
                      <a:pt x="51" y="30"/>
                      <a:pt x="51" y="30"/>
                    </a:cubicBezTo>
                    <a:cubicBezTo>
                      <a:pt x="51" y="30"/>
                      <a:pt x="51" y="30"/>
                      <a:pt x="51" y="30"/>
                    </a:cubicBezTo>
                    <a:cubicBezTo>
                      <a:pt x="50" y="29"/>
                      <a:pt x="48" y="28"/>
                      <a:pt x="48" y="28"/>
                    </a:cubicBezTo>
                    <a:cubicBezTo>
                      <a:pt x="49" y="26"/>
                      <a:pt x="52" y="27"/>
                      <a:pt x="54" y="26"/>
                    </a:cubicBezTo>
                    <a:cubicBezTo>
                      <a:pt x="55" y="26"/>
                      <a:pt x="55" y="25"/>
                      <a:pt x="55" y="24"/>
                    </a:cubicBezTo>
                    <a:cubicBezTo>
                      <a:pt x="56" y="24"/>
                      <a:pt x="58" y="24"/>
                      <a:pt x="58" y="23"/>
                    </a:cubicBezTo>
                    <a:cubicBezTo>
                      <a:pt x="58" y="22"/>
                      <a:pt x="59" y="21"/>
                      <a:pt x="61" y="22"/>
                    </a:cubicBezTo>
                    <a:cubicBezTo>
                      <a:pt x="61" y="22"/>
                      <a:pt x="61" y="22"/>
                      <a:pt x="61" y="22"/>
                    </a:cubicBezTo>
                    <a:cubicBezTo>
                      <a:pt x="59" y="21"/>
                      <a:pt x="57" y="19"/>
                      <a:pt x="56" y="18"/>
                    </a:cubicBezTo>
                    <a:close/>
                  </a:path>
                </a:pathLst>
              </a:custGeom>
              <a:solidFill>
                <a:srgbClr val="BFBFBF"/>
              </a:solid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707" name="Freeform 153"/>
              <p:cNvSpPr>
                <a:spLocks/>
              </p:cNvSpPr>
              <p:nvPr/>
            </p:nvSpPr>
            <p:spPr bwMode="auto">
              <a:xfrm>
                <a:off x="3364" y="2779"/>
                <a:ext cx="105" cy="120"/>
              </a:xfrm>
              <a:custGeom>
                <a:avLst/>
                <a:gdLst>
                  <a:gd name="T0" fmla="*/ 47 w 52"/>
                  <a:gd name="T1" fmla="*/ 35 h 60"/>
                  <a:gd name="T2" fmla="*/ 48 w 52"/>
                  <a:gd name="T3" fmla="*/ 32 h 60"/>
                  <a:gd name="T4" fmla="*/ 50 w 52"/>
                  <a:gd name="T5" fmla="*/ 30 h 60"/>
                  <a:gd name="T6" fmla="*/ 50 w 52"/>
                  <a:gd name="T7" fmla="*/ 25 h 60"/>
                  <a:gd name="T8" fmla="*/ 51 w 52"/>
                  <a:gd name="T9" fmla="*/ 25 h 60"/>
                  <a:gd name="T10" fmla="*/ 52 w 52"/>
                  <a:gd name="T11" fmla="*/ 23 h 60"/>
                  <a:gd name="T12" fmla="*/ 51 w 52"/>
                  <a:gd name="T13" fmla="*/ 20 h 60"/>
                  <a:gd name="T14" fmla="*/ 47 w 52"/>
                  <a:gd name="T15" fmla="*/ 21 h 60"/>
                  <a:gd name="T16" fmla="*/ 46 w 52"/>
                  <a:gd name="T17" fmla="*/ 18 h 60"/>
                  <a:gd name="T18" fmla="*/ 41 w 52"/>
                  <a:gd name="T19" fmla="*/ 20 h 60"/>
                  <a:gd name="T20" fmla="*/ 33 w 52"/>
                  <a:gd name="T21" fmla="*/ 12 h 60"/>
                  <a:gd name="T22" fmla="*/ 32 w 52"/>
                  <a:gd name="T23" fmla="*/ 8 h 60"/>
                  <a:gd name="T24" fmla="*/ 31 w 52"/>
                  <a:gd name="T25" fmla="*/ 8 h 60"/>
                  <a:gd name="T26" fmla="*/ 25 w 52"/>
                  <a:gd name="T27" fmla="*/ 5 h 60"/>
                  <a:gd name="T28" fmla="*/ 19 w 52"/>
                  <a:gd name="T29" fmla="*/ 0 h 60"/>
                  <a:gd name="T30" fmla="*/ 15 w 52"/>
                  <a:gd name="T31" fmla="*/ 2 h 60"/>
                  <a:gd name="T32" fmla="*/ 15 w 52"/>
                  <a:gd name="T33" fmla="*/ 3 h 60"/>
                  <a:gd name="T34" fmla="*/ 17 w 52"/>
                  <a:gd name="T35" fmla="*/ 4 h 60"/>
                  <a:gd name="T36" fmla="*/ 12 w 52"/>
                  <a:gd name="T37" fmla="*/ 15 h 60"/>
                  <a:gd name="T38" fmla="*/ 13 w 52"/>
                  <a:gd name="T39" fmla="*/ 17 h 60"/>
                  <a:gd name="T40" fmla="*/ 12 w 52"/>
                  <a:gd name="T41" fmla="*/ 20 h 60"/>
                  <a:gd name="T42" fmla="*/ 7 w 52"/>
                  <a:gd name="T43" fmla="*/ 21 h 60"/>
                  <a:gd name="T44" fmla="*/ 4 w 52"/>
                  <a:gd name="T45" fmla="*/ 23 h 60"/>
                  <a:gd name="T46" fmla="*/ 0 w 52"/>
                  <a:gd name="T47" fmla="*/ 26 h 60"/>
                  <a:gd name="T48" fmla="*/ 1 w 52"/>
                  <a:gd name="T49" fmla="*/ 31 h 60"/>
                  <a:gd name="T50" fmla="*/ 2 w 52"/>
                  <a:gd name="T51" fmla="*/ 33 h 60"/>
                  <a:gd name="T52" fmla="*/ 1 w 52"/>
                  <a:gd name="T53" fmla="*/ 34 h 60"/>
                  <a:gd name="T54" fmla="*/ 5 w 52"/>
                  <a:gd name="T55" fmla="*/ 37 h 60"/>
                  <a:gd name="T56" fmla="*/ 7 w 52"/>
                  <a:gd name="T57" fmla="*/ 42 h 60"/>
                  <a:gd name="T58" fmla="*/ 10 w 52"/>
                  <a:gd name="T59" fmla="*/ 43 h 60"/>
                  <a:gd name="T60" fmla="*/ 11 w 52"/>
                  <a:gd name="T61" fmla="*/ 43 h 60"/>
                  <a:gd name="T62" fmla="*/ 15 w 52"/>
                  <a:gd name="T63" fmla="*/ 46 h 60"/>
                  <a:gd name="T64" fmla="*/ 18 w 52"/>
                  <a:gd name="T65" fmla="*/ 51 h 60"/>
                  <a:gd name="T66" fmla="*/ 19 w 52"/>
                  <a:gd name="T67" fmla="*/ 54 h 60"/>
                  <a:gd name="T68" fmla="*/ 20 w 52"/>
                  <a:gd name="T69" fmla="*/ 58 h 60"/>
                  <a:gd name="T70" fmla="*/ 25 w 52"/>
                  <a:gd name="T71" fmla="*/ 59 h 60"/>
                  <a:gd name="T72" fmla="*/ 27 w 52"/>
                  <a:gd name="T73" fmla="*/ 50 h 60"/>
                  <a:gd name="T74" fmla="*/ 36 w 52"/>
                  <a:gd name="T75" fmla="*/ 42 h 60"/>
                  <a:gd name="T76" fmla="*/ 49 w 52"/>
                  <a:gd name="T77" fmla="*/ 3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2" h="60">
                    <a:moveTo>
                      <a:pt x="48" y="36"/>
                    </a:moveTo>
                    <a:cubicBezTo>
                      <a:pt x="47" y="35"/>
                      <a:pt x="47" y="35"/>
                      <a:pt x="47" y="35"/>
                    </a:cubicBezTo>
                    <a:cubicBezTo>
                      <a:pt x="45" y="34"/>
                      <a:pt x="45" y="34"/>
                      <a:pt x="45" y="34"/>
                    </a:cubicBezTo>
                    <a:cubicBezTo>
                      <a:pt x="48" y="32"/>
                      <a:pt x="48" y="32"/>
                      <a:pt x="48" y="32"/>
                    </a:cubicBezTo>
                    <a:cubicBezTo>
                      <a:pt x="48" y="32"/>
                      <a:pt x="48" y="32"/>
                      <a:pt x="49" y="31"/>
                    </a:cubicBezTo>
                    <a:cubicBezTo>
                      <a:pt x="49" y="31"/>
                      <a:pt x="50" y="31"/>
                      <a:pt x="50" y="30"/>
                    </a:cubicBezTo>
                    <a:cubicBezTo>
                      <a:pt x="49" y="30"/>
                      <a:pt x="49" y="30"/>
                      <a:pt x="49" y="30"/>
                    </a:cubicBezTo>
                    <a:cubicBezTo>
                      <a:pt x="48" y="27"/>
                      <a:pt x="50" y="26"/>
                      <a:pt x="50" y="25"/>
                    </a:cubicBezTo>
                    <a:cubicBezTo>
                      <a:pt x="51" y="25"/>
                      <a:pt x="51" y="25"/>
                      <a:pt x="51" y="25"/>
                    </a:cubicBezTo>
                    <a:cubicBezTo>
                      <a:pt x="51" y="25"/>
                      <a:pt x="51" y="25"/>
                      <a:pt x="51" y="25"/>
                    </a:cubicBezTo>
                    <a:cubicBezTo>
                      <a:pt x="51" y="25"/>
                      <a:pt x="51" y="25"/>
                      <a:pt x="52" y="25"/>
                    </a:cubicBezTo>
                    <a:cubicBezTo>
                      <a:pt x="52" y="25"/>
                      <a:pt x="52" y="24"/>
                      <a:pt x="52" y="23"/>
                    </a:cubicBezTo>
                    <a:cubicBezTo>
                      <a:pt x="51" y="22"/>
                      <a:pt x="51" y="21"/>
                      <a:pt x="52" y="20"/>
                    </a:cubicBezTo>
                    <a:cubicBezTo>
                      <a:pt x="51" y="20"/>
                      <a:pt x="51" y="20"/>
                      <a:pt x="51" y="20"/>
                    </a:cubicBezTo>
                    <a:cubicBezTo>
                      <a:pt x="50" y="20"/>
                      <a:pt x="50" y="20"/>
                      <a:pt x="50" y="20"/>
                    </a:cubicBezTo>
                    <a:cubicBezTo>
                      <a:pt x="47" y="21"/>
                      <a:pt x="47" y="21"/>
                      <a:pt x="47" y="21"/>
                    </a:cubicBezTo>
                    <a:cubicBezTo>
                      <a:pt x="47" y="19"/>
                      <a:pt x="47" y="19"/>
                      <a:pt x="47" y="19"/>
                    </a:cubicBezTo>
                    <a:cubicBezTo>
                      <a:pt x="47" y="19"/>
                      <a:pt x="46" y="19"/>
                      <a:pt x="46" y="18"/>
                    </a:cubicBezTo>
                    <a:cubicBezTo>
                      <a:pt x="45" y="18"/>
                      <a:pt x="44" y="18"/>
                      <a:pt x="43" y="18"/>
                    </a:cubicBezTo>
                    <a:cubicBezTo>
                      <a:pt x="41" y="20"/>
                      <a:pt x="41" y="20"/>
                      <a:pt x="41" y="20"/>
                    </a:cubicBezTo>
                    <a:cubicBezTo>
                      <a:pt x="40" y="14"/>
                      <a:pt x="40" y="14"/>
                      <a:pt x="40" y="14"/>
                    </a:cubicBezTo>
                    <a:cubicBezTo>
                      <a:pt x="33" y="12"/>
                      <a:pt x="33" y="12"/>
                      <a:pt x="33" y="12"/>
                    </a:cubicBezTo>
                    <a:cubicBezTo>
                      <a:pt x="33" y="11"/>
                      <a:pt x="33" y="11"/>
                      <a:pt x="33" y="11"/>
                    </a:cubicBezTo>
                    <a:cubicBezTo>
                      <a:pt x="33" y="10"/>
                      <a:pt x="32" y="9"/>
                      <a:pt x="32" y="8"/>
                    </a:cubicBezTo>
                    <a:cubicBezTo>
                      <a:pt x="32" y="8"/>
                      <a:pt x="32" y="8"/>
                      <a:pt x="32" y="8"/>
                    </a:cubicBezTo>
                    <a:cubicBezTo>
                      <a:pt x="31" y="8"/>
                      <a:pt x="31" y="8"/>
                      <a:pt x="31" y="8"/>
                    </a:cubicBezTo>
                    <a:cubicBezTo>
                      <a:pt x="27" y="5"/>
                      <a:pt x="27" y="5"/>
                      <a:pt x="27" y="5"/>
                    </a:cubicBezTo>
                    <a:cubicBezTo>
                      <a:pt x="27" y="5"/>
                      <a:pt x="25" y="5"/>
                      <a:pt x="25" y="5"/>
                    </a:cubicBezTo>
                    <a:cubicBezTo>
                      <a:pt x="25" y="5"/>
                      <a:pt x="24" y="5"/>
                      <a:pt x="22" y="4"/>
                    </a:cubicBezTo>
                    <a:cubicBezTo>
                      <a:pt x="20" y="3"/>
                      <a:pt x="19" y="1"/>
                      <a:pt x="19" y="0"/>
                    </a:cubicBezTo>
                    <a:cubicBezTo>
                      <a:pt x="18" y="1"/>
                      <a:pt x="17" y="1"/>
                      <a:pt x="17" y="2"/>
                    </a:cubicBezTo>
                    <a:cubicBezTo>
                      <a:pt x="16" y="2"/>
                      <a:pt x="16" y="2"/>
                      <a:pt x="15" y="2"/>
                    </a:cubicBezTo>
                    <a:cubicBezTo>
                      <a:pt x="15" y="3"/>
                      <a:pt x="15" y="3"/>
                      <a:pt x="15" y="3"/>
                    </a:cubicBezTo>
                    <a:cubicBezTo>
                      <a:pt x="15" y="3"/>
                      <a:pt x="15" y="3"/>
                      <a:pt x="15" y="3"/>
                    </a:cubicBezTo>
                    <a:cubicBezTo>
                      <a:pt x="15" y="3"/>
                      <a:pt x="16" y="4"/>
                      <a:pt x="16" y="4"/>
                    </a:cubicBezTo>
                    <a:cubicBezTo>
                      <a:pt x="17" y="4"/>
                      <a:pt x="17" y="4"/>
                      <a:pt x="17" y="4"/>
                    </a:cubicBezTo>
                    <a:cubicBezTo>
                      <a:pt x="16" y="11"/>
                      <a:pt x="16" y="11"/>
                      <a:pt x="16" y="11"/>
                    </a:cubicBezTo>
                    <a:cubicBezTo>
                      <a:pt x="12" y="15"/>
                      <a:pt x="12" y="15"/>
                      <a:pt x="12" y="15"/>
                    </a:cubicBezTo>
                    <a:cubicBezTo>
                      <a:pt x="13" y="16"/>
                      <a:pt x="13" y="16"/>
                      <a:pt x="13" y="16"/>
                    </a:cubicBezTo>
                    <a:cubicBezTo>
                      <a:pt x="13" y="17"/>
                      <a:pt x="13" y="17"/>
                      <a:pt x="13" y="17"/>
                    </a:cubicBezTo>
                    <a:cubicBezTo>
                      <a:pt x="13" y="18"/>
                      <a:pt x="12" y="19"/>
                      <a:pt x="11" y="19"/>
                    </a:cubicBezTo>
                    <a:cubicBezTo>
                      <a:pt x="12" y="20"/>
                      <a:pt x="12" y="20"/>
                      <a:pt x="12" y="20"/>
                    </a:cubicBezTo>
                    <a:cubicBezTo>
                      <a:pt x="8" y="21"/>
                      <a:pt x="8" y="21"/>
                      <a:pt x="8" y="21"/>
                    </a:cubicBezTo>
                    <a:cubicBezTo>
                      <a:pt x="8" y="21"/>
                      <a:pt x="7" y="21"/>
                      <a:pt x="7" y="21"/>
                    </a:cubicBezTo>
                    <a:cubicBezTo>
                      <a:pt x="7" y="21"/>
                      <a:pt x="7" y="21"/>
                      <a:pt x="7" y="21"/>
                    </a:cubicBezTo>
                    <a:cubicBezTo>
                      <a:pt x="6" y="22"/>
                      <a:pt x="6" y="23"/>
                      <a:pt x="4" y="23"/>
                    </a:cubicBezTo>
                    <a:cubicBezTo>
                      <a:pt x="3" y="24"/>
                      <a:pt x="3" y="25"/>
                      <a:pt x="1" y="26"/>
                    </a:cubicBezTo>
                    <a:cubicBezTo>
                      <a:pt x="1" y="26"/>
                      <a:pt x="1" y="26"/>
                      <a:pt x="0" y="26"/>
                    </a:cubicBezTo>
                    <a:cubicBezTo>
                      <a:pt x="1" y="26"/>
                      <a:pt x="1" y="27"/>
                      <a:pt x="1" y="27"/>
                    </a:cubicBezTo>
                    <a:cubicBezTo>
                      <a:pt x="2" y="29"/>
                      <a:pt x="2" y="30"/>
                      <a:pt x="1" y="31"/>
                    </a:cubicBezTo>
                    <a:cubicBezTo>
                      <a:pt x="1" y="31"/>
                      <a:pt x="1" y="31"/>
                      <a:pt x="2" y="32"/>
                    </a:cubicBezTo>
                    <a:cubicBezTo>
                      <a:pt x="2" y="33"/>
                      <a:pt x="2" y="33"/>
                      <a:pt x="2" y="33"/>
                    </a:cubicBezTo>
                    <a:cubicBezTo>
                      <a:pt x="1" y="34"/>
                      <a:pt x="1" y="34"/>
                      <a:pt x="1" y="34"/>
                    </a:cubicBezTo>
                    <a:cubicBezTo>
                      <a:pt x="1" y="34"/>
                      <a:pt x="1" y="34"/>
                      <a:pt x="1" y="34"/>
                    </a:cubicBezTo>
                    <a:cubicBezTo>
                      <a:pt x="3" y="35"/>
                      <a:pt x="3" y="35"/>
                      <a:pt x="3" y="35"/>
                    </a:cubicBezTo>
                    <a:cubicBezTo>
                      <a:pt x="5" y="37"/>
                      <a:pt x="5" y="37"/>
                      <a:pt x="5" y="37"/>
                    </a:cubicBezTo>
                    <a:cubicBezTo>
                      <a:pt x="5" y="39"/>
                      <a:pt x="5" y="39"/>
                      <a:pt x="5" y="39"/>
                    </a:cubicBezTo>
                    <a:cubicBezTo>
                      <a:pt x="7" y="42"/>
                      <a:pt x="7" y="42"/>
                      <a:pt x="7" y="42"/>
                    </a:cubicBezTo>
                    <a:cubicBezTo>
                      <a:pt x="8" y="42"/>
                      <a:pt x="8" y="42"/>
                      <a:pt x="8" y="42"/>
                    </a:cubicBezTo>
                    <a:cubicBezTo>
                      <a:pt x="10" y="43"/>
                      <a:pt x="10" y="43"/>
                      <a:pt x="10" y="43"/>
                    </a:cubicBezTo>
                    <a:cubicBezTo>
                      <a:pt x="10" y="43"/>
                      <a:pt x="10" y="43"/>
                      <a:pt x="10" y="43"/>
                    </a:cubicBezTo>
                    <a:cubicBezTo>
                      <a:pt x="11" y="43"/>
                      <a:pt x="11" y="43"/>
                      <a:pt x="11" y="43"/>
                    </a:cubicBezTo>
                    <a:cubicBezTo>
                      <a:pt x="11" y="43"/>
                      <a:pt x="13" y="44"/>
                      <a:pt x="14" y="44"/>
                    </a:cubicBezTo>
                    <a:cubicBezTo>
                      <a:pt x="15" y="45"/>
                      <a:pt x="15" y="46"/>
                      <a:pt x="15" y="46"/>
                    </a:cubicBezTo>
                    <a:cubicBezTo>
                      <a:pt x="16" y="46"/>
                      <a:pt x="17" y="48"/>
                      <a:pt x="17" y="48"/>
                    </a:cubicBezTo>
                    <a:cubicBezTo>
                      <a:pt x="18" y="51"/>
                      <a:pt x="18" y="51"/>
                      <a:pt x="18" y="51"/>
                    </a:cubicBezTo>
                    <a:cubicBezTo>
                      <a:pt x="18" y="51"/>
                      <a:pt x="19" y="52"/>
                      <a:pt x="19" y="53"/>
                    </a:cubicBezTo>
                    <a:cubicBezTo>
                      <a:pt x="19" y="53"/>
                      <a:pt x="19" y="54"/>
                      <a:pt x="19" y="54"/>
                    </a:cubicBezTo>
                    <a:cubicBezTo>
                      <a:pt x="21" y="56"/>
                      <a:pt x="21" y="56"/>
                      <a:pt x="21" y="56"/>
                    </a:cubicBezTo>
                    <a:cubicBezTo>
                      <a:pt x="20" y="58"/>
                      <a:pt x="20" y="58"/>
                      <a:pt x="20" y="58"/>
                    </a:cubicBezTo>
                    <a:cubicBezTo>
                      <a:pt x="20" y="59"/>
                      <a:pt x="20" y="59"/>
                      <a:pt x="20" y="59"/>
                    </a:cubicBezTo>
                    <a:cubicBezTo>
                      <a:pt x="22" y="60"/>
                      <a:pt x="24" y="60"/>
                      <a:pt x="25" y="59"/>
                    </a:cubicBezTo>
                    <a:cubicBezTo>
                      <a:pt x="26" y="59"/>
                      <a:pt x="26" y="57"/>
                      <a:pt x="26" y="55"/>
                    </a:cubicBezTo>
                    <a:cubicBezTo>
                      <a:pt x="26" y="53"/>
                      <a:pt x="26" y="52"/>
                      <a:pt x="27" y="50"/>
                    </a:cubicBezTo>
                    <a:cubicBezTo>
                      <a:pt x="27" y="48"/>
                      <a:pt x="30" y="47"/>
                      <a:pt x="32" y="45"/>
                    </a:cubicBezTo>
                    <a:cubicBezTo>
                      <a:pt x="34" y="44"/>
                      <a:pt x="33" y="42"/>
                      <a:pt x="36" y="42"/>
                    </a:cubicBezTo>
                    <a:cubicBezTo>
                      <a:pt x="39" y="43"/>
                      <a:pt x="42" y="52"/>
                      <a:pt x="43" y="43"/>
                    </a:cubicBezTo>
                    <a:cubicBezTo>
                      <a:pt x="43" y="38"/>
                      <a:pt x="47" y="38"/>
                      <a:pt x="49" y="37"/>
                    </a:cubicBezTo>
                    <a:lnTo>
                      <a:pt x="48" y="36"/>
                    </a:lnTo>
                    <a:close/>
                  </a:path>
                </a:pathLst>
              </a:custGeom>
              <a:solidFill>
                <a:srgbClr val="BFBFBF"/>
              </a:solid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708" name="Rectangle 154"/>
              <p:cNvSpPr>
                <a:spLocks noChangeArrowheads="1"/>
              </p:cNvSpPr>
              <p:nvPr/>
            </p:nvSpPr>
            <p:spPr bwMode="auto">
              <a:xfrm>
                <a:off x="3557" y="2917"/>
                <a:ext cx="1" cy="1"/>
              </a:xfrm>
              <a:prstGeom prst="rect">
                <a:avLst/>
              </a:prstGeom>
              <a:grpFill/>
              <a:ln w="9525">
                <a:solidFill>
                  <a:schemeClr val="bg1">
                    <a:alpha val="25000"/>
                  </a:schemeClr>
                </a:solidFill>
                <a:miter lim="800000"/>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709" name="Freeform 155"/>
              <p:cNvSpPr>
                <a:spLocks/>
              </p:cNvSpPr>
              <p:nvPr/>
            </p:nvSpPr>
            <p:spPr bwMode="auto">
              <a:xfrm>
                <a:off x="3517" y="2692"/>
                <a:ext cx="2" cy="0"/>
              </a:xfrm>
              <a:custGeom>
                <a:avLst/>
                <a:gdLst>
                  <a:gd name="T0" fmla="*/ 0 w 1"/>
                  <a:gd name="T1" fmla="*/ 0 w 1"/>
                  <a:gd name="T2" fmla="*/ 1 w 1"/>
                  <a:gd name="T3" fmla="*/ 0 w 1"/>
                </a:gdLst>
                <a:ahLst/>
                <a:cxnLst>
                  <a:cxn ang="0">
                    <a:pos x="T0" y="0"/>
                  </a:cxn>
                  <a:cxn ang="0">
                    <a:pos x="T1" y="0"/>
                  </a:cxn>
                  <a:cxn ang="0">
                    <a:pos x="T2" y="0"/>
                  </a:cxn>
                  <a:cxn ang="0">
                    <a:pos x="T3" y="0"/>
                  </a:cxn>
                </a:cxnLst>
                <a:rect l="0" t="0" r="r" b="b"/>
                <a:pathLst>
                  <a:path w="1">
                    <a:moveTo>
                      <a:pt x="0" y="0"/>
                    </a:moveTo>
                    <a:cubicBezTo>
                      <a:pt x="0" y="0"/>
                      <a:pt x="0" y="0"/>
                      <a:pt x="0" y="0"/>
                    </a:cubicBezTo>
                    <a:cubicBezTo>
                      <a:pt x="0" y="0"/>
                      <a:pt x="1" y="0"/>
                      <a:pt x="1" y="0"/>
                    </a:cubicBezTo>
                    <a:cubicBezTo>
                      <a:pt x="1" y="0"/>
                      <a:pt x="1" y="0"/>
                      <a:pt x="0" y="0"/>
                    </a:cubicBezTo>
                    <a:close/>
                  </a:path>
                </a:pathLst>
              </a:custGeom>
              <a:grp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710" name="Freeform 156"/>
              <p:cNvSpPr>
                <a:spLocks/>
              </p:cNvSpPr>
              <p:nvPr/>
            </p:nvSpPr>
            <p:spPr bwMode="auto">
              <a:xfrm>
                <a:off x="3525" y="2841"/>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711" name="Freeform 157"/>
              <p:cNvSpPr>
                <a:spLocks/>
              </p:cNvSpPr>
              <p:nvPr/>
            </p:nvSpPr>
            <p:spPr bwMode="auto">
              <a:xfrm>
                <a:off x="3322" y="2845"/>
                <a:ext cx="131" cy="251"/>
              </a:xfrm>
              <a:custGeom>
                <a:avLst/>
                <a:gdLst>
                  <a:gd name="T0" fmla="*/ 61 w 65"/>
                  <a:gd name="T1" fmla="*/ 70 h 125"/>
                  <a:gd name="T2" fmla="*/ 56 w 65"/>
                  <a:gd name="T3" fmla="*/ 68 h 125"/>
                  <a:gd name="T4" fmla="*/ 51 w 65"/>
                  <a:gd name="T5" fmla="*/ 69 h 125"/>
                  <a:gd name="T6" fmla="*/ 51 w 65"/>
                  <a:gd name="T7" fmla="*/ 69 h 125"/>
                  <a:gd name="T8" fmla="*/ 51 w 65"/>
                  <a:gd name="T9" fmla="*/ 69 h 125"/>
                  <a:gd name="T10" fmla="*/ 49 w 65"/>
                  <a:gd name="T11" fmla="*/ 62 h 125"/>
                  <a:gd name="T12" fmla="*/ 45 w 65"/>
                  <a:gd name="T13" fmla="*/ 58 h 125"/>
                  <a:gd name="T14" fmla="*/ 41 w 65"/>
                  <a:gd name="T15" fmla="*/ 51 h 125"/>
                  <a:gd name="T16" fmla="*/ 39 w 65"/>
                  <a:gd name="T17" fmla="*/ 44 h 125"/>
                  <a:gd name="T18" fmla="*/ 42 w 65"/>
                  <a:gd name="T19" fmla="*/ 39 h 125"/>
                  <a:gd name="T20" fmla="*/ 40 w 65"/>
                  <a:gd name="T21" fmla="*/ 31 h 125"/>
                  <a:gd name="T22" fmla="*/ 40 w 65"/>
                  <a:gd name="T23" fmla="*/ 28 h 125"/>
                  <a:gd name="T24" fmla="*/ 38 w 65"/>
                  <a:gd name="T25" fmla="*/ 22 h 125"/>
                  <a:gd name="T26" fmla="*/ 35 w 65"/>
                  <a:gd name="T27" fmla="*/ 15 h 125"/>
                  <a:gd name="T28" fmla="*/ 29 w 65"/>
                  <a:gd name="T29" fmla="*/ 11 h 125"/>
                  <a:gd name="T30" fmla="*/ 21 w 65"/>
                  <a:gd name="T31" fmla="*/ 3 h 125"/>
                  <a:gd name="T32" fmla="*/ 14 w 65"/>
                  <a:gd name="T33" fmla="*/ 7 h 125"/>
                  <a:gd name="T34" fmla="*/ 9 w 65"/>
                  <a:gd name="T35" fmla="*/ 4 h 125"/>
                  <a:gd name="T36" fmla="*/ 8 w 65"/>
                  <a:gd name="T37" fmla="*/ 1 h 125"/>
                  <a:gd name="T38" fmla="*/ 6 w 65"/>
                  <a:gd name="T39" fmla="*/ 5 h 125"/>
                  <a:gd name="T40" fmla="*/ 3 w 65"/>
                  <a:gd name="T41" fmla="*/ 10 h 125"/>
                  <a:gd name="T42" fmla="*/ 2 w 65"/>
                  <a:gd name="T43" fmla="*/ 13 h 125"/>
                  <a:gd name="T44" fmla="*/ 3 w 65"/>
                  <a:gd name="T45" fmla="*/ 19 h 125"/>
                  <a:gd name="T46" fmla="*/ 3 w 65"/>
                  <a:gd name="T47" fmla="*/ 24 h 125"/>
                  <a:gd name="T48" fmla="*/ 3 w 65"/>
                  <a:gd name="T49" fmla="*/ 29 h 125"/>
                  <a:gd name="T50" fmla="*/ 5 w 65"/>
                  <a:gd name="T51" fmla="*/ 32 h 125"/>
                  <a:gd name="T52" fmla="*/ 9 w 65"/>
                  <a:gd name="T53" fmla="*/ 34 h 125"/>
                  <a:gd name="T54" fmla="*/ 9 w 65"/>
                  <a:gd name="T55" fmla="*/ 41 h 125"/>
                  <a:gd name="T56" fmla="*/ 6 w 65"/>
                  <a:gd name="T57" fmla="*/ 44 h 125"/>
                  <a:gd name="T58" fmla="*/ 8 w 65"/>
                  <a:gd name="T59" fmla="*/ 48 h 125"/>
                  <a:gd name="T60" fmla="*/ 5 w 65"/>
                  <a:gd name="T61" fmla="*/ 51 h 125"/>
                  <a:gd name="T62" fmla="*/ 7 w 65"/>
                  <a:gd name="T63" fmla="*/ 54 h 125"/>
                  <a:gd name="T64" fmla="*/ 8 w 65"/>
                  <a:gd name="T65" fmla="*/ 62 h 125"/>
                  <a:gd name="T66" fmla="*/ 7 w 65"/>
                  <a:gd name="T67" fmla="*/ 68 h 125"/>
                  <a:gd name="T68" fmla="*/ 7 w 65"/>
                  <a:gd name="T69" fmla="*/ 72 h 125"/>
                  <a:gd name="T70" fmla="*/ 7 w 65"/>
                  <a:gd name="T71" fmla="*/ 75 h 125"/>
                  <a:gd name="T72" fmla="*/ 7 w 65"/>
                  <a:gd name="T73" fmla="*/ 80 h 125"/>
                  <a:gd name="T74" fmla="*/ 8 w 65"/>
                  <a:gd name="T75" fmla="*/ 88 h 125"/>
                  <a:gd name="T76" fmla="*/ 11 w 65"/>
                  <a:gd name="T77" fmla="*/ 95 h 125"/>
                  <a:gd name="T78" fmla="*/ 11 w 65"/>
                  <a:gd name="T79" fmla="*/ 97 h 125"/>
                  <a:gd name="T80" fmla="*/ 6 w 65"/>
                  <a:gd name="T81" fmla="*/ 93 h 125"/>
                  <a:gd name="T82" fmla="*/ 9 w 65"/>
                  <a:gd name="T83" fmla="*/ 97 h 125"/>
                  <a:gd name="T84" fmla="*/ 19 w 65"/>
                  <a:gd name="T85" fmla="*/ 105 h 125"/>
                  <a:gd name="T86" fmla="*/ 24 w 65"/>
                  <a:gd name="T87" fmla="*/ 108 h 125"/>
                  <a:gd name="T88" fmla="*/ 30 w 65"/>
                  <a:gd name="T89" fmla="*/ 113 h 125"/>
                  <a:gd name="T90" fmla="*/ 33 w 65"/>
                  <a:gd name="T91" fmla="*/ 119 h 125"/>
                  <a:gd name="T92" fmla="*/ 34 w 65"/>
                  <a:gd name="T93" fmla="*/ 123 h 125"/>
                  <a:gd name="T94" fmla="*/ 41 w 65"/>
                  <a:gd name="T95" fmla="*/ 125 h 125"/>
                  <a:gd name="T96" fmla="*/ 44 w 65"/>
                  <a:gd name="T97" fmla="*/ 120 h 125"/>
                  <a:gd name="T98" fmla="*/ 48 w 65"/>
                  <a:gd name="T99" fmla="*/ 117 h 125"/>
                  <a:gd name="T100" fmla="*/ 43 w 65"/>
                  <a:gd name="T101" fmla="*/ 112 h 125"/>
                  <a:gd name="T102" fmla="*/ 45 w 65"/>
                  <a:gd name="T103" fmla="*/ 109 h 125"/>
                  <a:gd name="T104" fmla="*/ 53 w 65"/>
                  <a:gd name="T105" fmla="*/ 103 h 125"/>
                  <a:gd name="T106" fmla="*/ 65 w 65"/>
                  <a:gd name="T107" fmla="*/ 8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 h="125">
                    <a:moveTo>
                      <a:pt x="62" y="72"/>
                    </a:moveTo>
                    <a:cubicBezTo>
                      <a:pt x="62" y="70"/>
                      <a:pt x="62" y="70"/>
                      <a:pt x="62" y="70"/>
                    </a:cubicBezTo>
                    <a:cubicBezTo>
                      <a:pt x="62" y="70"/>
                      <a:pt x="62" y="70"/>
                      <a:pt x="61" y="70"/>
                    </a:cubicBezTo>
                    <a:cubicBezTo>
                      <a:pt x="61" y="70"/>
                      <a:pt x="61" y="70"/>
                      <a:pt x="61" y="70"/>
                    </a:cubicBezTo>
                    <a:cubicBezTo>
                      <a:pt x="60" y="69"/>
                      <a:pt x="60" y="69"/>
                      <a:pt x="60" y="69"/>
                    </a:cubicBezTo>
                    <a:cubicBezTo>
                      <a:pt x="58" y="68"/>
                      <a:pt x="58" y="68"/>
                      <a:pt x="58" y="68"/>
                    </a:cubicBezTo>
                    <a:cubicBezTo>
                      <a:pt x="58" y="68"/>
                      <a:pt x="58" y="68"/>
                      <a:pt x="57" y="68"/>
                    </a:cubicBezTo>
                    <a:cubicBezTo>
                      <a:pt x="57" y="68"/>
                      <a:pt x="56" y="67"/>
                      <a:pt x="56" y="68"/>
                    </a:cubicBezTo>
                    <a:cubicBezTo>
                      <a:pt x="56" y="68"/>
                      <a:pt x="56" y="68"/>
                      <a:pt x="56" y="68"/>
                    </a:cubicBezTo>
                    <a:cubicBezTo>
                      <a:pt x="55" y="67"/>
                      <a:pt x="54" y="67"/>
                      <a:pt x="54" y="68"/>
                    </a:cubicBezTo>
                    <a:cubicBezTo>
                      <a:pt x="53" y="68"/>
                      <a:pt x="52" y="69"/>
                      <a:pt x="52" y="69"/>
                    </a:cubicBezTo>
                    <a:cubicBezTo>
                      <a:pt x="52" y="69"/>
                      <a:pt x="52" y="69"/>
                      <a:pt x="51" y="69"/>
                    </a:cubicBezTo>
                    <a:cubicBezTo>
                      <a:pt x="51" y="69"/>
                      <a:pt x="51" y="69"/>
                      <a:pt x="51" y="69"/>
                    </a:cubicBezTo>
                    <a:cubicBezTo>
                      <a:pt x="51" y="69"/>
                      <a:pt x="51" y="69"/>
                      <a:pt x="51" y="69"/>
                    </a:cubicBezTo>
                    <a:cubicBezTo>
                      <a:pt x="51" y="69"/>
                      <a:pt x="51" y="69"/>
                      <a:pt x="51" y="69"/>
                    </a:cubicBezTo>
                    <a:cubicBezTo>
                      <a:pt x="51" y="69"/>
                      <a:pt x="51" y="69"/>
                      <a:pt x="51" y="69"/>
                    </a:cubicBezTo>
                    <a:cubicBezTo>
                      <a:pt x="51" y="69"/>
                      <a:pt x="51" y="69"/>
                      <a:pt x="51" y="69"/>
                    </a:cubicBezTo>
                    <a:cubicBezTo>
                      <a:pt x="51" y="69"/>
                      <a:pt x="51" y="69"/>
                      <a:pt x="51" y="69"/>
                    </a:cubicBezTo>
                    <a:cubicBezTo>
                      <a:pt x="51" y="69"/>
                      <a:pt x="51" y="69"/>
                      <a:pt x="51" y="69"/>
                    </a:cubicBezTo>
                    <a:cubicBezTo>
                      <a:pt x="51" y="69"/>
                      <a:pt x="51" y="69"/>
                      <a:pt x="51" y="69"/>
                    </a:cubicBezTo>
                    <a:cubicBezTo>
                      <a:pt x="51" y="69"/>
                      <a:pt x="51" y="69"/>
                      <a:pt x="51" y="69"/>
                    </a:cubicBezTo>
                    <a:cubicBezTo>
                      <a:pt x="51" y="68"/>
                      <a:pt x="51" y="67"/>
                      <a:pt x="51" y="66"/>
                    </a:cubicBezTo>
                    <a:cubicBezTo>
                      <a:pt x="51" y="66"/>
                      <a:pt x="50" y="64"/>
                      <a:pt x="50" y="63"/>
                    </a:cubicBezTo>
                    <a:cubicBezTo>
                      <a:pt x="49" y="63"/>
                      <a:pt x="49" y="62"/>
                      <a:pt x="49" y="62"/>
                    </a:cubicBezTo>
                    <a:cubicBezTo>
                      <a:pt x="49" y="62"/>
                      <a:pt x="48" y="62"/>
                      <a:pt x="47" y="62"/>
                    </a:cubicBezTo>
                    <a:cubicBezTo>
                      <a:pt x="47" y="62"/>
                      <a:pt x="46" y="62"/>
                      <a:pt x="46" y="62"/>
                    </a:cubicBezTo>
                    <a:cubicBezTo>
                      <a:pt x="46" y="62"/>
                      <a:pt x="45" y="60"/>
                      <a:pt x="46" y="60"/>
                    </a:cubicBezTo>
                    <a:cubicBezTo>
                      <a:pt x="46" y="60"/>
                      <a:pt x="45" y="58"/>
                      <a:pt x="45" y="58"/>
                    </a:cubicBezTo>
                    <a:cubicBezTo>
                      <a:pt x="44" y="58"/>
                      <a:pt x="43" y="55"/>
                      <a:pt x="43" y="55"/>
                    </a:cubicBezTo>
                    <a:cubicBezTo>
                      <a:pt x="43" y="55"/>
                      <a:pt x="42" y="56"/>
                      <a:pt x="42" y="55"/>
                    </a:cubicBezTo>
                    <a:cubicBezTo>
                      <a:pt x="42" y="54"/>
                      <a:pt x="42" y="53"/>
                      <a:pt x="42" y="53"/>
                    </a:cubicBezTo>
                    <a:cubicBezTo>
                      <a:pt x="41" y="51"/>
                      <a:pt x="41" y="51"/>
                      <a:pt x="41" y="51"/>
                    </a:cubicBezTo>
                    <a:cubicBezTo>
                      <a:pt x="41" y="51"/>
                      <a:pt x="42" y="50"/>
                      <a:pt x="42" y="50"/>
                    </a:cubicBezTo>
                    <a:cubicBezTo>
                      <a:pt x="42" y="50"/>
                      <a:pt x="43" y="49"/>
                      <a:pt x="43" y="48"/>
                    </a:cubicBezTo>
                    <a:cubicBezTo>
                      <a:pt x="43" y="48"/>
                      <a:pt x="41" y="46"/>
                      <a:pt x="41" y="46"/>
                    </a:cubicBezTo>
                    <a:cubicBezTo>
                      <a:pt x="41" y="46"/>
                      <a:pt x="39" y="45"/>
                      <a:pt x="39" y="44"/>
                    </a:cubicBezTo>
                    <a:cubicBezTo>
                      <a:pt x="38" y="43"/>
                      <a:pt x="38" y="42"/>
                      <a:pt x="38" y="42"/>
                    </a:cubicBezTo>
                    <a:cubicBezTo>
                      <a:pt x="38" y="42"/>
                      <a:pt x="39" y="42"/>
                      <a:pt x="40" y="42"/>
                    </a:cubicBezTo>
                    <a:cubicBezTo>
                      <a:pt x="40" y="41"/>
                      <a:pt x="41" y="41"/>
                      <a:pt x="41" y="40"/>
                    </a:cubicBezTo>
                    <a:cubicBezTo>
                      <a:pt x="41" y="40"/>
                      <a:pt x="42" y="40"/>
                      <a:pt x="42" y="39"/>
                    </a:cubicBezTo>
                    <a:cubicBezTo>
                      <a:pt x="41" y="39"/>
                      <a:pt x="40" y="38"/>
                      <a:pt x="40" y="38"/>
                    </a:cubicBezTo>
                    <a:cubicBezTo>
                      <a:pt x="41" y="35"/>
                      <a:pt x="41" y="35"/>
                      <a:pt x="41" y="35"/>
                    </a:cubicBezTo>
                    <a:cubicBezTo>
                      <a:pt x="41" y="34"/>
                      <a:pt x="41" y="34"/>
                      <a:pt x="41" y="34"/>
                    </a:cubicBezTo>
                    <a:cubicBezTo>
                      <a:pt x="40" y="31"/>
                      <a:pt x="40" y="31"/>
                      <a:pt x="40" y="31"/>
                    </a:cubicBezTo>
                    <a:cubicBezTo>
                      <a:pt x="41" y="30"/>
                      <a:pt x="41" y="30"/>
                      <a:pt x="41" y="30"/>
                    </a:cubicBezTo>
                    <a:cubicBezTo>
                      <a:pt x="41" y="30"/>
                      <a:pt x="41" y="29"/>
                      <a:pt x="41" y="29"/>
                    </a:cubicBezTo>
                    <a:cubicBezTo>
                      <a:pt x="41" y="29"/>
                      <a:pt x="41" y="29"/>
                      <a:pt x="41" y="28"/>
                    </a:cubicBezTo>
                    <a:cubicBezTo>
                      <a:pt x="41" y="28"/>
                      <a:pt x="40" y="28"/>
                      <a:pt x="40" y="28"/>
                    </a:cubicBezTo>
                    <a:cubicBezTo>
                      <a:pt x="39" y="28"/>
                      <a:pt x="39" y="28"/>
                      <a:pt x="39" y="28"/>
                    </a:cubicBezTo>
                    <a:cubicBezTo>
                      <a:pt x="39" y="25"/>
                      <a:pt x="39" y="25"/>
                      <a:pt x="39" y="25"/>
                    </a:cubicBezTo>
                    <a:cubicBezTo>
                      <a:pt x="40" y="23"/>
                      <a:pt x="40" y="23"/>
                      <a:pt x="40" y="23"/>
                    </a:cubicBezTo>
                    <a:cubicBezTo>
                      <a:pt x="38" y="22"/>
                      <a:pt x="38" y="22"/>
                      <a:pt x="38" y="22"/>
                    </a:cubicBezTo>
                    <a:cubicBezTo>
                      <a:pt x="38" y="21"/>
                      <a:pt x="38" y="21"/>
                      <a:pt x="38" y="21"/>
                    </a:cubicBezTo>
                    <a:cubicBezTo>
                      <a:pt x="37" y="20"/>
                      <a:pt x="37" y="19"/>
                      <a:pt x="37" y="18"/>
                    </a:cubicBezTo>
                    <a:cubicBezTo>
                      <a:pt x="36" y="17"/>
                      <a:pt x="36" y="17"/>
                      <a:pt x="36" y="17"/>
                    </a:cubicBezTo>
                    <a:cubicBezTo>
                      <a:pt x="36" y="16"/>
                      <a:pt x="35" y="15"/>
                      <a:pt x="35" y="15"/>
                    </a:cubicBezTo>
                    <a:cubicBezTo>
                      <a:pt x="34" y="14"/>
                      <a:pt x="34" y="14"/>
                      <a:pt x="34" y="13"/>
                    </a:cubicBezTo>
                    <a:cubicBezTo>
                      <a:pt x="33" y="13"/>
                      <a:pt x="32" y="13"/>
                      <a:pt x="32" y="12"/>
                    </a:cubicBezTo>
                    <a:cubicBezTo>
                      <a:pt x="30" y="12"/>
                      <a:pt x="30" y="12"/>
                      <a:pt x="30" y="12"/>
                    </a:cubicBezTo>
                    <a:cubicBezTo>
                      <a:pt x="29" y="11"/>
                      <a:pt x="29" y="11"/>
                      <a:pt x="29" y="11"/>
                    </a:cubicBezTo>
                    <a:cubicBezTo>
                      <a:pt x="27" y="12"/>
                      <a:pt x="27" y="12"/>
                      <a:pt x="27" y="12"/>
                    </a:cubicBezTo>
                    <a:cubicBezTo>
                      <a:pt x="24" y="7"/>
                      <a:pt x="24" y="7"/>
                      <a:pt x="24" y="7"/>
                    </a:cubicBezTo>
                    <a:cubicBezTo>
                      <a:pt x="24" y="5"/>
                      <a:pt x="24" y="5"/>
                      <a:pt x="24" y="5"/>
                    </a:cubicBezTo>
                    <a:cubicBezTo>
                      <a:pt x="21" y="3"/>
                      <a:pt x="21" y="3"/>
                      <a:pt x="21" y="3"/>
                    </a:cubicBezTo>
                    <a:cubicBezTo>
                      <a:pt x="20" y="3"/>
                      <a:pt x="20" y="3"/>
                      <a:pt x="20" y="4"/>
                    </a:cubicBezTo>
                    <a:cubicBezTo>
                      <a:pt x="19" y="4"/>
                      <a:pt x="19" y="4"/>
                      <a:pt x="17" y="4"/>
                    </a:cubicBezTo>
                    <a:cubicBezTo>
                      <a:pt x="16" y="6"/>
                      <a:pt x="16" y="6"/>
                      <a:pt x="16" y="6"/>
                    </a:cubicBezTo>
                    <a:cubicBezTo>
                      <a:pt x="14" y="7"/>
                      <a:pt x="14" y="7"/>
                      <a:pt x="14" y="7"/>
                    </a:cubicBezTo>
                    <a:cubicBezTo>
                      <a:pt x="13" y="7"/>
                      <a:pt x="13" y="7"/>
                      <a:pt x="13" y="7"/>
                    </a:cubicBezTo>
                    <a:cubicBezTo>
                      <a:pt x="13" y="7"/>
                      <a:pt x="12" y="7"/>
                      <a:pt x="11" y="6"/>
                    </a:cubicBezTo>
                    <a:cubicBezTo>
                      <a:pt x="11" y="6"/>
                      <a:pt x="11" y="6"/>
                      <a:pt x="10" y="5"/>
                    </a:cubicBezTo>
                    <a:cubicBezTo>
                      <a:pt x="9" y="4"/>
                      <a:pt x="9" y="4"/>
                      <a:pt x="9" y="4"/>
                    </a:cubicBezTo>
                    <a:cubicBezTo>
                      <a:pt x="9" y="4"/>
                      <a:pt x="9" y="3"/>
                      <a:pt x="9" y="3"/>
                    </a:cubicBezTo>
                    <a:cubicBezTo>
                      <a:pt x="8" y="3"/>
                      <a:pt x="8" y="3"/>
                      <a:pt x="8" y="3"/>
                    </a:cubicBezTo>
                    <a:cubicBezTo>
                      <a:pt x="8" y="2"/>
                      <a:pt x="8" y="2"/>
                      <a:pt x="8" y="2"/>
                    </a:cubicBezTo>
                    <a:cubicBezTo>
                      <a:pt x="8" y="1"/>
                      <a:pt x="8" y="1"/>
                      <a:pt x="8" y="1"/>
                    </a:cubicBezTo>
                    <a:cubicBezTo>
                      <a:pt x="8" y="1"/>
                      <a:pt x="8" y="0"/>
                      <a:pt x="8" y="0"/>
                    </a:cubicBezTo>
                    <a:cubicBezTo>
                      <a:pt x="8" y="0"/>
                      <a:pt x="8" y="0"/>
                      <a:pt x="8" y="0"/>
                    </a:cubicBezTo>
                    <a:cubicBezTo>
                      <a:pt x="8" y="1"/>
                      <a:pt x="8" y="1"/>
                      <a:pt x="8" y="1"/>
                    </a:cubicBezTo>
                    <a:cubicBezTo>
                      <a:pt x="6" y="5"/>
                      <a:pt x="6" y="5"/>
                      <a:pt x="6" y="5"/>
                    </a:cubicBezTo>
                    <a:cubicBezTo>
                      <a:pt x="5" y="7"/>
                      <a:pt x="5" y="7"/>
                      <a:pt x="5" y="7"/>
                    </a:cubicBezTo>
                    <a:cubicBezTo>
                      <a:pt x="5" y="8"/>
                      <a:pt x="4" y="8"/>
                      <a:pt x="4" y="8"/>
                    </a:cubicBezTo>
                    <a:cubicBezTo>
                      <a:pt x="4" y="9"/>
                      <a:pt x="3" y="10"/>
                      <a:pt x="3" y="10"/>
                    </a:cubicBezTo>
                    <a:cubicBezTo>
                      <a:pt x="3" y="10"/>
                      <a:pt x="3" y="10"/>
                      <a:pt x="3" y="10"/>
                    </a:cubicBezTo>
                    <a:cubicBezTo>
                      <a:pt x="2" y="10"/>
                      <a:pt x="2" y="10"/>
                      <a:pt x="2" y="10"/>
                    </a:cubicBezTo>
                    <a:cubicBezTo>
                      <a:pt x="3" y="11"/>
                      <a:pt x="3" y="11"/>
                      <a:pt x="3" y="11"/>
                    </a:cubicBezTo>
                    <a:cubicBezTo>
                      <a:pt x="3" y="12"/>
                      <a:pt x="3" y="12"/>
                      <a:pt x="3" y="12"/>
                    </a:cubicBezTo>
                    <a:cubicBezTo>
                      <a:pt x="3" y="12"/>
                      <a:pt x="2" y="13"/>
                      <a:pt x="2" y="13"/>
                    </a:cubicBezTo>
                    <a:cubicBezTo>
                      <a:pt x="2" y="13"/>
                      <a:pt x="2" y="13"/>
                      <a:pt x="1" y="14"/>
                    </a:cubicBezTo>
                    <a:cubicBezTo>
                      <a:pt x="1" y="16"/>
                      <a:pt x="1" y="16"/>
                      <a:pt x="1" y="16"/>
                    </a:cubicBezTo>
                    <a:cubicBezTo>
                      <a:pt x="0" y="18"/>
                      <a:pt x="0" y="18"/>
                      <a:pt x="0" y="18"/>
                    </a:cubicBezTo>
                    <a:cubicBezTo>
                      <a:pt x="3" y="19"/>
                      <a:pt x="3" y="19"/>
                      <a:pt x="3" y="19"/>
                    </a:cubicBezTo>
                    <a:cubicBezTo>
                      <a:pt x="3" y="19"/>
                      <a:pt x="3" y="19"/>
                      <a:pt x="3" y="19"/>
                    </a:cubicBezTo>
                    <a:cubicBezTo>
                      <a:pt x="4" y="20"/>
                      <a:pt x="4" y="22"/>
                      <a:pt x="4" y="22"/>
                    </a:cubicBezTo>
                    <a:cubicBezTo>
                      <a:pt x="4" y="23"/>
                      <a:pt x="3" y="23"/>
                      <a:pt x="3" y="24"/>
                    </a:cubicBezTo>
                    <a:cubicBezTo>
                      <a:pt x="3" y="24"/>
                      <a:pt x="3" y="24"/>
                      <a:pt x="3" y="24"/>
                    </a:cubicBezTo>
                    <a:cubicBezTo>
                      <a:pt x="3" y="25"/>
                      <a:pt x="3" y="25"/>
                      <a:pt x="3" y="25"/>
                    </a:cubicBezTo>
                    <a:cubicBezTo>
                      <a:pt x="3" y="25"/>
                      <a:pt x="4" y="26"/>
                      <a:pt x="3" y="27"/>
                    </a:cubicBezTo>
                    <a:cubicBezTo>
                      <a:pt x="3" y="27"/>
                      <a:pt x="3" y="29"/>
                      <a:pt x="3" y="29"/>
                    </a:cubicBezTo>
                    <a:cubicBezTo>
                      <a:pt x="3" y="29"/>
                      <a:pt x="3" y="29"/>
                      <a:pt x="3" y="29"/>
                    </a:cubicBezTo>
                    <a:cubicBezTo>
                      <a:pt x="3" y="29"/>
                      <a:pt x="3" y="29"/>
                      <a:pt x="3" y="30"/>
                    </a:cubicBezTo>
                    <a:cubicBezTo>
                      <a:pt x="3" y="30"/>
                      <a:pt x="3" y="30"/>
                      <a:pt x="3" y="30"/>
                    </a:cubicBezTo>
                    <a:cubicBezTo>
                      <a:pt x="4" y="31"/>
                      <a:pt x="4" y="31"/>
                      <a:pt x="4" y="31"/>
                    </a:cubicBezTo>
                    <a:cubicBezTo>
                      <a:pt x="5" y="32"/>
                      <a:pt x="5" y="32"/>
                      <a:pt x="5" y="32"/>
                    </a:cubicBezTo>
                    <a:cubicBezTo>
                      <a:pt x="5" y="32"/>
                      <a:pt x="5" y="32"/>
                      <a:pt x="5" y="32"/>
                    </a:cubicBezTo>
                    <a:cubicBezTo>
                      <a:pt x="7" y="32"/>
                      <a:pt x="7" y="32"/>
                      <a:pt x="7" y="32"/>
                    </a:cubicBezTo>
                    <a:cubicBezTo>
                      <a:pt x="8" y="33"/>
                      <a:pt x="8" y="33"/>
                      <a:pt x="8" y="33"/>
                    </a:cubicBezTo>
                    <a:cubicBezTo>
                      <a:pt x="9" y="34"/>
                      <a:pt x="9" y="34"/>
                      <a:pt x="9" y="34"/>
                    </a:cubicBezTo>
                    <a:cubicBezTo>
                      <a:pt x="9" y="36"/>
                      <a:pt x="9" y="36"/>
                      <a:pt x="9" y="36"/>
                    </a:cubicBezTo>
                    <a:cubicBezTo>
                      <a:pt x="9" y="38"/>
                      <a:pt x="9" y="38"/>
                      <a:pt x="9" y="38"/>
                    </a:cubicBezTo>
                    <a:cubicBezTo>
                      <a:pt x="8" y="40"/>
                      <a:pt x="8" y="40"/>
                      <a:pt x="8" y="40"/>
                    </a:cubicBezTo>
                    <a:cubicBezTo>
                      <a:pt x="9" y="41"/>
                      <a:pt x="9" y="41"/>
                      <a:pt x="9" y="41"/>
                    </a:cubicBezTo>
                    <a:cubicBezTo>
                      <a:pt x="10" y="41"/>
                      <a:pt x="10" y="41"/>
                      <a:pt x="10" y="41"/>
                    </a:cubicBezTo>
                    <a:cubicBezTo>
                      <a:pt x="10" y="41"/>
                      <a:pt x="10" y="43"/>
                      <a:pt x="9" y="43"/>
                    </a:cubicBezTo>
                    <a:cubicBezTo>
                      <a:pt x="9" y="43"/>
                      <a:pt x="8" y="43"/>
                      <a:pt x="7" y="44"/>
                    </a:cubicBezTo>
                    <a:cubicBezTo>
                      <a:pt x="6" y="44"/>
                      <a:pt x="6" y="44"/>
                      <a:pt x="6" y="44"/>
                    </a:cubicBezTo>
                    <a:cubicBezTo>
                      <a:pt x="6" y="45"/>
                      <a:pt x="6" y="45"/>
                      <a:pt x="6" y="45"/>
                    </a:cubicBezTo>
                    <a:cubicBezTo>
                      <a:pt x="7" y="46"/>
                      <a:pt x="7" y="46"/>
                      <a:pt x="7" y="46"/>
                    </a:cubicBezTo>
                    <a:cubicBezTo>
                      <a:pt x="7" y="46"/>
                      <a:pt x="8" y="45"/>
                      <a:pt x="8" y="46"/>
                    </a:cubicBezTo>
                    <a:cubicBezTo>
                      <a:pt x="8" y="46"/>
                      <a:pt x="8" y="48"/>
                      <a:pt x="8" y="48"/>
                    </a:cubicBezTo>
                    <a:cubicBezTo>
                      <a:pt x="8" y="48"/>
                      <a:pt x="8" y="49"/>
                      <a:pt x="8" y="49"/>
                    </a:cubicBezTo>
                    <a:cubicBezTo>
                      <a:pt x="7" y="49"/>
                      <a:pt x="6" y="50"/>
                      <a:pt x="6" y="50"/>
                    </a:cubicBezTo>
                    <a:cubicBezTo>
                      <a:pt x="6" y="51"/>
                      <a:pt x="6" y="51"/>
                      <a:pt x="6" y="51"/>
                    </a:cubicBezTo>
                    <a:cubicBezTo>
                      <a:pt x="5" y="51"/>
                      <a:pt x="5" y="51"/>
                      <a:pt x="5" y="51"/>
                    </a:cubicBezTo>
                    <a:cubicBezTo>
                      <a:pt x="4" y="52"/>
                      <a:pt x="4" y="52"/>
                      <a:pt x="4" y="52"/>
                    </a:cubicBezTo>
                    <a:cubicBezTo>
                      <a:pt x="5" y="54"/>
                      <a:pt x="5" y="54"/>
                      <a:pt x="5" y="54"/>
                    </a:cubicBezTo>
                    <a:cubicBezTo>
                      <a:pt x="6" y="54"/>
                      <a:pt x="6" y="54"/>
                      <a:pt x="6" y="54"/>
                    </a:cubicBezTo>
                    <a:cubicBezTo>
                      <a:pt x="6" y="54"/>
                      <a:pt x="6" y="54"/>
                      <a:pt x="7" y="54"/>
                    </a:cubicBezTo>
                    <a:cubicBezTo>
                      <a:pt x="7" y="54"/>
                      <a:pt x="9" y="56"/>
                      <a:pt x="9" y="56"/>
                    </a:cubicBezTo>
                    <a:cubicBezTo>
                      <a:pt x="9" y="57"/>
                      <a:pt x="9" y="57"/>
                      <a:pt x="9" y="57"/>
                    </a:cubicBezTo>
                    <a:cubicBezTo>
                      <a:pt x="9" y="57"/>
                      <a:pt x="8" y="58"/>
                      <a:pt x="8" y="58"/>
                    </a:cubicBezTo>
                    <a:cubicBezTo>
                      <a:pt x="8" y="59"/>
                      <a:pt x="8" y="62"/>
                      <a:pt x="8" y="62"/>
                    </a:cubicBezTo>
                    <a:cubicBezTo>
                      <a:pt x="7" y="63"/>
                      <a:pt x="7" y="63"/>
                      <a:pt x="7" y="63"/>
                    </a:cubicBezTo>
                    <a:cubicBezTo>
                      <a:pt x="7" y="63"/>
                      <a:pt x="8" y="66"/>
                      <a:pt x="8" y="66"/>
                    </a:cubicBezTo>
                    <a:cubicBezTo>
                      <a:pt x="8" y="67"/>
                      <a:pt x="8" y="67"/>
                      <a:pt x="8" y="67"/>
                    </a:cubicBezTo>
                    <a:cubicBezTo>
                      <a:pt x="7" y="68"/>
                      <a:pt x="7" y="68"/>
                      <a:pt x="7" y="68"/>
                    </a:cubicBezTo>
                    <a:cubicBezTo>
                      <a:pt x="10" y="69"/>
                      <a:pt x="10" y="69"/>
                      <a:pt x="10" y="69"/>
                    </a:cubicBezTo>
                    <a:cubicBezTo>
                      <a:pt x="10" y="70"/>
                      <a:pt x="10" y="70"/>
                      <a:pt x="10" y="70"/>
                    </a:cubicBezTo>
                    <a:cubicBezTo>
                      <a:pt x="8" y="71"/>
                      <a:pt x="8" y="71"/>
                      <a:pt x="8" y="71"/>
                    </a:cubicBezTo>
                    <a:cubicBezTo>
                      <a:pt x="8" y="71"/>
                      <a:pt x="7" y="71"/>
                      <a:pt x="7" y="72"/>
                    </a:cubicBezTo>
                    <a:cubicBezTo>
                      <a:pt x="7" y="72"/>
                      <a:pt x="7" y="73"/>
                      <a:pt x="7" y="73"/>
                    </a:cubicBezTo>
                    <a:cubicBezTo>
                      <a:pt x="9" y="73"/>
                      <a:pt x="9" y="73"/>
                      <a:pt x="9" y="73"/>
                    </a:cubicBezTo>
                    <a:cubicBezTo>
                      <a:pt x="8" y="74"/>
                      <a:pt x="8" y="74"/>
                      <a:pt x="8" y="74"/>
                    </a:cubicBezTo>
                    <a:cubicBezTo>
                      <a:pt x="7" y="75"/>
                      <a:pt x="7" y="75"/>
                      <a:pt x="7" y="75"/>
                    </a:cubicBezTo>
                    <a:cubicBezTo>
                      <a:pt x="7" y="75"/>
                      <a:pt x="7" y="76"/>
                      <a:pt x="7" y="76"/>
                    </a:cubicBezTo>
                    <a:cubicBezTo>
                      <a:pt x="7" y="76"/>
                      <a:pt x="7" y="77"/>
                      <a:pt x="7" y="77"/>
                    </a:cubicBezTo>
                    <a:cubicBezTo>
                      <a:pt x="7" y="77"/>
                      <a:pt x="6" y="78"/>
                      <a:pt x="6" y="78"/>
                    </a:cubicBezTo>
                    <a:cubicBezTo>
                      <a:pt x="7" y="80"/>
                      <a:pt x="7" y="80"/>
                      <a:pt x="7" y="80"/>
                    </a:cubicBezTo>
                    <a:cubicBezTo>
                      <a:pt x="6" y="83"/>
                      <a:pt x="6" y="83"/>
                      <a:pt x="6" y="83"/>
                    </a:cubicBezTo>
                    <a:cubicBezTo>
                      <a:pt x="5" y="84"/>
                      <a:pt x="5" y="84"/>
                      <a:pt x="5" y="84"/>
                    </a:cubicBezTo>
                    <a:cubicBezTo>
                      <a:pt x="7" y="86"/>
                      <a:pt x="7" y="86"/>
                      <a:pt x="7" y="86"/>
                    </a:cubicBezTo>
                    <a:cubicBezTo>
                      <a:pt x="8" y="88"/>
                      <a:pt x="8" y="88"/>
                      <a:pt x="8" y="88"/>
                    </a:cubicBezTo>
                    <a:cubicBezTo>
                      <a:pt x="10" y="90"/>
                      <a:pt x="10" y="90"/>
                      <a:pt x="10" y="90"/>
                    </a:cubicBezTo>
                    <a:cubicBezTo>
                      <a:pt x="11" y="91"/>
                      <a:pt x="11" y="91"/>
                      <a:pt x="11" y="91"/>
                    </a:cubicBezTo>
                    <a:cubicBezTo>
                      <a:pt x="12" y="92"/>
                      <a:pt x="12" y="92"/>
                      <a:pt x="12" y="92"/>
                    </a:cubicBezTo>
                    <a:cubicBezTo>
                      <a:pt x="11" y="95"/>
                      <a:pt x="11" y="95"/>
                      <a:pt x="11" y="95"/>
                    </a:cubicBezTo>
                    <a:cubicBezTo>
                      <a:pt x="12" y="96"/>
                      <a:pt x="12" y="96"/>
                      <a:pt x="12" y="96"/>
                    </a:cubicBezTo>
                    <a:cubicBezTo>
                      <a:pt x="12" y="97"/>
                      <a:pt x="12" y="97"/>
                      <a:pt x="12" y="97"/>
                    </a:cubicBezTo>
                    <a:cubicBezTo>
                      <a:pt x="12" y="97"/>
                      <a:pt x="12" y="97"/>
                      <a:pt x="12" y="98"/>
                    </a:cubicBezTo>
                    <a:cubicBezTo>
                      <a:pt x="11" y="98"/>
                      <a:pt x="11" y="98"/>
                      <a:pt x="11" y="97"/>
                    </a:cubicBezTo>
                    <a:cubicBezTo>
                      <a:pt x="10" y="97"/>
                      <a:pt x="9" y="96"/>
                      <a:pt x="9" y="95"/>
                    </a:cubicBezTo>
                    <a:cubicBezTo>
                      <a:pt x="9" y="95"/>
                      <a:pt x="8" y="94"/>
                      <a:pt x="8" y="94"/>
                    </a:cubicBezTo>
                    <a:cubicBezTo>
                      <a:pt x="8" y="94"/>
                      <a:pt x="7" y="93"/>
                      <a:pt x="7" y="93"/>
                    </a:cubicBezTo>
                    <a:cubicBezTo>
                      <a:pt x="6" y="93"/>
                      <a:pt x="6" y="93"/>
                      <a:pt x="6" y="93"/>
                    </a:cubicBezTo>
                    <a:cubicBezTo>
                      <a:pt x="6" y="93"/>
                      <a:pt x="6" y="94"/>
                      <a:pt x="6" y="94"/>
                    </a:cubicBezTo>
                    <a:cubicBezTo>
                      <a:pt x="6" y="94"/>
                      <a:pt x="6" y="95"/>
                      <a:pt x="7" y="95"/>
                    </a:cubicBezTo>
                    <a:cubicBezTo>
                      <a:pt x="7" y="96"/>
                      <a:pt x="8" y="96"/>
                      <a:pt x="8" y="96"/>
                    </a:cubicBezTo>
                    <a:cubicBezTo>
                      <a:pt x="8" y="97"/>
                      <a:pt x="9" y="97"/>
                      <a:pt x="9" y="97"/>
                    </a:cubicBezTo>
                    <a:cubicBezTo>
                      <a:pt x="9" y="98"/>
                      <a:pt x="9" y="100"/>
                      <a:pt x="9" y="100"/>
                    </a:cubicBezTo>
                    <a:cubicBezTo>
                      <a:pt x="11" y="101"/>
                      <a:pt x="11" y="101"/>
                      <a:pt x="11" y="101"/>
                    </a:cubicBezTo>
                    <a:cubicBezTo>
                      <a:pt x="12" y="102"/>
                      <a:pt x="12" y="102"/>
                      <a:pt x="12" y="102"/>
                    </a:cubicBezTo>
                    <a:cubicBezTo>
                      <a:pt x="19" y="105"/>
                      <a:pt x="19" y="105"/>
                      <a:pt x="19" y="105"/>
                    </a:cubicBezTo>
                    <a:cubicBezTo>
                      <a:pt x="21" y="106"/>
                      <a:pt x="21" y="106"/>
                      <a:pt x="21" y="106"/>
                    </a:cubicBezTo>
                    <a:cubicBezTo>
                      <a:pt x="22" y="106"/>
                      <a:pt x="22" y="106"/>
                      <a:pt x="22" y="106"/>
                    </a:cubicBezTo>
                    <a:cubicBezTo>
                      <a:pt x="23" y="108"/>
                      <a:pt x="23" y="108"/>
                      <a:pt x="23" y="108"/>
                    </a:cubicBezTo>
                    <a:cubicBezTo>
                      <a:pt x="24" y="108"/>
                      <a:pt x="24" y="108"/>
                      <a:pt x="24" y="108"/>
                    </a:cubicBezTo>
                    <a:cubicBezTo>
                      <a:pt x="24" y="108"/>
                      <a:pt x="24" y="108"/>
                      <a:pt x="25" y="108"/>
                    </a:cubicBezTo>
                    <a:cubicBezTo>
                      <a:pt x="25" y="108"/>
                      <a:pt x="27" y="108"/>
                      <a:pt x="27" y="108"/>
                    </a:cubicBezTo>
                    <a:cubicBezTo>
                      <a:pt x="27" y="108"/>
                      <a:pt x="27" y="108"/>
                      <a:pt x="27" y="109"/>
                    </a:cubicBezTo>
                    <a:cubicBezTo>
                      <a:pt x="27" y="110"/>
                      <a:pt x="30" y="113"/>
                      <a:pt x="30" y="113"/>
                    </a:cubicBezTo>
                    <a:cubicBezTo>
                      <a:pt x="30" y="113"/>
                      <a:pt x="30" y="114"/>
                      <a:pt x="31" y="115"/>
                    </a:cubicBezTo>
                    <a:cubicBezTo>
                      <a:pt x="31" y="115"/>
                      <a:pt x="33" y="116"/>
                      <a:pt x="33" y="116"/>
                    </a:cubicBezTo>
                    <a:cubicBezTo>
                      <a:pt x="33" y="116"/>
                      <a:pt x="33" y="117"/>
                      <a:pt x="33" y="118"/>
                    </a:cubicBezTo>
                    <a:cubicBezTo>
                      <a:pt x="33" y="118"/>
                      <a:pt x="32" y="119"/>
                      <a:pt x="33" y="119"/>
                    </a:cubicBezTo>
                    <a:cubicBezTo>
                      <a:pt x="33" y="120"/>
                      <a:pt x="33" y="120"/>
                      <a:pt x="33" y="120"/>
                    </a:cubicBezTo>
                    <a:cubicBezTo>
                      <a:pt x="33" y="120"/>
                      <a:pt x="33" y="120"/>
                      <a:pt x="33" y="120"/>
                    </a:cubicBezTo>
                    <a:cubicBezTo>
                      <a:pt x="34" y="121"/>
                      <a:pt x="34" y="121"/>
                      <a:pt x="34" y="121"/>
                    </a:cubicBezTo>
                    <a:cubicBezTo>
                      <a:pt x="34" y="123"/>
                      <a:pt x="34" y="123"/>
                      <a:pt x="34" y="123"/>
                    </a:cubicBezTo>
                    <a:cubicBezTo>
                      <a:pt x="35" y="124"/>
                      <a:pt x="35" y="124"/>
                      <a:pt x="35" y="124"/>
                    </a:cubicBezTo>
                    <a:cubicBezTo>
                      <a:pt x="37" y="124"/>
                      <a:pt x="37" y="124"/>
                      <a:pt x="37" y="124"/>
                    </a:cubicBezTo>
                    <a:cubicBezTo>
                      <a:pt x="39" y="125"/>
                      <a:pt x="39" y="125"/>
                      <a:pt x="39" y="125"/>
                    </a:cubicBezTo>
                    <a:cubicBezTo>
                      <a:pt x="41" y="125"/>
                      <a:pt x="41" y="125"/>
                      <a:pt x="41" y="125"/>
                    </a:cubicBezTo>
                    <a:cubicBezTo>
                      <a:pt x="43" y="123"/>
                      <a:pt x="43" y="123"/>
                      <a:pt x="43" y="123"/>
                    </a:cubicBezTo>
                    <a:cubicBezTo>
                      <a:pt x="43" y="123"/>
                      <a:pt x="44" y="122"/>
                      <a:pt x="44" y="122"/>
                    </a:cubicBezTo>
                    <a:cubicBezTo>
                      <a:pt x="44" y="122"/>
                      <a:pt x="44" y="121"/>
                      <a:pt x="44" y="121"/>
                    </a:cubicBezTo>
                    <a:cubicBezTo>
                      <a:pt x="44" y="120"/>
                      <a:pt x="44" y="120"/>
                      <a:pt x="44" y="120"/>
                    </a:cubicBezTo>
                    <a:cubicBezTo>
                      <a:pt x="44" y="120"/>
                      <a:pt x="43" y="118"/>
                      <a:pt x="44" y="118"/>
                    </a:cubicBezTo>
                    <a:cubicBezTo>
                      <a:pt x="45" y="118"/>
                      <a:pt x="45" y="118"/>
                      <a:pt x="45" y="118"/>
                    </a:cubicBezTo>
                    <a:cubicBezTo>
                      <a:pt x="46" y="118"/>
                      <a:pt x="45" y="118"/>
                      <a:pt x="46" y="118"/>
                    </a:cubicBezTo>
                    <a:cubicBezTo>
                      <a:pt x="47" y="118"/>
                      <a:pt x="47" y="117"/>
                      <a:pt x="48" y="117"/>
                    </a:cubicBezTo>
                    <a:cubicBezTo>
                      <a:pt x="48" y="116"/>
                      <a:pt x="48" y="116"/>
                      <a:pt x="48" y="116"/>
                    </a:cubicBezTo>
                    <a:cubicBezTo>
                      <a:pt x="48" y="116"/>
                      <a:pt x="48" y="116"/>
                      <a:pt x="48" y="116"/>
                    </a:cubicBezTo>
                    <a:cubicBezTo>
                      <a:pt x="47" y="115"/>
                      <a:pt x="44" y="114"/>
                      <a:pt x="44" y="114"/>
                    </a:cubicBezTo>
                    <a:cubicBezTo>
                      <a:pt x="44" y="113"/>
                      <a:pt x="43" y="113"/>
                      <a:pt x="43" y="112"/>
                    </a:cubicBezTo>
                    <a:cubicBezTo>
                      <a:pt x="43" y="112"/>
                      <a:pt x="43" y="111"/>
                      <a:pt x="43" y="111"/>
                    </a:cubicBezTo>
                    <a:cubicBezTo>
                      <a:pt x="43" y="110"/>
                      <a:pt x="43" y="110"/>
                      <a:pt x="43" y="110"/>
                    </a:cubicBezTo>
                    <a:cubicBezTo>
                      <a:pt x="43" y="110"/>
                      <a:pt x="44" y="110"/>
                      <a:pt x="44" y="109"/>
                    </a:cubicBezTo>
                    <a:cubicBezTo>
                      <a:pt x="44" y="109"/>
                      <a:pt x="45" y="109"/>
                      <a:pt x="45" y="109"/>
                    </a:cubicBezTo>
                    <a:cubicBezTo>
                      <a:pt x="46" y="107"/>
                      <a:pt x="46" y="107"/>
                      <a:pt x="46" y="107"/>
                    </a:cubicBezTo>
                    <a:cubicBezTo>
                      <a:pt x="46" y="107"/>
                      <a:pt x="46" y="106"/>
                      <a:pt x="47" y="106"/>
                    </a:cubicBezTo>
                    <a:cubicBezTo>
                      <a:pt x="47" y="106"/>
                      <a:pt x="47" y="106"/>
                      <a:pt x="48" y="106"/>
                    </a:cubicBezTo>
                    <a:cubicBezTo>
                      <a:pt x="53" y="103"/>
                      <a:pt x="53" y="103"/>
                      <a:pt x="53" y="103"/>
                    </a:cubicBezTo>
                    <a:cubicBezTo>
                      <a:pt x="57" y="96"/>
                      <a:pt x="57" y="96"/>
                      <a:pt x="57" y="96"/>
                    </a:cubicBezTo>
                    <a:cubicBezTo>
                      <a:pt x="58" y="89"/>
                      <a:pt x="58" y="89"/>
                      <a:pt x="58" y="89"/>
                    </a:cubicBezTo>
                    <a:cubicBezTo>
                      <a:pt x="61" y="82"/>
                      <a:pt x="61" y="82"/>
                      <a:pt x="61" y="82"/>
                    </a:cubicBezTo>
                    <a:cubicBezTo>
                      <a:pt x="61" y="82"/>
                      <a:pt x="64" y="79"/>
                      <a:pt x="65" y="80"/>
                    </a:cubicBezTo>
                    <a:cubicBezTo>
                      <a:pt x="65" y="81"/>
                      <a:pt x="64" y="74"/>
                      <a:pt x="64" y="74"/>
                    </a:cubicBezTo>
                    <a:lnTo>
                      <a:pt x="62" y="72"/>
                    </a:lnTo>
                    <a:close/>
                  </a:path>
                </a:pathLst>
              </a:custGeom>
              <a:solidFill>
                <a:srgbClr val="BFBFBF"/>
              </a:solid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712" name="Freeform 158"/>
              <p:cNvSpPr>
                <a:spLocks/>
              </p:cNvSpPr>
              <p:nvPr/>
            </p:nvSpPr>
            <p:spPr bwMode="auto">
              <a:xfrm>
                <a:off x="3405" y="2839"/>
                <a:ext cx="166" cy="140"/>
              </a:xfrm>
              <a:custGeom>
                <a:avLst/>
                <a:gdLst>
                  <a:gd name="T0" fmla="*/ 83 w 83"/>
                  <a:gd name="T1" fmla="*/ 37 h 70"/>
                  <a:gd name="T2" fmla="*/ 81 w 83"/>
                  <a:gd name="T3" fmla="*/ 25 h 70"/>
                  <a:gd name="T4" fmla="*/ 79 w 83"/>
                  <a:gd name="T5" fmla="*/ 19 h 70"/>
                  <a:gd name="T6" fmla="*/ 74 w 83"/>
                  <a:gd name="T7" fmla="*/ 12 h 70"/>
                  <a:gd name="T8" fmla="*/ 67 w 83"/>
                  <a:gd name="T9" fmla="*/ 8 h 70"/>
                  <a:gd name="T10" fmla="*/ 59 w 83"/>
                  <a:gd name="T11" fmla="*/ 2 h 70"/>
                  <a:gd name="T12" fmla="*/ 57 w 83"/>
                  <a:gd name="T13" fmla="*/ 0 h 70"/>
                  <a:gd name="T14" fmla="*/ 54 w 83"/>
                  <a:gd name="T15" fmla="*/ 0 h 70"/>
                  <a:gd name="T16" fmla="*/ 52 w 83"/>
                  <a:gd name="T17" fmla="*/ 0 h 70"/>
                  <a:gd name="T18" fmla="*/ 49 w 83"/>
                  <a:gd name="T19" fmla="*/ 1 h 70"/>
                  <a:gd name="T20" fmla="*/ 47 w 83"/>
                  <a:gd name="T21" fmla="*/ 3 h 70"/>
                  <a:gd name="T22" fmla="*/ 43 w 83"/>
                  <a:gd name="T23" fmla="*/ 3 h 70"/>
                  <a:gd name="T24" fmla="*/ 40 w 83"/>
                  <a:gd name="T25" fmla="*/ 5 h 70"/>
                  <a:gd name="T26" fmla="*/ 36 w 83"/>
                  <a:gd name="T27" fmla="*/ 7 h 70"/>
                  <a:gd name="T28" fmla="*/ 36 w 83"/>
                  <a:gd name="T29" fmla="*/ 8 h 70"/>
                  <a:gd name="T30" fmla="*/ 34 w 83"/>
                  <a:gd name="T31" fmla="*/ 7 h 70"/>
                  <a:gd name="T32" fmla="*/ 34 w 83"/>
                  <a:gd name="T33" fmla="*/ 7 h 70"/>
                  <a:gd name="T34" fmla="*/ 34 w 83"/>
                  <a:gd name="T35" fmla="*/ 8 h 70"/>
                  <a:gd name="T36" fmla="*/ 33 w 83"/>
                  <a:gd name="T37" fmla="*/ 8 h 70"/>
                  <a:gd name="T38" fmla="*/ 31 w 83"/>
                  <a:gd name="T39" fmla="*/ 9 h 70"/>
                  <a:gd name="T40" fmla="*/ 25 w 83"/>
                  <a:gd name="T41" fmla="*/ 13 h 70"/>
                  <a:gd name="T42" fmla="*/ 18 w 83"/>
                  <a:gd name="T43" fmla="*/ 16 h 70"/>
                  <a:gd name="T44" fmla="*/ 15 w 83"/>
                  <a:gd name="T45" fmla="*/ 15 h 70"/>
                  <a:gd name="T46" fmla="*/ 15 w 83"/>
                  <a:gd name="T47" fmla="*/ 15 h 70"/>
                  <a:gd name="T48" fmla="*/ 11 w 83"/>
                  <a:gd name="T49" fmla="*/ 19 h 70"/>
                  <a:gd name="T50" fmla="*/ 8 w 83"/>
                  <a:gd name="T51" fmla="*/ 24 h 70"/>
                  <a:gd name="T52" fmla="*/ 3 w 83"/>
                  <a:gd name="T53" fmla="*/ 32 h 70"/>
                  <a:gd name="T54" fmla="*/ 2 w 83"/>
                  <a:gd name="T55" fmla="*/ 34 h 70"/>
                  <a:gd name="T56" fmla="*/ 2 w 83"/>
                  <a:gd name="T57" fmla="*/ 38 h 70"/>
                  <a:gd name="T58" fmla="*/ 2 w 83"/>
                  <a:gd name="T59" fmla="*/ 41 h 70"/>
                  <a:gd name="T60" fmla="*/ 1 w 83"/>
                  <a:gd name="T61" fmla="*/ 46 h 70"/>
                  <a:gd name="T62" fmla="*/ 1 w 83"/>
                  <a:gd name="T63" fmla="*/ 47 h 70"/>
                  <a:gd name="T64" fmla="*/ 4 w 83"/>
                  <a:gd name="T65" fmla="*/ 53 h 70"/>
                  <a:gd name="T66" fmla="*/ 3 w 83"/>
                  <a:gd name="T67" fmla="*/ 55 h 70"/>
                  <a:gd name="T68" fmla="*/ 4 w 83"/>
                  <a:gd name="T69" fmla="*/ 57 h 70"/>
                  <a:gd name="T70" fmla="*/ 7 w 83"/>
                  <a:gd name="T71" fmla="*/ 62 h 70"/>
                  <a:gd name="T72" fmla="*/ 9 w 83"/>
                  <a:gd name="T73" fmla="*/ 63 h 70"/>
                  <a:gd name="T74" fmla="*/ 11 w 83"/>
                  <a:gd name="T75" fmla="*/ 65 h 70"/>
                  <a:gd name="T76" fmla="*/ 14 w 83"/>
                  <a:gd name="T77" fmla="*/ 68 h 70"/>
                  <a:gd name="T78" fmla="*/ 16 w 83"/>
                  <a:gd name="T79" fmla="*/ 68 h 70"/>
                  <a:gd name="T80" fmla="*/ 17 w 83"/>
                  <a:gd name="T81" fmla="*/ 68 h 70"/>
                  <a:gd name="T82" fmla="*/ 21 w 83"/>
                  <a:gd name="T83" fmla="*/ 70 h 70"/>
                  <a:gd name="T84" fmla="*/ 26 w 83"/>
                  <a:gd name="T85" fmla="*/ 69 h 70"/>
                  <a:gd name="T86" fmla="*/ 30 w 83"/>
                  <a:gd name="T87" fmla="*/ 68 h 70"/>
                  <a:gd name="T88" fmla="*/ 35 w 83"/>
                  <a:gd name="T89" fmla="*/ 66 h 70"/>
                  <a:gd name="T90" fmla="*/ 45 w 83"/>
                  <a:gd name="T91" fmla="*/ 63 h 70"/>
                  <a:gd name="T92" fmla="*/ 50 w 83"/>
                  <a:gd name="T93" fmla="*/ 54 h 70"/>
                  <a:gd name="T94" fmla="*/ 56 w 83"/>
                  <a:gd name="T95" fmla="*/ 52 h 70"/>
                  <a:gd name="T96" fmla="*/ 62 w 83"/>
                  <a:gd name="T97" fmla="*/ 51 h 70"/>
                  <a:gd name="T98" fmla="*/ 77 w 83"/>
                  <a:gd name="T99" fmla="*/ 46 h 70"/>
                  <a:gd name="T100" fmla="*/ 83 w 83"/>
                  <a:gd name="T101" fmla="*/ 3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3" h="70">
                    <a:moveTo>
                      <a:pt x="83" y="37"/>
                    </a:moveTo>
                    <a:cubicBezTo>
                      <a:pt x="83" y="37"/>
                      <a:pt x="83" y="37"/>
                      <a:pt x="83" y="37"/>
                    </a:cubicBezTo>
                    <a:cubicBezTo>
                      <a:pt x="82" y="36"/>
                      <a:pt x="80" y="31"/>
                      <a:pt x="80" y="28"/>
                    </a:cubicBezTo>
                    <a:cubicBezTo>
                      <a:pt x="80" y="26"/>
                      <a:pt x="81" y="26"/>
                      <a:pt x="81" y="25"/>
                    </a:cubicBezTo>
                    <a:cubicBezTo>
                      <a:pt x="81" y="24"/>
                      <a:pt x="82" y="23"/>
                      <a:pt x="82" y="22"/>
                    </a:cubicBezTo>
                    <a:cubicBezTo>
                      <a:pt x="81" y="21"/>
                      <a:pt x="80" y="20"/>
                      <a:pt x="79" y="19"/>
                    </a:cubicBezTo>
                    <a:cubicBezTo>
                      <a:pt x="78" y="18"/>
                      <a:pt x="77" y="18"/>
                      <a:pt x="77" y="16"/>
                    </a:cubicBezTo>
                    <a:cubicBezTo>
                      <a:pt x="76" y="14"/>
                      <a:pt x="75" y="13"/>
                      <a:pt x="74" y="12"/>
                    </a:cubicBezTo>
                    <a:cubicBezTo>
                      <a:pt x="73" y="11"/>
                      <a:pt x="73" y="10"/>
                      <a:pt x="73" y="10"/>
                    </a:cubicBezTo>
                    <a:cubicBezTo>
                      <a:pt x="71" y="9"/>
                      <a:pt x="69" y="8"/>
                      <a:pt x="67" y="8"/>
                    </a:cubicBezTo>
                    <a:cubicBezTo>
                      <a:pt x="65" y="7"/>
                      <a:pt x="63" y="7"/>
                      <a:pt x="61" y="5"/>
                    </a:cubicBezTo>
                    <a:cubicBezTo>
                      <a:pt x="60" y="4"/>
                      <a:pt x="59" y="3"/>
                      <a:pt x="59" y="2"/>
                    </a:cubicBezTo>
                    <a:cubicBezTo>
                      <a:pt x="58" y="1"/>
                      <a:pt x="58" y="0"/>
                      <a:pt x="58" y="0"/>
                    </a:cubicBezTo>
                    <a:cubicBezTo>
                      <a:pt x="57" y="0"/>
                      <a:pt x="57" y="0"/>
                      <a:pt x="57" y="0"/>
                    </a:cubicBezTo>
                    <a:cubicBezTo>
                      <a:pt x="56" y="0"/>
                      <a:pt x="56" y="0"/>
                      <a:pt x="55" y="0"/>
                    </a:cubicBezTo>
                    <a:cubicBezTo>
                      <a:pt x="55" y="0"/>
                      <a:pt x="54" y="0"/>
                      <a:pt x="54" y="0"/>
                    </a:cubicBezTo>
                    <a:cubicBezTo>
                      <a:pt x="53" y="2"/>
                      <a:pt x="53" y="2"/>
                      <a:pt x="53" y="2"/>
                    </a:cubicBezTo>
                    <a:cubicBezTo>
                      <a:pt x="52" y="0"/>
                      <a:pt x="52" y="0"/>
                      <a:pt x="52" y="0"/>
                    </a:cubicBezTo>
                    <a:cubicBezTo>
                      <a:pt x="51" y="0"/>
                      <a:pt x="51" y="0"/>
                      <a:pt x="51" y="0"/>
                    </a:cubicBezTo>
                    <a:cubicBezTo>
                      <a:pt x="50" y="0"/>
                      <a:pt x="49" y="1"/>
                      <a:pt x="49" y="1"/>
                    </a:cubicBezTo>
                    <a:cubicBezTo>
                      <a:pt x="49" y="1"/>
                      <a:pt x="49" y="1"/>
                      <a:pt x="49" y="1"/>
                    </a:cubicBezTo>
                    <a:cubicBezTo>
                      <a:pt x="48" y="2"/>
                      <a:pt x="47" y="3"/>
                      <a:pt x="47" y="3"/>
                    </a:cubicBezTo>
                    <a:cubicBezTo>
                      <a:pt x="45" y="3"/>
                      <a:pt x="44" y="3"/>
                      <a:pt x="43" y="3"/>
                    </a:cubicBezTo>
                    <a:cubicBezTo>
                      <a:pt x="43" y="3"/>
                      <a:pt x="43" y="3"/>
                      <a:pt x="43" y="3"/>
                    </a:cubicBezTo>
                    <a:cubicBezTo>
                      <a:pt x="43" y="3"/>
                      <a:pt x="42" y="3"/>
                      <a:pt x="42" y="3"/>
                    </a:cubicBezTo>
                    <a:cubicBezTo>
                      <a:pt x="40" y="5"/>
                      <a:pt x="40" y="5"/>
                      <a:pt x="40" y="5"/>
                    </a:cubicBezTo>
                    <a:cubicBezTo>
                      <a:pt x="38" y="5"/>
                      <a:pt x="38" y="5"/>
                      <a:pt x="38" y="5"/>
                    </a:cubicBezTo>
                    <a:cubicBezTo>
                      <a:pt x="38" y="5"/>
                      <a:pt x="37" y="6"/>
                      <a:pt x="36" y="7"/>
                    </a:cubicBezTo>
                    <a:cubicBezTo>
                      <a:pt x="36" y="8"/>
                      <a:pt x="36" y="8"/>
                      <a:pt x="36" y="8"/>
                    </a:cubicBezTo>
                    <a:cubicBezTo>
                      <a:pt x="36" y="8"/>
                      <a:pt x="36" y="8"/>
                      <a:pt x="36" y="8"/>
                    </a:cubicBezTo>
                    <a:cubicBezTo>
                      <a:pt x="35" y="8"/>
                      <a:pt x="35" y="8"/>
                      <a:pt x="34" y="8"/>
                    </a:cubicBezTo>
                    <a:cubicBezTo>
                      <a:pt x="34" y="7"/>
                      <a:pt x="34" y="7"/>
                      <a:pt x="34" y="7"/>
                    </a:cubicBezTo>
                    <a:cubicBezTo>
                      <a:pt x="34" y="7"/>
                      <a:pt x="34" y="7"/>
                      <a:pt x="34" y="7"/>
                    </a:cubicBezTo>
                    <a:cubicBezTo>
                      <a:pt x="34" y="7"/>
                      <a:pt x="34" y="7"/>
                      <a:pt x="34" y="7"/>
                    </a:cubicBezTo>
                    <a:cubicBezTo>
                      <a:pt x="34" y="7"/>
                      <a:pt x="34" y="7"/>
                      <a:pt x="34" y="7"/>
                    </a:cubicBezTo>
                    <a:cubicBezTo>
                      <a:pt x="34" y="8"/>
                      <a:pt x="34" y="8"/>
                      <a:pt x="34" y="8"/>
                    </a:cubicBezTo>
                    <a:cubicBezTo>
                      <a:pt x="33" y="8"/>
                      <a:pt x="33" y="8"/>
                      <a:pt x="33" y="8"/>
                    </a:cubicBezTo>
                    <a:cubicBezTo>
                      <a:pt x="33" y="8"/>
                      <a:pt x="33" y="8"/>
                      <a:pt x="33" y="8"/>
                    </a:cubicBezTo>
                    <a:cubicBezTo>
                      <a:pt x="33" y="10"/>
                      <a:pt x="33" y="10"/>
                      <a:pt x="33" y="10"/>
                    </a:cubicBezTo>
                    <a:cubicBezTo>
                      <a:pt x="31" y="9"/>
                      <a:pt x="31" y="9"/>
                      <a:pt x="31" y="9"/>
                    </a:cubicBezTo>
                    <a:cubicBezTo>
                      <a:pt x="30" y="10"/>
                      <a:pt x="29" y="10"/>
                      <a:pt x="28" y="10"/>
                    </a:cubicBezTo>
                    <a:cubicBezTo>
                      <a:pt x="26" y="11"/>
                      <a:pt x="25" y="11"/>
                      <a:pt x="25" y="13"/>
                    </a:cubicBezTo>
                    <a:cubicBezTo>
                      <a:pt x="25" y="14"/>
                      <a:pt x="25" y="19"/>
                      <a:pt x="22" y="19"/>
                    </a:cubicBezTo>
                    <a:cubicBezTo>
                      <a:pt x="20" y="19"/>
                      <a:pt x="19" y="18"/>
                      <a:pt x="18" y="16"/>
                    </a:cubicBezTo>
                    <a:cubicBezTo>
                      <a:pt x="17" y="16"/>
                      <a:pt x="16" y="15"/>
                      <a:pt x="16" y="15"/>
                    </a:cubicBezTo>
                    <a:cubicBezTo>
                      <a:pt x="16" y="15"/>
                      <a:pt x="15" y="15"/>
                      <a:pt x="15" y="15"/>
                    </a:cubicBezTo>
                    <a:cubicBezTo>
                      <a:pt x="15" y="15"/>
                      <a:pt x="15" y="15"/>
                      <a:pt x="15" y="15"/>
                    </a:cubicBezTo>
                    <a:cubicBezTo>
                      <a:pt x="16" y="15"/>
                      <a:pt x="15" y="15"/>
                      <a:pt x="15" y="15"/>
                    </a:cubicBezTo>
                    <a:cubicBezTo>
                      <a:pt x="15" y="16"/>
                      <a:pt x="15" y="16"/>
                      <a:pt x="14" y="17"/>
                    </a:cubicBezTo>
                    <a:cubicBezTo>
                      <a:pt x="13" y="18"/>
                      <a:pt x="12" y="19"/>
                      <a:pt x="11" y="19"/>
                    </a:cubicBezTo>
                    <a:cubicBezTo>
                      <a:pt x="10" y="20"/>
                      <a:pt x="9" y="20"/>
                      <a:pt x="9" y="20"/>
                    </a:cubicBezTo>
                    <a:cubicBezTo>
                      <a:pt x="8" y="22"/>
                      <a:pt x="8" y="23"/>
                      <a:pt x="8" y="24"/>
                    </a:cubicBezTo>
                    <a:cubicBezTo>
                      <a:pt x="8" y="26"/>
                      <a:pt x="9" y="31"/>
                      <a:pt x="5" y="32"/>
                    </a:cubicBezTo>
                    <a:cubicBezTo>
                      <a:pt x="5" y="32"/>
                      <a:pt x="4" y="32"/>
                      <a:pt x="3" y="32"/>
                    </a:cubicBezTo>
                    <a:cubicBezTo>
                      <a:pt x="2" y="32"/>
                      <a:pt x="2" y="32"/>
                      <a:pt x="2" y="32"/>
                    </a:cubicBezTo>
                    <a:cubicBezTo>
                      <a:pt x="2" y="32"/>
                      <a:pt x="2" y="33"/>
                      <a:pt x="2" y="34"/>
                    </a:cubicBezTo>
                    <a:cubicBezTo>
                      <a:pt x="2" y="34"/>
                      <a:pt x="2" y="34"/>
                      <a:pt x="2" y="34"/>
                    </a:cubicBezTo>
                    <a:cubicBezTo>
                      <a:pt x="2" y="38"/>
                      <a:pt x="2" y="38"/>
                      <a:pt x="2" y="38"/>
                    </a:cubicBezTo>
                    <a:cubicBezTo>
                      <a:pt x="2" y="40"/>
                      <a:pt x="2" y="40"/>
                      <a:pt x="2" y="40"/>
                    </a:cubicBezTo>
                    <a:cubicBezTo>
                      <a:pt x="2" y="40"/>
                      <a:pt x="2" y="41"/>
                      <a:pt x="2" y="41"/>
                    </a:cubicBezTo>
                    <a:cubicBezTo>
                      <a:pt x="3" y="42"/>
                      <a:pt x="4" y="43"/>
                      <a:pt x="2" y="45"/>
                    </a:cubicBezTo>
                    <a:cubicBezTo>
                      <a:pt x="2" y="45"/>
                      <a:pt x="1" y="46"/>
                      <a:pt x="1" y="46"/>
                    </a:cubicBezTo>
                    <a:cubicBezTo>
                      <a:pt x="0" y="46"/>
                      <a:pt x="0" y="46"/>
                      <a:pt x="0" y="46"/>
                    </a:cubicBezTo>
                    <a:cubicBezTo>
                      <a:pt x="0" y="47"/>
                      <a:pt x="1" y="47"/>
                      <a:pt x="1" y="47"/>
                    </a:cubicBezTo>
                    <a:cubicBezTo>
                      <a:pt x="1" y="47"/>
                      <a:pt x="3" y="49"/>
                      <a:pt x="4" y="50"/>
                    </a:cubicBezTo>
                    <a:cubicBezTo>
                      <a:pt x="5" y="51"/>
                      <a:pt x="4" y="53"/>
                      <a:pt x="4" y="53"/>
                    </a:cubicBezTo>
                    <a:cubicBezTo>
                      <a:pt x="4" y="54"/>
                      <a:pt x="3" y="54"/>
                      <a:pt x="3" y="55"/>
                    </a:cubicBezTo>
                    <a:cubicBezTo>
                      <a:pt x="3" y="55"/>
                      <a:pt x="3" y="55"/>
                      <a:pt x="3" y="55"/>
                    </a:cubicBezTo>
                    <a:cubicBezTo>
                      <a:pt x="3" y="56"/>
                      <a:pt x="3" y="56"/>
                      <a:pt x="3" y="56"/>
                    </a:cubicBezTo>
                    <a:cubicBezTo>
                      <a:pt x="3" y="57"/>
                      <a:pt x="4" y="57"/>
                      <a:pt x="4" y="57"/>
                    </a:cubicBezTo>
                    <a:cubicBezTo>
                      <a:pt x="4" y="58"/>
                      <a:pt x="5" y="59"/>
                      <a:pt x="5" y="59"/>
                    </a:cubicBezTo>
                    <a:cubicBezTo>
                      <a:pt x="5" y="59"/>
                      <a:pt x="7" y="61"/>
                      <a:pt x="7" y="62"/>
                    </a:cubicBezTo>
                    <a:cubicBezTo>
                      <a:pt x="8" y="63"/>
                      <a:pt x="9" y="63"/>
                      <a:pt x="9" y="63"/>
                    </a:cubicBezTo>
                    <a:cubicBezTo>
                      <a:pt x="9" y="63"/>
                      <a:pt x="9" y="63"/>
                      <a:pt x="9" y="63"/>
                    </a:cubicBezTo>
                    <a:cubicBezTo>
                      <a:pt x="9" y="63"/>
                      <a:pt x="9" y="63"/>
                      <a:pt x="9" y="63"/>
                    </a:cubicBezTo>
                    <a:cubicBezTo>
                      <a:pt x="10" y="63"/>
                      <a:pt x="10" y="64"/>
                      <a:pt x="11" y="65"/>
                    </a:cubicBezTo>
                    <a:cubicBezTo>
                      <a:pt x="11" y="66"/>
                      <a:pt x="12" y="67"/>
                      <a:pt x="12" y="68"/>
                    </a:cubicBezTo>
                    <a:cubicBezTo>
                      <a:pt x="13" y="68"/>
                      <a:pt x="13" y="68"/>
                      <a:pt x="14" y="68"/>
                    </a:cubicBezTo>
                    <a:cubicBezTo>
                      <a:pt x="14" y="68"/>
                      <a:pt x="15" y="68"/>
                      <a:pt x="15" y="68"/>
                    </a:cubicBezTo>
                    <a:cubicBezTo>
                      <a:pt x="16" y="68"/>
                      <a:pt x="16" y="68"/>
                      <a:pt x="16" y="68"/>
                    </a:cubicBezTo>
                    <a:cubicBezTo>
                      <a:pt x="16" y="69"/>
                      <a:pt x="17" y="69"/>
                      <a:pt x="17" y="69"/>
                    </a:cubicBezTo>
                    <a:cubicBezTo>
                      <a:pt x="17" y="68"/>
                      <a:pt x="17" y="68"/>
                      <a:pt x="17" y="68"/>
                    </a:cubicBezTo>
                    <a:cubicBezTo>
                      <a:pt x="18" y="68"/>
                      <a:pt x="18" y="68"/>
                      <a:pt x="18" y="68"/>
                    </a:cubicBezTo>
                    <a:cubicBezTo>
                      <a:pt x="21" y="70"/>
                      <a:pt x="21" y="70"/>
                      <a:pt x="21" y="70"/>
                    </a:cubicBezTo>
                    <a:cubicBezTo>
                      <a:pt x="21" y="70"/>
                      <a:pt x="21" y="70"/>
                      <a:pt x="21" y="70"/>
                    </a:cubicBezTo>
                    <a:cubicBezTo>
                      <a:pt x="22" y="70"/>
                      <a:pt x="25" y="69"/>
                      <a:pt x="26" y="69"/>
                    </a:cubicBezTo>
                    <a:cubicBezTo>
                      <a:pt x="26" y="69"/>
                      <a:pt x="27" y="69"/>
                      <a:pt x="28" y="69"/>
                    </a:cubicBezTo>
                    <a:cubicBezTo>
                      <a:pt x="29" y="68"/>
                      <a:pt x="29" y="68"/>
                      <a:pt x="30" y="68"/>
                    </a:cubicBezTo>
                    <a:cubicBezTo>
                      <a:pt x="31" y="68"/>
                      <a:pt x="32" y="67"/>
                      <a:pt x="33" y="67"/>
                    </a:cubicBezTo>
                    <a:cubicBezTo>
                      <a:pt x="34" y="66"/>
                      <a:pt x="35" y="66"/>
                      <a:pt x="35" y="66"/>
                    </a:cubicBezTo>
                    <a:cubicBezTo>
                      <a:pt x="36" y="66"/>
                      <a:pt x="40" y="66"/>
                      <a:pt x="41" y="66"/>
                    </a:cubicBezTo>
                    <a:cubicBezTo>
                      <a:pt x="41" y="66"/>
                      <a:pt x="44" y="64"/>
                      <a:pt x="45" y="63"/>
                    </a:cubicBezTo>
                    <a:cubicBezTo>
                      <a:pt x="45" y="63"/>
                      <a:pt x="47" y="60"/>
                      <a:pt x="48" y="59"/>
                    </a:cubicBezTo>
                    <a:cubicBezTo>
                      <a:pt x="48" y="58"/>
                      <a:pt x="49" y="55"/>
                      <a:pt x="50" y="54"/>
                    </a:cubicBezTo>
                    <a:cubicBezTo>
                      <a:pt x="50" y="54"/>
                      <a:pt x="51" y="54"/>
                      <a:pt x="51" y="54"/>
                    </a:cubicBezTo>
                    <a:cubicBezTo>
                      <a:pt x="53" y="53"/>
                      <a:pt x="55" y="52"/>
                      <a:pt x="56" y="52"/>
                    </a:cubicBezTo>
                    <a:cubicBezTo>
                      <a:pt x="57" y="52"/>
                      <a:pt x="59" y="52"/>
                      <a:pt x="60" y="51"/>
                    </a:cubicBezTo>
                    <a:cubicBezTo>
                      <a:pt x="61" y="51"/>
                      <a:pt x="62" y="51"/>
                      <a:pt x="62" y="51"/>
                    </a:cubicBezTo>
                    <a:cubicBezTo>
                      <a:pt x="63" y="51"/>
                      <a:pt x="73" y="49"/>
                      <a:pt x="73" y="49"/>
                    </a:cubicBezTo>
                    <a:cubicBezTo>
                      <a:pt x="77" y="46"/>
                      <a:pt x="77" y="46"/>
                      <a:pt x="77" y="46"/>
                    </a:cubicBezTo>
                    <a:cubicBezTo>
                      <a:pt x="75" y="39"/>
                      <a:pt x="75" y="39"/>
                      <a:pt x="75" y="39"/>
                    </a:cubicBezTo>
                    <a:lnTo>
                      <a:pt x="83" y="37"/>
                    </a:lnTo>
                    <a:close/>
                  </a:path>
                </a:pathLst>
              </a:custGeom>
              <a:solidFill>
                <a:srgbClr val="BFBFBF"/>
              </a:solid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713" name="Freeform 159"/>
              <p:cNvSpPr>
                <a:spLocks/>
              </p:cNvSpPr>
              <p:nvPr/>
            </p:nvSpPr>
            <p:spPr bwMode="auto">
              <a:xfrm>
                <a:off x="3746" y="2997"/>
                <a:ext cx="14" cy="22"/>
              </a:xfrm>
              <a:custGeom>
                <a:avLst/>
                <a:gdLst>
                  <a:gd name="T0" fmla="*/ 2 w 7"/>
                  <a:gd name="T1" fmla="*/ 9 h 11"/>
                  <a:gd name="T2" fmla="*/ 3 w 7"/>
                  <a:gd name="T3" fmla="*/ 10 h 11"/>
                  <a:gd name="T4" fmla="*/ 5 w 7"/>
                  <a:gd name="T5" fmla="*/ 9 h 11"/>
                  <a:gd name="T6" fmla="*/ 6 w 7"/>
                  <a:gd name="T7" fmla="*/ 8 h 11"/>
                  <a:gd name="T8" fmla="*/ 5 w 7"/>
                  <a:gd name="T9" fmla="*/ 6 h 11"/>
                  <a:gd name="T10" fmla="*/ 5 w 7"/>
                  <a:gd name="T11" fmla="*/ 5 h 11"/>
                  <a:gd name="T12" fmla="*/ 6 w 7"/>
                  <a:gd name="T13" fmla="*/ 3 h 11"/>
                  <a:gd name="T14" fmla="*/ 7 w 7"/>
                  <a:gd name="T15" fmla="*/ 1 h 11"/>
                  <a:gd name="T16" fmla="*/ 5 w 7"/>
                  <a:gd name="T17" fmla="*/ 0 h 11"/>
                  <a:gd name="T18" fmla="*/ 4 w 7"/>
                  <a:gd name="T19" fmla="*/ 2 h 11"/>
                  <a:gd name="T20" fmla="*/ 3 w 7"/>
                  <a:gd name="T21" fmla="*/ 3 h 11"/>
                  <a:gd name="T22" fmla="*/ 2 w 7"/>
                  <a:gd name="T23" fmla="*/ 5 h 11"/>
                  <a:gd name="T24" fmla="*/ 1 w 7"/>
                  <a:gd name="T25" fmla="*/ 7 h 11"/>
                  <a:gd name="T26" fmla="*/ 2 w 7"/>
                  <a:gd name="T27"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11">
                    <a:moveTo>
                      <a:pt x="2" y="9"/>
                    </a:moveTo>
                    <a:cubicBezTo>
                      <a:pt x="3" y="10"/>
                      <a:pt x="2" y="9"/>
                      <a:pt x="3" y="10"/>
                    </a:cubicBezTo>
                    <a:cubicBezTo>
                      <a:pt x="3" y="11"/>
                      <a:pt x="4" y="10"/>
                      <a:pt x="5" y="9"/>
                    </a:cubicBezTo>
                    <a:cubicBezTo>
                      <a:pt x="7" y="8"/>
                      <a:pt x="6" y="9"/>
                      <a:pt x="6" y="8"/>
                    </a:cubicBezTo>
                    <a:cubicBezTo>
                      <a:pt x="6" y="8"/>
                      <a:pt x="5" y="6"/>
                      <a:pt x="5" y="6"/>
                    </a:cubicBezTo>
                    <a:cubicBezTo>
                      <a:pt x="5" y="6"/>
                      <a:pt x="4" y="5"/>
                      <a:pt x="5" y="5"/>
                    </a:cubicBezTo>
                    <a:cubicBezTo>
                      <a:pt x="5" y="5"/>
                      <a:pt x="5" y="4"/>
                      <a:pt x="6" y="3"/>
                    </a:cubicBezTo>
                    <a:cubicBezTo>
                      <a:pt x="7" y="2"/>
                      <a:pt x="7" y="1"/>
                      <a:pt x="7" y="1"/>
                    </a:cubicBezTo>
                    <a:cubicBezTo>
                      <a:pt x="7" y="0"/>
                      <a:pt x="5" y="0"/>
                      <a:pt x="5" y="0"/>
                    </a:cubicBezTo>
                    <a:cubicBezTo>
                      <a:pt x="5" y="0"/>
                      <a:pt x="4" y="1"/>
                      <a:pt x="4" y="2"/>
                    </a:cubicBezTo>
                    <a:cubicBezTo>
                      <a:pt x="4" y="2"/>
                      <a:pt x="3" y="3"/>
                      <a:pt x="3" y="3"/>
                    </a:cubicBezTo>
                    <a:cubicBezTo>
                      <a:pt x="3" y="4"/>
                      <a:pt x="2" y="5"/>
                      <a:pt x="2" y="5"/>
                    </a:cubicBezTo>
                    <a:cubicBezTo>
                      <a:pt x="2" y="5"/>
                      <a:pt x="2" y="6"/>
                      <a:pt x="1" y="7"/>
                    </a:cubicBezTo>
                    <a:cubicBezTo>
                      <a:pt x="0" y="8"/>
                      <a:pt x="1" y="8"/>
                      <a:pt x="2" y="9"/>
                    </a:cubicBezTo>
                    <a:close/>
                  </a:path>
                </a:pathLst>
              </a:custGeom>
              <a:grp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714" name="Freeform 160"/>
              <p:cNvSpPr>
                <a:spLocks/>
              </p:cNvSpPr>
              <p:nvPr/>
            </p:nvSpPr>
            <p:spPr bwMode="auto">
              <a:xfrm>
                <a:off x="3742" y="3252"/>
                <a:ext cx="10" cy="12"/>
              </a:xfrm>
              <a:custGeom>
                <a:avLst/>
                <a:gdLst>
                  <a:gd name="T0" fmla="*/ 2 w 5"/>
                  <a:gd name="T1" fmla="*/ 6 h 6"/>
                  <a:gd name="T2" fmla="*/ 5 w 5"/>
                  <a:gd name="T3" fmla="*/ 3 h 6"/>
                  <a:gd name="T4" fmla="*/ 4 w 5"/>
                  <a:gd name="T5" fmla="*/ 1 h 6"/>
                  <a:gd name="T6" fmla="*/ 0 w 5"/>
                  <a:gd name="T7" fmla="*/ 1 h 6"/>
                  <a:gd name="T8" fmla="*/ 1 w 5"/>
                  <a:gd name="T9" fmla="*/ 5 h 6"/>
                  <a:gd name="T10" fmla="*/ 2 w 5"/>
                  <a:gd name="T11" fmla="*/ 6 h 6"/>
                </a:gdLst>
                <a:ahLst/>
                <a:cxnLst>
                  <a:cxn ang="0">
                    <a:pos x="T0" y="T1"/>
                  </a:cxn>
                  <a:cxn ang="0">
                    <a:pos x="T2" y="T3"/>
                  </a:cxn>
                  <a:cxn ang="0">
                    <a:pos x="T4" y="T5"/>
                  </a:cxn>
                  <a:cxn ang="0">
                    <a:pos x="T6" y="T7"/>
                  </a:cxn>
                  <a:cxn ang="0">
                    <a:pos x="T8" y="T9"/>
                  </a:cxn>
                  <a:cxn ang="0">
                    <a:pos x="T10" y="T11"/>
                  </a:cxn>
                </a:cxnLst>
                <a:rect l="0" t="0" r="r" b="b"/>
                <a:pathLst>
                  <a:path w="5" h="6">
                    <a:moveTo>
                      <a:pt x="2" y="6"/>
                    </a:moveTo>
                    <a:cubicBezTo>
                      <a:pt x="2" y="6"/>
                      <a:pt x="5" y="3"/>
                      <a:pt x="5" y="3"/>
                    </a:cubicBezTo>
                    <a:cubicBezTo>
                      <a:pt x="4" y="2"/>
                      <a:pt x="4" y="1"/>
                      <a:pt x="4" y="1"/>
                    </a:cubicBezTo>
                    <a:cubicBezTo>
                      <a:pt x="4" y="0"/>
                      <a:pt x="0" y="1"/>
                      <a:pt x="0" y="1"/>
                    </a:cubicBezTo>
                    <a:cubicBezTo>
                      <a:pt x="1" y="5"/>
                      <a:pt x="1" y="5"/>
                      <a:pt x="1" y="5"/>
                    </a:cubicBezTo>
                    <a:cubicBezTo>
                      <a:pt x="1" y="5"/>
                      <a:pt x="2" y="6"/>
                      <a:pt x="2" y="6"/>
                    </a:cubicBezTo>
                    <a:close/>
                  </a:path>
                </a:pathLst>
              </a:custGeom>
              <a:grp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715" name="Freeform 161"/>
              <p:cNvSpPr>
                <a:spLocks/>
              </p:cNvSpPr>
              <p:nvPr/>
            </p:nvSpPr>
            <p:spPr bwMode="auto">
              <a:xfrm>
                <a:off x="3750" y="3212"/>
                <a:ext cx="8" cy="6"/>
              </a:xfrm>
              <a:custGeom>
                <a:avLst/>
                <a:gdLst>
                  <a:gd name="T0" fmla="*/ 0 w 4"/>
                  <a:gd name="T1" fmla="*/ 2 h 3"/>
                  <a:gd name="T2" fmla="*/ 0 w 4"/>
                  <a:gd name="T3" fmla="*/ 3 h 3"/>
                  <a:gd name="T4" fmla="*/ 0 w 4"/>
                  <a:gd name="T5" fmla="*/ 3 h 3"/>
                  <a:gd name="T6" fmla="*/ 3 w 4"/>
                  <a:gd name="T7" fmla="*/ 2 h 3"/>
                  <a:gd name="T8" fmla="*/ 3 w 4"/>
                  <a:gd name="T9" fmla="*/ 0 h 3"/>
                  <a:gd name="T10" fmla="*/ 0 w 4"/>
                  <a:gd name="T11" fmla="*/ 2 h 3"/>
                </a:gdLst>
                <a:ahLst/>
                <a:cxnLst>
                  <a:cxn ang="0">
                    <a:pos x="T0" y="T1"/>
                  </a:cxn>
                  <a:cxn ang="0">
                    <a:pos x="T2" y="T3"/>
                  </a:cxn>
                  <a:cxn ang="0">
                    <a:pos x="T4" y="T5"/>
                  </a:cxn>
                  <a:cxn ang="0">
                    <a:pos x="T6" y="T7"/>
                  </a:cxn>
                  <a:cxn ang="0">
                    <a:pos x="T8" y="T9"/>
                  </a:cxn>
                  <a:cxn ang="0">
                    <a:pos x="T10" y="T11"/>
                  </a:cxn>
                </a:cxnLst>
                <a:rect l="0" t="0" r="r" b="b"/>
                <a:pathLst>
                  <a:path w="4" h="3">
                    <a:moveTo>
                      <a:pt x="0" y="2"/>
                    </a:moveTo>
                    <a:cubicBezTo>
                      <a:pt x="0" y="3"/>
                      <a:pt x="0" y="3"/>
                      <a:pt x="0" y="3"/>
                    </a:cubicBezTo>
                    <a:cubicBezTo>
                      <a:pt x="0" y="3"/>
                      <a:pt x="0" y="3"/>
                      <a:pt x="0" y="3"/>
                    </a:cubicBezTo>
                    <a:cubicBezTo>
                      <a:pt x="0" y="3"/>
                      <a:pt x="3" y="3"/>
                      <a:pt x="3" y="2"/>
                    </a:cubicBezTo>
                    <a:cubicBezTo>
                      <a:pt x="4" y="2"/>
                      <a:pt x="3" y="1"/>
                      <a:pt x="3" y="0"/>
                    </a:cubicBezTo>
                    <a:cubicBezTo>
                      <a:pt x="3" y="0"/>
                      <a:pt x="0" y="2"/>
                      <a:pt x="0" y="2"/>
                    </a:cubicBezTo>
                    <a:close/>
                  </a:path>
                </a:pathLst>
              </a:custGeom>
              <a:grp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716" name="Freeform 162"/>
              <p:cNvSpPr>
                <a:spLocks/>
              </p:cNvSpPr>
              <p:nvPr/>
            </p:nvSpPr>
            <p:spPr bwMode="auto">
              <a:xfrm>
                <a:off x="3748" y="2951"/>
                <a:ext cx="24" cy="10"/>
              </a:xfrm>
              <a:custGeom>
                <a:avLst/>
                <a:gdLst>
                  <a:gd name="T0" fmla="*/ 9 w 12"/>
                  <a:gd name="T1" fmla="*/ 1 h 5"/>
                  <a:gd name="T2" fmla="*/ 5 w 12"/>
                  <a:gd name="T3" fmla="*/ 0 h 5"/>
                  <a:gd name="T4" fmla="*/ 1 w 12"/>
                  <a:gd name="T5" fmla="*/ 2 h 5"/>
                  <a:gd name="T6" fmla="*/ 2 w 12"/>
                  <a:gd name="T7" fmla="*/ 4 h 5"/>
                  <a:gd name="T8" fmla="*/ 5 w 12"/>
                  <a:gd name="T9" fmla="*/ 5 h 5"/>
                  <a:gd name="T10" fmla="*/ 10 w 12"/>
                  <a:gd name="T11" fmla="*/ 3 h 5"/>
                  <a:gd name="T12" fmla="*/ 9 w 12"/>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12" h="5">
                    <a:moveTo>
                      <a:pt x="9" y="1"/>
                    </a:moveTo>
                    <a:cubicBezTo>
                      <a:pt x="5" y="0"/>
                      <a:pt x="5" y="0"/>
                      <a:pt x="5" y="0"/>
                    </a:cubicBezTo>
                    <a:cubicBezTo>
                      <a:pt x="5" y="0"/>
                      <a:pt x="1" y="2"/>
                      <a:pt x="1" y="2"/>
                    </a:cubicBezTo>
                    <a:cubicBezTo>
                      <a:pt x="0" y="2"/>
                      <a:pt x="1" y="4"/>
                      <a:pt x="2" y="4"/>
                    </a:cubicBezTo>
                    <a:cubicBezTo>
                      <a:pt x="2" y="5"/>
                      <a:pt x="5" y="5"/>
                      <a:pt x="5" y="5"/>
                    </a:cubicBezTo>
                    <a:cubicBezTo>
                      <a:pt x="6" y="5"/>
                      <a:pt x="8" y="4"/>
                      <a:pt x="10" y="3"/>
                    </a:cubicBezTo>
                    <a:cubicBezTo>
                      <a:pt x="12" y="1"/>
                      <a:pt x="9" y="1"/>
                      <a:pt x="9" y="1"/>
                    </a:cubicBezTo>
                    <a:close/>
                  </a:path>
                </a:pathLst>
              </a:custGeom>
              <a:grp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717" name="Freeform 163"/>
              <p:cNvSpPr>
                <a:spLocks/>
              </p:cNvSpPr>
              <p:nvPr/>
            </p:nvSpPr>
            <p:spPr bwMode="auto">
              <a:xfrm>
                <a:off x="3744" y="3182"/>
                <a:ext cx="26" cy="22"/>
              </a:xfrm>
              <a:custGeom>
                <a:avLst/>
                <a:gdLst>
                  <a:gd name="T0" fmla="*/ 12 w 13"/>
                  <a:gd name="T1" fmla="*/ 11 h 11"/>
                  <a:gd name="T2" fmla="*/ 12 w 13"/>
                  <a:gd name="T3" fmla="*/ 10 h 11"/>
                  <a:gd name="T4" fmla="*/ 13 w 13"/>
                  <a:gd name="T5" fmla="*/ 7 h 11"/>
                  <a:gd name="T6" fmla="*/ 12 w 13"/>
                  <a:gd name="T7" fmla="*/ 5 h 11"/>
                  <a:gd name="T8" fmla="*/ 11 w 13"/>
                  <a:gd name="T9" fmla="*/ 3 h 11"/>
                  <a:gd name="T10" fmla="*/ 10 w 13"/>
                  <a:gd name="T11" fmla="*/ 3 h 11"/>
                  <a:gd name="T12" fmla="*/ 7 w 13"/>
                  <a:gd name="T13" fmla="*/ 3 h 11"/>
                  <a:gd name="T14" fmla="*/ 5 w 13"/>
                  <a:gd name="T15" fmla="*/ 1 h 11"/>
                  <a:gd name="T16" fmla="*/ 3 w 13"/>
                  <a:gd name="T17" fmla="*/ 0 h 11"/>
                  <a:gd name="T18" fmla="*/ 0 w 13"/>
                  <a:gd name="T19" fmla="*/ 3 h 11"/>
                  <a:gd name="T20" fmla="*/ 4 w 13"/>
                  <a:gd name="T21" fmla="*/ 6 h 11"/>
                  <a:gd name="T22" fmla="*/ 8 w 13"/>
                  <a:gd name="T23" fmla="*/ 8 h 11"/>
                  <a:gd name="T24" fmla="*/ 12 w 13"/>
                  <a:gd name="T25"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11">
                    <a:moveTo>
                      <a:pt x="12" y="11"/>
                    </a:moveTo>
                    <a:cubicBezTo>
                      <a:pt x="12" y="10"/>
                      <a:pt x="12" y="10"/>
                      <a:pt x="12" y="10"/>
                    </a:cubicBezTo>
                    <a:cubicBezTo>
                      <a:pt x="12" y="10"/>
                      <a:pt x="13" y="9"/>
                      <a:pt x="13" y="7"/>
                    </a:cubicBezTo>
                    <a:cubicBezTo>
                      <a:pt x="13" y="4"/>
                      <a:pt x="12" y="6"/>
                      <a:pt x="12" y="5"/>
                    </a:cubicBezTo>
                    <a:cubicBezTo>
                      <a:pt x="12" y="5"/>
                      <a:pt x="12" y="4"/>
                      <a:pt x="11" y="3"/>
                    </a:cubicBezTo>
                    <a:cubicBezTo>
                      <a:pt x="10" y="1"/>
                      <a:pt x="10" y="2"/>
                      <a:pt x="10" y="3"/>
                    </a:cubicBezTo>
                    <a:cubicBezTo>
                      <a:pt x="9" y="3"/>
                      <a:pt x="8" y="3"/>
                      <a:pt x="7" y="3"/>
                    </a:cubicBezTo>
                    <a:cubicBezTo>
                      <a:pt x="6" y="3"/>
                      <a:pt x="6" y="2"/>
                      <a:pt x="5" y="1"/>
                    </a:cubicBezTo>
                    <a:cubicBezTo>
                      <a:pt x="5" y="0"/>
                      <a:pt x="3" y="0"/>
                      <a:pt x="3" y="0"/>
                    </a:cubicBezTo>
                    <a:cubicBezTo>
                      <a:pt x="2" y="0"/>
                      <a:pt x="0" y="2"/>
                      <a:pt x="0" y="3"/>
                    </a:cubicBezTo>
                    <a:cubicBezTo>
                      <a:pt x="1" y="4"/>
                      <a:pt x="1" y="4"/>
                      <a:pt x="4" y="6"/>
                    </a:cubicBezTo>
                    <a:cubicBezTo>
                      <a:pt x="7" y="8"/>
                      <a:pt x="7" y="8"/>
                      <a:pt x="8" y="8"/>
                    </a:cubicBezTo>
                    <a:cubicBezTo>
                      <a:pt x="9" y="9"/>
                      <a:pt x="12" y="10"/>
                      <a:pt x="12" y="11"/>
                    </a:cubicBezTo>
                    <a:close/>
                  </a:path>
                </a:pathLst>
              </a:custGeom>
              <a:grp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718" name="Freeform 164"/>
              <p:cNvSpPr>
                <a:spLocks/>
              </p:cNvSpPr>
              <p:nvPr/>
            </p:nvSpPr>
            <p:spPr bwMode="auto">
              <a:xfrm>
                <a:off x="3784" y="3294"/>
                <a:ext cx="8" cy="6"/>
              </a:xfrm>
              <a:custGeom>
                <a:avLst/>
                <a:gdLst>
                  <a:gd name="T0" fmla="*/ 1 w 4"/>
                  <a:gd name="T1" fmla="*/ 2 h 3"/>
                  <a:gd name="T2" fmla="*/ 3 w 4"/>
                  <a:gd name="T3" fmla="*/ 3 h 3"/>
                  <a:gd name="T4" fmla="*/ 4 w 4"/>
                  <a:gd name="T5" fmla="*/ 2 h 3"/>
                  <a:gd name="T6" fmla="*/ 2 w 4"/>
                  <a:gd name="T7" fmla="*/ 1 h 3"/>
                  <a:gd name="T8" fmla="*/ 0 w 4"/>
                  <a:gd name="T9" fmla="*/ 0 h 3"/>
                  <a:gd name="T10" fmla="*/ 0 w 4"/>
                  <a:gd name="T11" fmla="*/ 2 h 3"/>
                  <a:gd name="T12" fmla="*/ 1 w 4"/>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1" y="2"/>
                    </a:moveTo>
                    <a:cubicBezTo>
                      <a:pt x="1" y="2"/>
                      <a:pt x="3" y="3"/>
                      <a:pt x="3" y="3"/>
                    </a:cubicBezTo>
                    <a:cubicBezTo>
                      <a:pt x="4" y="3"/>
                      <a:pt x="4" y="2"/>
                      <a:pt x="4" y="2"/>
                    </a:cubicBezTo>
                    <a:cubicBezTo>
                      <a:pt x="3" y="1"/>
                      <a:pt x="2" y="1"/>
                      <a:pt x="2" y="1"/>
                    </a:cubicBezTo>
                    <a:cubicBezTo>
                      <a:pt x="0" y="0"/>
                      <a:pt x="0" y="0"/>
                      <a:pt x="0" y="0"/>
                    </a:cubicBezTo>
                    <a:cubicBezTo>
                      <a:pt x="0" y="0"/>
                      <a:pt x="0" y="1"/>
                      <a:pt x="0" y="2"/>
                    </a:cubicBezTo>
                    <a:cubicBezTo>
                      <a:pt x="0" y="3"/>
                      <a:pt x="1" y="2"/>
                      <a:pt x="1" y="2"/>
                    </a:cubicBezTo>
                    <a:close/>
                  </a:path>
                </a:pathLst>
              </a:custGeom>
              <a:grp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719" name="Freeform 165"/>
              <p:cNvSpPr>
                <a:spLocks/>
              </p:cNvSpPr>
              <p:nvPr/>
            </p:nvSpPr>
            <p:spPr bwMode="auto">
              <a:xfrm>
                <a:off x="3768" y="3222"/>
                <a:ext cx="8" cy="16"/>
              </a:xfrm>
              <a:custGeom>
                <a:avLst/>
                <a:gdLst>
                  <a:gd name="T0" fmla="*/ 3 w 4"/>
                  <a:gd name="T1" fmla="*/ 2 h 8"/>
                  <a:gd name="T2" fmla="*/ 1 w 4"/>
                  <a:gd name="T3" fmla="*/ 1 h 8"/>
                  <a:gd name="T4" fmla="*/ 0 w 4"/>
                  <a:gd name="T5" fmla="*/ 0 h 8"/>
                  <a:gd name="T6" fmla="*/ 0 w 4"/>
                  <a:gd name="T7" fmla="*/ 2 h 8"/>
                  <a:gd name="T8" fmla="*/ 1 w 4"/>
                  <a:gd name="T9" fmla="*/ 4 h 8"/>
                  <a:gd name="T10" fmla="*/ 0 w 4"/>
                  <a:gd name="T11" fmla="*/ 5 h 8"/>
                  <a:gd name="T12" fmla="*/ 1 w 4"/>
                  <a:gd name="T13" fmla="*/ 8 h 8"/>
                  <a:gd name="T14" fmla="*/ 4 w 4"/>
                  <a:gd name="T15" fmla="*/ 4 h 8"/>
                  <a:gd name="T16" fmla="*/ 3 w 4"/>
                  <a:gd name="T17"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3" y="2"/>
                    </a:moveTo>
                    <a:cubicBezTo>
                      <a:pt x="3" y="1"/>
                      <a:pt x="1" y="1"/>
                      <a:pt x="1" y="1"/>
                    </a:cubicBezTo>
                    <a:cubicBezTo>
                      <a:pt x="0" y="0"/>
                      <a:pt x="0" y="0"/>
                      <a:pt x="0" y="0"/>
                    </a:cubicBezTo>
                    <a:cubicBezTo>
                      <a:pt x="0" y="2"/>
                      <a:pt x="0" y="2"/>
                      <a:pt x="0" y="2"/>
                    </a:cubicBezTo>
                    <a:cubicBezTo>
                      <a:pt x="0" y="2"/>
                      <a:pt x="1" y="3"/>
                      <a:pt x="1" y="4"/>
                    </a:cubicBezTo>
                    <a:cubicBezTo>
                      <a:pt x="1" y="4"/>
                      <a:pt x="0" y="5"/>
                      <a:pt x="0" y="5"/>
                    </a:cubicBezTo>
                    <a:cubicBezTo>
                      <a:pt x="1" y="8"/>
                      <a:pt x="1" y="8"/>
                      <a:pt x="1" y="8"/>
                    </a:cubicBezTo>
                    <a:cubicBezTo>
                      <a:pt x="4" y="4"/>
                      <a:pt x="4" y="4"/>
                      <a:pt x="4" y="4"/>
                    </a:cubicBezTo>
                    <a:cubicBezTo>
                      <a:pt x="4" y="4"/>
                      <a:pt x="3" y="3"/>
                      <a:pt x="3" y="2"/>
                    </a:cubicBezTo>
                    <a:close/>
                  </a:path>
                </a:pathLst>
              </a:custGeom>
              <a:grp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720" name="Freeform 166"/>
              <p:cNvSpPr>
                <a:spLocks/>
              </p:cNvSpPr>
              <p:nvPr/>
            </p:nvSpPr>
            <p:spPr bwMode="auto">
              <a:xfrm>
                <a:off x="3790" y="3224"/>
                <a:ext cx="6" cy="6"/>
              </a:xfrm>
              <a:custGeom>
                <a:avLst/>
                <a:gdLst>
                  <a:gd name="T0" fmla="*/ 1 w 3"/>
                  <a:gd name="T1" fmla="*/ 3 h 3"/>
                  <a:gd name="T2" fmla="*/ 3 w 3"/>
                  <a:gd name="T3" fmla="*/ 1 h 3"/>
                  <a:gd name="T4" fmla="*/ 1 w 3"/>
                  <a:gd name="T5" fmla="*/ 0 h 3"/>
                  <a:gd name="T6" fmla="*/ 0 w 3"/>
                  <a:gd name="T7" fmla="*/ 2 h 3"/>
                  <a:gd name="T8" fmla="*/ 1 w 3"/>
                  <a:gd name="T9" fmla="*/ 3 h 3"/>
                </a:gdLst>
                <a:ahLst/>
                <a:cxnLst>
                  <a:cxn ang="0">
                    <a:pos x="T0" y="T1"/>
                  </a:cxn>
                  <a:cxn ang="0">
                    <a:pos x="T2" y="T3"/>
                  </a:cxn>
                  <a:cxn ang="0">
                    <a:pos x="T4" y="T5"/>
                  </a:cxn>
                  <a:cxn ang="0">
                    <a:pos x="T6" y="T7"/>
                  </a:cxn>
                  <a:cxn ang="0">
                    <a:pos x="T8" y="T9"/>
                  </a:cxn>
                </a:cxnLst>
                <a:rect l="0" t="0" r="r" b="b"/>
                <a:pathLst>
                  <a:path w="3" h="3">
                    <a:moveTo>
                      <a:pt x="1" y="3"/>
                    </a:moveTo>
                    <a:cubicBezTo>
                      <a:pt x="2" y="3"/>
                      <a:pt x="3" y="1"/>
                      <a:pt x="3" y="1"/>
                    </a:cubicBezTo>
                    <a:cubicBezTo>
                      <a:pt x="1" y="0"/>
                      <a:pt x="1" y="0"/>
                      <a:pt x="1" y="0"/>
                    </a:cubicBezTo>
                    <a:cubicBezTo>
                      <a:pt x="0" y="2"/>
                      <a:pt x="0" y="2"/>
                      <a:pt x="0" y="2"/>
                    </a:cubicBezTo>
                    <a:cubicBezTo>
                      <a:pt x="0" y="2"/>
                      <a:pt x="1" y="3"/>
                      <a:pt x="1" y="3"/>
                    </a:cubicBezTo>
                    <a:close/>
                  </a:path>
                </a:pathLst>
              </a:custGeom>
              <a:grp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721" name="Freeform 167"/>
              <p:cNvSpPr>
                <a:spLocks/>
              </p:cNvSpPr>
              <p:nvPr/>
            </p:nvSpPr>
            <p:spPr bwMode="auto">
              <a:xfrm>
                <a:off x="3790" y="3118"/>
                <a:ext cx="14" cy="8"/>
              </a:xfrm>
              <a:custGeom>
                <a:avLst/>
                <a:gdLst>
                  <a:gd name="T0" fmla="*/ 5 w 7"/>
                  <a:gd name="T1" fmla="*/ 0 h 4"/>
                  <a:gd name="T2" fmla="*/ 2 w 7"/>
                  <a:gd name="T3" fmla="*/ 0 h 4"/>
                  <a:gd name="T4" fmla="*/ 0 w 7"/>
                  <a:gd name="T5" fmla="*/ 2 h 4"/>
                  <a:gd name="T6" fmla="*/ 1 w 7"/>
                  <a:gd name="T7" fmla="*/ 4 h 4"/>
                  <a:gd name="T8" fmla="*/ 5 w 7"/>
                  <a:gd name="T9" fmla="*/ 2 h 4"/>
                  <a:gd name="T10" fmla="*/ 5 w 7"/>
                  <a:gd name="T11" fmla="*/ 0 h 4"/>
                </a:gdLst>
                <a:ahLst/>
                <a:cxnLst>
                  <a:cxn ang="0">
                    <a:pos x="T0" y="T1"/>
                  </a:cxn>
                  <a:cxn ang="0">
                    <a:pos x="T2" y="T3"/>
                  </a:cxn>
                  <a:cxn ang="0">
                    <a:pos x="T4" y="T5"/>
                  </a:cxn>
                  <a:cxn ang="0">
                    <a:pos x="T6" y="T7"/>
                  </a:cxn>
                  <a:cxn ang="0">
                    <a:pos x="T8" y="T9"/>
                  </a:cxn>
                  <a:cxn ang="0">
                    <a:pos x="T10" y="T11"/>
                  </a:cxn>
                </a:cxnLst>
                <a:rect l="0" t="0" r="r" b="b"/>
                <a:pathLst>
                  <a:path w="7" h="4">
                    <a:moveTo>
                      <a:pt x="5" y="0"/>
                    </a:moveTo>
                    <a:cubicBezTo>
                      <a:pt x="2" y="0"/>
                      <a:pt x="2" y="0"/>
                      <a:pt x="2" y="0"/>
                    </a:cubicBezTo>
                    <a:cubicBezTo>
                      <a:pt x="2" y="0"/>
                      <a:pt x="0" y="2"/>
                      <a:pt x="0" y="2"/>
                    </a:cubicBezTo>
                    <a:cubicBezTo>
                      <a:pt x="1" y="4"/>
                      <a:pt x="1" y="4"/>
                      <a:pt x="1" y="4"/>
                    </a:cubicBezTo>
                    <a:cubicBezTo>
                      <a:pt x="1" y="4"/>
                      <a:pt x="3" y="3"/>
                      <a:pt x="5" y="2"/>
                    </a:cubicBezTo>
                    <a:cubicBezTo>
                      <a:pt x="7" y="2"/>
                      <a:pt x="5" y="0"/>
                      <a:pt x="5" y="0"/>
                    </a:cubicBezTo>
                    <a:close/>
                  </a:path>
                </a:pathLst>
              </a:custGeom>
              <a:grp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722" name="Freeform 168"/>
              <p:cNvSpPr>
                <a:spLocks/>
              </p:cNvSpPr>
              <p:nvPr/>
            </p:nvSpPr>
            <p:spPr bwMode="auto">
              <a:xfrm>
                <a:off x="3770" y="3204"/>
                <a:ext cx="22" cy="12"/>
              </a:xfrm>
              <a:custGeom>
                <a:avLst/>
                <a:gdLst>
                  <a:gd name="T0" fmla="*/ 7 w 11"/>
                  <a:gd name="T1" fmla="*/ 5 h 6"/>
                  <a:gd name="T2" fmla="*/ 10 w 11"/>
                  <a:gd name="T3" fmla="*/ 5 h 6"/>
                  <a:gd name="T4" fmla="*/ 11 w 11"/>
                  <a:gd name="T5" fmla="*/ 4 h 6"/>
                  <a:gd name="T6" fmla="*/ 10 w 11"/>
                  <a:gd name="T7" fmla="*/ 2 h 6"/>
                  <a:gd name="T8" fmla="*/ 7 w 11"/>
                  <a:gd name="T9" fmla="*/ 1 h 6"/>
                  <a:gd name="T10" fmla="*/ 5 w 11"/>
                  <a:gd name="T11" fmla="*/ 1 h 6"/>
                  <a:gd name="T12" fmla="*/ 2 w 11"/>
                  <a:gd name="T13" fmla="*/ 0 h 6"/>
                  <a:gd name="T14" fmla="*/ 1 w 11"/>
                  <a:gd name="T15" fmla="*/ 1 h 6"/>
                  <a:gd name="T16" fmla="*/ 3 w 11"/>
                  <a:gd name="T17" fmla="*/ 3 h 6"/>
                  <a:gd name="T18" fmla="*/ 7 w 11"/>
                  <a:gd name="T19"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6">
                    <a:moveTo>
                      <a:pt x="7" y="5"/>
                    </a:moveTo>
                    <a:cubicBezTo>
                      <a:pt x="7" y="6"/>
                      <a:pt x="9" y="5"/>
                      <a:pt x="10" y="5"/>
                    </a:cubicBezTo>
                    <a:cubicBezTo>
                      <a:pt x="11" y="4"/>
                      <a:pt x="11" y="4"/>
                      <a:pt x="11" y="4"/>
                    </a:cubicBezTo>
                    <a:cubicBezTo>
                      <a:pt x="11" y="3"/>
                      <a:pt x="10" y="2"/>
                      <a:pt x="10" y="2"/>
                    </a:cubicBezTo>
                    <a:cubicBezTo>
                      <a:pt x="10" y="2"/>
                      <a:pt x="9" y="1"/>
                      <a:pt x="7" y="1"/>
                    </a:cubicBezTo>
                    <a:cubicBezTo>
                      <a:pt x="5" y="1"/>
                      <a:pt x="5" y="1"/>
                      <a:pt x="5" y="1"/>
                    </a:cubicBezTo>
                    <a:cubicBezTo>
                      <a:pt x="5" y="1"/>
                      <a:pt x="5" y="1"/>
                      <a:pt x="2" y="0"/>
                    </a:cubicBezTo>
                    <a:cubicBezTo>
                      <a:pt x="0" y="0"/>
                      <a:pt x="1" y="1"/>
                      <a:pt x="1" y="1"/>
                    </a:cubicBezTo>
                    <a:cubicBezTo>
                      <a:pt x="3" y="3"/>
                      <a:pt x="3" y="3"/>
                      <a:pt x="3" y="3"/>
                    </a:cubicBezTo>
                    <a:cubicBezTo>
                      <a:pt x="3" y="3"/>
                      <a:pt x="7" y="5"/>
                      <a:pt x="7" y="5"/>
                    </a:cubicBezTo>
                    <a:close/>
                  </a:path>
                </a:pathLst>
              </a:custGeom>
              <a:grp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723" name="Freeform 169"/>
              <p:cNvSpPr>
                <a:spLocks/>
              </p:cNvSpPr>
              <p:nvPr/>
            </p:nvSpPr>
            <p:spPr bwMode="auto">
              <a:xfrm>
                <a:off x="3710" y="3098"/>
                <a:ext cx="30" cy="22"/>
              </a:xfrm>
              <a:custGeom>
                <a:avLst/>
                <a:gdLst>
                  <a:gd name="T0" fmla="*/ 4 w 15"/>
                  <a:gd name="T1" fmla="*/ 2 h 11"/>
                  <a:gd name="T2" fmla="*/ 2 w 15"/>
                  <a:gd name="T3" fmla="*/ 1 h 11"/>
                  <a:gd name="T4" fmla="*/ 0 w 15"/>
                  <a:gd name="T5" fmla="*/ 2 h 11"/>
                  <a:gd name="T6" fmla="*/ 3 w 15"/>
                  <a:gd name="T7" fmla="*/ 5 h 11"/>
                  <a:gd name="T8" fmla="*/ 9 w 15"/>
                  <a:gd name="T9" fmla="*/ 9 h 11"/>
                  <a:gd name="T10" fmla="*/ 4 w 15"/>
                  <a:gd name="T11" fmla="*/ 2 h 11"/>
                </a:gdLst>
                <a:ahLst/>
                <a:cxnLst>
                  <a:cxn ang="0">
                    <a:pos x="T0" y="T1"/>
                  </a:cxn>
                  <a:cxn ang="0">
                    <a:pos x="T2" y="T3"/>
                  </a:cxn>
                  <a:cxn ang="0">
                    <a:pos x="T4" y="T5"/>
                  </a:cxn>
                  <a:cxn ang="0">
                    <a:pos x="T6" y="T7"/>
                  </a:cxn>
                  <a:cxn ang="0">
                    <a:pos x="T8" y="T9"/>
                  </a:cxn>
                  <a:cxn ang="0">
                    <a:pos x="T10" y="T11"/>
                  </a:cxn>
                </a:cxnLst>
                <a:rect l="0" t="0" r="r" b="b"/>
                <a:pathLst>
                  <a:path w="15" h="11">
                    <a:moveTo>
                      <a:pt x="4" y="2"/>
                    </a:moveTo>
                    <a:cubicBezTo>
                      <a:pt x="4" y="2"/>
                      <a:pt x="2" y="0"/>
                      <a:pt x="2" y="1"/>
                    </a:cubicBezTo>
                    <a:cubicBezTo>
                      <a:pt x="0" y="2"/>
                      <a:pt x="0" y="2"/>
                      <a:pt x="0" y="2"/>
                    </a:cubicBezTo>
                    <a:cubicBezTo>
                      <a:pt x="0" y="2"/>
                      <a:pt x="2" y="4"/>
                      <a:pt x="3" y="5"/>
                    </a:cubicBezTo>
                    <a:cubicBezTo>
                      <a:pt x="4" y="6"/>
                      <a:pt x="7" y="9"/>
                      <a:pt x="9" y="9"/>
                    </a:cubicBezTo>
                    <a:cubicBezTo>
                      <a:pt x="15" y="11"/>
                      <a:pt x="5" y="3"/>
                      <a:pt x="4" y="2"/>
                    </a:cubicBezTo>
                    <a:close/>
                  </a:path>
                </a:pathLst>
              </a:custGeom>
              <a:grp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724" name="Freeform 170"/>
              <p:cNvSpPr>
                <a:spLocks/>
              </p:cNvSpPr>
              <p:nvPr/>
            </p:nvSpPr>
            <p:spPr bwMode="auto">
              <a:xfrm>
                <a:off x="3820" y="3266"/>
                <a:ext cx="8" cy="8"/>
              </a:xfrm>
              <a:custGeom>
                <a:avLst/>
                <a:gdLst>
                  <a:gd name="T0" fmla="*/ 4 w 4"/>
                  <a:gd name="T1" fmla="*/ 1 h 4"/>
                  <a:gd name="T2" fmla="*/ 1 w 4"/>
                  <a:gd name="T3" fmla="*/ 1 h 4"/>
                  <a:gd name="T4" fmla="*/ 1 w 4"/>
                  <a:gd name="T5" fmla="*/ 2 h 4"/>
                  <a:gd name="T6" fmla="*/ 4 w 4"/>
                  <a:gd name="T7" fmla="*/ 1 h 4"/>
                </a:gdLst>
                <a:ahLst/>
                <a:cxnLst>
                  <a:cxn ang="0">
                    <a:pos x="T0" y="T1"/>
                  </a:cxn>
                  <a:cxn ang="0">
                    <a:pos x="T2" y="T3"/>
                  </a:cxn>
                  <a:cxn ang="0">
                    <a:pos x="T4" y="T5"/>
                  </a:cxn>
                  <a:cxn ang="0">
                    <a:pos x="T6" y="T7"/>
                  </a:cxn>
                </a:cxnLst>
                <a:rect l="0" t="0" r="r" b="b"/>
                <a:pathLst>
                  <a:path w="4" h="4">
                    <a:moveTo>
                      <a:pt x="4" y="1"/>
                    </a:moveTo>
                    <a:cubicBezTo>
                      <a:pt x="4" y="1"/>
                      <a:pt x="2" y="0"/>
                      <a:pt x="1" y="1"/>
                    </a:cubicBezTo>
                    <a:cubicBezTo>
                      <a:pt x="0" y="1"/>
                      <a:pt x="1" y="2"/>
                      <a:pt x="1" y="2"/>
                    </a:cubicBezTo>
                    <a:cubicBezTo>
                      <a:pt x="3" y="4"/>
                      <a:pt x="4" y="1"/>
                      <a:pt x="4" y="1"/>
                    </a:cubicBezTo>
                    <a:close/>
                  </a:path>
                </a:pathLst>
              </a:custGeom>
              <a:grp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725" name="Freeform 171"/>
              <p:cNvSpPr>
                <a:spLocks/>
              </p:cNvSpPr>
              <p:nvPr/>
            </p:nvSpPr>
            <p:spPr bwMode="auto">
              <a:xfrm>
                <a:off x="3812" y="3274"/>
                <a:ext cx="10" cy="16"/>
              </a:xfrm>
              <a:custGeom>
                <a:avLst/>
                <a:gdLst>
                  <a:gd name="T0" fmla="*/ 0 w 5"/>
                  <a:gd name="T1" fmla="*/ 6 h 8"/>
                  <a:gd name="T2" fmla="*/ 1 w 5"/>
                  <a:gd name="T3" fmla="*/ 7 h 8"/>
                  <a:gd name="T4" fmla="*/ 4 w 5"/>
                  <a:gd name="T5" fmla="*/ 7 h 8"/>
                  <a:gd name="T6" fmla="*/ 5 w 5"/>
                  <a:gd name="T7" fmla="*/ 5 h 8"/>
                  <a:gd name="T8" fmla="*/ 4 w 5"/>
                  <a:gd name="T9" fmla="*/ 2 h 8"/>
                  <a:gd name="T10" fmla="*/ 1 w 5"/>
                  <a:gd name="T11" fmla="*/ 2 h 8"/>
                  <a:gd name="T12" fmla="*/ 0 w 5"/>
                  <a:gd name="T13" fmla="*/ 6 h 8"/>
                </a:gdLst>
                <a:ahLst/>
                <a:cxnLst>
                  <a:cxn ang="0">
                    <a:pos x="T0" y="T1"/>
                  </a:cxn>
                  <a:cxn ang="0">
                    <a:pos x="T2" y="T3"/>
                  </a:cxn>
                  <a:cxn ang="0">
                    <a:pos x="T4" y="T5"/>
                  </a:cxn>
                  <a:cxn ang="0">
                    <a:pos x="T6" y="T7"/>
                  </a:cxn>
                  <a:cxn ang="0">
                    <a:pos x="T8" y="T9"/>
                  </a:cxn>
                  <a:cxn ang="0">
                    <a:pos x="T10" y="T11"/>
                  </a:cxn>
                  <a:cxn ang="0">
                    <a:pos x="T12" y="T13"/>
                  </a:cxn>
                </a:cxnLst>
                <a:rect l="0" t="0" r="r" b="b"/>
                <a:pathLst>
                  <a:path w="5" h="8">
                    <a:moveTo>
                      <a:pt x="0" y="6"/>
                    </a:moveTo>
                    <a:cubicBezTo>
                      <a:pt x="0" y="7"/>
                      <a:pt x="1" y="6"/>
                      <a:pt x="1" y="7"/>
                    </a:cubicBezTo>
                    <a:cubicBezTo>
                      <a:pt x="2" y="8"/>
                      <a:pt x="3" y="7"/>
                      <a:pt x="4" y="7"/>
                    </a:cubicBezTo>
                    <a:cubicBezTo>
                      <a:pt x="5" y="7"/>
                      <a:pt x="5" y="5"/>
                      <a:pt x="5" y="5"/>
                    </a:cubicBezTo>
                    <a:cubicBezTo>
                      <a:pt x="5" y="5"/>
                      <a:pt x="4" y="4"/>
                      <a:pt x="4" y="2"/>
                    </a:cubicBezTo>
                    <a:cubicBezTo>
                      <a:pt x="3" y="0"/>
                      <a:pt x="1" y="2"/>
                      <a:pt x="1" y="2"/>
                    </a:cubicBezTo>
                    <a:cubicBezTo>
                      <a:pt x="1" y="2"/>
                      <a:pt x="0" y="5"/>
                      <a:pt x="0" y="6"/>
                    </a:cubicBezTo>
                    <a:close/>
                  </a:path>
                </a:pathLst>
              </a:custGeom>
              <a:grp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726" name="Freeform 172"/>
              <p:cNvSpPr>
                <a:spLocks/>
              </p:cNvSpPr>
              <p:nvPr/>
            </p:nvSpPr>
            <p:spPr bwMode="auto">
              <a:xfrm>
                <a:off x="3814" y="3238"/>
                <a:ext cx="14" cy="28"/>
              </a:xfrm>
              <a:custGeom>
                <a:avLst/>
                <a:gdLst>
                  <a:gd name="T0" fmla="*/ 0 w 7"/>
                  <a:gd name="T1" fmla="*/ 11 h 14"/>
                  <a:gd name="T2" fmla="*/ 3 w 7"/>
                  <a:gd name="T3" fmla="*/ 13 h 14"/>
                  <a:gd name="T4" fmla="*/ 5 w 7"/>
                  <a:gd name="T5" fmla="*/ 12 h 14"/>
                  <a:gd name="T6" fmla="*/ 6 w 7"/>
                  <a:gd name="T7" fmla="*/ 10 h 14"/>
                  <a:gd name="T8" fmla="*/ 7 w 7"/>
                  <a:gd name="T9" fmla="*/ 7 h 14"/>
                  <a:gd name="T10" fmla="*/ 6 w 7"/>
                  <a:gd name="T11" fmla="*/ 5 h 14"/>
                  <a:gd name="T12" fmla="*/ 7 w 7"/>
                  <a:gd name="T13" fmla="*/ 2 h 14"/>
                  <a:gd name="T14" fmla="*/ 5 w 7"/>
                  <a:gd name="T15" fmla="*/ 0 h 14"/>
                  <a:gd name="T16" fmla="*/ 3 w 7"/>
                  <a:gd name="T17" fmla="*/ 1 h 14"/>
                  <a:gd name="T18" fmla="*/ 1 w 7"/>
                  <a:gd name="T19" fmla="*/ 3 h 14"/>
                  <a:gd name="T20" fmla="*/ 0 w 7"/>
                  <a:gd name="T21" fmla="*/ 7 h 14"/>
                  <a:gd name="T22" fmla="*/ 0 w 7"/>
                  <a:gd name="T23" fmla="*/ 9 h 14"/>
                  <a:gd name="T24" fmla="*/ 0 w 7"/>
                  <a:gd name="T25" fmla="*/ 1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4">
                    <a:moveTo>
                      <a:pt x="0" y="11"/>
                    </a:moveTo>
                    <a:cubicBezTo>
                      <a:pt x="0" y="11"/>
                      <a:pt x="2" y="12"/>
                      <a:pt x="3" y="13"/>
                    </a:cubicBezTo>
                    <a:cubicBezTo>
                      <a:pt x="5" y="14"/>
                      <a:pt x="4" y="13"/>
                      <a:pt x="5" y="12"/>
                    </a:cubicBezTo>
                    <a:cubicBezTo>
                      <a:pt x="6" y="12"/>
                      <a:pt x="6" y="11"/>
                      <a:pt x="6" y="10"/>
                    </a:cubicBezTo>
                    <a:cubicBezTo>
                      <a:pt x="7" y="9"/>
                      <a:pt x="7" y="8"/>
                      <a:pt x="7" y="7"/>
                    </a:cubicBezTo>
                    <a:cubicBezTo>
                      <a:pt x="7" y="6"/>
                      <a:pt x="6" y="5"/>
                      <a:pt x="6" y="5"/>
                    </a:cubicBezTo>
                    <a:cubicBezTo>
                      <a:pt x="6" y="4"/>
                      <a:pt x="7" y="2"/>
                      <a:pt x="7" y="2"/>
                    </a:cubicBezTo>
                    <a:cubicBezTo>
                      <a:pt x="5" y="0"/>
                      <a:pt x="5" y="0"/>
                      <a:pt x="5" y="0"/>
                    </a:cubicBezTo>
                    <a:cubicBezTo>
                      <a:pt x="5" y="0"/>
                      <a:pt x="3" y="0"/>
                      <a:pt x="3" y="1"/>
                    </a:cubicBezTo>
                    <a:cubicBezTo>
                      <a:pt x="2" y="2"/>
                      <a:pt x="2" y="3"/>
                      <a:pt x="1" y="3"/>
                    </a:cubicBezTo>
                    <a:cubicBezTo>
                      <a:pt x="0" y="4"/>
                      <a:pt x="0" y="7"/>
                      <a:pt x="0" y="7"/>
                    </a:cubicBezTo>
                    <a:cubicBezTo>
                      <a:pt x="0" y="9"/>
                      <a:pt x="0" y="9"/>
                      <a:pt x="0" y="9"/>
                    </a:cubicBezTo>
                    <a:cubicBezTo>
                      <a:pt x="0" y="9"/>
                      <a:pt x="0" y="10"/>
                      <a:pt x="0" y="11"/>
                    </a:cubicBezTo>
                    <a:close/>
                  </a:path>
                </a:pathLst>
              </a:custGeom>
              <a:grp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727" name="Freeform 173"/>
              <p:cNvSpPr>
                <a:spLocks/>
              </p:cNvSpPr>
              <p:nvPr/>
            </p:nvSpPr>
            <p:spPr bwMode="auto">
              <a:xfrm>
                <a:off x="3808" y="3110"/>
                <a:ext cx="38" cy="40"/>
              </a:xfrm>
              <a:custGeom>
                <a:avLst/>
                <a:gdLst>
                  <a:gd name="T0" fmla="*/ 17 w 19"/>
                  <a:gd name="T1" fmla="*/ 2 h 20"/>
                  <a:gd name="T2" fmla="*/ 15 w 19"/>
                  <a:gd name="T3" fmla="*/ 1 h 20"/>
                  <a:gd name="T4" fmla="*/ 12 w 19"/>
                  <a:gd name="T5" fmla="*/ 2 h 20"/>
                  <a:gd name="T6" fmla="*/ 9 w 19"/>
                  <a:gd name="T7" fmla="*/ 1 h 20"/>
                  <a:gd name="T8" fmla="*/ 5 w 19"/>
                  <a:gd name="T9" fmla="*/ 0 h 20"/>
                  <a:gd name="T10" fmla="*/ 3 w 19"/>
                  <a:gd name="T11" fmla="*/ 3 h 20"/>
                  <a:gd name="T12" fmla="*/ 1 w 19"/>
                  <a:gd name="T13" fmla="*/ 5 h 20"/>
                  <a:gd name="T14" fmla="*/ 4 w 19"/>
                  <a:gd name="T15" fmla="*/ 7 h 20"/>
                  <a:gd name="T16" fmla="*/ 7 w 19"/>
                  <a:gd name="T17" fmla="*/ 8 h 20"/>
                  <a:gd name="T18" fmla="*/ 10 w 19"/>
                  <a:gd name="T19" fmla="*/ 10 h 20"/>
                  <a:gd name="T20" fmla="*/ 9 w 19"/>
                  <a:gd name="T21" fmla="*/ 13 h 20"/>
                  <a:gd name="T22" fmla="*/ 6 w 19"/>
                  <a:gd name="T23" fmla="*/ 16 h 20"/>
                  <a:gd name="T24" fmla="*/ 8 w 19"/>
                  <a:gd name="T25" fmla="*/ 18 h 20"/>
                  <a:gd name="T26" fmla="*/ 11 w 19"/>
                  <a:gd name="T27" fmla="*/ 19 h 20"/>
                  <a:gd name="T28" fmla="*/ 13 w 19"/>
                  <a:gd name="T29" fmla="*/ 18 h 20"/>
                  <a:gd name="T30" fmla="*/ 14 w 19"/>
                  <a:gd name="T31" fmla="*/ 15 h 20"/>
                  <a:gd name="T32" fmla="*/ 15 w 19"/>
                  <a:gd name="T33" fmla="*/ 14 h 20"/>
                  <a:gd name="T34" fmla="*/ 16 w 19"/>
                  <a:gd name="T35" fmla="*/ 12 h 20"/>
                  <a:gd name="T36" fmla="*/ 15 w 19"/>
                  <a:gd name="T37" fmla="*/ 10 h 20"/>
                  <a:gd name="T38" fmla="*/ 14 w 19"/>
                  <a:gd name="T39" fmla="*/ 9 h 20"/>
                  <a:gd name="T40" fmla="*/ 14 w 19"/>
                  <a:gd name="T41" fmla="*/ 7 h 20"/>
                  <a:gd name="T42" fmla="*/ 12 w 19"/>
                  <a:gd name="T43" fmla="*/ 6 h 20"/>
                  <a:gd name="T44" fmla="*/ 17 w 19"/>
                  <a:gd name="T45" fmla="*/ 3 h 20"/>
                  <a:gd name="T46" fmla="*/ 17 w 19"/>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 h="20">
                    <a:moveTo>
                      <a:pt x="17" y="2"/>
                    </a:moveTo>
                    <a:cubicBezTo>
                      <a:pt x="17" y="1"/>
                      <a:pt x="16" y="1"/>
                      <a:pt x="15" y="1"/>
                    </a:cubicBezTo>
                    <a:cubicBezTo>
                      <a:pt x="14" y="1"/>
                      <a:pt x="13" y="1"/>
                      <a:pt x="12" y="2"/>
                    </a:cubicBezTo>
                    <a:cubicBezTo>
                      <a:pt x="10" y="2"/>
                      <a:pt x="10" y="1"/>
                      <a:pt x="9" y="1"/>
                    </a:cubicBezTo>
                    <a:cubicBezTo>
                      <a:pt x="9" y="1"/>
                      <a:pt x="5" y="0"/>
                      <a:pt x="5" y="0"/>
                    </a:cubicBezTo>
                    <a:cubicBezTo>
                      <a:pt x="5" y="0"/>
                      <a:pt x="4" y="2"/>
                      <a:pt x="3" y="3"/>
                    </a:cubicBezTo>
                    <a:cubicBezTo>
                      <a:pt x="2" y="3"/>
                      <a:pt x="2" y="4"/>
                      <a:pt x="1" y="5"/>
                    </a:cubicBezTo>
                    <a:cubicBezTo>
                      <a:pt x="0" y="5"/>
                      <a:pt x="3" y="7"/>
                      <a:pt x="4" y="7"/>
                    </a:cubicBezTo>
                    <a:cubicBezTo>
                      <a:pt x="4" y="8"/>
                      <a:pt x="6" y="8"/>
                      <a:pt x="7" y="8"/>
                    </a:cubicBezTo>
                    <a:cubicBezTo>
                      <a:pt x="7" y="8"/>
                      <a:pt x="10" y="10"/>
                      <a:pt x="10" y="10"/>
                    </a:cubicBezTo>
                    <a:cubicBezTo>
                      <a:pt x="11" y="11"/>
                      <a:pt x="10" y="12"/>
                      <a:pt x="9" y="13"/>
                    </a:cubicBezTo>
                    <a:cubicBezTo>
                      <a:pt x="8" y="15"/>
                      <a:pt x="7" y="15"/>
                      <a:pt x="6" y="16"/>
                    </a:cubicBezTo>
                    <a:cubicBezTo>
                      <a:pt x="5" y="16"/>
                      <a:pt x="8" y="17"/>
                      <a:pt x="8" y="18"/>
                    </a:cubicBezTo>
                    <a:cubicBezTo>
                      <a:pt x="9" y="19"/>
                      <a:pt x="10" y="20"/>
                      <a:pt x="11" y="19"/>
                    </a:cubicBezTo>
                    <a:cubicBezTo>
                      <a:pt x="11" y="19"/>
                      <a:pt x="13" y="18"/>
                      <a:pt x="13" y="18"/>
                    </a:cubicBezTo>
                    <a:cubicBezTo>
                      <a:pt x="13" y="18"/>
                      <a:pt x="14" y="16"/>
                      <a:pt x="14" y="15"/>
                    </a:cubicBezTo>
                    <a:cubicBezTo>
                      <a:pt x="14" y="15"/>
                      <a:pt x="15" y="14"/>
                      <a:pt x="15" y="14"/>
                    </a:cubicBezTo>
                    <a:cubicBezTo>
                      <a:pt x="16" y="12"/>
                      <a:pt x="16" y="12"/>
                      <a:pt x="16" y="12"/>
                    </a:cubicBezTo>
                    <a:cubicBezTo>
                      <a:pt x="15" y="10"/>
                      <a:pt x="15" y="10"/>
                      <a:pt x="15" y="10"/>
                    </a:cubicBezTo>
                    <a:cubicBezTo>
                      <a:pt x="14" y="9"/>
                      <a:pt x="14" y="9"/>
                      <a:pt x="14" y="9"/>
                    </a:cubicBezTo>
                    <a:cubicBezTo>
                      <a:pt x="14" y="7"/>
                      <a:pt x="14" y="7"/>
                      <a:pt x="14" y="7"/>
                    </a:cubicBezTo>
                    <a:cubicBezTo>
                      <a:pt x="12" y="6"/>
                      <a:pt x="12" y="6"/>
                      <a:pt x="12" y="6"/>
                    </a:cubicBezTo>
                    <a:cubicBezTo>
                      <a:pt x="12" y="6"/>
                      <a:pt x="15" y="4"/>
                      <a:pt x="17" y="3"/>
                    </a:cubicBezTo>
                    <a:cubicBezTo>
                      <a:pt x="19" y="2"/>
                      <a:pt x="17" y="2"/>
                      <a:pt x="17" y="2"/>
                    </a:cubicBezTo>
                    <a:close/>
                  </a:path>
                </a:pathLst>
              </a:custGeom>
              <a:grp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728" name="Freeform 174"/>
              <p:cNvSpPr>
                <a:spLocks/>
              </p:cNvSpPr>
              <p:nvPr/>
            </p:nvSpPr>
            <p:spPr bwMode="auto">
              <a:xfrm>
                <a:off x="3842" y="3184"/>
                <a:ext cx="26" cy="20"/>
              </a:xfrm>
              <a:custGeom>
                <a:avLst/>
                <a:gdLst>
                  <a:gd name="T0" fmla="*/ 1 w 13"/>
                  <a:gd name="T1" fmla="*/ 8 h 10"/>
                  <a:gd name="T2" fmla="*/ 3 w 13"/>
                  <a:gd name="T3" fmla="*/ 10 h 10"/>
                  <a:gd name="T4" fmla="*/ 6 w 13"/>
                  <a:gd name="T5" fmla="*/ 8 h 10"/>
                  <a:gd name="T6" fmla="*/ 8 w 13"/>
                  <a:gd name="T7" fmla="*/ 6 h 10"/>
                  <a:gd name="T8" fmla="*/ 10 w 13"/>
                  <a:gd name="T9" fmla="*/ 4 h 10"/>
                  <a:gd name="T10" fmla="*/ 13 w 13"/>
                  <a:gd name="T11" fmla="*/ 0 h 10"/>
                  <a:gd name="T12" fmla="*/ 10 w 13"/>
                  <a:gd name="T13" fmla="*/ 0 h 10"/>
                  <a:gd name="T14" fmla="*/ 8 w 13"/>
                  <a:gd name="T15" fmla="*/ 3 h 10"/>
                  <a:gd name="T16" fmla="*/ 5 w 13"/>
                  <a:gd name="T17" fmla="*/ 2 h 10"/>
                  <a:gd name="T18" fmla="*/ 1 w 13"/>
                  <a:gd name="T19"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0">
                    <a:moveTo>
                      <a:pt x="1" y="8"/>
                    </a:moveTo>
                    <a:cubicBezTo>
                      <a:pt x="0" y="9"/>
                      <a:pt x="3" y="10"/>
                      <a:pt x="3" y="10"/>
                    </a:cubicBezTo>
                    <a:cubicBezTo>
                      <a:pt x="3" y="10"/>
                      <a:pt x="6" y="8"/>
                      <a:pt x="6" y="8"/>
                    </a:cubicBezTo>
                    <a:cubicBezTo>
                      <a:pt x="7" y="8"/>
                      <a:pt x="7" y="7"/>
                      <a:pt x="8" y="6"/>
                    </a:cubicBezTo>
                    <a:cubicBezTo>
                      <a:pt x="8" y="5"/>
                      <a:pt x="9" y="5"/>
                      <a:pt x="10" y="4"/>
                    </a:cubicBezTo>
                    <a:cubicBezTo>
                      <a:pt x="12" y="4"/>
                      <a:pt x="13" y="0"/>
                      <a:pt x="13" y="0"/>
                    </a:cubicBezTo>
                    <a:cubicBezTo>
                      <a:pt x="13" y="0"/>
                      <a:pt x="10" y="0"/>
                      <a:pt x="10" y="0"/>
                    </a:cubicBezTo>
                    <a:cubicBezTo>
                      <a:pt x="10" y="1"/>
                      <a:pt x="9" y="3"/>
                      <a:pt x="8" y="3"/>
                    </a:cubicBezTo>
                    <a:cubicBezTo>
                      <a:pt x="8" y="3"/>
                      <a:pt x="6" y="2"/>
                      <a:pt x="5" y="2"/>
                    </a:cubicBezTo>
                    <a:cubicBezTo>
                      <a:pt x="5" y="2"/>
                      <a:pt x="1" y="6"/>
                      <a:pt x="1" y="8"/>
                    </a:cubicBezTo>
                    <a:close/>
                  </a:path>
                </a:pathLst>
              </a:custGeom>
              <a:grp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729" name="Freeform 175"/>
              <p:cNvSpPr>
                <a:spLocks/>
              </p:cNvSpPr>
              <p:nvPr/>
            </p:nvSpPr>
            <p:spPr bwMode="auto">
              <a:xfrm>
                <a:off x="3734" y="3230"/>
                <a:ext cx="8" cy="18"/>
              </a:xfrm>
              <a:custGeom>
                <a:avLst/>
                <a:gdLst>
                  <a:gd name="T0" fmla="*/ 1 w 4"/>
                  <a:gd name="T1" fmla="*/ 1 h 9"/>
                  <a:gd name="T2" fmla="*/ 0 w 4"/>
                  <a:gd name="T3" fmla="*/ 4 h 9"/>
                  <a:gd name="T4" fmla="*/ 1 w 4"/>
                  <a:gd name="T5" fmla="*/ 9 h 9"/>
                  <a:gd name="T6" fmla="*/ 3 w 4"/>
                  <a:gd name="T7" fmla="*/ 7 h 9"/>
                  <a:gd name="T8" fmla="*/ 4 w 4"/>
                  <a:gd name="T9" fmla="*/ 4 h 9"/>
                  <a:gd name="T10" fmla="*/ 2 w 4"/>
                  <a:gd name="T11" fmla="*/ 1 h 9"/>
                  <a:gd name="T12" fmla="*/ 1 w 4"/>
                  <a:gd name="T13" fmla="*/ 1 h 9"/>
                </a:gdLst>
                <a:ahLst/>
                <a:cxnLst>
                  <a:cxn ang="0">
                    <a:pos x="T0" y="T1"/>
                  </a:cxn>
                  <a:cxn ang="0">
                    <a:pos x="T2" y="T3"/>
                  </a:cxn>
                  <a:cxn ang="0">
                    <a:pos x="T4" y="T5"/>
                  </a:cxn>
                  <a:cxn ang="0">
                    <a:pos x="T6" y="T7"/>
                  </a:cxn>
                  <a:cxn ang="0">
                    <a:pos x="T8" y="T9"/>
                  </a:cxn>
                  <a:cxn ang="0">
                    <a:pos x="T10" y="T11"/>
                  </a:cxn>
                  <a:cxn ang="0">
                    <a:pos x="T12" y="T13"/>
                  </a:cxn>
                </a:cxnLst>
                <a:rect l="0" t="0" r="r" b="b"/>
                <a:pathLst>
                  <a:path w="4" h="9">
                    <a:moveTo>
                      <a:pt x="1" y="1"/>
                    </a:moveTo>
                    <a:cubicBezTo>
                      <a:pt x="0" y="4"/>
                      <a:pt x="0" y="4"/>
                      <a:pt x="0" y="4"/>
                    </a:cubicBezTo>
                    <a:cubicBezTo>
                      <a:pt x="0" y="4"/>
                      <a:pt x="1" y="8"/>
                      <a:pt x="1" y="9"/>
                    </a:cubicBezTo>
                    <a:cubicBezTo>
                      <a:pt x="1" y="9"/>
                      <a:pt x="3" y="7"/>
                      <a:pt x="3" y="7"/>
                    </a:cubicBezTo>
                    <a:cubicBezTo>
                      <a:pt x="4" y="4"/>
                      <a:pt x="4" y="4"/>
                      <a:pt x="4" y="4"/>
                    </a:cubicBezTo>
                    <a:cubicBezTo>
                      <a:pt x="4" y="4"/>
                      <a:pt x="3" y="2"/>
                      <a:pt x="2" y="1"/>
                    </a:cubicBezTo>
                    <a:cubicBezTo>
                      <a:pt x="2" y="0"/>
                      <a:pt x="1" y="1"/>
                      <a:pt x="1" y="1"/>
                    </a:cubicBezTo>
                    <a:close/>
                  </a:path>
                </a:pathLst>
              </a:custGeom>
              <a:grp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730" name="Freeform 176"/>
              <p:cNvSpPr>
                <a:spLocks/>
              </p:cNvSpPr>
              <p:nvPr/>
            </p:nvSpPr>
            <p:spPr bwMode="auto">
              <a:xfrm>
                <a:off x="3822" y="3302"/>
                <a:ext cx="14" cy="13"/>
              </a:xfrm>
              <a:custGeom>
                <a:avLst/>
                <a:gdLst>
                  <a:gd name="T0" fmla="*/ 2 w 7"/>
                  <a:gd name="T1" fmla="*/ 4 h 6"/>
                  <a:gd name="T2" fmla="*/ 2 w 7"/>
                  <a:gd name="T3" fmla="*/ 5 h 6"/>
                  <a:gd name="T4" fmla="*/ 4 w 7"/>
                  <a:gd name="T5" fmla="*/ 6 h 6"/>
                  <a:gd name="T6" fmla="*/ 6 w 7"/>
                  <a:gd name="T7" fmla="*/ 5 h 6"/>
                  <a:gd name="T8" fmla="*/ 6 w 7"/>
                  <a:gd name="T9" fmla="*/ 3 h 6"/>
                  <a:gd name="T10" fmla="*/ 4 w 7"/>
                  <a:gd name="T11" fmla="*/ 1 h 6"/>
                  <a:gd name="T12" fmla="*/ 2 w 7"/>
                  <a:gd name="T13" fmla="*/ 0 h 6"/>
                  <a:gd name="T14" fmla="*/ 0 w 7"/>
                  <a:gd name="T15" fmla="*/ 2 h 6"/>
                  <a:gd name="T16" fmla="*/ 0 w 7"/>
                  <a:gd name="T17" fmla="*/ 3 h 6"/>
                  <a:gd name="T18" fmla="*/ 2 w 7"/>
                  <a:gd name="T1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6">
                    <a:moveTo>
                      <a:pt x="2" y="4"/>
                    </a:moveTo>
                    <a:cubicBezTo>
                      <a:pt x="2" y="4"/>
                      <a:pt x="2" y="4"/>
                      <a:pt x="2" y="5"/>
                    </a:cubicBezTo>
                    <a:cubicBezTo>
                      <a:pt x="2" y="6"/>
                      <a:pt x="3" y="6"/>
                      <a:pt x="4" y="6"/>
                    </a:cubicBezTo>
                    <a:cubicBezTo>
                      <a:pt x="4" y="6"/>
                      <a:pt x="5" y="6"/>
                      <a:pt x="6" y="5"/>
                    </a:cubicBezTo>
                    <a:cubicBezTo>
                      <a:pt x="7" y="5"/>
                      <a:pt x="6" y="3"/>
                      <a:pt x="6" y="3"/>
                    </a:cubicBezTo>
                    <a:cubicBezTo>
                      <a:pt x="5" y="2"/>
                      <a:pt x="4" y="1"/>
                      <a:pt x="4" y="1"/>
                    </a:cubicBezTo>
                    <a:cubicBezTo>
                      <a:pt x="4" y="1"/>
                      <a:pt x="2" y="0"/>
                      <a:pt x="2" y="0"/>
                    </a:cubicBezTo>
                    <a:cubicBezTo>
                      <a:pt x="1" y="0"/>
                      <a:pt x="0" y="2"/>
                      <a:pt x="0" y="2"/>
                    </a:cubicBezTo>
                    <a:cubicBezTo>
                      <a:pt x="0" y="3"/>
                      <a:pt x="0" y="3"/>
                      <a:pt x="0" y="3"/>
                    </a:cubicBezTo>
                    <a:cubicBezTo>
                      <a:pt x="0" y="3"/>
                      <a:pt x="2" y="3"/>
                      <a:pt x="2" y="4"/>
                    </a:cubicBezTo>
                    <a:close/>
                  </a:path>
                </a:pathLst>
              </a:custGeom>
              <a:grp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731" name="Freeform 177"/>
              <p:cNvSpPr>
                <a:spLocks/>
              </p:cNvSpPr>
              <p:nvPr/>
            </p:nvSpPr>
            <p:spPr bwMode="auto">
              <a:xfrm>
                <a:off x="3790" y="3246"/>
                <a:ext cx="16" cy="24"/>
              </a:xfrm>
              <a:custGeom>
                <a:avLst/>
                <a:gdLst>
                  <a:gd name="T0" fmla="*/ 2 w 8"/>
                  <a:gd name="T1" fmla="*/ 12 h 12"/>
                  <a:gd name="T2" fmla="*/ 2 w 8"/>
                  <a:gd name="T3" fmla="*/ 10 h 12"/>
                  <a:gd name="T4" fmla="*/ 4 w 8"/>
                  <a:gd name="T5" fmla="*/ 9 h 12"/>
                  <a:gd name="T6" fmla="*/ 6 w 8"/>
                  <a:gd name="T7" fmla="*/ 7 h 12"/>
                  <a:gd name="T8" fmla="*/ 8 w 8"/>
                  <a:gd name="T9" fmla="*/ 5 h 12"/>
                  <a:gd name="T10" fmla="*/ 8 w 8"/>
                  <a:gd name="T11" fmla="*/ 3 h 12"/>
                  <a:gd name="T12" fmla="*/ 8 w 8"/>
                  <a:gd name="T13" fmla="*/ 2 h 12"/>
                  <a:gd name="T14" fmla="*/ 6 w 8"/>
                  <a:gd name="T15" fmla="*/ 1 h 12"/>
                  <a:gd name="T16" fmla="*/ 5 w 8"/>
                  <a:gd name="T17" fmla="*/ 1 h 12"/>
                  <a:gd name="T18" fmla="*/ 4 w 8"/>
                  <a:gd name="T19" fmla="*/ 3 h 12"/>
                  <a:gd name="T20" fmla="*/ 2 w 8"/>
                  <a:gd name="T21" fmla="*/ 7 h 12"/>
                  <a:gd name="T22" fmla="*/ 2 w 8"/>
                  <a:gd name="T23" fmla="*/ 7 h 12"/>
                  <a:gd name="T24" fmla="*/ 0 w 8"/>
                  <a:gd name="T25" fmla="*/ 9 h 12"/>
                  <a:gd name="T26" fmla="*/ 1 w 8"/>
                  <a:gd name="T27" fmla="*/ 11 h 12"/>
                  <a:gd name="T28" fmla="*/ 2 w 8"/>
                  <a:gd name="T29"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2">
                    <a:moveTo>
                      <a:pt x="2" y="12"/>
                    </a:moveTo>
                    <a:cubicBezTo>
                      <a:pt x="2" y="10"/>
                      <a:pt x="2" y="10"/>
                      <a:pt x="2" y="10"/>
                    </a:cubicBezTo>
                    <a:cubicBezTo>
                      <a:pt x="4" y="9"/>
                      <a:pt x="4" y="9"/>
                      <a:pt x="4" y="9"/>
                    </a:cubicBezTo>
                    <a:cubicBezTo>
                      <a:pt x="4" y="9"/>
                      <a:pt x="6" y="8"/>
                      <a:pt x="6" y="7"/>
                    </a:cubicBezTo>
                    <a:cubicBezTo>
                      <a:pt x="7" y="7"/>
                      <a:pt x="8" y="6"/>
                      <a:pt x="8" y="5"/>
                    </a:cubicBezTo>
                    <a:cubicBezTo>
                      <a:pt x="8" y="5"/>
                      <a:pt x="8" y="3"/>
                      <a:pt x="8" y="3"/>
                    </a:cubicBezTo>
                    <a:cubicBezTo>
                      <a:pt x="8" y="3"/>
                      <a:pt x="8" y="2"/>
                      <a:pt x="8" y="2"/>
                    </a:cubicBezTo>
                    <a:cubicBezTo>
                      <a:pt x="8" y="2"/>
                      <a:pt x="7" y="1"/>
                      <a:pt x="6" y="1"/>
                    </a:cubicBezTo>
                    <a:cubicBezTo>
                      <a:pt x="5" y="0"/>
                      <a:pt x="6" y="1"/>
                      <a:pt x="5" y="1"/>
                    </a:cubicBezTo>
                    <a:cubicBezTo>
                      <a:pt x="4" y="1"/>
                      <a:pt x="4" y="3"/>
                      <a:pt x="4" y="3"/>
                    </a:cubicBezTo>
                    <a:cubicBezTo>
                      <a:pt x="4" y="3"/>
                      <a:pt x="3" y="6"/>
                      <a:pt x="2" y="7"/>
                    </a:cubicBezTo>
                    <a:cubicBezTo>
                      <a:pt x="2" y="7"/>
                      <a:pt x="2" y="7"/>
                      <a:pt x="2" y="7"/>
                    </a:cubicBezTo>
                    <a:cubicBezTo>
                      <a:pt x="0" y="9"/>
                      <a:pt x="0" y="9"/>
                      <a:pt x="0" y="9"/>
                    </a:cubicBezTo>
                    <a:cubicBezTo>
                      <a:pt x="1" y="11"/>
                      <a:pt x="1" y="11"/>
                      <a:pt x="1" y="11"/>
                    </a:cubicBezTo>
                    <a:lnTo>
                      <a:pt x="2" y="12"/>
                    </a:lnTo>
                    <a:close/>
                  </a:path>
                </a:pathLst>
              </a:custGeom>
              <a:grp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732" name="Freeform 178"/>
              <p:cNvSpPr>
                <a:spLocks/>
              </p:cNvSpPr>
              <p:nvPr/>
            </p:nvSpPr>
            <p:spPr bwMode="auto">
              <a:xfrm>
                <a:off x="3730" y="2999"/>
                <a:ext cx="20" cy="20"/>
              </a:xfrm>
              <a:custGeom>
                <a:avLst/>
                <a:gdLst>
                  <a:gd name="T0" fmla="*/ 6 w 10"/>
                  <a:gd name="T1" fmla="*/ 6 h 10"/>
                  <a:gd name="T2" fmla="*/ 9 w 10"/>
                  <a:gd name="T3" fmla="*/ 4 h 10"/>
                  <a:gd name="T4" fmla="*/ 9 w 10"/>
                  <a:gd name="T5" fmla="*/ 2 h 10"/>
                  <a:gd name="T6" fmla="*/ 9 w 10"/>
                  <a:gd name="T7" fmla="*/ 1 h 10"/>
                  <a:gd name="T8" fmla="*/ 5 w 10"/>
                  <a:gd name="T9" fmla="*/ 0 h 10"/>
                  <a:gd name="T10" fmla="*/ 2 w 10"/>
                  <a:gd name="T11" fmla="*/ 1 h 10"/>
                  <a:gd name="T12" fmla="*/ 0 w 10"/>
                  <a:gd name="T13" fmla="*/ 3 h 10"/>
                  <a:gd name="T14" fmla="*/ 1 w 10"/>
                  <a:gd name="T15" fmla="*/ 5 h 10"/>
                  <a:gd name="T16" fmla="*/ 2 w 10"/>
                  <a:gd name="T17" fmla="*/ 8 h 10"/>
                  <a:gd name="T18" fmla="*/ 3 w 10"/>
                  <a:gd name="T19" fmla="*/ 9 h 10"/>
                  <a:gd name="T20" fmla="*/ 6 w 10"/>
                  <a:gd name="T21" fmla="*/ 8 h 10"/>
                  <a:gd name="T22" fmla="*/ 6 w 10"/>
                  <a:gd name="T23"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10">
                    <a:moveTo>
                      <a:pt x="6" y="6"/>
                    </a:moveTo>
                    <a:cubicBezTo>
                      <a:pt x="6" y="6"/>
                      <a:pt x="8" y="5"/>
                      <a:pt x="9" y="4"/>
                    </a:cubicBezTo>
                    <a:cubicBezTo>
                      <a:pt x="10" y="3"/>
                      <a:pt x="9" y="2"/>
                      <a:pt x="9" y="2"/>
                    </a:cubicBezTo>
                    <a:cubicBezTo>
                      <a:pt x="9" y="1"/>
                      <a:pt x="9" y="1"/>
                      <a:pt x="9" y="1"/>
                    </a:cubicBezTo>
                    <a:cubicBezTo>
                      <a:pt x="9" y="1"/>
                      <a:pt x="7" y="0"/>
                      <a:pt x="5" y="0"/>
                    </a:cubicBezTo>
                    <a:cubicBezTo>
                      <a:pt x="3" y="0"/>
                      <a:pt x="4" y="0"/>
                      <a:pt x="2" y="1"/>
                    </a:cubicBezTo>
                    <a:cubicBezTo>
                      <a:pt x="1" y="1"/>
                      <a:pt x="1" y="2"/>
                      <a:pt x="0" y="3"/>
                    </a:cubicBezTo>
                    <a:cubicBezTo>
                      <a:pt x="0" y="4"/>
                      <a:pt x="0" y="4"/>
                      <a:pt x="1" y="5"/>
                    </a:cubicBezTo>
                    <a:cubicBezTo>
                      <a:pt x="2" y="6"/>
                      <a:pt x="2" y="6"/>
                      <a:pt x="2" y="8"/>
                    </a:cubicBezTo>
                    <a:cubicBezTo>
                      <a:pt x="2" y="10"/>
                      <a:pt x="3" y="9"/>
                      <a:pt x="3" y="9"/>
                    </a:cubicBezTo>
                    <a:cubicBezTo>
                      <a:pt x="4" y="9"/>
                      <a:pt x="5" y="9"/>
                      <a:pt x="6" y="8"/>
                    </a:cubicBezTo>
                    <a:cubicBezTo>
                      <a:pt x="8" y="7"/>
                      <a:pt x="6" y="6"/>
                      <a:pt x="6" y="6"/>
                    </a:cubicBezTo>
                    <a:close/>
                  </a:path>
                </a:pathLst>
              </a:custGeom>
              <a:grp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733" name="Freeform 179"/>
              <p:cNvSpPr>
                <a:spLocks/>
              </p:cNvSpPr>
              <p:nvPr/>
            </p:nvSpPr>
            <p:spPr bwMode="auto">
              <a:xfrm>
                <a:off x="3742" y="3282"/>
                <a:ext cx="24" cy="22"/>
              </a:xfrm>
              <a:custGeom>
                <a:avLst/>
                <a:gdLst>
                  <a:gd name="T0" fmla="*/ 10 w 12"/>
                  <a:gd name="T1" fmla="*/ 4 h 11"/>
                  <a:gd name="T2" fmla="*/ 11 w 12"/>
                  <a:gd name="T3" fmla="*/ 3 h 11"/>
                  <a:gd name="T4" fmla="*/ 10 w 12"/>
                  <a:gd name="T5" fmla="*/ 1 h 11"/>
                  <a:gd name="T6" fmla="*/ 7 w 12"/>
                  <a:gd name="T7" fmla="*/ 2 h 11"/>
                  <a:gd name="T8" fmla="*/ 8 w 12"/>
                  <a:gd name="T9" fmla="*/ 3 h 11"/>
                  <a:gd name="T10" fmla="*/ 7 w 12"/>
                  <a:gd name="T11" fmla="*/ 3 h 11"/>
                  <a:gd name="T12" fmla="*/ 5 w 12"/>
                  <a:gd name="T13" fmla="*/ 4 h 11"/>
                  <a:gd name="T14" fmla="*/ 6 w 12"/>
                  <a:gd name="T15" fmla="*/ 6 h 11"/>
                  <a:gd name="T16" fmla="*/ 5 w 12"/>
                  <a:gd name="T17" fmla="*/ 7 h 11"/>
                  <a:gd name="T18" fmla="*/ 4 w 12"/>
                  <a:gd name="T19" fmla="*/ 6 h 11"/>
                  <a:gd name="T20" fmla="*/ 2 w 12"/>
                  <a:gd name="T21" fmla="*/ 6 h 11"/>
                  <a:gd name="T22" fmla="*/ 1 w 12"/>
                  <a:gd name="T23" fmla="*/ 10 h 11"/>
                  <a:gd name="T24" fmla="*/ 3 w 12"/>
                  <a:gd name="T25" fmla="*/ 10 h 11"/>
                  <a:gd name="T26" fmla="*/ 5 w 12"/>
                  <a:gd name="T27" fmla="*/ 9 h 11"/>
                  <a:gd name="T28" fmla="*/ 5 w 12"/>
                  <a:gd name="T29" fmla="*/ 10 h 11"/>
                  <a:gd name="T30" fmla="*/ 8 w 12"/>
                  <a:gd name="T31" fmla="*/ 8 h 11"/>
                  <a:gd name="T32" fmla="*/ 9 w 12"/>
                  <a:gd name="T33" fmla="*/ 7 h 11"/>
                  <a:gd name="T34" fmla="*/ 8 w 12"/>
                  <a:gd name="T35" fmla="*/ 5 h 11"/>
                  <a:gd name="T36" fmla="*/ 10 w 12"/>
                  <a:gd name="T37"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 h="11">
                    <a:moveTo>
                      <a:pt x="10" y="4"/>
                    </a:moveTo>
                    <a:cubicBezTo>
                      <a:pt x="12" y="4"/>
                      <a:pt x="11" y="3"/>
                      <a:pt x="11" y="3"/>
                    </a:cubicBezTo>
                    <a:cubicBezTo>
                      <a:pt x="11" y="2"/>
                      <a:pt x="11" y="2"/>
                      <a:pt x="10" y="1"/>
                    </a:cubicBezTo>
                    <a:cubicBezTo>
                      <a:pt x="10" y="0"/>
                      <a:pt x="8" y="1"/>
                      <a:pt x="7" y="2"/>
                    </a:cubicBezTo>
                    <a:cubicBezTo>
                      <a:pt x="8" y="3"/>
                      <a:pt x="8" y="3"/>
                      <a:pt x="8" y="3"/>
                    </a:cubicBezTo>
                    <a:cubicBezTo>
                      <a:pt x="8" y="3"/>
                      <a:pt x="7" y="3"/>
                      <a:pt x="7" y="3"/>
                    </a:cubicBezTo>
                    <a:cubicBezTo>
                      <a:pt x="6" y="3"/>
                      <a:pt x="6" y="4"/>
                      <a:pt x="5" y="4"/>
                    </a:cubicBezTo>
                    <a:cubicBezTo>
                      <a:pt x="5" y="5"/>
                      <a:pt x="6" y="6"/>
                      <a:pt x="6" y="6"/>
                    </a:cubicBezTo>
                    <a:cubicBezTo>
                      <a:pt x="5" y="7"/>
                      <a:pt x="5" y="7"/>
                      <a:pt x="5" y="7"/>
                    </a:cubicBezTo>
                    <a:cubicBezTo>
                      <a:pt x="5" y="7"/>
                      <a:pt x="5" y="7"/>
                      <a:pt x="4" y="6"/>
                    </a:cubicBezTo>
                    <a:cubicBezTo>
                      <a:pt x="3" y="5"/>
                      <a:pt x="3" y="6"/>
                      <a:pt x="2" y="6"/>
                    </a:cubicBezTo>
                    <a:cubicBezTo>
                      <a:pt x="0" y="7"/>
                      <a:pt x="1" y="9"/>
                      <a:pt x="1" y="10"/>
                    </a:cubicBezTo>
                    <a:cubicBezTo>
                      <a:pt x="2" y="11"/>
                      <a:pt x="3" y="10"/>
                      <a:pt x="3" y="10"/>
                    </a:cubicBezTo>
                    <a:cubicBezTo>
                      <a:pt x="5" y="9"/>
                      <a:pt x="5" y="9"/>
                      <a:pt x="5" y="9"/>
                    </a:cubicBezTo>
                    <a:cubicBezTo>
                      <a:pt x="5" y="10"/>
                      <a:pt x="5" y="10"/>
                      <a:pt x="5" y="10"/>
                    </a:cubicBezTo>
                    <a:cubicBezTo>
                      <a:pt x="5" y="10"/>
                      <a:pt x="6" y="10"/>
                      <a:pt x="8" y="8"/>
                    </a:cubicBezTo>
                    <a:cubicBezTo>
                      <a:pt x="11" y="7"/>
                      <a:pt x="9" y="7"/>
                      <a:pt x="9" y="7"/>
                    </a:cubicBezTo>
                    <a:cubicBezTo>
                      <a:pt x="8" y="5"/>
                      <a:pt x="8" y="5"/>
                      <a:pt x="8" y="5"/>
                    </a:cubicBezTo>
                    <a:cubicBezTo>
                      <a:pt x="8" y="5"/>
                      <a:pt x="8" y="5"/>
                      <a:pt x="10" y="4"/>
                    </a:cubicBezTo>
                    <a:close/>
                  </a:path>
                </a:pathLst>
              </a:custGeom>
              <a:solidFill>
                <a:srgbClr val="0181C7"/>
              </a:solid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734" name="Freeform 180"/>
              <p:cNvSpPr>
                <a:spLocks/>
              </p:cNvSpPr>
              <p:nvPr/>
            </p:nvSpPr>
            <p:spPr bwMode="auto">
              <a:xfrm>
                <a:off x="3736" y="3044"/>
                <a:ext cx="8" cy="6"/>
              </a:xfrm>
              <a:custGeom>
                <a:avLst/>
                <a:gdLst>
                  <a:gd name="T0" fmla="*/ 3 w 4"/>
                  <a:gd name="T1" fmla="*/ 0 h 3"/>
                  <a:gd name="T2" fmla="*/ 1 w 4"/>
                  <a:gd name="T3" fmla="*/ 1 h 3"/>
                  <a:gd name="T4" fmla="*/ 0 w 4"/>
                  <a:gd name="T5" fmla="*/ 2 h 3"/>
                  <a:gd name="T6" fmla="*/ 1 w 4"/>
                  <a:gd name="T7" fmla="*/ 3 h 3"/>
                  <a:gd name="T8" fmla="*/ 3 w 4"/>
                  <a:gd name="T9" fmla="*/ 1 h 3"/>
                  <a:gd name="T10" fmla="*/ 3 w 4"/>
                  <a:gd name="T11" fmla="*/ 0 h 3"/>
                </a:gdLst>
                <a:ahLst/>
                <a:cxnLst>
                  <a:cxn ang="0">
                    <a:pos x="T0" y="T1"/>
                  </a:cxn>
                  <a:cxn ang="0">
                    <a:pos x="T2" y="T3"/>
                  </a:cxn>
                  <a:cxn ang="0">
                    <a:pos x="T4" y="T5"/>
                  </a:cxn>
                  <a:cxn ang="0">
                    <a:pos x="T6" y="T7"/>
                  </a:cxn>
                  <a:cxn ang="0">
                    <a:pos x="T8" y="T9"/>
                  </a:cxn>
                  <a:cxn ang="0">
                    <a:pos x="T10" y="T11"/>
                  </a:cxn>
                </a:cxnLst>
                <a:rect l="0" t="0" r="r" b="b"/>
                <a:pathLst>
                  <a:path w="4" h="3">
                    <a:moveTo>
                      <a:pt x="3" y="0"/>
                    </a:moveTo>
                    <a:cubicBezTo>
                      <a:pt x="1" y="1"/>
                      <a:pt x="1" y="1"/>
                      <a:pt x="1" y="1"/>
                    </a:cubicBezTo>
                    <a:cubicBezTo>
                      <a:pt x="1" y="1"/>
                      <a:pt x="0" y="2"/>
                      <a:pt x="0" y="2"/>
                    </a:cubicBezTo>
                    <a:cubicBezTo>
                      <a:pt x="1" y="3"/>
                      <a:pt x="1" y="3"/>
                      <a:pt x="1" y="3"/>
                    </a:cubicBezTo>
                    <a:cubicBezTo>
                      <a:pt x="1" y="3"/>
                      <a:pt x="2" y="2"/>
                      <a:pt x="3" y="1"/>
                    </a:cubicBezTo>
                    <a:cubicBezTo>
                      <a:pt x="4" y="0"/>
                      <a:pt x="3" y="0"/>
                      <a:pt x="3" y="0"/>
                    </a:cubicBezTo>
                    <a:close/>
                  </a:path>
                </a:pathLst>
              </a:custGeom>
              <a:grp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735" name="Freeform 181"/>
              <p:cNvSpPr>
                <a:spLocks/>
              </p:cNvSpPr>
              <p:nvPr/>
            </p:nvSpPr>
            <p:spPr bwMode="auto">
              <a:xfrm>
                <a:off x="3762" y="3266"/>
                <a:ext cx="10" cy="14"/>
              </a:xfrm>
              <a:custGeom>
                <a:avLst/>
                <a:gdLst>
                  <a:gd name="T0" fmla="*/ 3 w 5"/>
                  <a:gd name="T1" fmla="*/ 6 h 7"/>
                  <a:gd name="T2" fmla="*/ 5 w 5"/>
                  <a:gd name="T3" fmla="*/ 3 h 7"/>
                  <a:gd name="T4" fmla="*/ 5 w 5"/>
                  <a:gd name="T5" fmla="*/ 1 h 7"/>
                  <a:gd name="T6" fmla="*/ 3 w 5"/>
                  <a:gd name="T7" fmla="*/ 0 h 7"/>
                  <a:gd name="T8" fmla="*/ 0 w 5"/>
                  <a:gd name="T9" fmla="*/ 1 h 7"/>
                  <a:gd name="T10" fmla="*/ 2 w 5"/>
                  <a:gd name="T11" fmla="*/ 3 h 7"/>
                  <a:gd name="T12" fmla="*/ 3 w 5"/>
                  <a:gd name="T13" fmla="*/ 6 h 7"/>
                </a:gdLst>
                <a:ahLst/>
                <a:cxnLst>
                  <a:cxn ang="0">
                    <a:pos x="T0" y="T1"/>
                  </a:cxn>
                  <a:cxn ang="0">
                    <a:pos x="T2" y="T3"/>
                  </a:cxn>
                  <a:cxn ang="0">
                    <a:pos x="T4" y="T5"/>
                  </a:cxn>
                  <a:cxn ang="0">
                    <a:pos x="T6" y="T7"/>
                  </a:cxn>
                  <a:cxn ang="0">
                    <a:pos x="T8" y="T9"/>
                  </a:cxn>
                  <a:cxn ang="0">
                    <a:pos x="T10" y="T11"/>
                  </a:cxn>
                  <a:cxn ang="0">
                    <a:pos x="T12" y="T13"/>
                  </a:cxn>
                </a:cxnLst>
                <a:rect l="0" t="0" r="r" b="b"/>
                <a:pathLst>
                  <a:path w="5" h="7">
                    <a:moveTo>
                      <a:pt x="3" y="6"/>
                    </a:moveTo>
                    <a:cubicBezTo>
                      <a:pt x="4" y="7"/>
                      <a:pt x="5" y="3"/>
                      <a:pt x="5" y="3"/>
                    </a:cubicBezTo>
                    <a:cubicBezTo>
                      <a:pt x="5" y="1"/>
                      <a:pt x="5" y="1"/>
                      <a:pt x="5" y="1"/>
                    </a:cubicBezTo>
                    <a:cubicBezTo>
                      <a:pt x="3" y="0"/>
                      <a:pt x="3" y="0"/>
                      <a:pt x="3" y="0"/>
                    </a:cubicBezTo>
                    <a:cubicBezTo>
                      <a:pt x="0" y="1"/>
                      <a:pt x="0" y="1"/>
                      <a:pt x="0" y="1"/>
                    </a:cubicBezTo>
                    <a:cubicBezTo>
                      <a:pt x="2" y="3"/>
                      <a:pt x="2" y="3"/>
                      <a:pt x="2" y="3"/>
                    </a:cubicBezTo>
                    <a:cubicBezTo>
                      <a:pt x="2" y="3"/>
                      <a:pt x="2" y="5"/>
                      <a:pt x="3" y="6"/>
                    </a:cubicBezTo>
                    <a:close/>
                  </a:path>
                </a:pathLst>
              </a:custGeom>
              <a:grp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736" name="Freeform 182"/>
              <p:cNvSpPr>
                <a:spLocks/>
              </p:cNvSpPr>
              <p:nvPr/>
            </p:nvSpPr>
            <p:spPr bwMode="auto">
              <a:xfrm>
                <a:off x="3708" y="3391"/>
                <a:ext cx="204" cy="56"/>
              </a:xfrm>
              <a:custGeom>
                <a:avLst/>
                <a:gdLst>
                  <a:gd name="T0" fmla="*/ 102 w 102"/>
                  <a:gd name="T1" fmla="*/ 0 h 28"/>
                  <a:gd name="T2" fmla="*/ 98 w 102"/>
                  <a:gd name="T3" fmla="*/ 3 h 28"/>
                  <a:gd name="T4" fmla="*/ 94 w 102"/>
                  <a:gd name="T5" fmla="*/ 6 h 28"/>
                  <a:gd name="T6" fmla="*/ 88 w 102"/>
                  <a:gd name="T7" fmla="*/ 9 h 28"/>
                  <a:gd name="T8" fmla="*/ 83 w 102"/>
                  <a:gd name="T9" fmla="*/ 12 h 28"/>
                  <a:gd name="T10" fmla="*/ 81 w 102"/>
                  <a:gd name="T11" fmla="*/ 5 h 28"/>
                  <a:gd name="T12" fmla="*/ 75 w 102"/>
                  <a:gd name="T13" fmla="*/ 5 h 28"/>
                  <a:gd name="T14" fmla="*/ 66 w 102"/>
                  <a:gd name="T15" fmla="*/ 8 h 28"/>
                  <a:gd name="T16" fmla="*/ 60 w 102"/>
                  <a:gd name="T17" fmla="*/ 9 h 28"/>
                  <a:gd name="T18" fmla="*/ 51 w 102"/>
                  <a:gd name="T19" fmla="*/ 6 h 28"/>
                  <a:gd name="T20" fmla="*/ 42 w 102"/>
                  <a:gd name="T21" fmla="*/ 8 h 28"/>
                  <a:gd name="T22" fmla="*/ 31 w 102"/>
                  <a:gd name="T23" fmla="*/ 13 h 28"/>
                  <a:gd name="T24" fmla="*/ 28 w 102"/>
                  <a:gd name="T25" fmla="*/ 11 h 28"/>
                  <a:gd name="T26" fmla="*/ 24 w 102"/>
                  <a:gd name="T27" fmla="*/ 9 h 28"/>
                  <a:gd name="T28" fmla="*/ 21 w 102"/>
                  <a:gd name="T29" fmla="*/ 9 h 28"/>
                  <a:gd name="T30" fmla="*/ 23 w 102"/>
                  <a:gd name="T31" fmla="*/ 5 h 28"/>
                  <a:gd name="T32" fmla="*/ 18 w 102"/>
                  <a:gd name="T33" fmla="*/ 6 h 28"/>
                  <a:gd name="T34" fmla="*/ 11 w 102"/>
                  <a:gd name="T35" fmla="*/ 10 h 28"/>
                  <a:gd name="T36" fmla="*/ 8 w 102"/>
                  <a:gd name="T37" fmla="*/ 6 h 28"/>
                  <a:gd name="T38" fmla="*/ 5 w 102"/>
                  <a:gd name="T39" fmla="*/ 4 h 28"/>
                  <a:gd name="T40" fmla="*/ 7 w 102"/>
                  <a:gd name="T41" fmla="*/ 10 h 28"/>
                  <a:gd name="T42" fmla="*/ 3 w 102"/>
                  <a:gd name="T43" fmla="*/ 12 h 28"/>
                  <a:gd name="T44" fmla="*/ 2 w 102"/>
                  <a:gd name="T45" fmla="*/ 8 h 28"/>
                  <a:gd name="T46" fmla="*/ 2 w 102"/>
                  <a:gd name="T47" fmla="*/ 15 h 28"/>
                  <a:gd name="T48" fmla="*/ 3 w 102"/>
                  <a:gd name="T49" fmla="*/ 22 h 28"/>
                  <a:gd name="T50" fmla="*/ 9 w 102"/>
                  <a:gd name="T51" fmla="*/ 24 h 28"/>
                  <a:gd name="T52" fmla="*/ 14 w 102"/>
                  <a:gd name="T53" fmla="*/ 21 h 28"/>
                  <a:gd name="T54" fmla="*/ 22 w 102"/>
                  <a:gd name="T55" fmla="*/ 22 h 28"/>
                  <a:gd name="T56" fmla="*/ 30 w 102"/>
                  <a:gd name="T57" fmla="*/ 21 h 28"/>
                  <a:gd name="T58" fmla="*/ 42 w 102"/>
                  <a:gd name="T59" fmla="*/ 22 h 28"/>
                  <a:gd name="T60" fmla="*/ 48 w 102"/>
                  <a:gd name="T61" fmla="*/ 23 h 28"/>
                  <a:gd name="T62" fmla="*/ 50 w 102"/>
                  <a:gd name="T63" fmla="*/ 28 h 28"/>
                  <a:gd name="T64" fmla="*/ 60 w 102"/>
                  <a:gd name="T65" fmla="*/ 26 h 28"/>
                  <a:gd name="T66" fmla="*/ 70 w 102"/>
                  <a:gd name="T67" fmla="*/ 22 h 28"/>
                  <a:gd name="T68" fmla="*/ 80 w 102"/>
                  <a:gd name="T69" fmla="*/ 18 h 28"/>
                  <a:gd name="T70" fmla="*/ 91 w 102"/>
                  <a:gd name="T71" fmla="*/ 15 h 28"/>
                  <a:gd name="T72" fmla="*/ 97 w 102"/>
                  <a:gd name="T73" fmla="*/ 15 h 28"/>
                  <a:gd name="T74" fmla="*/ 101 w 102"/>
                  <a:gd name="T75" fmla="*/ 11 h 28"/>
                  <a:gd name="T76" fmla="*/ 102 w 102"/>
                  <a:gd name="T77" fmla="*/ 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2" h="28">
                    <a:moveTo>
                      <a:pt x="100" y="3"/>
                    </a:moveTo>
                    <a:cubicBezTo>
                      <a:pt x="102" y="0"/>
                      <a:pt x="102" y="0"/>
                      <a:pt x="102" y="0"/>
                    </a:cubicBezTo>
                    <a:cubicBezTo>
                      <a:pt x="102" y="0"/>
                      <a:pt x="100" y="1"/>
                      <a:pt x="100" y="1"/>
                    </a:cubicBezTo>
                    <a:cubicBezTo>
                      <a:pt x="99" y="1"/>
                      <a:pt x="98" y="3"/>
                      <a:pt x="98" y="3"/>
                    </a:cubicBezTo>
                    <a:cubicBezTo>
                      <a:pt x="98" y="3"/>
                      <a:pt x="97" y="5"/>
                      <a:pt x="96" y="6"/>
                    </a:cubicBezTo>
                    <a:cubicBezTo>
                      <a:pt x="95" y="6"/>
                      <a:pt x="95" y="6"/>
                      <a:pt x="94" y="6"/>
                    </a:cubicBezTo>
                    <a:cubicBezTo>
                      <a:pt x="93" y="6"/>
                      <a:pt x="92" y="6"/>
                      <a:pt x="92" y="7"/>
                    </a:cubicBezTo>
                    <a:cubicBezTo>
                      <a:pt x="91" y="7"/>
                      <a:pt x="90" y="7"/>
                      <a:pt x="88" y="9"/>
                    </a:cubicBezTo>
                    <a:cubicBezTo>
                      <a:pt x="85" y="11"/>
                      <a:pt x="86" y="11"/>
                      <a:pt x="86" y="11"/>
                    </a:cubicBezTo>
                    <a:cubicBezTo>
                      <a:pt x="86" y="11"/>
                      <a:pt x="84" y="12"/>
                      <a:pt x="83" y="12"/>
                    </a:cubicBezTo>
                    <a:cubicBezTo>
                      <a:pt x="82" y="12"/>
                      <a:pt x="82" y="11"/>
                      <a:pt x="82" y="10"/>
                    </a:cubicBezTo>
                    <a:cubicBezTo>
                      <a:pt x="82" y="9"/>
                      <a:pt x="82" y="7"/>
                      <a:pt x="81" y="5"/>
                    </a:cubicBezTo>
                    <a:cubicBezTo>
                      <a:pt x="81" y="3"/>
                      <a:pt x="81" y="3"/>
                      <a:pt x="81" y="3"/>
                    </a:cubicBezTo>
                    <a:cubicBezTo>
                      <a:pt x="81" y="3"/>
                      <a:pt x="75" y="5"/>
                      <a:pt x="75" y="5"/>
                    </a:cubicBezTo>
                    <a:cubicBezTo>
                      <a:pt x="74" y="5"/>
                      <a:pt x="72" y="8"/>
                      <a:pt x="72" y="8"/>
                    </a:cubicBezTo>
                    <a:cubicBezTo>
                      <a:pt x="72" y="8"/>
                      <a:pt x="67" y="8"/>
                      <a:pt x="66" y="8"/>
                    </a:cubicBezTo>
                    <a:cubicBezTo>
                      <a:pt x="66" y="8"/>
                      <a:pt x="64" y="8"/>
                      <a:pt x="64" y="8"/>
                    </a:cubicBezTo>
                    <a:cubicBezTo>
                      <a:pt x="60" y="9"/>
                      <a:pt x="60" y="9"/>
                      <a:pt x="60" y="9"/>
                    </a:cubicBezTo>
                    <a:cubicBezTo>
                      <a:pt x="60" y="9"/>
                      <a:pt x="56" y="7"/>
                      <a:pt x="55" y="5"/>
                    </a:cubicBezTo>
                    <a:cubicBezTo>
                      <a:pt x="54" y="4"/>
                      <a:pt x="51" y="6"/>
                      <a:pt x="51" y="6"/>
                    </a:cubicBezTo>
                    <a:cubicBezTo>
                      <a:pt x="51" y="6"/>
                      <a:pt x="47" y="7"/>
                      <a:pt x="46" y="8"/>
                    </a:cubicBezTo>
                    <a:cubicBezTo>
                      <a:pt x="45" y="8"/>
                      <a:pt x="42" y="8"/>
                      <a:pt x="42" y="8"/>
                    </a:cubicBezTo>
                    <a:cubicBezTo>
                      <a:pt x="40" y="10"/>
                      <a:pt x="40" y="10"/>
                      <a:pt x="40" y="10"/>
                    </a:cubicBezTo>
                    <a:cubicBezTo>
                      <a:pt x="40" y="10"/>
                      <a:pt x="32" y="13"/>
                      <a:pt x="31" y="13"/>
                    </a:cubicBezTo>
                    <a:cubicBezTo>
                      <a:pt x="31" y="13"/>
                      <a:pt x="29" y="13"/>
                      <a:pt x="28" y="13"/>
                    </a:cubicBezTo>
                    <a:cubicBezTo>
                      <a:pt x="28" y="13"/>
                      <a:pt x="28" y="11"/>
                      <a:pt x="28" y="11"/>
                    </a:cubicBezTo>
                    <a:cubicBezTo>
                      <a:pt x="28" y="11"/>
                      <a:pt x="26" y="9"/>
                      <a:pt x="26" y="9"/>
                    </a:cubicBezTo>
                    <a:cubicBezTo>
                      <a:pt x="25" y="8"/>
                      <a:pt x="25" y="9"/>
                      <a:pt x="24" y="9"/>
                    </a:cubicBezTo>
                    <a:cubicBezTo>
                      <a:pt x="24" y="9"/>
                      <a:pt x="23" y="10"/>
                      <a:pt x="23" y="10"/>
                    </a:cubicBezTo>
                    <a:cubicBezTo>
                      <a:pt x="21" y="9"/>
                      <a:pt x="21" y="9"/>
                      <a:pt x="21" y="9"/>
                    </a:cubicBezTo>
                    <a:cubicBezTo>
                      <a:pt x="21" y="9"/>
                      <a:pt x="22" y="8"/>
                      <a:pt x="23" y="8"/>
                    </a:cubicBezTo>
                    <a:cubicBezTo>
                      <a:pt x="23" y="8"/>
                      <a:pt x="24" y="6"/>
                      <a:pt x="23" y="5"/>
                    </a:cubicBezTo>
                    <a:cubicBezTo>
                      <a:pt x="21" y="4"/>
                      <a:pt x="21" y="4"/>
                      <a:pt x="21" y="4"/>
                    </a:cubicBezTo>
                    <a:cubicBezTo>
                      <a:pt x="21" y="4"/>
                      <a:pt x="18" y="6"/>
                      <a:pt x="18" y="6"/>
                    </a:cubicBezTo>
                    <a:cubicBezTo>
                      <a:pt x="18" y="7"/>
                      <a:pt x="16" y="9"/>
                      <a:pt x="16" y="9"/>
                    </a:cubicBezTo>
                    <a:cubicBezTo>
                      <a:pt x="16" y="9"/>
                      <a:pt x="11" y="10"/>
                      <a:pt x="11" y="10"/>
                    </a:cubicBezTo>
                    <a:cubicBezTo>
                      <a:pt x="10" y="10"/>
                      <a:pt x="9" y="8"/>
                      <a:pt x="9" y="8"/>
                    </a:cubicBezTo>
                    <a:cubicBezTo>
                      <a:pt x="9" y="8"/>
                      <a:pt x="8" y="7"/>
                      <a:pt x="8" y="6"/>
                    </a:cubicBezTo>
                    <a:cubicBezTo>
                      <a:pt x="8" y="5"/>
                      <a:pt x="7" y="3"/>
                      <a:pt x="7" y="3"/>
                    </a:cubicBezTo>
                    <a:cubicBezTo>
                      <a:pt x="5" y="4"/>
                      <a:pt x="5" y="4"/>
                      <a:pt x="5" y="4"/>
                    </a:cubicBezTo>
                    <a:cubicBezTo>
                      <a:pt x="6" y="7"/>
                      <a:pt x="6" y="7"/>
                      <a:pt x="6" y="7"/>
                    </a:cubicBezTo>
                    <a:cubicBezTo>
                      <a:pt x="7" y="10"/>
                      <a:pt x="7" y="10"/>
                      <a:pt x="7" y="10"/>
                    </a:cubicBezTo>
                    <a:cubicBezTo>
                      <a:pt x="6" y="12"/>
                      <a:pt x="6" y="12"/>
                      <a:pt x="6" y="12"/>
                    </a:cubicBezTo>
                    <a:cubicBezTo>
                      <a:pt x="6" y="12"/>
                      <a:pt x="5" y="12"/>
                      <a:pt x="3" y="12"/>
                    </a:cubicBezTo>
                    <a:cubicBezTo>
                      <a:pt x="2" y="12"/>
                      <a:pt x="3" y="10"/>
                      <a:pt x="3" y="10"/>
                    </a:cubicBezTo>
                    <a:cubicBezTo>
                      <a:pt x="3" y="9"/>
                      <a:pt x="2" y="8"/>
                      <a:pt x="2" y="8"/>
                    </a:cubicBezTo>
                    <a:cubicBezTo>
                      <a:pt x="0" y="10"/>
                      <a:pt x="0" y="10"/>
                      <a:pt x="0" y="10"/>
                    </a:cubicBezTo>
                    <a:cubicBezTo>
                      <a:pt x="0" y="10"/>
                      <a:pt x="1" y="13"/>
                      <a:pt x="2" y="15"/>
                    </a:cubicBezTo>
                    <a:cubicBezTo>
                      <a:pt x="2" y="17"/>
                      <a:pt x="2" y="17"/>
                      <a:pt x="2" y="17"/>
                    </a:cubicBezTo>
                    <a:cubicBezTo>
                      <a:pt x="3" y="22"/>
                      <a:pt x="3" y="22"/>
                      <a:pt x="3" y="22"/>
                    </a:cubicBezTo>
                    <a:cubicBezTo>
                      <a:pt x="3" y="22"/>
                      <a:pt x="5" y="23"/>
                      <a:pt x="6" y="24"/>
                    </a:cubicBezTo>
                    <a:cubicBezTo>
                      <a:pt x="8" y="25"/>
                      <a:pt x="8" y="24"/>
                      <a:pt x="9" y="24"/>
                    </a:cubicBezTo>
                    <a:cubicBezTo>
                      <a:pt x="11" y="24"/>
                      <a:pt x="10" y="23"/>
                      <a:pt x="11" y="22"/>
                    </a:cubicBezTo>
                    <a:cubicBezTo>
                      <a:pt x="12" y="21"/>
                      <a:pt x="14" y="21"/>
                      <a:pt x="14" y="21"/>
                    </a:cubicBezTo>
                    <a:cubicBezTo>
                      <a:pt x="17" y="23"/>
                      <a:pt x="17" y="23"/>
                      <a:pt x="17" y="23"/>
                    </a:cubicBezTo>
                    <a:cubicBezTo>
                      <a:pt x="17" y="23"/>
                      <a:pt x="19" y="22"/>
                      <a:pt x="22" y="22"/>
                    </a:cubicBezTo>
                    <a:cubicBezTo>
                      <a:pt x="24" y="21"/>
                      <a:pt x="24" y="22"/>
                      <a:pt x="25" y="22"/>
                    </a:cubicBezTo>
                    <a:cubicBezTo>
                      <a:pt x="26" y="21"/>
                      <a:pt x="29" y="21"/>
                      <a:pt x="30" y="21"/>
                    </a:cubicBezTo>
                    <a:cubicBezTo>
                      <a:pt x="32" y="20"/>
                      <a:pt x="36" y="20"/>
                      <a:pt x="36" y="20"/>
                    </a:cubicBezTo>
                    <a:cubicBezTo>
                      <a:pt x="36" y="20"/>
                      <a:pt x="38" y="23"/>
                      <a:pt x="42" y="22"/>
                    </a:cubicBezTo>
                    <a:cubicBezTo>
                      <a:pt x="46" y="21"/>
                      <a:pt x="44" y="22"/>
                      <a:pt x="46" y="21"/>
                    </a:cubicBezTo>
                    <a:cubicBezTo>
                      <a:pt x="49" y="21"/>
                      <a:pt x="48" y="23"/>
                      <a:pt x="48" y="23"/>
                    </a:cubicBezTo>
                    <a:cubicBezTo>
                      <a:pt x="49" y="28"/>
                      <a:pt x="49" y="28"/>
                      <a:pt x="49" y="28"/>
                    </a:cubicBezTo>
                    <a:cubicBezTo>
                      <a:pt x="50" y="28"/>
                      <a:pt x="50" y="28"/>
                      <a:pt x="50" y="28"/>
                    </a:cubicBezTo>
                    <a:cubicBezTo>
                      <a:pt x="50" y="28"/>
                      <a:pt x="52" y="28"/>
                      <a:pt x="55" y="27"/>
                    </a:cubicBezTo>
                    <a:cubicBezTo>
                      <a:pt x="58" y="26"/>
                      <a:pt x="59" y="26"/>
                      <a:pt x="60" y="26"/>
                    </a:cubicBezTo>
                    <a:cubicBezTo>
                      <a:pt x="62" y="26"/>
                      <a:pt x="64" y="24"/>
                      <a:pt x="65" y="24"/>
                    </a:cubicBezTo>
                    <a:cubicBezTo>
                      <a:pt x="65" y="23"/>
                      <a:pt x="69" y="22"/>
                      <a:pt x="70" y="22"/>
                    </a:cubicBezTo>
                    <a:cubicBezTo>
                      <a:pt x="71" y="21"/>
                      <a:pt x="72" y="20"/>
                      <a:pt x="72" y="20"/>
                    </a:cubicBezTo>
                    <a:cubicBezTo>
                      <a:pt x="72" y="20"/>
                      <a:pt x="78" y="19"/>
                      <a:pt x="80" y="18"/>
                    </a:cubicBezTo>
                    <a:cubicBezTo>
                      <a:pt x="83" y="18"/>
                      <a:pt x="85" y="18"/>
                      <a:pt x="86" y="18"/>
                    </a:cubicBezTo>
                    <a:cubicBezTo>
                      <a:pt x="87" y="18"/>
                      <a:pt x="90" y="16"/>
                      <a:pt x="91" y="15"/>
                    </a:cubicBezTo>
                    <a:cubicBezTo>
                      <a:pt x="92" y="15"/>
                      <a:pt x="93" y="14"/>
                      <a:pt x="93" y="14"/>
                    </a:cubicBezTo>
                    <a:cubicBezTo>
                      <a:pt x="97" y="15"/>
                      <a:pt x="97" y="15"/>
                      <a:pt x="97" y="15"/>
                    </a:cubicBezTo>
                    <a:cubicBezTo>
                      <a:pt x="97" y="15"/>
                      <a:pt x="100" y="13"/>
                      <a:pt x="100" y="13"/>
                    </a:cubicBezTo>
                    <a:cubicBezTo>
                      <a:pt x="101" y="12"/>
                      <a:pt x="101" y="11"/>
                      <a:pt x="101" y="11"/>
                    </a:cubicBezTo>
                    <a:cubicBezTo>
                      <a:pt x="101" y="10"/>
                      <a:pt x="101" y="10"/>
                      <a:pt x="102" y="9"/>
                    </a:cubicBezTo>
                    <a:cubicBezTo>
                      <a:pt x="102" y="7"/>
                      <a:pt x="102" y="7"/>
                      <a:pt x="102" y="7"/>
                    </a:cubicBezTo>
                    <a:cubicBezTo>
                      <a:pt x="102" y="6"/>
                      <a:pt x="100" y="3"/>
                      <a:pt x="100" y="3"/>
                    </a:cubicBezTo>
                    <a:close/>
                  </a:path>
                </a:pathLst>
              </a:custGeom>
              <a:solidFill>
                <a:srgbClr val="0181C7"/>
              </a:solid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737" name="Freeform 183"/>
              <p:cNvSpPr>
                <a:spLocks/>
              </p:cNvSpPr>
              <p:nvPr/>
            </p:nvSpPr>
            <p:spPr bwMode="auto">
              <a:xfrm>
                <a:off x="3882" y="3208"/>
                <a:ext cx="8" cy="10"/>
              </a:xfrm>
              <a:custGeom>
                <a:avLst/>
                <a:gdLst>
                  <a:gd name="T0" fmla="*/ 4 w 4"/>
                  <a:gd name="T1" fmla="*/ 1 h 5"/>
                  <a:gd name="T2" fmla="*/ 2 w 4"/>
                  <a:gd name="T3" fmla="*/ 0 h 5"/>
                  <a:gd name="T4" fmla="*/ 0 w 4"/>
                  <a:gd name="T5" fmla="*/ 3 h 5"/>
                  <a:gd name="T6" fmla="*/ 2 w 4"/>
                  <a:gd name="T7" fmla="*/ 5 h 5"/>
                  <a:gd name="T8" fmla="*/ 4 w 4"/>
                  <a:gd name="T9" fmla="*/ 1 h 5"/>
                </a:gdLst>
                <a:ahLst/>
                <a:cxnLst>
                  <a:cxn ang="0">
                    <a:pos x="T0" y="T1"/>
                  </a:cxn>
                  <a:cxn ang="0">
                    <a:pos x="T2" y="T3"/>
                  </a:cxn>
                  <a:cxn ang="0">
                    <a:pos x="T4" y="T5"/>
                  </a:cxn>
                  <a:cxn ang="0">
                    <a:pos x="T6" y="T7"/>
                  </a:cxn>
                  <a:cxn ang="0">
                    <a:pos x="T8" y="T9"/>
                  </a:cxn>
                </a:cxnLst>
                <a:rect l="0" t="0" r="r" b="b"/>
                <a:pathLst>
                  <a:path w="4" h="5">
                    <a:moveTo>
                      <a:pt x="4" y="1"/>
                    </a:moveTo>
                    <a:cubicBezTo>
                      <a:pt x="4" y="1"/>
                      <a:pt x="2" y="0"/>
                      <a:pt x="2" y="0"/>
                    </a:cubicBezTo>
                    <a:cubicBezTo>
                      <a:pt x="0" y="3"/>
                      <a:pt x="0" y="3"/>
                      <a:pt x="0" y="3"/>
                    </a:cubicBezTo>
                    <a:cubicBezTo>
                      <a:pt x="2" y="5"/>
                      <a:pt x="2" y="5"/>
                      <a:pt x="2" y="5"/>
                    </a:cubicBezTo>
                    <a:lnTo>
                      <a:pt x="4" y="1"/>
                    </a:lnTo>
                    <a:close/>
                  </a:path>
                </a:pathLst>
              </a:custGeom>
              <a:grp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738" name="Freeform 184"/>
              <p:cNvSpPr>
                <a:spLocks/>
              </p:cNvSpPr>
              <p:nvPr/>
            </p:nvSpPr>
            <p:spPr bwMode="auto">
              <a:xfrm>
                <a:off x="3637" y="3096"/>
                <a:ext cx="8" cy="4"/>
              </a:xfrm>
              <a:custGeom>
                <a:avLst/>
                <a:gdLst>
                  <a:gd name="T0" fmla="*/ 1 w 4"/>
                  <a:gd name="T1" fmla="*/ 0 h 2"/>
                  <a:gd name="T2" fmla="*/ 0 w 4"/>
                  <a:gd name="T3" fmla="*/ 2 h 2"/>
                  <a:gd name="T4" fmla="*/ 1 w 4"/>
                  <a:gd name="T5" fmla="*/ 2 h 2"/>
                  <a:gd name="T6" fmla="*/ 3 w 4"/>
                  <a:gd name="T7" fmla="*/ 1 h 2"/>
                  <a:gd name="T8" fmla="*/ 2 w 4"/>
                  <a:gd name="T9" fmla="*/ 0 h 2"/>
                  <a:gd name="T10" fmla="*/ 1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1" y="0"/>
                    </a:moveTo>
                    <a:cubicBezTo>
                      <a:pt x="1" y="0"/>
                      <a:pt x="0" y="1"/>
                      <a:pt x="0" y="2"/>
                    </a:cubicBezTo>
                    <a:cubicBezTo>
                      <a:pt x="1" y="2"/>
                      <a:pt x="1" y="2"/>
                      <a:pt x="1" y="2"/>
                    </a:cubicBezTo>
                    <a:cubicBezTo>
                      <a:pt x="1" y="2"/>
                      <a:pt x="2" y="1"/>
                      <a:pt x="3" y="1"/>
                    </a:cubicBezTo>
                    <a:cubicBezTo>
                      <a:pt x="4" y="0"/>
                      <a:pt x="2" y="0"/>
                      <a:pt x="2" y="0"/>
                    </a:cubicBezTo>
                    <a:lnTo>
                      <a:pt x="1" y="0"/>
                    </a:lnTo>
                    <a:close/>
                  </a:path>
                </a:pathLst>
              </a:custGeom>
              <a:grp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739" name="Freeform 185"/>
              <p:cNvSpPr>
                <a:spLocks/>
              </p:cNvSpPr>
              <p:nvPr/>
            </p:nvSpPr>
            <p:spPr bwMode="auto">
              <a:xfrm>
                <a:off x="3724" y="3214"/>
                <a:ext cx="10" cy="18"/>
              </a:xfrm>
              <a:custGeom>
                <a:avLst/>
                <a:gdLst>
                  <a:gd name="T0" fmla="*/ 1 w 5"/>
                  <a:gd name="T1" fmla="*/ 3 h 9"/>
                  <a:gd name="T2" fmla="*/ 0 w 5"/>
                  <a:gd name="T3" fmla="*/ 6 h 9"/>
                  <a:gd name="T4" fmla="*/ 1 w 5"/>
                  <a:gd name="T5" fmla="*/ 8 h 9"/>
                  <a:gd name="T6" fmla="*/ 2 w 5"/>
                  <a:gd name="T7" fmla="*/ 7 h 9"/>
                  <a:gd name="T8" fmla="*/ 3 w 5"/>
                  <a:gd name="T9" fmla="*/ 6 h 9"/>
                  <a:gd name="T10" fmla="*/ 5 w 5"/>
                  <a:gd name="T11" fmla="*/ 4 h 9"/>
                  <a:gd name="T12" fmla="*/ 5 w 5"/>
                  <a:gd name="T13" fmla="*/ 2 h 9"/>
                  <a:gd name="T14" fmla="*/ 2 w 5"/>
                  <a:gd name="T15" fmla="*/ 0 h 9"/>
                  <a:gd name="T16" fmla="*/ 1 w 5"/>
                  <a:gd name="T17"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9">
                    <a:moveTo>
                      <a:pt x="1" y="3"/>
                    </a:moveTo>
                    <a:cubicBezTo>
                      <a:pt x="1" y="3"/>
                      <a:pt x="0" y="6"/>
                      <a:pt x="0" y="6"/>
                    </a:cubicBezTo>
                    <a:cubicBezTo>
                      <a:pt x="0" y="7"/>
                      <a:pt x="1" y="8"/>
                      <a:pt x="1" y="8"/>
                    </a:cubicBezTo>
                    <a:cubicBezTo>
                      <a:pt x="1" y="9"/>
                      <a:pt x="1" y="8"/>
                      <a:pt x="2" y="7"/>
                    </a:cubicBezTo>
                    <a:cubicBezTo>
                      <a:pt x="3" y="6"/>
                      <a:pt x="3" y="6"/>
                      <a:pt x="3" y="6"/>
                    </a:cubicBezTo>
                    <a:cubicBezTo>
                      <a:pt x="3" y="6"/>
                      <a:pt x="4" y="4"/>
                      <a:pt x="5" y="4"/>
                    </a:cubicBezTo>
                    <a:cubicBezTo>
                      <a:pt x="5" y="4"/>
                      <a:pt x="5" y="2"/>
                      <a:pt x="5" y="2"/>
                    </a:cubicBezTo>
                    <a:cubicBezTo>
                      <a:pt x="5" y="2"/>
                      <a:pt x="3" y="0"/>
                      <a:pt x="2" y="0"/>
                    </a:cubicBezTo>
                    <a:cubicBezTo>
                      <a:pt x="2" y="0"/>
                      <a:pt x="1" y="3"/>
                      <a:pt x="1" y="3"/>
                    </a:cubicBezTo>
                    <a:close/>
                  </a:path>
                </a:pathLst>
              </a:custGeom>
              <a:grp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740" name="Freeform 186"/>
              <p:cNvSpPr>
                <a:spLocks/>
              </p:cNvSpPr>
              <p:nvPr/>
            </p:nvSpPr>
            <p:spPr bwMode="auto">
              <a:xfrm>
                <a:off x="3880" y="3164"/>
                <a:ext cx="34" cy="20"/>
              </a:xfrm>
              <a:custGeom>
                <a:avLst/>
                <a:gdLst>
                  <a:gd name="T0" fmla="*/ 11 w 17"/>
                  <a:gd name="T1" fmla="*/ 1 h 10"/>
                  <a:gd name="T2" fmla="*/ 9 w 17"/>
                  <a:gd name="T3" fmla="*/ 2 h 10"/>
                  <a:gd name="T4" fmla="*/ 5 w 17"/>
                  <a:gd name="T5" fmla="*/ 1 h 10"/>
                  <a:gd name="T6" fmla="*/ 3 w 17"/>
                  <a:gd name="T7" fmla="*/ 1 h 10"/>
                  <a:gd name="T8" fmla="*/ 1 w 17"/>
                  <a:gd name="T9" fmla="*/ 4 h 10"/>
                  <a:gd name="T10" fmla="*/ 0 w 17"/>
                  <a:gd name="T11" fmla="*/ 7 h 10"/>
                  <a:gd name="T12" fmla="*/ 3 w 17"/>
                  <a:gd name="T13" fmla="*/ 8 h 10"/>
                  <a:gd name="T14" fmla="*/ 5 w 17"/>
                  <a:gd name="T15" fmla="*/ 6 h 10"/>
                  <a:gd name="T16" fmla="*/ 8 w 17"/>
                  <a:gd name="T17" fmla="*/ 9 h 10"/>
                  <a:gd name="T18" fmla="*/ 11 w 17"/>
                  <a:gd name="T19" fmla="*/ 9 h 10"/>
                  <a:gd name="T20" fmla="*/ 12 w 17"/>
                  <a:gd name="T21" fmla="*/ 7 h 10"/>
                  <a:gd name="T22" fmla="*/ 15 w 17"/>
                  <a:gd name="T23" fmla="*/ 5 h 10"/>
                  <a:gd name="T24" fmla="*/ 17 w 17"/>
                  <a:gd name="T25" fmla="*/ 2 h 10"/>
                  <a:gd name="T26" fmla="*/ 14 w 17"/>
                  <a:gd name="T27" fmla="*/ 0 h 10"/>
                  <a:gd name="T28" fmla="*/ 11 w 17"/>
                  <a:gd name="T29"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10">
                    <a:moveTo>
                      <a:pt x="11" y="1"/>
                    </a:moveTo>
                    <a:cubicBezTo>
                      <a:pt x="11" y="1"/>
                      <a:pt x="9" y="2"/>
                      <a:pt x="9" y="2"/>
                    </a:cubicBezTo>
                    <a:cubicBezTo>
                      <a:pt x="9" y="2"/>
                      <a:pt x="6" y="1"/>
                      <a:pt x="5" y="1"/>
                    </a:cubicBezTo>
                    <a:cubicBezTo>
                      <a:pt x="5" y="0"/>
                      <a:pt x="4" y="1"/>
                      <a:pt x="3" y="1"/>
                    </a:cubicBezTo>
                    <a:cubicBezTo>
                      <a:pt x="3" y="1"/>
                      <a:pt x="2" y="3"/>
                      <a:pt x="1" y="4"/>
                    </a:cubicBezTo>
                    <a:cubicBezTo>
                      <a:pt x="0" y="5"/>
                      <a:pt x="1" y="6"/>
                      <a:pt x="0" y="7"/>
                    </a:cubicBezTo>
                    <a:cubicBezTo>
                      <a:pt x="0" y="7"/>
                      <a:pt x="2" y="8"/>
                      <a:pt x="3" y="8"/>
                    </a:cubicBezTo>
                    <a:cubicBezTo>
                      <a:pt x="3" y="7"/>
                      <a:pt x="5" y="6"/>
                      <a:pt x="5" y="6"/>
                    </a:cubicBezTo>
                    <a:cubicBezTo>
                      <a:pt x="5" y="6"/>
                      <a:pt x="7" y="8"/>
                      <a:pt x="8" y="9"/>
                    </a:cubicBezTo>
                    <a:cubicBezTo>
                      <a:pt x="10" y="10"/>
                      <a:pt x="10" y="9"/>
                      <a:pt x="11" y="9"/>
                    </a:cubicBezTo>
                    <a:cubicBezTo>
                      <a:pt x="12" y="8"/>
                      <a:pt x="11" y="8"/>
                      <a:pt x="12" y="7"/>
                    </a:cubicBezTo>
                    <a:cubicBezTo>
                      <a:pt x="13" y="6"/>
                      <a:pt x="14" y="5"/>
                      <a:pt x="15" y="5"/>
                    </a:cubicBezTo>
                    <a:cubicBezTo>
                      <a:pt x="16" y="5"/>
                      <a:pt x="17" y="2"/>
                      <a:pt x="17" y="2"/>
                    </a:cubicBezTo>
                    <a:cubicBezTo>
                      <a:pt x="17" y="2"/>
                      <a:pt x="14" y="0"/>
                      <a:pt x="14" y="0"/>
                    </a:cubicBezTo>
                    <a:cubicBezTo>
                      <a:pt x="14" y="0"/>
                      <a:pt x="11" y="1"/>
                      <a:pt x="11" y="1"/>
                    </a:cubicBezTo>
                    <a:close/>
                  </a:path>
                </a:pathLst>
              </a:custGeom>
              <a:grp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741" name="Freeform 187"/>
              <p:cNvSpPr>
                <a:spLocks/>
              </p:cNvSpPr>
              <p:nvPr/>
            </p:nvSpPr>
            <p:spPr bwMode="auto">
              <a:xfrm>
                <a:off x="3912" y="3216"/>
                <a:ext cx="22" cy="24"/>
              </a:xfrm>
              <a:custGeom>
                <a:avLst/>
                <a:gdLst>
                  <a:gd name="T0" fmla="*/ 6 w 11"/>
                  <a:gd name="T1" fmla="*/ 11 h 12"/>
                  <a:gd name="T2" fmla="*/ 10 w 11"/>
                  <a:gd name="T3" fmla="*/ 11 h 12"/>
                  <a:gd name="T4" fmla="*/ 10 w 11"/>
                  <a:gd name="T5" fmla="*/ 8 h 12"/>
                  <a:gd name="T6" fmla="*/ 7 w 11"/>
                  <a:gd name="T7" fmla="*/ 7 h 12"/>
                  <a:gd name="T8" fmla="*/ 5 w 11"/>
                  <a:gd name="T9" fmla="*/ 6 h 12"/>
                  <a:gd name="T10" fmla="*/ 6 w 11"/>
                  <a:gd name="T11" fmla="*/ 9 h 12"/>
                  <a:gd name="T12" fmla="*/ 6 w 11"/>
                  <a:gd name="T13" fmla="*/ 10 h 12"/>
                  <a:gd name="T14" fmla="*/ 6 w 11"/>
                  <a:gd name="T15" fmla="*/ 11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2">
                    <a:moveTo>
                      <a:pt x="6" y="11"/>
                    </a:moveTo>
                    <a:cubicBezTo>
                      <a:pt x="6" y="11"/>
                      <a:pt x="10" y="12"/>
                      <a:pt x="10" y="11"/>
                    </a:cubicBezTo>
                    <a:cubicBezTo>
                      <a:pt x="10" y="10"/>
                      <a:pt x="11" y="9"/>
                      <a:pt x="10" y="8"/>
                    </a:cubicBezTo>
                    <a:cubicBezTo>
                      <a:pt x="10" y="8"/>
                      <a:pt x="8" y="7"/>
                      <a:pt x="7" y="7"/>
                    </a:cubicBezTo>
                    <a:cubicBezTo>
                      <a:pt x="6" y="7"/>
                      <a:pt x="6" y="7"/>
                      <a:pt x="5" y="6"/>
                    </a:cubicBezTo>
                    <a:cubicBezTo>
                      <a:pt x="0" y="0"/>
                      <a:pt x="3" y="8"/>
                      <a:pt x="6" y="9"/>
                    </a:cubicBezTo>
                    <a:cubicBezTo>
                      <a:pt x="6" y="10"/>
                      <a:pt x="6" y="10"/>
                      <a:pt x="6" y="10"/>
                    </a:cubicBezTo>
                    <a:lnTo>
                      <a:pt x="6" y="11"/>
                    </a:lnTo>
                    <a:close/>
                  </a:path>
                </a:pathLst>
              </a:custGeom>
              <a:grp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742" name="Freeform 188"/>
              <p:cNvSpPr>
                <a:spLocks/>
              </p:cNvSpPr>
              <p:nvPr/>
            </p:nvSpPr>
            <p:spPr bwMode="auto">
              <a:xfrm>
                <a:off x="3798" y="3284"/>
                <a:ext cx="10" cy="10"/>
              </a:xfrm>
              <a:custGeom>
                <a:avLst/>
                <a:gdLst>
                  <a:gd name="T0" fmla="*/ 4 w 5"/>
                  <a:gd name="T1" fmla="*/ 3 h 5"/>
                  <a:gd name="T2" fmla="*/ 4 w 5"/>
                  <a:gd name="T3" fmla="*/ 0 h 5"/>
                  <a:gd name="T4" fmla="*/ 1 w 5"/>
                  <a:gd name="T5" fmla="*/ 2 h 5"/>
                  <a:gd name="T6" fmla="*/ 0 w 5"/>
                  <a:gd name="T7" fmla="*/ 3 h 5"/>
                  <a:gd name="T8" fmla="*/ 1 w 5"/>
                  <a:gd name="T9" fmla="*/ 5 h 5"/>
                  <a:gd name="T10" fmla="*/ 4 w 5"/>
                  <a:gd name="T11" fmla="*/ 3 h 5"/>
                </a:gdLst>
                <a:ahLst/>
                <a:cxnLst>
                  <a:cxn ang="0">
                    <a:pos x="T0" y="T1"/>
                  </a:cxn>
                  <a:cxn ang="0">
                    <a:pos x="T2" y="T3"/>
                  </a:cxn>
                  <a:cxn ang="0">
                    <a:pos x="T4" y="T5"/>
                  </a:cxn>
                  <a:cxn ang="0">
                    <a:pos x="T6" y="T7"/>
                  </a:cxn>
                  <a:cxn ang="0">
                    <a:pos x="T8" y="T9"/>
                  </a:cxn>
                  <a:cxn ang="0">
                    <a:pos x="T10" y="T11"/>
                  </a:cxn>
                </a:cxnLst>
                <a:rect l="0" t="0" r="r" b="b"/>
                <a:pathLst>
                  <a:path w="5" h="5">
                    <a:moveTo>
                      <a:pt x="4" y="3"/>
                    </a:moveTo>
                    <a:cubicBezTo>
                      <a:pt x="5" y="2"/>
                      <a:pt x="4" y="0"/>
                      <a:pt x="4" y="0"/>
                    </a:cubicBezTo>
                    <a:cubicBezTo>
                      <a:pt x="1" y="2"/>
                      <a:pt x="1" y="2"/>
                      <a:pt x="1" y="2"/>
                    </a:cubicBezTo>
                    <a:cubicBezTo>
                      <a:pt x="0" y="3"/>
                      <a:pt x="0" y="3"/>
                      <a:pt x="0" y="3"/>
                    </a:cubicBezTo>
                    <a:cubicBezTo>
                      <a:pt x="1" y="5"/>
                      <a:pt x="1" y="5"/>
                      <a:pt x="1" y="5"/>
                    </a:cubicBezTo>
                    <a:cubicBezTo>
                      <a:pt x="1" y="5"/>
                      <a:pt x="3" y="4"/>
                      <a:pt x="4" y="3"/>
                    </a:cubicBezTo>
                    <a:close/>
                  </a:path>
                </a:pathLst>
              </a:custGeom>
              <a:grp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743" name="Freeform 189"/>
              <p:cNvSpPr>
                <a:spLocks/>
              </p:cNvSpPr>
              <p:nvPr/>
            </p:nvSpPr>
            <p:spPr bwMode="auto">
              <a:xfrm>
                <a:off x="3999" y="3258"/>
                <a:ext cx="32" cy="57"/>
              </a:xfrm>
              <a:custGeom>
                <a:avLst/>
                <a:gdLst>
                  <a:gd name="T0" fmla="*/ 15 w 16"/>
                  <a:gd name="T1" fmla="*/ 10 h 28"/>
                  <a:gd name="T2" fmla="*/ 16 w 16"/>
                  <a:gd name="T3" fmla="*/ 6 h 28"/>
                  <a:gd name="T4" fmla="*/ 14 w 16"/>
                  <a:gd name="T5" fmla="*/ 0 h 28"/>
                  <a:gd name="T6" fmla="*/ 12 w 16"/>
                  <a:gd name="T7" fmla="*/ 2 h 28"/>
                  <a:gd name="T8" fmla="*/ 10 w 16"/>
                  <a:gd name="T9" fmla="*/ 4 h 28"/>
                  <a:gd name="T10" fmla="*/ 6 w 16"/>
                  <a:gd name="T11" fmla="*/ 6 h 28"/>
                  <a:gd name="T12" fmla="*/ 5 w 16"/>
                  <a:gd name="T13" fmla="*/ 9 h 28"/>
                  <a:gd name="T14" fmla="*/ 2 w 16"/>
                  <a:gd name="T15" fmla="*/ 13 h 28"/>
                  <a:gd name="T16" fmla="*/ 1 w 16"/>
                  <a:gd name="T17" fmla="*/ 16 h 28"/>
                  <a:gd name="T18" fmla="*/ 0 w 16"/>
                  <a:gd name="T19" fmla="*/ 19 h 28"/>
                  <a:gd name="T20" fmla="*/ 3 w 16"/>
                  <a:gd name="T21" fmla="*/ 22 h 28"/>
                  <a:gd name="T22" fmla="*/ 3 w 16"/>
                  <a:gd name="T23" fmla="*/ 26 h 28"/>
                  <a:gd name="T24" fmla="*/ 4 w 16"/>
                  <a:gd name="T25" fmla="*/ 28 h 28"/>
                  <a:gd name="T26" fmla="*/ 8 w 16"/>
                  <a:gd name="T27" fmla="*/ 27 h 28"/>
                  <a:gd name="T28" fmla="*/ 9 w 16"/>
                  <a:gd name="T29" fmla="*/ 23 h 28"/>
                  <a:gd name="T30" fmla="*/ 12 w 16"/>
                  <a:gd name="T31" fmla="*/ 19 h 28"/>
                  <a:gd name="T32" fmla="*/ 13 w 16"/>
                  <a:gd name="T33" fmla="*/ 18 h 28"/>
                  <a:gd name="T34" fmla="*/ 13 w 16"/>
                  <a:gd name="T35" fmla="*/ 15 h 28"/>
                  <a:gd name="T36" fmla="*/ 14 w 16"/>
                  <a:gd name="T37" fmla="*/ 13 h 28"/>
                  <a:gd name="T38" fmla="*/ 15 w 16"/>
                  <a:gd name="T39"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 h="28">
                    <a:moveTo>
                      <a:pt x="15" y="10"/>
                    </a:moveTo>
                    <a:cubicBezTo>
                      <a:pt x="15" y="9"/>
                      <a:pt x="16" y="7"/>
                      <a:pt x="16" y="6"/>
                    </a:cubicBezTo>
                    <a:cubicBezTo>
                      <a:pt x="15" y="5"/>
                      <a:pt x="14" y="0"/>
                      <a:pt x="14" y="0"/>
                    </a:cubicBezTo>
                    <a:cubicBezTo>
                      <a:pt x="12" y="2"/>
                      <a:pt x="12" y="2"/>
                      <a:pt x="12" y="2"/>
                    </a:cubicBezTo>
                    <a:cubicBezTo>
                      <a:pt x="12" y="2"/>
                      <a:pt x="11" y="4"/>
                      <a:pt x="10" y="4"/>
                    </a:cubicBezTo>
                    <a:cubicBezTo>
                      <a:pt x="8" y="4"/>
                      <a:pt x="6" y="6"/>
                      <a:pt x="6" y="6"/>
                    </a:cubicBezTo>
                    <a:cubicBezTo>
                      <a:pt x="6" y="6"/>
                      <a:pt x="6" y="8"/>
                      <a:pt x="5" y="9"/>
                    </a:cubicBezTo>
                    <a:cubicBezTo>
                      <a:pt x="4" y="10"/>
                      <a:pt x="2" y="13"/>
                      <a:pt x="2" y="13"/>
                    </a:cubicBezTo>
                    <a:cubicBezTo>
                      <a:pt x="1" y="16"/>
                      <a:pt x="1" y="16"/>
                      <a:pt x="1" y="16"/>
                    </a:cubicBezTo>
                    <a:cubicBezTo>
                      <a:pt x="1" y="16"/>
                      <a:pt x="0" y="19"/>
                      <a:pt x="0" y="19"/>
                    </a:cubicBezTo>
                    <a:cubicBezTo>
                      <a:pt x="0" y="19"/>
                      <a:pt x="3" y="22"/>
                      <a:pt x="3" y="22"/>
                    </a:cubicBezTo>
                    <a:cubicBezTo>
                      <a:pt x="3" y="26"/>
                      <a:pt x="3" y="26"/>
                      <a:pt x="3" y="26"/>
                    </a:cubicBezTo>
                    <a:cubicBezTo>
                      <a:pt x="3" y="26"/>
                      <a:pt x="3" y="28"/>
                      <a:pt x="4" y="28"/>
                    </a:cubicBezTo>
                    <a:cubicBezTo>
                      <a:pt x="6" y="28"/>
                      <a:pt x="8" y="28"/>
                      <a:pt x="8" y="27"/>
                    </a:cubicBezTo>
                    <a:cubicBezTo>
                      <a:pt x="8" y="25"/>
                      <a:pt x="8" y="24"/>
                      <a:pt x="9" y="23"/>
                    </a:cubicBezTo>
                    <a:cubicBezTo>
                      <a:pt x="10" y="21"/>
                      <a:pt x="12" y="19"/>
                      <a:pt x="12" y="19"/>
                    </a:cubicBezTo>
                    <a:cubicBezTo>
                      <a:pt x="12" y="19"/>
                      <a:pt x="13" y="19"/>
                      <a:pt x="13" y="18"/>
                    </a:cubicBezTo>
                    <a:cubicBezTo>
                      <a:pt x="14" y="18"/>
                      <a:pt x="13" y="15"/>
                      <a:pt x="13" y="15"/>
                    </a:cubicBezTo>
                    <a:cubicBezTo>
                      <a:pt x="13" y="15"/>
                      <a:pt x="12" y="15"/>
                      <a:pt x="14" y="13"/>
                    </a:cubicBezTo>
                    <a:cubicBezTo>
                      <a:pt x="15" y="10"/>
                      <a:pt x="15" y="10"/>
                      <a:pt x="15" y="10"/>
                    </a:cubicBezTo>
                    <a:close/>
                  </a:path>
                </a:pathLst>
              </a:custGeom>
              <a:solidFill>
                <a:srgbClr val="BFBFBF"/>
              </a:solid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747" name="Freeform 190"/>
              <p:cNvSpPr>
                <a:spLocks/>
              </p:cNvSpPr>
              <p:nvPr/>
            </p:nvSpPr>
            <p:spPr bwMode="auto">
              <a:xfrm>
                <a:off x="3952" y="3367"/>
                <a:ext cx="18" cy="14"/>
              </a:xfrm>
              <a:custGeom>
                <a:avLst/>
                <a:gdLst>
                  <a:gd name="T0" fmla="*/ 5 w 9"/>
                  <a:gd name="T1" fmla="*/ 0 h 7"/>
                  <a:gd name="T2" fmla="*/ 1 w 9"/>
                  <a:gd name="T3" fmla="*/ 3 h 7"/>
                  <a:gd name="T4" fmla="*/ 0 w 9"/>
                  <a:gd name="T5" fmla="*/ 6 h 7"/>
                  <a:gd name="T6" fmla="*/ 2 w 9"/>
                  <a:gd name="T7" fmla="*/ 6 h 7"/>
                  <a:gd name="T8" fmla="*/ 4 w 9"/>
                  <a:gd name="T9" fmla="*/ 5 h 7"/>
                  <a:gd name="T10" fmla="*/ 8 w 9"/>
                  <a:gd name="T11" fmla="*/ 2 h 7"/>
                  <a:gd name="T12" fmla="*/ 5 w 9"/>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9" h="7">
                    <a:moveTo>
                      <a:pt x="5" y="0"/>
                    </a:moveTo>
                    <a:cubicBezTo>
                      <a:pt x="1" y="3"/>
                      <a:pt x="1" y="3"/>
                      <a:pt x="1" y="3"/>
                    </a:cubicBezTo>
                    <a:cubicBezTo>
                      <a:pt x="1" y="3"/>
                      <a:pt x="0" y="6"/>
                      <a:pt x="0" y="6"/>
                    </a:cubicBezTo>
                    <a:cubicBezTo>
                      <a:pt x="1" y="7"/>
                      <a:pt x="1" y="6"/>
                      <a:pt x="2" y="6"/>
                    </a:cubicBezTo>
                    <a:cubicBezTo>
                      <a:pt x="3" y="6"/>
                      <a:pt x="3" y="6"/>
                      <a:pt x="4" y="5"/>
                    </a:cubicBezTo>
                    <a:cubicBezTo>
                      <a:pt x="5" y="4"/>
                      <a:pt x="7" y="3"/>
                      <a:pt x="8" y="2"/>
                    </a:cubicBezTo>
                    <a:cubicBezTo>
                      <a:pt x="9" y="2"/>
                      <a:pt x="5" y="0"/>
                      <a:pt x="5" y="0"/>
                    </a:cubicBezTo>
                    <a:close/>
                  </a:path>
                </a:pathLst>
              </a:custGeom>
              <a:grp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748" name="Freeform 191"/>
              <p:cNvSpPr>
                <a:spLocks/>
              </p:cNvSpPr>
              <p:nvPr/>
            </p:nvSpPr>
            <p:spPr bwMode="auto">
              <a:xfrm>
                <a:off x="3653" y="3096"/>
                <a:ext cx="12" cy="8"/>
              </a:xfrm>
              <a:custGeom>
                <a:avLst/>
                <a:gdLst>
                  <a:gd name="T0" fmla="*/ 0 w 6"/>
                  <a:gd name="T1" fmla="*/ 0 h 4"/>
                  <a:gd name="T2" fmla="*/ 0 w 6"/>
                  <a:gd name="T3" fmla="*/ 2 h 4"/>
                  <a:gd name="T4" fmla="*/ 4 w 6"/>
                  <a:gd name="T5" fmla="*/ 3 h 4"/>
                  <a:gd name="T6" fmla="*/ 5 w 6"/>
                  <a:gd name="T7" fmla="*/ 2 h 4"/>
                  <a:gd name="T8" fmla="*/ 3 w 6"/>
                  <a:gd name="T9" fmla="*/ 0 h 4"/>
                  <a:gd name="T10" fmla="*/ 0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0" y="0"/>
                    </a:moveTo>
                    <a:cubicBezTo>
                      <a:pt x="0" y="2"/>
                      <a:pt x="0" y="2"/>
                      <a:pt x="0" y="2"/>
                    </a:cubicBezTo>
                    <a:cubicBezTo>
                      <a:pt x="0" y="2"/>
                      <a:pt x="2" y="3"/>
                      <a:pt x="4" y="3"/>
                    </a:cubicBezTo>
                    <a:cubicBezTo>
                      <a:pt x="6" y="4"/>
                      <a:pt x="5" y="2"/>
                      <a:pt x="5" y="2"/>
                    </a:cubicBezTo>
                    <a:cubicBezTo>
                      <a:pt x="3" y="0"/>
                      <a:pt x="3" y="0"/>
                      <a:pt x="3" y="0"/>
                    </a:cubicBezTo>
                    <a:cubicBezTo>
                      <a:pt x="3" y="0"/>
                      <a:pt x="0" y="0"/>
                      <a:pt x="0" y="0"/>
                    </a:cubicBezTo>
                    <a:close/>
                  </a:path>
                </a:pathLst>
              </a:custGeom>
              <a:grp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752" name="Freeform 192"/>
              <p:cNvSpPr>
                <a:spLocks/>
              </p:cNvSpPr>
              <p:nvPr/>
            </p:nvSpPr>
            <p:spPr bwMode="auto">
              <a:xfrm>
                <a:off x="3924" y="3236"/>
                <a:ext cx="36" cy="28"/>
              </a:xfrm>
              <a:custGeom>
                <a:avLst/>
                <a:gdLst>
                  <a:gd name="T0" fmla="*/ 15 w 18"/>
                  <a:gd name="T1" fmla="*/ 0 h 14"/>
                  <a:gd name="T2" fmla="*/ 11 w 18"/>
                  <a:gd name="T3" fmla="*/ 1 h 14"/>
                  <a:gd name="T4" fmla="*/ 8 w 18"/>
                  <a:gd name="T5" fmla="*/ 3 h 14"/>
                  <a:gd name="T6" fmla="*/ 6 w 18"/>
                  <a:gd name="T7" fmla="*/ 7 h 14"/>
                  <a:gd name="T8" fmla="*/ 4 w 18"/>
                  <a:gd name="T9" fmla="*/ 7 h 14"/>
                  <a:gd name="T10" fmla="*/ 0 w 18"/>
                  <a:gd name="T11" fmla="*/ 7 h 14"/>
                  <a:gd name="T12" fmla="*/ 0 w 18"/>
                  <a:gd name="T13" fmla="*/ 11 h 14"/>
                  <a:gd name="T14" fmla="*/ 3 w 18"/>
                  <a:gd name="T15" fmla="*/ 13 h 14"/>
                  <a:gd name="T16" fmla="*/ 4 w 18"/>
                  <a:gd name="T17" fmla="*/ 13 h 14"/>
                  <a:gd name="T18" fmla="*/ 3 w 18"/>
                  <a:gd name="T19" fmla="*/ 10 h 14"/>
                  <a:gd name="T20" fmla="*/ 6 w 18"/>
                  <a:gd name="T21" fmla="*/ 8 h 14"/>
                  <a:gd name="T22" fmla="*/ 9 w 18"/>
                  <a:gd name="T23" fmla="*/ 7 h 14"/>
                  <a:gd name="T24" fmla="*/ 12 w 18"/>
                  <a:gd name="T25" fmla="*/ 4 h 14"/>
                  <a:gd name="T26" fmla="*/ 16 w 18"/>
                  <a:gd name="T27" fmla="*/ 2 h 14"/>
                  <a:gd name="T28" fmla="*/ 15 w 18"/>
                  <a:gd name="T2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14">
                    <a:moveTo>
                      <a:pt x="15" y="0"/>
                    </a:moveTo>
                    <a:cubicBezTo>
                      <a:pt x="15" y="0"/>
                      <a:pt x="12" y="1"/>
                      <a:pt x="11" y="1"/>
                    </a:cubicBezTo>
                    <a:cubicBezTo>
                      <a:pt x="10" y="1"/>
                      <a:pt x="8" y="3"/>
                      <a:pt x="8" y="3"/>
                    </a:cubicBezTo>
                    <a:cubicBezTo>
                      <a:pt x="6" y="7"/>
                      <a:pt x="6" y="7"/>
                      <a:pt x="6" y="7"/>
                    </a:cubicBezTo>
                    <a:cubicBezTo>
                      <a:pt x="4" y="7"/>
                      <a:pt x="4" y="7"/>
                      <a:pt x="4" y="7"/>
                    </a:cubicBezTo>
                    <a:cubicBezTo>
                      <a:pt x="0" y="7"/>
                      <a:pt x="0" y="7"/>
                      <a:pt x="0" y="7"/>
                    </a:cubicBezTo>
                    <a:cubicBezTo>
                      <a:pt x="0" y="11"/>
                      <a:pt x="0" y="11"/>
                      <a:pt x="0" y="11"/>
                    </a:cubicBezTo>
                    <a:cubicBezTo>
                      <a:pt x="0" y="11"/>
                      <a:pt x="2" y="13"/>
                      <a:pt x="3" y="13"/>
                    </a:cubicBezTo>
                    <a:cubicBezTo>
                      <a:pt x="3" y="14"/>
                      <a:pt x="4" y="13"/>
                      <a:pt x="4" y="13"/>
                    </a:cubicBezTo>
                    <a:cubicBezTo>
                      <a:pt x="3" y="10"/>
                      <a:pt x="3" y="10"/>
                      <a:pt x="3" y="10"/>
                    </a:cubicBezTo>
                    <a:cubicBezTo>
                      <a:pt x="6" y="8"/>
                      <a:pt x="6" y="8"/>
                      <a:pt x="6" y="8"/>
                    </a:cubicBezTo>
                    <a:cubicBezTo>
                      <a:pt x="9" y="7"/>
                      <a:pt x="9" y="7"/>
                      <a:pt x="9" y="7"/>
                    </a:cubicBezTo>
                    <a:cubicBezTo>
                      <a:pt x="9" y="7"/>
                      <a:pt x="11" y="5"/>
                      <a:pt x="12" y="4"/>
                    </a:cubicBezTo>
                    <a:cubicBezTo>
                      <a:pt x="12" y="4"/>
                      <a:pt x="15" y="3"/>
                      <a:pt x="16" y="2"/>
                    </a:cubicBezTo>
                    <a:cubicBezTo>
                      <a:pt x="18" y="1"/>
                      <a:pt x="15" y="0"/>
                      <a:pt x="15" y="0"/>
                    </a:cubicBezTo>
                    <a:close/>
                  </a:path>
                </a:pathLst>
              </a:custGeom>
              <a:grp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754" name="Freeform 193"/>
              <p:cNvSpPr>
                <a:spLocks/>
              </p:cNvSpPr>
              <p:nvPr/>
            </p:nvSpPr>
            <p:spPr bwMode="auto">
              <a:xfrm>
                <a:off x="3966" y="3331"/>
                <a:ext cx="12" cy="38"/>
              </a:xfrm>
              <a:custGeom>
                <a:avLst/>
                <a:gdLst>
                  <a:gd name="T0" fmla="*/ 2 w 6"/>
                  <a:gd name="T1" fmla="*/ 9 h 19"/>
                  <a:gd name="T2" fmla="*/ 3 w 6"/>
                  <a:gd name="T3" fmla="*/ 4 h 19"/>
                  <a:gd name="T4" fmla="*/ 4 w 6"/>
                  <a:gd name="T5" fmla="*/ 0 h 19"/>
                  <a:gd name="T6" fmla="*/ 1 w 6"/>
                  <a:gd name="T7" fmla="*/ 0 h 19"/>
                  <a:gd name="T8" fmla="*/ 1 w 6"/>
                  <a:gd name="T9" fmla="*/ 6 h 19"/>
                  <a:gd name="T10" fmla="*/ 0 w 6"/>
                  <a:gd name="T11" fmla="*/ 11 h 19"/>
                  <a:gd name="T12" fmla="*/ 1 w 6"/>
                  <a:gd name="T13" fmla="*/ 12 h 19"/>
                  <a:gd name="T14" fmla="*/ 1 w 6"/>
                  <a:gd name="T15" fmla="*/ 15 h 19"/>
                  <a:gd name="T16" fmla="*/ 4 w 6"/>
                  <a:gd name="T17" fmla="*/ 19 h 19"/>
                  <a:gd name="T18" fmla="*/ 5 w 6"/>
                  <a:gd name="T19" fmla="*/ 16 h 19"/>
                  <a:gd name="T20" fmla="*/ 6 w 6"/>
                  <a:gd name="T21" fmla="*/ 14 h 19"/>
                  <a:gd name="T22" fmla="*/ 5 w 6"/>
                  <a:gd name="T23" fmla="*/ 10 h 19"/>
                  <a:gd name="T24" fmla="*/ 2 w 6"/>
                  <a:gd name="T25"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19">
                    <a:moveTo>
                      <a:pt x="2" y="9"/>
                    </a:moveTo>
                    <a:cubicBezTo>
                      <a:pt x="2" y="9"/>
                      <a:pt x="3" y="5"/>
                      <a:pt x="3" y="4"/>
                    </a:cubicBezTo>
                    <a:cubicBezTo>
                      <a:pt x="3" y="3"/>
                      <a:pt x="4" y="1"/>
                      <a:pt x="4" y="0"/>
                    </a:cubicBezTo>
                    <a:cubicBezTo>
                      <a:pt x="4" y="0"/>
                      <a:pt x="1" y="0"/>
                      <a:pt x="1" y="0"/>
                    </a:cubicBezTo>
                    <a:cubicBezTo>
                      <a:pt x="1" y="0"/>
                      <a:pt x="1" y="5"/>
                      <a:pt x="1" y="6"/>
                    </a:cubicBezTo>
                    <a:cubicBezTo>
                      <a:pt x="1" y="7"/>
                      <a:pt x="0" y="11"/>
                      <a:pt x="0" y="11"/>
                    </a:cubicBezTo>
                    <a:cubicBezTo>
                      <a:pt x="0" y="12"/>
                      <a:pt x="1" y="12"/>
                      <a:pt x="1" y="12"/>
                    </a:cubicBezTo>
                    <a:cubicBezTo>
                      <a:pt x="1" y="12"/>
                      <a:pt x="1" y="14"/>
                      <a:pt x="1" y="15"/>
                    </a:cubicBezTo>
                    <a:cubicBezTo>
                      <a:pt x="1" y="16"/>
                      <a:pt x="3" y="18"/>
                      <a:pt x="4" y="19"/>
                    </a:cubicBezTo>
                    <a:cubicBezTo>
                      <a:pt x="5" y="16"/>
                      <a:pt x="5" y="16"/>
                      <a:pt x="5" y="16"/>
                    </a:cubicBezTo>
                    <a:cubicBezTo>
                      <a:pt x="6" y="14"/>
                      <a:pt x="6" y="14"/>
                      <a:pt x="6" y="14"/>
                    </a:cubicBezTo>
                    <a:cubicBezTo>
                      <a:pt x="6" y="14"/>
                      <a:pt x="6" y="11"/>
                      <a:pt x="5" y="10"/>
                    </a:cubicBezTo>
                    <a:cubicBezTo>
                      <a:pt x="3" y="9"/>
                      <a:pt x="2" y="10"/>
                      <a:pt x="2" y="9"/>
                    </a:cubicBezTo>
                    <a:close/>
                  </a:path>
                </a:pathLst>
              </a:custGeom>
              <a:grp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755" name="Freeform 194"/>
              <p:cNvSpPr>
                <a:spLocks/>
              </p:cNvSpPr>
              <p:nvPr/>
            </p:nvSpPr>
            <p:spPr bwMode="auto">
              <a:xfrm>
                <a:off x="3441" y="3192"/>
                <a:ext cx="38" cy="36"/>
              </a:xfrm>
              <a:custGeom>
                <a:avLst/>
                <a:gdLst>
                  <a:gd name="T0" fmla="*/ 18 w 19"/>
                  <a:gd name="T1" fmla="*/ 17 h 18"/>
                  <a:gd name="T2" fmla="*/ 17 w 19"/>
                  <a:gd name="T3" fmla="*/ 14 h 18"/>
                  <a:gd name="T4" fmla="*/ 14 w 19"/>
                  <a:gd name="T5" fmla="*/ 12 h 18"/>
                  <a:gd name="T6" fmla="*/ 13 w 19"/>
                  <a:gd name="T7" fmla="*/ 10 h 18"/>
                  <a:gd name="T8" fmla="*/ 10 w 19"/>
                  <a:gd name="T9" fmla="*/ 9 h 18"/>
                  <a:gd name="T10" fmla="*/ 9 w 19"/>
                  <a:gd name="T11" fmla="*/ 7 h 18"/>
                  <a:gd name="T12" fmla="*/ 10 w 19"/>
                  <a:gd name="T13" fmla="*/ 6 h 18"/>
                  <a:gd name="T14" fmla="*/ 12 w 19"/>
                  <a:gd name="T15" fmla="*/ 7 h 18"/>
                  <a:gd name="T16" fmla="*/ 14 w 19"/>
                  <a:gd name="T17" fmla="*/ 6 h 18"/>
                  <a:gd name="T18" fmla="*/ 14 w 19"/>
                  <a:gd name="T19" fmla="*/ 5 h 18"/>
                  <a:gd name="T20" fmla="*/ 11 w 19"/>
                  <a:gd name="T21" fmla="*/ 4 h 18"/>
                  <a:gd name="T22" fmla="*/ 12 w 19"/>
                  <a:gd name="T23" fmla="*/ 1 h 18"/>
                  <a:gd name="T24" fmla="*/ 10 w 19"/>
                  <a:gd name="T25" fmla="*/ 0 h 18"/>
                  <a:gd name="T26" fmla="*/ 8 w 19"/>
                  <a:gd name="T27" fmla="*/ 2 h 18"/>
                  <a:gd name="T28" fmla="*/ 7 w 19"/>
                  <a:gd name="T29" fmla="*/ 1 h 18"/>
                  <a:gd name="T30" fmla="*/ 6 w 19"/>
                  <a:gd name="T31" fmla="*/ 3 h 18"/>
                  <a:gd name="T32" fmla="*/ 6 w 19"/>
                  <a:gd name="T33" fmla="*/ 6 h 18"/>
                  <a:gd name="T34" fmla="*/ 4 w 19"/>
                  <a:gd name="T35" fmla="*/ 10 h 18"/>
                  <a:gd name="T36" fmla="*/ 2 w 19"/>
                  <a:gd name="T37" fmla="*/ 7 h 18"/>
                  <a:gd name="T38" fmla="*/ 1 w 19"/>
                  <a:gd name="T39" fmla="*/ 10 h 18"/>
                  <a:gd name="T40" fmla="*/ 0 w 19"/>
                  <a:gd name="T41" fmla="*/ 13 h 18"/>
                  <a:gd name="T42" fmla="*/ 2 w 19"/>
                  <a:gd name="T43" fmla="*/ 15 h 18"/>
                  <a:gd name="T44" fmla="*/ 3 w 19"/>
                  <a:gd name="T45" fmla="*/ 15 h 18"/>
                  <a:gd name="T46" fmla="*/ 4 w 19"/>
                  <a:gd name="T47" fmla="*/ 13 h 18"/>
                  <a:gd name="T48" fmla="*/ 6 w 19"/>
                  <a:gd name="T49" fmla="*/ 15 h 18"/>
                  <a:gd name="T50" fmla="*/ 8 w 19"/>
                  <a:gd name="T51" fmla="*/ 18 h 18"/>
                  <a:gd name="T52" fmla="*/ 10 w 19"/>
                  <a:gd name="T53" fmla="*/ 16 h 18"/>
                  <a:gd name="T54" fmla="*/ 14 w 19"/>
                  <a:gd name="T55" fmla="*/ 18 h 18"/>
                  <a:gd name="T56" fmla="*/ 18 w 19"/>
                  <a:gd name="T57" fmla="*/ 1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 h="18">
                    <a:moveTo>
                      <a:pt x="18" y="17"/>
                    </a:moveTo>
                    <a:cubicBezTo>
                      <a:pt x="19" y="16"/>
                      <a:pt x="17" y="14"/>
                      <a:pt x="17" y="14"/>
                    </a:cubicBezTo>
                    <a:cubicBezTo>
                      <a:pt x="14" y="12"/>
                      <a:pt x="14" y="12"/>
                      <a:pt x="14" y="12"/>
                    </a:cubicBezTo>
                    <a:cubicBezTo>
                      <a:pt x="13" y="10"/>
                      <a:pt x="13" y="10"/>
                      <a:pt x="13" y="10"/>
                    </a:cubicBezTo>
                    <a:cubicBezTo>
                      <a:pt x="10" y="9"/>
                      <a:pt x="10" y="9"/>
                      <a:pt x="10" y="9"/>
                    </a:cubicBezTo>
                    <a:cubicBezTo>
                      <a:pt x="9" y="7"/>
                      <a:pt x="9" y="7"/>
                      <a:pt x="9" y="7"/>
                    </a:cubicBezTo>
                    <a:cubicBezTo>
                      <a:pt x="10" y="6"/>
                      <a:pt x="10" y="6"/>
                      <a:pt x="10" y="6"/>
                    </a:cubicBezTo>
                    <a:cubicBezTo>
                      <a:pt x="10" y="6"/>
                      <a:pt x="10" y="7"/>
                      <a:pt x="12" y="7"/>
                    </a:cubicBezTo>
                    <a:cubicBezTo>
                      <a:pt x="14" y="7"/>
                      <a:pt x="13" y="7"/>
                      <a:pt x="14" y="6"/>
                    </a:cubicBezTo>
                    <a:cubicBezTo>
                      <a:pt x="14" y="6"/>
                      <a:pt x="14" y="5"/>
                      <a:pt x="14" y="5"/>
                    </a:cubicBezTo>
                    <a:cubicBezTo>
                      <a:pt x="11" y="4"/>
                      <a:pt x="11" y="4"/>
                      <a:pt x="11" y="4"/>
                    </a:cubicBezTo>
                    <a:cubicBezTo>
                      <a:pt x="12" y="1"/>
                      <a:pt x="12" y="1"/>
                      <a:pt x="12" y="1"/>
                    </a:cubicBezTo>
                    <a:cubicBezTo>
                      <a:pt x="10" y="0"/>
                      <a:pt x="10" y="0"/>
                      <a:pt x="10" y="0"/>
                    </a:cubicBezTo>
                    <a:cubicBezTo>
                      <a:pt x="8" y="2"/>
                      <a:pt x="8" y="2"/>
                      <a:pt x="8" y="2"/>
                    </a:cubicBezTo>
                    <a:cubicBezTo>
                      <a:pt x="7" y="1"/>
                      <a:pt x="7" y="1"/>
                      <a:pt x="7" y="1"/>
                    </a:cubicBezTo>
                    <a:cubicBezTo>
                      <a:pt x="7" y="1"/>
                      <a:pt x="6" y="3"/>
                      <a:pt x="6" y="3"/>
                    </a:cubicBezTo>
                    <a:cubicBezTo>
                      <a:pt x="6" y="3"/>
                      <a:pt x="6" y="6"/>
                      <a:pt x="6" y="6"/>
                    </a:cubicBezTo>
                    <a:cubicBezTo>
                      <a:pt x="4" y="10"/>
                      <a:pt x="4" y="10"/>
                      <a:pt x="4" y="10"/>
                    </a:cubicBezTo>
                    <a:cubicBezTo>
                      <a:pt x="2" y="7"/>
                      <a:pt x="2" y="7"/>
                      <a:pt x="2" y="7"/>
                    </a:cubicBezTo>
                    <a:cubicBezTo>
                      <a:pt x="1" y="10"/>
                      <a:pt x="1" y="10"/>
                      <a:pt x="1" y="10"/>
                    </a:cubicBezTo>
                    <a:cubicBezTo>
                      <a:pt x="0" y="13"/>
                      <a:pt x="0" y="13"/>
                      <a:pt x="0" y="13"/>
                    </a:cubicBezTo>
                    <a:cubicBezTo>
                      <a:pt x="2" y="15"/>
                      <a:pt x="2" y="15"/>
                      <a:pt x="2" y="15"/>
                    </a:cubicBezTo>
                    <a:cubicBezTo>
                      <a:pt x="3" y="15"/>
                      <a:pt x="3" y="15"/>
                      <a:pt x="3" y="15"/>
                    </a:cubicBezTo>
                    <a:cubicBezTo>
                      <a:pt x="4" y="13"/>
                      <a:pt x="4" y="13"/>
                      <a:pt x="4" y="13"/>
                    </a:cubicBezTo>
                    <a:cubicBezTo>
                      <a:pt x="6" y="15"/>
                      <a:pt x="6" y="15"/>
                      <a:pt x="6" y="15"/>
                    </a:cubicBezTo>
                    <a:cubicBezTo>
                      <a:pt x="8" y="18"/>
                      <a:pt x="8" y="18"/>
                      <a:pt x="8" y="18"/>
                    </a:cubicBezTo>
                    <a:cubicBezTo>
                      <a:pt x="8" y="18"/>
                      <a:pt x="9" y="16"/>
                      <a:pt x="10" y="16"/>
                    </a:cubicBezTo>
                    <a:cubicBezTo>
                      <a:pt x="11" y="16"/>
                      <a:pt x="14" y="18"/>
                      <a:pt x="14" y="18"/>
                    </a:cubicBezTo>
                    <a:cubicBezTo>
                      <a:pt x="14" y="18"/>
                      <a:pt x="17" y="17"/>
                      <a:pt x="18" y="17"/>
                    </a:cubicBezTo>
                    <a:close/>
                  </a:path>
                </a:pathLst>
              </a:custGeom>
              <a:grp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756" name="Freeform 195"/>
              <p:cNvSpPr>
                <a:spLocks/>
              </p:cNvSpPr>
              <p:nvPr/>
            </p:nvSpPr>
            <p:spPr bwMode="auto">
              <a:xfrm>
                <a:off x="3373" y="3084"/>
                <a:ext cx="38" cy="40"/>
              </a:xfrm>
              <a:custGeom>
                <a:avLst/>
                <a:gdLst>
                  <a:gd name="T0" fmla="*/ 15 w 19"/>
                  <a:gd name="T1" fmla="*/ 15 h 20"/>
                  <a:gd name="T2" fmla="*/ 12 w 19"/>
                  <a:gd name="T3" fmla="*/ 14 h 20"/>
                  <a:gd name="T4" fmla="*/ 10 w 19"/>
                  <a:gd name="T5" fmla="*/ 13 h 20"/>
                  <a:gd name="T6" fmla="*/ 8 w 19"/>
                  <a:gd name="T7" fmla="*/ 7 h 20"/>
                  <a:gd name="T8" fmla="*/ 8 w 19"/>
                  <a:gd name="T9" fmla="*/ 6 h 20"/>
                  <a:gd name="T10" fmla="*/ 7 w 19"/>
                  <a:gd name="T11" fmla="*/ 6 h 20"/>
                  <a:gd name="T12" fmla="*/ 7 w 19"/>
                  <a:gd name="T13" fmla="*/ 3 h 20"/>
                  <a:gd name="T14" fmla="*/ 6 w 19"/>
                  <a:gd name="T15" fmla="*/ 2 h 20"/>
                  <a:gd name="T16" fmla="*/ 6 w 19"/>
                  <a:gd name="T17" fmla="*/ 2 h 20"/>
                  <a:gd name="T18" fmla="*/ 5 w 19"/>
                  <a:gd name="T19" fmla="*/ 0 h 20"/>
                  <a:gd name="T20" fmla="*/ 2 w 19"/>
                  <a:gd name="T21" fmla="*/ 1 h 20"/>
                  <a:gd name="T22" fmla="*/ 1 w 19"/>
                  <a:gd name="T23" fmla="*/ 3 h 20"/>
                  <a:gd name="T24" fmla="*/ 0 w 19"/>
                  <a:gd name="T25" fmla="*/ 7 h 20"/>
                  <a:gd name="T26" fmla="*/ 5 w 19"/>
                  <a:gd name="T27" fmla="*/ 9 h 20"/>
                  <a:gd name="T28" fmla="*/ 7 w 19"/>
                  <a:gd name="T29" fmla="*/ 10 h 20"/>
                  <a:gd name="T30" fmla="*/ 8 w 19"/>
                  <a:gd name="T31" fmla="*/ 15 h 20"/>
                  <a:gd name="T32" fmla="*/ 11 w 19"/>
                  <a:gd name="T33" fmla="*/ 16 h 20"/>
                  <a:gd name="T34" fmla="*/ 17 w 19"/>
                  <a:gd name="T35" fmla="*/ 19 h 20"/>
                  <a:gd name="T36" fmla="*/ 18 w 19"/>
                  <a:gd name="T37" fmla="*/ 18 h 20"/>
                  <a:gd name="T38" fmla="*/ 15 w 19"/>
                  <a:gd name="T39" fmla="*/ 15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 h="20">
                    <a:moveTo>
                      <a:pt x="15" y="15"/>
                    </a:moveTo>
                    <a:cubicBezTo>
                      <a:pt x="12" y="14"/>
                      <a:pt x="12" y="14"/>
                      <a:pt x="12" y="14"/>
                    </a:cubicBezTo>
                    <a:cubicBezTo>
                      <a:pt x="10" y="13"/>
                      <a:pt x="10" y="13"/>
                      <a:pt x="10" y="13"/>
                    </a:cubicBezTo>
                    <a:cubicBezTo>
                      <a:pt x="10" y="13"/>
                      <a:pt x="9" y="8"/>
                      <a:pt x="8" y="7"/>
                    </a:cubicBezTo>
                    <a:cubicBezTo>
                      <a:pt x="8" y="7"/>
                      <a:pt x="8" y="6"/>
                      <a:pt x="8" y="6"/>
                    </a:cubicBezTo>
                    <a:cubicBezTo>
                      <a:pt x="7" y="6"/>
                      <a:pt x="7" y="6"/>
                      <a:pt x="7" y="6"/>
                    </a:cubicBezTo>
                    <a:cubicBezTo>
                      <a:pt x="7" y="3"/>
                      <a:pt x="7" y="3"/>
                      <a:pt x="7" y="3"/>
                    </a:cubicBezTo>
                    <a:cubicBezTo>
                      <a:pt x="7" y="3"/>
                      <a:pt x="6" y="2"/>
                      <a:pt x="6" y="2"/>
                    </a:cubicBezTo>
                    <a:cubicBezTo>
                      <a:pt x="6" y="2"/>
                      <a:pt x="6" y="2"/>
                      <a:pt x="6" y="2"/>
                    </a:cubicBezTo>
                    <a:cubicBezTo>
                      <a:pt x="6" y="1"/>
                      <a:pt x="5" y="1"/>
                      <a:pt x="5" y="0"/>
                    </a:cubicBezTo>
                    <a:cubicBezTo>
                      <a:pt x="5" y="1"/>
                      <a:pt x="3" y="1"/>
                      <a:pt x="2" y="1"/>
                    </a:cubicBezTo>
                    <a:cubicBezTo>
                      <a:pt x="1" y="2"/>
                      <a:pt x="1" y="3"/>
                      <a:pt x="1" y="3"/>
                    </a:cubicBezTo>
                    <a:cubicBezTo>
                      <a:pt x="0" y="4"/>
                      <a:pt x="0" y="7"/>
                      <a:pt x="0" y="7"/>
                    </a:cubicBezTo>
                    <a:cubicBezTo>
                      <a:pt x="5" y="9"/>
                      <a:pt x="5" y="9"/>
                      <a:pt x="5" y="9"/>
                    </a:cubicBezTo>
                    <a:cubicBezTo>
                      <a:pt x="5" y="9"/>
                      <a:pt x="7" y="10"/>
                      <a:pt x="7" y="10"/>
                    </a:cubicBezTo>
                    <a:cubicBezTo>
                      <a:pt x="7" y="11"/>
                      <a:pt x="8" y="15"/>
                      <a:pt x="8" y="15"/>
                    </a:cubicBezTo>
                    <a:cubicBezTo>
                      <a:pt x="8" y="15"/>
                      <a:pt x="10" y="16"/>
                      <a:pt x="11" y="16"/>
                    </a:cubicBezTo>
                    <a:cubicBezTo>
                      <a:pt x="12" y="17"/>
                      <a:pt x="14" y="19"/>
                      <a:pt x="17" y="19"/>
                    </a:cubicBezTo>
                    <a:cubicBezTo>
                      <a:pt x="19" y="20"/>
                      <a:pt x="18" y="18"/>
                      <a:pt x="18" y="18"/>
                    </a:cubicBezTo>
                    <a:lnTo>
                      <a:pt x="15" y="15"/>
                    </a:lnTo>
                    <a:close/>
                  </a:path>
                </a:pathLst>
              </a:custGeom>
              <a:grp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757" name="Freeform 196"/>
              <p:cNvSpPr>
                <a:spLocks/>
              </p:cNvSpPr>
              <p:nvPr/>
            </p:nvSpPr>
            <p:spPr bwMode="auto">
              <a:xfrm>
                <a:off x="3796" y="3038"/>
                <a:ext cx="62" cy="34"/>
              </a:xfrm>
              <a:custGeom>
                <a:avLst/>
                <a:gdLst>
                  <a:gd name="T0" fmla="*/ 4 w 31"/>
                  <a:gd name="T1" fmla="*/ 8 h 17"/>
                  <a:gd name="T2" fmla="*/ 1 w 31"/>
                  <a:gd name="T3" fmla="*/ 10 h 17"/>
                  <a:gd name="T4" fmla="*/ 2 w 31"/>
                  <a:gd name="T5" fmla="*/ 12 h 17"/>
                  <a:gd name="T6" fmla="*/ 6 w 31"/>
                  <a:gd name="T7" fmla="*/ 14 h 17"/>
                  <a:gd name="T8" fmla="*/ 7 w 31"/>
                  <a:gd name="T9" fmla="*/ 14 h 17"/>
                  <a:gd name="T10" fmla="*/ 9 w 31"/>
                  <a:gd name="T11" fmla="*/ 15 h 17"/>
                  <a:gd name="T12" fmla="*/ 12 w 31"/>
                  <a:gd name="T13" fmla="*/ 13 h 17"/>
                  <a:gd name="T14" fmla="*/ 13 w 31"/>
                  <a:gd name="T15" fmla="*/ 11 h 17"/>
                  <a:gd name="T16" fmla="*/ 15 w 31"/>
                  <a:gd name="T17" fmla="*/ 9 h 17"/>
                  <a:gd name="T18" fmla="*/ 17 w 31"/>
                  <a:gd name="T19" fmla="*/ 8 h 17"/>
                  <a:gd name="T20" fmla="*/ 17 w 31"/>
                  <a:gd name="T21" fmla="*/ 11 h 17"/>
                  <a:gd name="T22" fmla="*/ 16 w 31"/>
                  <a:gd name="T23" fmla="*/ 13 h 17"/>
                  <a:gd name="T24" fmla="*/ 15 w 31"/>
                  <a:gd name="T25" fmla="*/ 14 h 17"/>
                  <a:gd name="T26" fmla="*/ 13 w 31"/>
                  <a:gd name="T27" fmla="*/ 16 h 17"/>
                  <a:gd name="T28" fmla="*/ 15 w 31"/>
                  <a:gd name="T29" fmla="*/ 17 h 17"/>
                  <a:gd name="T30" fmla="*/ 17 w 31"/>
                  <a:gd name="T31" fmla="*/ 17 h 17"/>
                  <a:gd name="T32" fmla="*/ 20 w 31"/>
                  <a:gd name="T33" fmla="*/ 17 h 17"/>
                  <a:gd name="T34" fmla="*/ 26 w 31"/>
                  <a:gd name="T35" fmla="*/ 17 h 17"/>
                  <a:gd name="T36" fmla="*/ 28 w 31"/>
                  <a:gd name="T37" fmla="*/ 16 h 17"/>
                  <a:gd name="T38" fmla="*/ 27 w 31"/>
                  <a:gd name="T39" fmla="*/ 14 h 17"/>
                  <a:gd name="T40" fmla="*/ 24 w 31"/>
                  <a:gd name="T41" fmla="*/ 12 h 17"/>
                  <a:gd name="T42" fmla="*/ 25 w 31"/>
                  <a:gd name="T43" fmla="*/ 11 h 17"/>
                  <a:gd name="T44" fmla="*/ 28 w 31"/>
                  <a:gd name="T45" fmla="*/ 14 h 17"/>
                  <a:gd name="T46" fmla="*/ 30 w 31"/>
                  <a:gd name="T47" fmla="*/ 13 h 17"/>
                  <a:gd name="T48" fmla="*/ 29 w 31"/>
                  <a:gd name="T49" fmla="*/ 9 h 17"/>
                  <a:gd name="T50" fmla="*/ 25 w 31"/>
                  <a:gd name="T51" fmla="*/ 8 h 17"/>
                  <a:gd name="T52" fmla="*/ 23 w 31"/>
                  <a:gd name="T53" fmla="*/ 6 h 17"/>
                  <a:gd name="T54" fmla="*/ 20 w 31"/>
                  <a:gd name="T55" fmla="*/ 4 h 17"/>
                  <a:gd name="T56" fmla="*/ 21 w 31"/>
                  <a:gd name="T57" fmla="*/ 1 h 17"/>
                  <a:gd name="T58" fmla="*/ 17 w 31"/>
                  <a:gd name="T59" fmla="*/ 0 h 17"/>
                  <a:gd name="T60" fmla="*/ 13 w 31"/>
                  <a:gd name="T61" fmla="*/ 1 h 17"/>
                  <a:gd name="T62" fmla="*/ 12 w 31"/>
                  <a:gd name="T63" fmla="*/ 2 h 17"/>
                  <a:gd name="T64" fmla="*/ 12 w 31"/>
                  <a:gd name="T65" fmla="*/ 4 h 17"/>
                  <a:gd name="T66" fmla="*/ 10 w 31"/>
                  <a:gd name="T67" fmla="*/ 5 h 17"/>
                  <a:gd name="T68" fmla="*/ 9 w 31"/>
                  <a:gd name="T69" fmla="*/ 7 h 17"/>
                  <a:gd name="T70" fmla="*/ 6 w 31"/>
                  <a:gd name="T71" fmla="*/ 8 h 17"/>
                  <a:gd name="T72" fmla="*/ 4 w 31"/>
                  <a:gd name="T73"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 h="17">
                    <a:moveTo>
                      <a:pt x="4" y="8"/>
                    </a:moveTo>
                    <a:cubicBezTo>
                      <a:pt x="3" y="9"/>
                      <a:pt x="1" y="10"/>
                      <a:pt x="1" y="10"/>
                    </a:cubicBezTo>
                    <a:cubicBezTo>
                      <a:pt x="1" y="10"/>
                      <a:pt x="0" y="11"/>
                      <a:pt x="2" y="12"/>
                    </a:cubicBezTo>
                    <a:cubicBezTo>
                      <a:pt x="3" y="13"/>
                      <a:pt x="5" y="13"/>
                      <a:pt x="6" y="14"/>
                    </a:cubicBezTo>
                    <a:cubicBezTo>
                      <a:pt x="6" y="14"/>
                      <a:pt x="6" y="14"/>
                      <a:pt x="7" y="14"/>
                    </a:cubicBezTo>
                    <a:cubicBezTo>
                      <a:pt x="8" y="15"/>
                      <a:pt x="8" y="15"/>
                      <a:pt x="9" y="15"/>
                    </a:cubicBezTo>
                    <a:cubicBezTo>
                      <a:pt x="10" y="14"/>
                      <a:pt x="11" y="14"/>
                      <a:pt x="12" y="13"/>
                    </a:cubicBezTo>
                    <a:cubicBezTo>
                      <a:pt x="12" y="13"/>
                      <a:pt x="13" y="11"/>
                      <a:pt x="13" y="11"/>
                    </a:cubicBezTo>
                    <a:cubicBezTo>
                      <a:pt x="14" y="10"/>
                      <a:pt x="13" y="9"/>
                      <a:pt x="15" y="9"/>
                    </a:cubicBezTo>
                    <a:cubicBezTo>
                      <a:pt x="16" y="9"/>
                      <a:pt x="17" y="8"/>
                      <a:pt x="17" y="8"/>
                    </a:cubicBezTo>
                    <a:cubicBezTo>
                      <a:pt x="17" y="8"/>
                      <a:pt x="17" y="11"/>
                      <a:pt x="17" y="11"/>
                    </a:cubicBezTo>
                    <a:cubicBezTo>
                      <a:pt x="16" y="11"/>
                      <a:pt x="16" y="13"/>
                      <a:pt x="16" y="13"/>
                    </a:cubicBezTo>
                    <a:cubicBezTo>
                      <a:pt x="16" y="13"/>
                      <a:pt x="15" y="13"/>
                      <a:pt x="15" y="14"/>
                    </a:cubicBezTo>
                    <a:cubicBezTo>
                      <a:pt x="14" y="14"/>
                      <a:pt x="13" y="16"/>
                      <a:pt x="13" y="16"/>
                    </a:cubicBezTo>
                    <a:cubicBezTo>
                      <a:pt x="13" y="16"/>
                      <a:pt x="14" y="16"/>
                      <a:pt x="15" y="17"/>
                    </a:cubicBezTo>
                    <a:cubicBezTo>
                      <a:pt x="16" y="17"/>
                      <a:pt x="16" y="17"/>
                      <a:pt x="17" y="17"/>
                    </a:cubicBezTo>
                    <a:cubicBezTo>
                      <a:pt x="18" y="17"/>
                      <a:pt x="17" y="17"/>
                      <a:pt x="20" y="17"/>
                    </a:cubicBezTo>
                    <a:cubicBezTo>
                      <a:pt x="23" y="17"/>
                      <a:pt x="26" y="17"/>
                      <a:pt x="26" y="17"/>
                    </a:cubicBezTo>
                    <a:cubicBezTo>
                      <a:pt x="26" y="17"/>
                      <a:pt x="28" y="16"/>
                      <a:pt x="28" y="16"/>
                    </a:cubicBezTo>
                    <a:cubicBezTo>
                      <a:pt x="28" y="16"/>
                      <a:pt x="28" y="15"/>
                      <a:pt x="27" y="14"/>
                    </a:cubicBezTo>
                    <a:cubicBezTo>
                      <a:pt x="26" y="13"/>
                      <a:pt x="25" y="12"/>
                      <a:pt x="24" y="12"/>
                    </a:cubicBezTo>
                    <a:cubicBezTo>
                      <a:pt x="24" y="12"/>
                      <a:pt x="24" y="11"/>
                      <a:pt x="25" y="11"/>
                    </a:cubicBezTo>
                    <a:cubicBezTo>
                      <a:pt x="26" y="11"/>
                      <a:pt x="27" y="14"/>
                      <a:pt x="28" y="14"/>
                    </a:cubicBezTo>
                    <a:cubicBezTo>
                      <a:pt x="29" y="14"/>
                      <a:pt x="30" y="14"/>
                      <a:pt x="30" y="13"/>
                    </a:cubicBezTo>
                    <a:cubicBezTo>
                      <a:pt x="30" y="11"/>
                      <a:pt x="31" y="10"/>
                      <a:pt x="29" y="9"/>
                    </a:cubicBezTo>
                    <a:cubicBezTo>
                      <a:pt x="27" y="8"/>
                      <a:pt x="26" y="8"/>
                      <a:pt x="25" y="8"/>
                    </a:cubicBezTo>
                    <a:cubicBezTo>
                      <a:pt x="24" y="7"/>
                      <a:pt x="26" y="8"/>
                      <a:pt x="23" y="6"/>
                    </a:cubicBezTo>
                    <a:cubicBezTo>
                      <a:pt x="19" y="4"/>
                      <a:pt x="20" y="4"/>
                      <a:pt x="20" y="4"/>
                    </a:cubicBezTo>
                    <a:cubicBezTo>
                      <a:pt x="20" y="4"/>
                      <a:pt x="21" y="2"/>
                      <a:pt x="21" y="1"/>
                    </a:cubicBezTo>
                    <a:cubicBezTo>
                      <a:pt x="20" y="1"/>
                      <a:pt x="17" y="0"/>
                      <a:pt x="17" y="0"/>
                    </a:cubicBezTo>
                    <a:cubicBezTo>
                      <a:pt x="17" y="0"/>
                      <a:pt x="13" y="1"/>
                      <a:pt x="13" y="1"/>
                    </a:cubicBezTo>
                    <a:cubicBezTo>
                      <a:pt x="13" y="2"/>
                      <a:pt x="12" y="2"/>
                      <a:pt x="12" y="2"/>
                    </a:cubicBezTo>
                    <a:cubicBezTo>
                      <a:pt x="12" y="4"/>
                      <a:pt x="12" y="4"/>
                      <a:pt x="12" y="4"/>
                    </a:cubicBezTo>
                    <a:cubicBezTo>
                      <a:pt x="10" y="5"/>
                      <a:pt x="10" y="5"/>
                      <a:pt x="10" y="5"/>
                    </a:cubicBezTo>
                    <a:cubicBezTo>
                      <a:pt x="10" y="5"/>
                      <a:pt x="9" y="7"/>
                      <a:pt x="9" y="7"/>
                    </a:cubicBezTo>
                    <a:cubicBezTo>
                      <a:pt x="9" y="7"/>
                      <a:pt x="7" y="8"/>
                      <a:pt x="6" y="8"/>
                    </a:cubicBezTo>
                    <a:cubicBezTo>
                      <a:pt x="6" y="8"/>
                      <a:pt x="5" y="8"/>
                      <a:pt x="4" y="8"/>
                    </a:cubicBezTo>
                    <a:close/>
                  </a:path>
                </a:pathLst>
              </a:custGeom>
              <a:grp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758" name="Freeform 197"/>
              <p:cNvSpPr>
                <a:spLocks/>
              </p:cNvSpPr>
              <p:nvPr/>
            </p:nvSpPr>
            <p:spPr bwMode="auto">
              <a:xfrm>
                <a:off x="3798" y="3214"/>
                <a:ext cx="14" cy="8"/>
              </a:xfrm>
              <a:custGeom>
                <a:avLst/>
                <a:gdLst>
                  <a:gd name="T0" fmla="*/ 5 w 7"/>
                  <a:gd name="T1" fmla="*/ 0 h 4"/>
                  <a:gd name="T2" fmla="*/ 3 w 7"/>
                  <a:gd name="T3" fmla="*/ 0 h 4"/>
                  <a:gd name="T4" fmla="*/ 0 w 7"/>
                  <a:gd name="T5" fmla="*/ 2 h 4"/>
                  <a:gd name="T6" fmla="*/ 1 w 7"/>
                  <a:gd name="T7" fmla="*/ 4 h 4"/>
                  <a:gd name="T8" fmla="*/ 5 w 7"/>
                  <a:gd name="T9" fmla="*/ 2 h 4"/>
                  <a:gd name="T10" fmla="*/ 5 w 7"/>
                  <a:gd name="T11" fmla="*/ 0 h 4"/>
                </a:gdLst>
                <a:ahLst/>
                <a:cxnLst>
                  <a:cxn ang="0">
                    <a:pos x="T0" y="T1"/>
                  </a:cxn>
                  <a:cxn ang="0">
                    <a:pos x="T2" y="T3"/>
                  </a:cxn>
                  <a:cxn ang="0">
                    <a:pos x="T4" y="T5"/>
                  </a:cxn>
                  <a:cxn ang="0">
                    <a:pos x="T6" y="T7"/>
                  </a:cxn>
                  <a:cxn ang="0">
                    <a:pos x="T8" y="T9"/>
                  </a:cxn>
                  <a:cxn ang="0">
                    <a:pos x="T10" y="T11"/>
                  </a:cxn>
                </a:cxnLst>
                <a:rect l="0" t="0" r="r" b="b"/>
                <a:pathLst>
                  <a:path w="7" h="4">
                    <a:moveTo>
                      <a:pt x="5" y="0"/>
                    </a:moveTo>
                    <a:cubicBezTo>
                      <a:pt x="3" y="0"/>
                      <a:pt x="3" y="0"/>
                      <a:pt x="3" y="0"/>
                    </a:cubicBezTo>
                    <a:cubicBezTo>
                      <a:pt x="3" y="0"/>
                      <a:pt x="0" y="2"/>
                      <a:pt x="0" y="2"/>
                    </a:cubicBezTo>
                    <a:cubicBezTo>
                      <a:pt x="1" y="4"/>
                      <a:pt x="1" y="4"/>
                      <a:pt x="1" y="4"/>
                    </a:cubicBezTo>
                    <a:cubicBezTo>
                      <a:pt x="1" y="4"/>
                      <a:pt x="3" y="3"/>
                      <a:pt x="5" y="2"/>
                    </a:cubicBezTo>
                    <a:cubicBezTo>
                      <a:pt x="7" y="2"/>
                      <a:pt x="5" y="0"/>
                      <a:pt x="5" y="0"/>
                    </a:cubicBezTo>
                    <a:close/>
                  </a:path>
                </a:pathLst>
              </a:custGeom>
              <a:grp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759" name="Freeform 198"/>
              <p:cNvSpPr>
                <a:spLocks/>
              </p:cNvSpPr>
              <p:nvPr/>
            </p:nvSpPr>
            <p:spPr bwMode="auto">
              <a:xfrm>
                <a:off x="3467" y="3240"/>
                <a:ext cx="30" cy="24"/>
              </a:xfrm>
              <a:custGeom>
                <a:avLst/>
                <a:gdLst>
                  <a:gd name="T0" fmla="*/ 12 w 15"/>
                  <a:gd name="T1" fmla="*/ 6 h 12"/>
                  <a:gd name="T2" fmla="*/ 10 w 15"/>
                  <a:gd name="T3" fmla="*/ 4 h 12"/>
                  <a:gd name="T4" fmla="*/ 7 w 15"/>
                  <a:gd name="T5" fmla="*/ 4 h 12"/>
                  <a:gd name="T6" fmla="*/ 4 w 15"/>
                  <a:gd name="T7" fmla="*/ 2 h 12"/>
                  <a:gd name="T8" fmla="*/ 3 w 15"/>
                  <a:gd name="T9" fmla="*/ 0 h 12"/>
                  <a:gd name="T10" fmla="*/ 2 w 15"/>
                  <a:gd name="T11" fmla="*/ 0 h 12"/>
                  <a:gd name="T12" fmla="*/ 0 w 15"/>
                  <a:gd name="T13" fmla="*/ 2 h 12"/>
                  <a:gd name="T14" fmla="*/ 0 w 15"/>
                  <a:gd name="T15" fmla="*/ 4 h 12"/>
                  <a:gd name="T16" fmla="*/ 0 w 15"/>
                  <a:gd name="T17" fmla="*/ 6 h 12"/>
                  <a:gd name="T18" fmla="*/ 5 w 15"/>
                  <a:gd name="T19" fmla="*/ 10 h 12"/>
                  <a:gd name="T20" fmla="*/ 6 w 15"/>
                  <a:gd name="T21" fmla="*/ 11 h 12"/>
                  <a:gd name="T22" fmla="*/ 9 w 15"/>
                  <a:gd name="T23" fmla="*/ 12 h 12"/>
                  <a:gd name="T24" fmla="*/ 10 w 15"/>
                  <a:gd name="T25" fmla="*/ 11 h 12"/>
                  <a:gd name="T26" fmla="*/ 11 w 15"/>
                  <a:gd name="T27" fmla="*/ 10 h 12"/>
                  <a:gd name="T28" fmla="*/ 15 w 15"/>
                  <a:gd name="T29" fmla="*/ 8 h 12"/>
                  <a:gd name="T30" fmla="*/ 12 w 15"/>
                  <a:gd name="T31"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12">
                    <a:moveTo>
                      <a:pt x="12" y="6"/>
                    </a:moveTo>
                    <a:cubicBezTo>
                      <a:pt x="10" y="4"/>
                      <a:pt x="10" y="4"/>
                      <a:pt x="10" y="4"/>
                    </a:cubicBezTo>
                    <a:cubicBezTo>
                      <a:pt x="10" y="4"/>
                      <a:pt x="8" y="4"/>
                      <a:pt x="7" y="4"/>
                    </a:cubicBezTo>
                    <a:cubicBezTo>
                      <a:pt x="6" y="4"/>
                      <a:pt x="4" y="3"/>
                      <a:pt x="4" y="2"/>
                    </a:cubicBezTo>
                    <a:cubicBezTo>
                      <a:pt x="4" y="1"/>
                      <a:pt x="3" y="1"/>
                      <a:pt x="3" y="0"/>
                    </a:cubicBezTo>
                    <a:cubicBezTo>
                      <a:pt x="3" y="0"/>
                      <a:pt x="2" y="0"/>
                      <a:pt x="2" y="0"/>
                    </a:cubicBezTo>
                    <a:cubicBezTo>
                      <a:pt x="0" y="2"/>
                      <a:pt x="0" y="2"/>
                      <a:pt x="0" y="2"/>
                    </a:cubicBezTo>
                    <a:cubicBezTo>
                      <a:pt x="0" y="4"/>
                      <a:pt x="0" y="4"/>
                      <a:pt x="0" y="4"/>
                    </a:cubicBezTo>
                    <a:cubicBezTo>
                      <a:pt x="0" y="6"/>
                      <a:pt x="0" y="6"/>
                      <a:pt x="0" y="6"/>
                    </a:cubicBezTo>
                    <a:cubicBezTo>
                      <a:pt x="0" y="6"/>
                      <a:pt x="4" y="9"/>
                      <a:pt x="5" y="10"/>
                    </a:cubicBezTo>
                    <a:cubicBezTo>
                      <a:pt x="6" y="10"/>
                      <a:pt x="6" y="11"/>
                      <a:pt x="6" y="11"/>
                    </a:cubicBezTo>
                    <a:cubicBezTo>
                      <a:pt x="7" y="12"/>
                      <a:pt x="7" y="12"/>
                      <a:pt x="9" y="12"/>
                    </a:cubicBezTo>
                    <a:cubicBezTo>
                      <a:pt x="10" y="12"/>
                      <a:pt x="10" y="11"/>
                      <a:pt x="10" y="11"/>
                    </a:cubicBezTo>
                    <a:cubicBezTo>
                      <a:pt x="11" y="10"/>
                      <a:pt x="11" y="10"/>
                      <a:pt x="11" y="10"/>
                    </a:cubicBezTo>
                    <a:cubicBezTo>
                      <a:pt x="11" y="10"/>
                      <a:pt x="15" y="8"/>
                      <a:pt x="15" y="8"/>
                    </a:cubicBezTo>
                    <a:cubicBezTo>
                      <a:pt x="15" y="7"/>
                      <a:pt x="12" y="6"/>
                      <a:pt x="12" y="6"/>
                    </a:cubicBezTo>
                    <a:close/>
                  </a:path>
                </a:pathLst>
              </a:custGeom>
              <a:grp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761" name="Freeform 199"/>
              <p:cNvSpPr>
                <a:spLocks/>
              </p:cNvSpPr>
              <p:nvPr/>
            </p:nvSpPr>
            <p:spPr bwMode="auto">
              <a:xfrm>
                <a:off x="3647" y="3349"/>
                <a:ext cx="20" cy="20"/>
              </a:xfrm>
              <a:custGeom>
                <a:avLst/>
                <a:gdLst>
                  <a:gd name="T0" fmla="*/ 7 w 10"/>
                  <a:gd name="T1" fmla="*/ 3 h 10"/>
                  <a:gd name="T2" fmla="*/ 5 w 10"/>
                  <a:gd name="T3" fmla="*/ 2 h 10"/>
                  <a:gd name="T4" fmla="*/ 4 w 10"/>
                  <a:gd name="T5" fmla="*/ 0 h 10"/>
                  <a:gd name="T6" fmla="*/ 2 w 10"/>
                  <a:gd name="T7" fmla="*/ 0 h 10"/>
                  <a:gd name="T8" fmla="*/ 0 w 10"/>
                  <a:gd name="T9" fmla="*/ 3 h 10"/>
                  <a:gd name="T10" fmla="*/ 2 w 10"/>
                  <a:gd name="T11" fmla="*/ 5 h 10"/>
                  <a:gd name="T12" fmla="*/ 3 w 10"/>
                  <a:gd name="T13" fmla="*/ 8 h 10"/>
                  <a:gd name="T14" fmla="*/ 6 w 10"/>
                  <a:gd name="T15" fmla="*/ 10 h 10"/>
                  <a:gd name="T16" fmla="*/ 9 w 10"/>
                  <a:gd name="T17" fmla="*/ 10 h 10"/>
                  <a:gd name="T18" fmla="*/ 9 w 10"/>
                  <a:gd name="T19" fmla="*/ 8 h 10"/>
                  <a:gd name="T20" fmla="*/ 10 w 10"/>
                  <a:gd name="T21" fmla="*/ 5 h 10"/>
                  <a:gd name="T22" fmla="*/ 7 w 10"/>
                  <a:gd name="T23"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10">
                    <a:moveTo>
                      <a:pt x="7" y="3"/>
                    </a:moveTo>
                    <a:cubicBezTo>
                      <a:pt x="5" y="2"/>
                      <a:pt x="5" y="2"/>
                      <a:pt x="5" y="2"/>
                    </a:cubicBezTo>
                    <a:cubicBezTo>
                      <a:pt x="4" y="0"/>
                      <a:pt x="4" y="0"/>
                      <a:pt x="4" y="0"/>
                    </a:cubicBezTo>
                    <a:cubicBezTo>
                      <a:pt x="2" y="0"/>
                      <a:pt x="2" y="0"/>
                      <a:pt x="2" y="0"/>
                    </a:cubicBezTo>
                    <a:cubicBezTo>
                      <a:pt x="0" y="3"/>
                      <a:pt x="0" y="3"/>
                      <a:pt x="0" y="3"/>
                    </a:cubicBezTo>
                    <a:cubicBezTo>
                      <a:pt x="2" y="5"/>
                      <a:pt x="2" y="5"/>
                      <a:pt x="2" y="5"/>
                    </a:cubicBezTo>
                    <a:cubicBezTo>
                      <a:pt x="3" y="8"/>
                      <a:pt x="3" y="8"/>
                      <a:pt x="3" y="8"/>
                    </a:cubicBezTo>
                    <a:cubicBezTo>
                      <a:pt x="3" y="8"/>
                      <a:pt x="5" y="9"/>
                      <a:pt x="6" y="10"/>
                    </a:cubicBezTo>
                    <a:cubicBezTo>
                      <a:pt x="7" y="10"/>
                      <a:pt x="8" y="10"/>
                      <a:pt x="9" y="10"/>
                    </a:cubicBezTo>
                    <a:cubicBezTo>
                      <a:pt x="9" y="9"/>
                      <a:pt x="9" y="8"/>
                      <a:pt x="9" y="8"/>
                    </a:cubicBezTo>
                    <a:cubicBezTo>
                      <a:pt x="9" y="8"/>
                      <a:pt x="10" y="5"/>
                      <a:pt x="10" y="5"/>
                    </a:cubicBezTo>
                    <a:cubicBezTo>
                      <a:pt x="10" y="5"/>
                      <a:pt x="7" y="3"/>
                      <a:pt x="7" y="3"/>
                    </a:cubicBezTo>
                    <a:close/>
                  </a:path>
                </a:pathLst>
              </a:custGeom>
              <a:grp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762" name="Freeform 200"/>
              <p:cNvSpPr>
                <a:spLocks/>
              </p:cNvSpPr>
              <p:nvPr/>
            </p:nvSpPr>
            <p:spPr bwMode="auto">
              <a:xfrm>
                <a:off x="3684" y="2941"/>
                <a:ext cx="20" cy="22"/>
              </a:xfrm>
              <a:custGeom>
                <a:avLst/>
                <a:gdLst>
                  <a:gd name="T0" fmla="*/ 9 w 10"/>
                  <a:gd name="T1" fmla="*/ 2 h 11"/>
                  <a:gd name="T2" fmla="*/ 7 w 10"/>
                  <a:gd name="T3" fmla="*/ 0 h 11"/>
                  <a:gd name="T4" fmla="*/ 4 w 10"/>
                  <a:gd name="T5" fmla="*/ 0 h 11"/>
                  <a:gd name="T6" fmla="*/ 2 w 10"/>
                  <a:gd name="T7" fmla="*/ 2 h 11"/>
                  <a:gd name="T8" fmla="*/ 1 w 10"/>
                  <a:gd name="T9" fmla="*/ 6 h 11"/>
                  <a:gd name="T10" fmla="*/ 1 w 10"/>
                  <a:gd name="T11" fmla="*/ 8 h 11"/>
                  <a:gd name="T12" fmla="*/ 4 w 10"/>
                  <a:gd name="T13" fmla="*/ 9 h 11"/>
                  <a:gd name="T14" fmla="*/ 8 w 10"/>
                  <a:gd name="T15" fmla="*/ 8 h 11"/>
                  <a:gd name="T16" fmla="*/ 10 w 10"/>
                  <a:gd name="T17" fmla="*/ 5 h 11"/>
                  <a:gd name="T18" fmla="*/ 9 w 10"/>
                  <a:gd name="T19"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1">
                    <a:moveTo>
                      <a:pt x="9" y="2"/>
                    </a:moveTo>
                    <a:cubicBezTo>
                      <a:pt x="9" y="1"/>
                      <a:pt x="7" y="0"/>
                      <a:pt x="7" y="0"/>
                    </a:cubicBezTo>
                    <a:cubicBezTo>
                      <a:pt x="7" y="0"/>
                      <a:pt x="5" y="0"/>
                      <a:pt x="4" y="0"/>
                    </a:cubicBezTo>
                    <a:cubicBezTo>
                      <a:pt x="3" y="0"/>
                      <a:pt x="3" y="1"/>
                      <a:pt x="2" y="2"/>
                    </a:cubicBezTo>
                    <a:cubicBezTo>
                      <a:pt x="1" y="3"/>
                      <a:pt x="1" y="4"/>
                      <a:pt x="1" y="6"/>
                    </a:cubicBezTo>
                    <a:cubicBezTo>
                      <a:pt x="0" y="7"/>
                      <a:pt x="1" y="7"/>
                      <a:pt x="1" y="8"/>
                    </a:cubicBezTo>
                    <a:cubicBezTo>
                      <a:pt x="2" y="8"/>
                      <a:pt x="2" y="8"/>
                      <a:pt x="4" y="9"/>
                    </a:cubicBezTo>
                    <a:cubicBezTo>
                      <a:pt x="5" y="11"/>
                      <a:pt x="7" y="9"/>
                      <a:pt x="8" y="8"/>
                    </a:cubicBezTo>
                    <a:cubicBezTo>
                      <a:pt x="10" y="7"/>
                      <a:pt x="9" y="6"/>
                      <a:pt x="10" y="5"/>
                    </a:cubicBezTo>
                    <a:cubicBezTo>
                      <a:pt x="10" y="4"/>
                      <a:pt x="9" y="2"/>
                      <a:pt x="9" y="2"/>
                    </a:cubicBezTo>
                    <a:close/>
                  </a:path>
                </a:pathLst>
              </a:custGeom>
              <a:grp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763" name="Freeform 201"/>
              <p:cNvSpPr>
                <a:spLocks/>
              </p:cNvSpPr>
              <p:nvPr/>
            </p:nvSpPr>
            <p:spPr bwMode="auto">
              <a:xfrm>
                <a:off x="3675" y="3074"/>
                <a:ext cx="9" cy="4"/>
              </a:xfrm>
              <a:custGeom>
                <a:avLst/>
                <a:gdLst>
                  <a:gd name="T0" fmla="*/ 1 w 4"/>
                  <a:gd name="T1" fmla="*/ 0 h 2"/>
                  <a:gd name="T2" fmla="*/ 0 w 4"/>
                  <a:gd name="T3" fmla="*/ 1 h 2"/>
                  <a:gd name="T4" fmla="*/ 1 w 4"/>
                  <a:gd name="T5" fmla="*/ 2 h 2"/>
                  <a:gd name="T6" fmla="*/ 3 w 4"/>
                  <a:gd name="T7" fmla="*/ 1 h 2"/>
                  <a:gd name="T8" fmla="*/ 3 w 4"/>
                  <a:gd name="T9" fmla="*/ 0 h 2"/>
                  <a:gd name="T10" fmla="*/ 1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1" y="0"/>
                    </a:moveTo>
                    <a:cubicBezTo>
                      <a:pt x="1" y="0"/>
                      <a:pt x="0" y="0"/>
                      <a:pt x="0" y="1"/>
                    </a:cubicBezTo>
                    <a:cubicBezTo>
                      <a:pt x="1" y="2"/>
                      <a:pt x="1" y="2"/>
                      <a:pt x="1" y="2"/>
                    </a:cubicBezTo>
                    <a:cubicBezTo>
                      <a:pt x="1" y="2"/>
                      <a:pt x="2" y="1"/>
                      <a:pt x="3" y="1"/>
                    </a:cubicBezTo>
                    <a:cubicBezTo>
                      <a:pt x="4" y="1"/>
                      <a:pt x="3" y="0"/>
                      <a:pt x="3" y="0"/>
                    </a:cubicBezTo>
                    <a:lnTo>
                      <a:pt x="1" y="0"/>
                    </a:lnTo>
                    <a:close/>
                  </a:path>
                </a:pathLst>
              </a:custGeom>
              <a:grp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766" name="Freeform 202"/>
              <p:cNvSpPr>
                <a:spLocks/>
              </p:cNvSpPr>
              <p:nvPr/>
            </p:nvSpPr>
            <p:spPr bwMode="auto">
              <a:xfrm>
                <a:off x="3669" y="3080"/>
                <a:ext cx="6" cy="10"/>
              </a:xfrm>
              <a:custGeom>
                <a:avLst/>
                <a:gdLst>
                  <a:gd name="T0" fmla="*/ 1 w 3"/>
                  <a:gd name="T1" fmla="*/ 2 h 5"/>
                  <a:gd name="T2" fmla="*/ 0 w 3"/>
                  <a:gd name="T3" fmla="*/ 4 h 5"/>
                  <a:gd name="T4" fmla="*/ 1 w 3"/>
                  <a:gd name="T5" fmla="*/ 5 h 5"/>
                  <a:gd name="T6" fmla="*/ 2 w 3"/>
                  <a:gd name="T7" fmla="*/ 2 h 5"/>
                  <a:gd name="T8" fmla="*/ 2 w 3"/>
                  <a:gd name="T9" fmla="*/ 1 h 5"/>
                  <a:gd name="T10" fmla="*/ 1 w 3"/>
                  <a:gd name="T11" fmla="*/ 2 h 5"/>
                </a:gdLst>
                <a:ahLst/>
                <a:cxnLst>
                  <a:cxn ang="0">
                    <a:pos x="T0" y="T1"/>
                  </a:cxn>
                  <a:cxn ang="0">
                    <a:pos x="T2" y="T3"/>
                  </a:cxn>
                  <a:cxn ang="0">
                    <a:pos x="T4" y="T5"/>
                  </a:cxn>
                  <a:cxn ang="0">
                    <a:pos x="T6" y="T7"/>
                  </a:cxn>
                  <a:cxn ang="0">
                    <a:pos x="T8" y="T9"/>
                  </a:cxn>
                  <a:cxn ang="0">
                    <a:pos x="T10" y="T11"/>
                  </a:cxn>
                </a:cxnLst>
                <a:rect l="0" t="0" r="r" b="b"/>
                <a:pathLst>
                  <a:path w="3" h="5">
                    <a:moveTo>
                      <a:pt x="1" y="2"/>
                    </a:moveTo>
                    <a:cubicBezTo>
                      <a:pt x="1" y="2"/>
                      <a:pt x="0" y="4"/>
                      <a:pt x="0" y="4"/>
                    </a:cubicBezTo>
                    <a:cubicBezTo>
                      <a:pt x="1" y="5"/>
                      <a:pt x="1" y="5"/>
                      <a:pt x="1" y="5"/>
                    </a:cubicBezTo>
                    <a:cubicBezTo>
                      <a:pt x="1" y="5"/>
                      <a:pt x="2" y="3"/>
                      <a:pt x="2" y="2"/>
                    </a:cubicBezTo>
                    <a:cubicBezTo>
                      <a:pt x="3" y="0"/>
                      <a:pt x="2" y="1"/>
                      <a:pt x="2" y="1"/>
                    </a:cubicBezTo>
                    <a:lnTo>
                      <a:pt x="1" y="2"/>
                    </a:lnTo>
                    <a:close/>
                  </a:path>
                </a:pathLst>
              </a:custGeom>
              <a:grp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769" name="Freeform 203"/>
              <p:cNvSpPr>
                <a:spLocks/>
              </p:cNvSpPr>
              <p:nvPr/>
            </p:nvSpPr>
            <p:spPr bwMode="auto">
              <a:xfrm>
                <a:off x="3499" y="3192"/>
                <a:ext cx="174" cy="161"/>
              </a:xfrm>
              <a:custGeom>
                <a:avLst/>
                <a:gdLst>
                  <a:gd name="T0" fmla="*/ 82 w 87"/>
                  <a:gd name="T1" fmla="*/ 23 h 80"/>
                  <a:gd name="T2" fmla="*/ 80 w 87"/>
                  <a:gd name="T3" fmla="*/ 20 h 80"/>
                  <a:gd name="T4" fmla="*/ 74 w 87"/>
                  <a:gd name="T5" fmla="*/ 20 h 80"/>
                  <a:gd name="T6" fmla="*/ 72 w 87"/>
                  <a:gd name="T7" fmla="*/ 13 h 80"/>
                  <a:gd name="T8" fmla="*/ 64 w 87"/>
                  <a:gd name="T9" fmla="*/ 9 h 80"/>
                  <a:gd name="T10" fmla="*/ 58 w 87"/>
                  <a:gd name="T11" fmla="*/ 9 h 80"/>
                  <a:gd name="T12" fmla="*/ 44 w 87"/>
                  <a:gd name="T13" fmla="*/ 5 h 80"/>
                  <a:gd name="T14" fmla="*/ 29 w 87"/>
                  <a:gd name="T15" fmla="*/ 1 h 80"/>
                  <a:gd name="T16" fmla="*/ 19 w 87"/>
                  <a:gd name="T17" fmla="*/ 3 h 80"/>
                  <a:gd name="T18" fmla="*/ 11 w 87"/>
                  <a:gd name="T19" fmla="*/ 8 h 80"/>
                  <a:gd name="T20" fmla="*/ 7 w 87"/>
                  <a:gd name="T21" fmla="*/ 11 h 80"/>
                  <a:gd name="T22" fmla="*/ 5 w 87"/>
                  <a:gd name="T23" fmla="*/ 18 h 80"/>
                  <a:gd name="T24" fmla="*/ 1 w 87"/>
                  <a:gd name="T25" fmla="*/ 25 h 80"/>
                  <a:gd name="T26" fmla="*/ 9 w 87"/>
                  <a:gd name="T27" fmla="*/ 33 h 80"/>
                  <a:gd name="T28" fmla="*/ 17 w 87"/>
                  <a:gd name="T29" fmla="*/ 36 h 80"/>
                  <a:gd name="T30" fmla="*/ 24 w 87"/>
                  <a:gd name="T31" fmla="*/ 44 h 80"/>
                  <a:gd name="T32" fmla="*/ 23 w 87"/>
                  <a:gd name="T33" fmla="*/ 53 h 80"/>
                  <a:gd name="T34" fmla="*/ 25 w 87"/>
                  <a:gd name="T35" fmla="*/ 59 h 80"/>
                  <a:gd name="T36" fmla="*/ 28 w 87"/>
                  <a:gd name="T37" fmla="*/ 64 h 80"/>
                  <a:gd name="T38" fmla="*/ 34 w 87"/>
                  <a:gd name="T39" fmla="*/ 68 h 80"/>
                  <a:gd name="T40" fmla="*/ 37 w 87"/>
                  <a:gd name="T41" fmla="*/ 65 h 80"/>
                  <a:gd name="T42" fmla="*/ 37 w 87"/>
                  <a:gd name="T43" fmla="*/ 56 h 80"/>
                  <a:gd name="T44" fmla="*/ 43 w 87"/>
                  <a:gd name="T45" fmla="*/ 60 h 80"/>
                  <a:gd name="T46" fmla="*/ 51 w 87"/>
                  <a:gd name="T47" fmla="*/ 66 h 80"/>
                  <a:gd name="T48" fmla="*/ 55 w 87"/>
                  <a:gd name="T49" fmla="*/ 76 h 80"/>
                  <a:gd name="T50" fmla="*/ 60 w 87"/>
                  <a:gd name="T51" fmla="*/ 78 h 80"/>
                  <a:gd name="T52" fmla="*/ 59 w 87"/>
                  <a:gd name="T53" fmla="*/ 70 h 80"/>
                  <a:gd name="T54" fmla="*/ 61 w 87"/>
                  <a:gd name="T55" fmla="*/ 64 h 80"/>
                  <a:gd name="T56" fmla="*/ 66 w 87"/>
                  <a:gd name="T57" fmla="*/ 61 h 80"/>
                  <a:gd name="T58" fmla="*/ 70 w 87"/>
                  <a:gd name="T59" fmla="*/ 65 h 80"/>
                  <a:gd name="T60" fmla="*/ 75 w 87"/>
                  <a:gd name="T61" fmla="*/ 71 h 80"/>
                  <a:gd name="T62" fmla="*/ 77 w 87"/>
                  <a:gd name="T63" fmla="*/ 72 h 80"/>
                  <a:gd name="T64" fmla="*/ 85 w 87"/>
                  <a:gd name="T65" fmla="*/ 73 h 80"/>
                  <a:gd name="T66" fmla="*/ 78 w 87"/>
                  <a:gd name="T67" fmla="*/ 66 h 80"/>
                  <a:gd name="T68" fmla="*/ 78 w 87"/>
                  <a:gd name="T69" fmla="*/ 58 h 80"/>
                  <a:gd name="T70" fmla="*/ 73 w 87"/>
                  <a:gd name="T71" fmla="*/ 49 h 80"/>
                  <a:gd name="T72" fmla="*/ 67 w 87"/>
                  <a:gd name="T73" fmla="*/ 44 h 80"/>
                  <a:gd name="T74" fmla="*/ 62 w 87"/>
                  <a:gd name="T75" fmla="*/ 34 h 80"/>
                  <a:gd name="T76" fmla="*/ 60 w 87"/>
                  <a:gd name="T77" fmla="*/ 27 h 80"/>
                  <a:gd name="T78" fmla="*/ 68 w 87"/>
                  <a:gd name="T79" fmla="*/ 29 h 80"/>
                  <a:gd name="T80" fmla="*/ 74 w 87"/>
                  <a:gd name="T81" fmla="*/ 32 h 80"/>
                  <a:gd name="T82" fmla="*/ 75 w 87"/>
                  <a:gd name="T83" fmla="*/ 36 h 80"/>
                  <a:gd name="T84" fmla="*/ 76 w 87"/>
                  <a:gd name="T85" fmla="*/ 38 h 80"/>
                  <a:gd name="T86" fmla="*/ 80 w 87"/>
                  <a:gd name="T87" fmla="*/ 31 h 80"/>
                  <a:gd name="T88" fmla="*/ 87 w 87"/>
                  <a:gd name="T89" fmla="*/ 2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7" h="80">
                    <a:moveTo>
                      <a:pt x="85" y="24"/>
                    </a:moveTo>
                    <a:cubicBezTo>
                      <a:pt x="82" y="25"/>
                      <a:pt x="82" y="25"/>
                      <a:pt x="82" y="25"/>
                    </a:cubicBezTo>
                    <a:cubicBezTo>
                      <a:pt x="82" y="23"/>
                      <a:pt x="82" y="23"/>
                      <a:pt x="82" y="23"/>
                    </a:cubicBezTo>
                    <a:cubicBezTo>
                      <a:pt x="82" y="23"/>
                      <a:pt x="82" y="23"/>
                      <a:pt x="82" y="23"/>
                    </a:cubicBezTo>
                    <a:cubicBezTo>
                      <a:pt x="83" y="23"/>
                      <a:pt x="83" y="20"/>
                      <a:pt x="83" y="20"/>
                    </a:cubicBezTo>
                    <a:cubicBezTo>
                      <a:pt x="83" y="20"/>
                      <a:pt x="81" y="20"/>
                      <a:pt x="80" y="20"/>
                    </a:cubicBezTo>
                    <a:cubicBezTo>
                      <a:pt x="79" y="21"/>
                      <a:pt x="80" y="23"/>
                      <a:pt x="80" y="23"/>
                    </a:cubicBezTo>
                    <a:cubicBezTo>
                      <a:pt x="80" y="23"/>
                      <a:pt x="76" y="22"/>
                      <a:pt x="75" y="22"/>
                    </a:cubicBezTo>
                    <a:cubicBezTo>
                      <a:pt x="75" y="22"/>
                      <a:pt x="74" y="21"/>
                      <a:pt x="74" y="20"/>
                    </a:cubicBezTo>
                    <a:cubicBezTo>
                      <a:pt x="74" y="20"/>
                      <a:pt x="75" y="17"/>
                      <a:pt x="75" y="17"/>
                    </a:cubicBezTo>
                    <a:cubicBezTo>
                      <a:pt x="76" y="14"/>
                      <a:pt x="76" y="14"/>
                      <a:pt x="76" y="14"/>
                    </a:cubicBezTo>
                    <a:cubicBezTo>
                      <a:pt x="76" y="14"/>
                      <a:pt x="72" y="13"/>
                      <a:pt x="72" y="13"/>
                    </a:cubicBezTo>
                    <a:cubicBezTo>
                      <a:pt x="72" y="12"/>
                      <a:pt x="68" y="14"/>
                      <a:pt x="67" y="12"/>
                    </a:cubicBezTo>
                    <a:cubicBezTo>
                      <a:pt x="66" y="11"/>
                      <a:pt x="66" y="11"/>
                      <a:pt x="66" y="11"/>
                    </a:cubicBezTo>
                    <a:cubicBezTo>
                      <a:pt x="64" y="9"/>
                      <a:pt x="64" y="9"/>
                      <a:pt x="64" y="9"/>
                    </a:cubicBezTo>
                    <a:cubicBezTo>
                      <a:pt x="62" y="10"/>
                      <a:pt x="62" y="10"/>
                      <a:pt x="62" y="10"/>
                    </a:cubicBezTo>
                    <a:cubicBezTo>
                      <a:pt x="62" y="10"/>
                      <a:pt x="60" y="10"/>
                      <a:pt x="59" y="10"/>
                    </a:cubicBezTo>
                    <a:cubicBezTo>
                      <a:pt x="58" y="10"/>
                      <a:pt x="58" y="9"/>
                      <a:pt x="58" y="9"/>
                    </a:cubicBezTo>
                    <a:cubicBezTo>
                      <a:pt x="54" y="7"/>
                      <a:pt x="54" y="7"/>
                      <a:pt x="54" y="7"/>
                    </a:cubicBezTo>
                    <a:cubicBezTo>
                      <a:pt x="50" y="6"/>
                      <a:pt x="50" y="6"/>
                      <a:pt x="50" y="6"/>
                    </a:cubicBezTo>
                    <a:cubicBezTo>
                      <a:pt x="50" y="6"/>
                      <a:pt x="45" y="5"/>
                      <a:pt x="44" y="5"/>
                    </a:cubicBezTo>
                    <a:cubicBezTo>
                      <a:pt x="43" y="4"/>
                      <a:pt x="39" y="4"/>
                      <a:pt x="38" y="4"/>
                    </a:cubicBezTo>
                    <a:cubicBezTo>
                      <a:pt x="36" y="3"/>
                      <a:pt x="34" y="4"/>
                      <a:pt x="33" y="3"/>
                    </a:cubicBezTo>
                    <a:cubicBezTo>
                      <a:pt x="32" y="2"/>
                      <a:pt x="29" y="1"/>
                      <a:pt x="29" y="1"/>
                    </a:cubicBezTo>
                    <a:cubicBezTo>
                      <a:pt x="29" y="1"/>
                      <a:pt x="25" y="0"/>
                      <a:pt x="24" y="0"/>
                    </a:cubicBezTo>
                    <a:cubicBezTo>
                      <a:pt x="24" y="0"/>
                      <a:pt x="23" y="0"/>
                      <a:pt x="23" y="0"/>
                    </a:cubicBezTo>
                    <a:cubicBezTo>
                      <a:pt x="22" y="0"/>
                      <a:pt x="20" y="2"/>
                      <a:pt x="19" y="3"/>
                    </a:cubicBezTo>
                    <a:cubicBezTo>
                      <a:pt x="18" y="3"/>
                      <a:pt x="18" y="5"/>
                      <a:pt x="18" y="6"/>
                    </a:cubicBezTo>
                    <a:cubicBezTo>
                      <a:pt x="17" y="7"/>
                      <a:pt x="16" y="8"/>
                      <a:pt x="16" y="9"/>
                    </a:cubicBezTo>
                    <a:cubicBezTo>
                      <a:pt x="16" y="9"/>
                      <a:pt x="11" y="8"/>
                      <a:pt x="11" y="8"/>
                    </a:cubicBezTo>
                    <a:cubicBezTo>
                      <a:pt x="11" y="8"/>
                      <a:pt x="10" y="8"/>
                      <a:pt x="9" y="9"/>
                    </a:cubicBezTo>
                    <a:cubicBezTo>
                      <a:pt x="9" y="9"/>
                      <a:pt x="8" y="8"/>
                      <a:pt x="7" y="8"/>
                    </a:cubicBezTo>
                    <a:cubicBezTo>
                      <a:pt x="6" y="8"/>
                      <a:pt x="7" y="10"/>
                      <a:pt x="7" y="11"/>
                    </a:cubicBezTo>
                    <a:cubicBezTo>
                      <a:pt x="7" y="11"/>
                      <a:pt x="7" y="12"/>
                      <a:pt x="7" y="13"/>
                    </a:cubicBezTo>
                    <a:cubicBezTo>
                      <a:pt x="6" y="14"/>
                      <a:pt x="6" y="15"/>
                      <a:pt x="6" y="15"/>
                    </a:cubicBezTo>
                    <a:cubicBezTo>
                      <a:pt x="6" y="16"/>
                      <a:pt x="5" y="18"/>
                      <a:pt x="5" y="18"/>
                    </a:cubicBezTo>
                    <a:cubicBezTo>
                      <a:pt x="5" y="18"/>
                      <a:pt x="3" y="20"/>
                      <a:pt x="2" y="20"/>
                    </a:cubicBezTo>
                    <a:cubicBezTo>
                      <a:pt x="1" y="20"/>
                      <a:pt x="0" y="22"/>
                      <a:pt x="0" y="22"/>
                    </a:cubicBezTo>
                    <a:cubicBezTo>
                      <a:pt x="1" y="25"/>
                      <a:pt x="1" y="25"/>
                      <a:pt x="1" y="25"/>
                    </a:cubicBezTo>
                    <a:cubicBezTo>
                      <a:pt x="1" y="25"/>
                      <a:pt x="3" y="25"/>
                      <a:pt x="4" y="25"/>
                    </a:cubicBezTo>
                    <a:cubicBezTo>
                      <a:pt x="5" y="26"/>
                      <a:pt x="7" y="28"/>
                      <a:pt x="7" y="28"/>
                    </a:cubicBezTo>
                    <a:cubicBezTo>
                      <a:pt x="8" y="28"/>
                      <a:pt x="9" y="32"/>
                      <a:pt x="9" y="33"/>
                    </a:cubicBezTo>
                    <a:cubicBezTo>
                      <a:pt x="10" y="33"/>
                      <a:pt x="11" y="33"/>
                      <a:pt x="11" y="33"/>
                    </a:cubicBezTo>
                    <a:cubicBezTo>
                      <a:pt x="11" y="33"/>
                      <a:pt x="12" y="34"/>
                      <a:pt x="13" y="34"/>
                    </a:cubicBezTo>
                    <a:cubicBezTo>
                      <a:pt x="14" y="34"/>
                      <a:pt x="16" y="35"/>
                      <a:pt x="17" y="36"/>
                    </a:cubicBezTo>
                    <a:cubicBezTo>
                      <a:pt x="17" y="36"/>
                      <a:pt x="19" y="38"/>
                      <a:pt x="20" y="38"/>
                    </a:cubicBezTo>
                    <a:cubicBezTo>
                      <a:pt x="20" y="39"/>
                      <a:pt x="22" y="40"/>
                      <a:pt x="22" y="40"/>
                    </a:cubicBezTo>
                    <a:cubicBezTo>
                      <a:pt x="22" y="40"/>
                      <a:pt x="24" y="43"/>
                      <a:pt x="24" y="44"/>
                    </a:cubicBezTo>
                    <a:cubicBezTo>
                      <a:pt x="25" y="45"/>
                      <a:pt x="24" y="46"/>
                      <a:pt x="24" y="47"/>
                    </a:cubicBezTo>
                    <a:cubicBezTo>
                      <a:pt x="23" y="47"/>
                      <a:pt x="23" y="48"/>
                      <a:pt x="22" y="49"/>
                    </a:cubicBezTo>
                    <a:cubicBezTo>
                      <a:pt x="21" y="51"/>
                      <a:pt x="23" y="53"/>
                      <a:pt x="23" y="53"/>
                    </a:cubicBezTo>
                    <a:cubicBezTo>
                      <a:pt x="23" y="57"/>
                      <a:pt x="23" y="57"/>
                      <a:pt x="23" y="57"/>
                    </a:cubicBezTo>
                    <a:cubicBezTo>
                      <a:pt x="24" y="58"/>
                      <a:pt x="24" y="58"/>
                      <a:pt x="24" y="58"/>
                    </a:cubicBezTo>
                    <a:cubicBezTo>
                      <a:pt x="24" y="58"/>
                      <a:pt x="25" y="59"/>
                      <a:pt x="25" y="59"/>
                    </a:cubicBezTo>
                    <a:cubicBezTo>
                      <a:pt x="26" y="60"/>
                      <a:pt x="26" y="60"/>
                      <a:pt x="26" y="60"/>
                    </a:cubicBezTo>
                    <a:cubicBezTo>
                      <a:pt x="26" y="60"/>
                      <a:pt x="28" y="62"/>
                      <a:pt x="28" y="62"/>
                    </a:cubicBezTo>
                    <a:cubicBezTo>
                      <a:pt x="29" y="63"/>
                      <a:pt x="28" y="64"/>
                      <a:pt x="28" y="64"/>
                    </a:cubicBezTo>
                    <a:cubicBezTo>
                      <a:pt x="27" y="65"/>
                      <a:pt x="29" y="68"/>
                      <a:pt x="29" y="68"/>
                    </a:cubicBezTo>
                    <a:cubicBezTo>
                      <a:pt x="29" y="68"/>
                      <a:pt x="31" y="68"/>
                      <a:pt x="32" y="68"/>
                    </a:cubicBezTo>
                    <a:cubicBezTo>
                      <a:pt x="33" y="67"/>
                      <a:pt x="33" y="68"/>
                      <a:pt x="34" y="68"/>
                    </a:cubicBezTo>
                    <a:cubicBezTo>
                      <a:pt x="35" y="69"/>
                      <a:pt x="35" y="70"/>
                      <a:pt x="35" y="70"/>
                    </a:cubicBezTo>
                    <a:cubicBezTo>
                      <a:pt x="35" y="70"/>
                      <a:pt x="38" y="68"/>
                      <a:pt x="38" y="67"/>
                    </a:cubicBezTo>
                    <a:cubicBezTo>
                      <a:pt x="38" y="67"/>
                      <a:pt x="37" y="65"/>
                      <a:pt x="37" y="65"/>
                    </a:cubicBezTo>
                    <a:cubicBezTo>
                      <a:pt x="37" y="65"/>
                      <a:pt x="38" y="62"/>
                      <a:pt x="37" y="61"/>
                    </a:cubicBezTo>
                    <a:cubicBezTo>
                      <a:pt x="37" y="61"/>
                      <a:pt x="37" y="58"/>
                      <a:pt x="36" y="58"/>
                    </a:cubicBezTo>
                    <a:cubicBezTo>
                      <a:pt x="36" y="57"/>
                      <a:pt x="37" y="56"/>
                      <a:pt x="37" y="56"/>
                    </a:cubicBezTo>
                    <a:cubicBezTo>
                      <a:pt x="37" y="56"/>
                      <a:pt x="40" y="55"/>
                      <a:pt x="41" y="55"/>
                    </a:cubicBezTo>
                    <a:cubicBezTo>
                      <a:pt x="41" y="55"/>
                      <a:pt x="43" y="56"/>
                      <a:pt x="43" y="57"/>
                    </a:cubicBezTo>
                    <a:cubicBezTo>
                      <a:pt x="43" y="57"/>
                      <a:pt x="43" y="60"/>
                      <a:pt x="43" y="60"/>
                    </a:cubicBezTo>
                    <a:cubicBezTo>
                      <a:pt x="48" y="61"/>
                      <a:pt x="48" y="61"/>
                      <a:pt x="48" y="61"/>
                    </a:cubicBezTo>
                    <a:cubicBezTo>
                      <a:pt x="48" y="61"/>
                      <a:pt x="50" y="62"/>
                      <a:pt x="50" y="63"/>
                    </a:cubicBezTo>
                    <a:cubicBezTo>
                      <a:pt x="50" y="63"/>
                      <a:pt x="50" y="65"/>
                      <a:pt x="51" y="66"/>
                    </a:cubicBezTo>
                    <a:cubicBezTo>
                      <a:pt x="52" y="66"/>
                      <a:pt x="53" y="67"/>
                      <a:pt x="53" y="67"/>
                    </a:cubicBezTo>
                    <a:cubicBezTo>
                      <a:pt x="53" y="67"/>
                      <a:pt x="55" y="71"/>
                      <a:pt x="55" y="72"/>
                    </a:cubicBezTo>
                    <a:cubicBezTo>
                      <a:pt x="55" y="73"/>
                      <a:pt x="55" y="74"/>
                      <a:pt x="55" y="76"/>
                    </a:cubicBezTo>
                    <a:cubicBezTo>
                      <a:pt x="55" y="78"/>
                      <a:pt x="55" y="77"/>
                      <a:pt x="55" y="77"/>
                    </a:cubicBezTo>
                    <a:cubicBezTo>
                      <a:pt x="55" y="77"/>
                      <a:pt x="57" y="78"/>
                      <a:pt x="58" y="79"/>
                    </a:cubicBezTo>
                    <a:cubicBezTo>
                      <a:pt x="60" y="80"/>
                      <a:pt x="59" y="79"/>
                      <a:pt x="60" y="78"/>
                    </a:cubicBezTo>
                    <a:cubicBezTo>
                      <a:pt x="61" y="78"/>
                      <a:pt x="60" y="77"/>
                      <a:pt x="60" y="76"/>
                    </a:cubicBezTo>
                    <a:cubicBezTo>
                      <a:pt x="60" y="75"/>
                      <a:pt x="60" y="74"/>
                      <a:pt x="60" y="72"/>
                    </a:cubicBezTo>
                    <a:cubicBezTo>
                      <a:pt x="59" y="71"/>
                      <a:pt x="59" y="70"/>
                      <a:pt x="59" y="70"/>
                    </a:cubicBezTo>
                    <a:cubicBezTo>
                      <a:pt x="59" y="70"/>
                      <a:pt x="60" y="68"/>
                      <a:pt x="60" y="68"/>
                    </a:cubicBezTo>
                    <a:cubicBezTo>
                      <a:pt x="60" y="68"/>
                      <a:pt x="60" y="67"/>
                      <a:pt x="60" y="66"/>
                    </a:cubicBezTo>
                    <a:cubicBezTo>
                      <a:pt x="60" y="65"/>
                      <a:pt x="61" y="64"/>
                      <a:pt x="61" y="64"/>
                    </a:cubicBezTo>
                    <a:cubicBezTo>
                      <a:pt x="61" y="64"/>
                      <a:pt x="62" y="63"/>
                      <a:pt x="62" y="62"/>
                    </a:cubicBezTo>
                    <a:cubicBezTo>
                      <a:pt x="63" y="61"/>
                      <a:pt x="63" y="62"/>
                      <a:pt x="63" y="61"/>
                    </a:cubicBezTo>
                    <a:cubicBezTo>
                      <a:pt x="64" y="61"/>
                      <a:pt x="65" y="61"/>
                      <a:pt x="66" y="61"/>
                    </a:cubicBezTo>
                    <a:cubicBezTo>
                      <a:pt x="67" y="61"/>
                      <a:pt x="68" y="61"/>
                      <a:pt x="68" y="61"/>
                    </a:cubicBezTo>
                    <a:cubicBezTo>
                      <a:pt x="70" y="64"/>
                      <a:pt x="70" y="64"/>
                      <a:pt x="70" y="64"/>
                    </a:cubicBezTo>
                    <a:cubicBezTo>
                      <a:pt x="70" y="64"/>
                      <a:pt x="70" y="64"/>
                      <a:pt x="70" y="65"/>
                    </a:cubicBezTo>
                    <a:cubicBezTo>
                      <a:pt x="70" y="65"/>
                      <a:pt x="71" y="67"/>
                      <a:pt x="71" y="67"/>
                    </a:cubicBezTo>
                    <a:cubicBezTo>
                      <a:pt x="74" y="69"/>
                      <a:pt x="74" y="69"/>
                      <a:pt x="74" y="69"/>
                    </a:cubicBezTo>
                    <a:cubicBezTo>
                      <a:pt x="74" y="69"/>
                      <a:pt x="75" y="70"/>
                      <a:pt x="75" y="71"/>
                    </a:cubicBezTo>
                    <a:cubicBezTo>
                      <a:pt x="75" y="71"/>
                      <a:pt x="75" y="73"/>
                      <a:pt x="76" y="74"/>
                    </a:cubicBezTo>
                    <a:cubicBezTo>
                      <a:pt x="77" y="75"/>
                      <a:pt x="76" y="73"/>
                      <a:pt x="76" y="73"/>
                    </a:cubicBezTo>
                    <a:cubicBezTo>
                      <a:pt x="77" y="72"/>
                      <a:pt x="77" y="72"/>
                      <a:pt x="77" y="72"/>
                    </a:cubicBezTo>
                    <a:cubicBezTo>
                      <a:pt x="79" y="73"/>
                      <a:pt x="79" y="73"/>
                      <a:pt x="79" y="73"/>
                    </a:cubicBezTo>
                    <a:cubicBezTo>
                      <a:pt x="79" y="73"/>
                      <a:pt x="83" y="74"/>
                      <a:pt x="84" y="74"/>
                    </a:cubicBezTo>
                    <a:cubicBezTo>
                      <a:pt x="84" y="74"/>
                      <a:pt x="85" y="73"/>
                      <a:pt x="85" y="73"/>
                    </a:cubicBezTo>
                    <a:cubicBezTo>
                      <a:pt x="83" y="72"/>
                      <a:pt x="83" y="72"/>
                      <a:pt x="83" y="72"/>
                    </a:cubicBezTo>
                    <a:cubicBezTo>
                      <a:pt x="82" y="69"/>
                      <a:pt x="82" y="69"/>
                      <a:pt x="82" y="69"/>
                    </a:cubicBezTo>
                    <a:cubicBezTo>
                      <a:pt x="82" y="69"/>
                      <a:pt x="79" y="67"/>
                      <a:pt x="78" y="66"/>
                    </a:cubicBezTo>
                    <a:cubicBezTo>
                      <a:pt x="78" y="66"/>
                      <a:pt x="77" y="64"/>
                      <a:pt x="77" y="64"/>
                    </a:cubicBezTo>
                    <a:cubicBezTo>
                      <a:pt x="76" y="63"/>
                      <a:pt x="76" y="62"/>
                      <a:pt x="76" y="61"/>
                    </a:cubicBezTo>
                    <a:cubicBezTo>
                      <a:pt x="76" y="60"/>
                      <a:pt x="77" y="59"/>
                      <a:pt x="78" y="58"/>
                    </a:cubicBezTo>
                    <a:cubicBezTo>
                      <a:pt x="79" y="56"/>
                      <a:pt x="77" y="58"/>
                      <a:pt x="77" y="58"/>
                    </a:cubicBezTo>
                    <a:cubicBezTo>
                      <a:pt x="77" y="58"/>
                      <a:pt x="76" y="55"/>
                      <a:pt x="76" y="54"/>
                    </a:cubicBezTo>
                    <a:cubicBezTo>
                      <a:pt x="76" y="54"/>
                      <a:pt x="73" y="49"/>
                      <a:pt x="73" y="49"/>
                    </a:cubicBezTo>
                    <a:cubicBezTo>
                      <a:pt x="73" y="49"/>
                      <a:pt x="72" y="48"/>
                      <a:pt x="72" y="48"/>
                    </a:cubicBezTo>
                    <a:cubicBezTo>
                      <a:pt x="72" y="47"/>
                      <a:pt x="70" y="46"/>
                      <a:pt x="69" y="46"/>
                    </a:cubicBezTo>
                    <a:cubicBezTo>
                      <a:pt x="68" y="46"/>
                      <a:pt x="68" y="45"/>
                      <a:pt x="67" y="44"/>
                    </a:cubicBezTo>
                    <a:cubicBezTo>
                      <a:pt x="67" y="44"/>
                      <a:pt x="67" y="42"/>
                      <a:pt x="67" y="41"/>
                    </a:cubicBezTo>
                    <a:cubicBezTo>
                      <a:pt x="67" y="40"/>
                      <a:pt x="65" y="39"/>
                      <a:pt x="65" y="38"/>
                    </a:cubicBezTo>
                    <a:cubicBezTo>
                      <a:pt x="64" y="37"/>
                      <a:pt x="64" y="36"/>
                      <a:pt x="62" y="34"/>
                    </a:cubicBezTo>
                    <a:cubicBezTo>
                      <a:pt x="61" y="33"/>
                      <a:pt x="60" y="31"/>
                      <a:pt x="60" y="31"/>
                    </a:cubicBezTo>
                    <a:cubicBezTo>
                      <a:pt x="60" y="29"/>
                      <a:pt x="60" y="29"/>
                      <a:pt x="60" y="29"/>
                    </a:cubicBezTo>
                    <a:cubicBezTo>
                      <a:pt x="60" y="27"/>
                      <a:pt x="60" y="27"/>
                      <a:pt x="60" y="27"/>
                    </a:cubicBezTo>
                    <a:cubicBezTo>
                      <a:pt x="63" y="28"/>
                      <a:pt x="63" y="28"/>
                      <a:pt x="63" y="28"/>
                    </a:cubicBezTo>
                    <a:cubicBezTo>
                      <a:pt x="63" y="28"/>
                      <a:pt x="64" y="28"/>
                      <a:pt x="65" y="28"/>
                    </a:cubicBezTo>
                    <a:cubicBezTo>
                      <a:pt x="65" y="28"/>
                      <a:pt x="68" y="29"/>
                      <a:pt x="68" y="29"/>
                    </a:cubicBezTo>
                    <a:cubicBezTo>
                      <a:pt x="68" y="29"/>
                      <a:pt x="70" y="29"/>
                      <a:pt x="70" y="30"/>
                    </a:cubicBezTo>
                    <a:cubicBezTo>
                      <a:pt x="71" y="30"/>
                      <a:pt x="71" y="30"/>
                      <a:pt x="72" y="30"/>
                    </a:cubicBezTo>
                    <a:cubicBezTo>
                      <a:pt x="72" y="30"/>
                      <a:pt x="73" y="31"/>
                      <a:pt x="74" y="32"/>
                    </a:cubicBezTo>
                    <a:cubicBezTo>
                      <a:pt x="74" y="32"/>
                      <a:pt x="73" y="33"/>
                      <a:pt x="73" y="34"/>
                    </a:cubicBezTo>
                    <a:cubicBezTo>
                      <a:pt x="72" y="34"/>
                      <a:pt x="73" y="35"/>
                      <a:pt x="73" y="35"/>
                    </a:cubicBezTo>
                    <a:cubicBezTo>
                      <a:pt x="73" y="35"/>
                      <a:pt x="75" y="35"/>
                      <a:pt x="75" y="36"/>
                    </a:cubicBezTo>
                    <a:cubicBezTo>
                      <a:pt x="76" y="36"/>
                      <a:pt x="75" y="37"/>
                      <a:pt x="75" y="37"/>
                    </a:cubicBezTo>
                    <a:cubicBezTo>
                      <a:pt x="75" y="37"/>
                      <a:pt x="75" y="39"/>
                      <a:pt x="75" y="40"/>
                    </a:cubicBezTo>
                    <a:cubicBezTo>
                      <a:pt x="75" y="40"/>
                      <a:pt x="76" y="38"/>
                      <a:pt x="76" y="38"/>
                    </a:cubicBezTo>
                    <a:cubicBezTo>
                      <a:pt x="76" y="38"/>
                      <a:pt x="77" y="37"/>
                      <a:pt x="77" y="36"/>
                    </a:cubicBezTo>
                    <a:cubicBezTo>
                      <a:pt x="77" y="35"/>
                      <a:pt x="78" y="34"/>
                      <a:pt x="78" y="34"/>
                    </a:cubicBezTo>
                    <a:cubicBezTo>
                      <a:pt x="80" y="31"/>
                      <a:pt x="80" y="31"/>
                      <a:pt x="80" y="31"/>
                    </a:cubicBezTo>
                    <a:cubicBezTo>
                      <a:pt x="82" y="29"/>
                      <a:pt x="82" y="29"/>
                      <a:pt x="82" y="29"/>
                    </a:cubicBezTo>
                    <a:cubicBezTo>
                      <a:pt x="82" y="29"/>
                      <a:pt x="85" y="28"/>
                      <a:pt x="86" y="28"/>
                    </a:cubicBezTo>
                    <a:cubicBezTo>
                      <a:pt x="87" y="27"/>
                      <a:pt x="86" y="27"/>
                      <a:pt x="87" y="27"/>
                    </a:cubicBezTo>
                    <a:cubicBezTo>
                      <a:pt x="87" y="27"/>
                      <a:pt x="87" y="25"/>
                      <a:pt x="87" y="25"/>
                    </a:cubicBezTo>
                    <a:lnTo>
                      <a:pt x="85" y="24"/>
                    </a:lnTo>
                    <a:close/>
                  </a:path>
                </a:pathLst>
              </a:custGeom>
              <a:solidFill>
                <a:srgbClr val="0181C7"/>
              </a:solid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770" name="Freeform 204"/>
              <p:cNvSpPr>
                <a:spLocks/>
              </p:cNvSpPr>
              <p:nvPr/>
            </p:nvSpPr>
            <p:spPr bwMode="auto">
              <a:xfrm>
                <a:off x="3411" y="2835"/>
                <a:ext cx="403" cy="387"/>
              </a:xfrm>
              <a:custGeom>
                <a:avLst/>
                <a:gdLst>
                  <a:gd name="T0" fmla="*/ 143 w 201"/>
                  <a:gd name="T1" fmla="*/ 176 h 193"/>
                  <a:gd name="T2" fmla="*/ 129 w 201"/>
                  <a:gd name="T3" fmla="*/ 165 h 193"/>
                  <a:gd name="T4" fmla="*/ 142 w 201"/>
                  <a:gd name="T5" fmla="*/ 164 h 193"/>
                  <a:gd name="T6" fmla="*/ 153 w 201"/>
                  <a:gd name="T7" fmla="*/ 177 h 193"/>
                  <a:gd name="T8" fmla="*/ 157 w 201"/>
                  <a:gd name="T9" fmla="*/ 167 h 193"/>
                  <a:gd name="T10" fmla="*/ 145 w 201"/>
                  <a:gd name="T11" fmla="*/ 155 h 193"/>
                  <a:gd name="T12" fmla="*/ 128 w 201"/>
                  <a:gd name="T13" fmla="*/ 147 h 193"/>
                  <a:gd name="T14" fmla="*/ 111 w 201"/>
                  <a:gd name="T15" fmla="*/ 138 h 193"/>
                  <a:gd name="T16" fmla="*/ 111 w 201"/>
                  <a:gd name="T17" fmla="*/ 150 h 193"/>
                  <a:gd name="T18" fmla="*/ 115 w 201"/>
                  <a:gd name="T19" fmla="*/ 159 h 193"/>
                  <a:gd name="T20" fmla="*/ 106 w 201"/>
                  <a:gd name="T21" fmla="*/ 155 h 193"/>
                  <a:gd name="T22" fmla="*/ 93 w 201"/>
                  <a:gd name="T23" fmla="*/ 151 h 193"/>
                  <a:gd name="T24" fmla="*/ 96 w 201"/>
                  <a:gd name="T25" fmla="*/ 147 h 193"/>
                  <a:gd name="T26" fmla="*/ 98 w 201"/>
                  <a:gd name="T27" fmla="*/ 136 h 193"/>
                  <a:gd name="T28" fmla="*/ 101 w 201"/>
                  <a:gd name="T29" fmla="*/ 127 h 193"/>
                  <a:gd name="T30" fmla="*/ 106 w 201"/>
                  <a:gd name="T31" fmla="*/ 135 h 193"/>
                  <a:gd name="T32" fmla="*/ 99 w 201"/>
                  <a:gd name="T33" fmla="*/ 120 h 193"/>
                  <a:gd name="T34" fmla="*/ 90 w 201"/>
                  <a:gd name="T35" fmla="*/ 109 h 193"/>
                  <a:gd name="T36" fmla="*/ 76 w 201"/>
                  <a:gd name="T37" fmla="*/ 96 h 193"/>
                  <a:gd name="T38" fmla="*/ 79 w 201"/>
                  <a:gd name="T39" fmla="*/ 76 h 193"/>
                  <a:gd name="T40" fmla="*/ 84 w 201"/>
                  <a:gd name="T41" fmla="*/ 81 h 193"/>
                  <a:gd name="T42" fmla="*/ 102 w 201"/>
                  <a:gd name="T43" fmla="*/ 91 h 193"/>
                  <a:gd name="T44" fmla="*/ 114 w 201"/>
                  <a:gd name="T45" fmla="*/ 97 h 193"/>
                  <a:gd name="T46" fmla="*/ 106 w 201"/>
                  <a:gd name="T47" fmla="*/ 91 h 193"/>
                  <a:gd name="T48" fmla="*/ 110 w 201"/>
                  <a:gd name="T49" fmla="*/ 84 h 193"/>
                  <a:gd name="T50" fmla="*/ 124 w 201"/>
                  <a:gd name="T51" fmla="*/ 93 h 193"/>
                  <a:gd name="T52" fmla="*/ 113 w 201"/>
                  <a:gd name="T53" fmla="*/ 80 h 193"/>
                  <a:gd name="T54" fmla="*/ 122 w 201"/>
                  <a:gd name="T55" fmla="*/ 78 h 193"/>
                  <a:gd name="T56" fmla="*/ 138 w 201"/>
                  <a:gd name="T57" fmla="*/ 82 h 193"/>
                  <a:gd name="T58" fmla="*/ 123 w 201"/>
                  <a:gd name="T59" fmla="*/ 71 h 193"/>
                  <a:gd name="T60" fmla="*/ 115 w 201"/>
                  <a:gd name="T61" fmla="*/ 67 h 193"/>
                  <a:gd name="T62" fmla="*/ 123 w 201"/>
                  <a:gd name="T63" fmla="*/ 57 h 193"/>
                  <a:gd name="T64" fmla="*/ 146 w 201"/>
                  <a:gd name="T65" fmla="*/ 46 h 193"/>
                  <a:gd name="T66" fmla="*/ 163 w 201"/>
                  <a:gd name="T67" fmla="*/ 43 h 193"/>
                  <a:gd name="T68" fmla="*/ 195 w 201"/>
                  <a:gd name="T69" fmla="*/ 36 h 193"/>
                  <a:gd name="T70" fmla="*/ 197 w 201"/>
                  <a:gd name="T71" fmla="*/ 9 h 193"/>
                  <a:gd name="T72" fmla="*/ 182 w 201"/>
                  <a:gd name="T73" fmla="*/ 9 h 193"/>
                  <a:gd name="T74" fmla="*/ 163 w 201"/>
                  <a:gd name="T75" fmla="*/ 24 h 193"/>
                  <a:gd name="T76" fmla="*/ 132 w 201"/>
                  <a:gd name="T77" fmla="*/ 23 h 193"/>
                  <a:gd name="T78" fmla="*/ 113 w 201"/>
                  <a:gd name="T79" fmla="*/ 27 h 193"/>
                  <a:gd name="T80" fmla="*/ 84 w 201"/>
                  <a:gd name="T81" fmla="*/ 39 h 193"/>
                  <a:gd name="T82" fmla="*/ 47 w 201"/>
                  <a:gd name="T83" fmla="*/ 57 h 193"/>
                  <a:gd name="T84" fmla="*/ 23 w 201"/>
                  <a:gd name="T85" fmla="*/ 71 h 193"/>
                  <a:gd name="T86" fmla="*/ 22 w 201"/>
                  <a:gd name="T87" fmla="*/ 78 h 193"/>
                  <a:gd name="T88" fmla="*/ 17 w 201"/>
                  <a:gd name="T89" fmla="*/ 95 h 193"/>
                  <a:gd name="T90" fmla="*/ 3 w 201"/>
                  <a:gd name="T91" fmla="*/ 118 h 193"/>
                  <a:gd name="T92" fmla="*/ 4 w 201"/>
                  <a:gd name="T93" fmla="*/ 126 h 193"/>
                  <a:gd name="T94" fmla="*/ 7 w 201"/>
                  <a:gd name="T95" fmla="*/ 144 h 193"/>
                  <a:gd name="T96" fmla="*/ 22 w 201"/>
                  <a:gd name="T97" fmla="*/ 156 h 193"/>
                  <a:gd name="T98" fmla="*/ 38 w 201"/>
                  <a:gd name="T99" fmla="*/ 156 h 193"/>
                  <a:gd name="T100" fmla="*/ 23 w 201"/>
                  <a:gd name="T101" fmla="*/ 164 h 193"/>
                  <a:gd name="T102" fmla="*/ 25 w 201"/>
                  <a:gd name="T103" fmla="*/ 168 h 193"/>
                  <a:gd name="T104" fmla="*/ 35 w 201"/>
                  <a:gd name="T105" fmla="*/ 170 h 193"/>
                  <a:gd name="T106" fmla="*/ 48 w 201"/>
                  <a:gd name="T107" fmla="*/ 175 h 193"/>
                  <a:gd name="T108" fmla="*/ 70 w 201"/>
                  <a:gd name="T109" fmla="*/ 175 h 193"/>
                  <a:gd name="T110" fmla="*/ 88 w 201"/>
                  <a:gd name="T111" fmla="*/ 170 h 193"/>
                  <a:gd name="T112" fmla="*/ 104 w 201"/>
                  <a:gd name="T113" fmla="*/ 177 h 193"/>
                  <a:gd name="T114" fmla="*/ 108 w 201"/>
                  <a:gd name="T115" fmla="*/ 181 h 193"/>
                  <a:gd name="T116" fmla="*/ 113 w 201"/>
                  <a:gd name="T117" fmla="*/ 188 h 193"/>
                  <a:gd name="T118" fmla="*/ 127 w 201"/>
                  <a:gd name="T119" fmla="*/ 179 h 193"/>
                  <a:gd name="T120" fmla="*/ 129 w 201"/>
                  <a:gd name="T121" fmla="*/ 184 h 193"/>
                  <a:gd name="T122" fmla="*/ 141 w 201"/>
                  <a:gd name="T123" fmla="*/ 188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1" h="193">
                    <a:moveTo>
                      <a:pt x="149" y="188"/>
                    </a:moveTo>
                    <a:cubicBezTo>
                      <a:pt x="148" y="188"/>
                      <a:pt x="148" y="188"/>
                      <a:pt x="148" y="188"/>
                    </a:cubicBezTo>
                    <a:cubicBezTo>
                      <a:pt x="148" y="185"/>
                      <a:pt x="148" y="185"/>
                      <a:pt x="148" y="185"/>
                    </a:cubicBezTo>
                    <a:cubicBezTo>
                      <a:pt x="147" y="184"/>
                      <a:pt x="147" y="184"/>
                      <a:pt x="147" y="184"/>
                    </a:cubicBezTo>
                    <a:cubicBezTo>
                      <a:pt x="145" y="181"/>
                      <a:pt x="145" y="181"/>
                      <a:pt x="145" y="181"/>
                    </a:cubicBezTo>
                    <a:cubicBezTo>
                      <a:pt x="143" y="176"/>
                      <a:pt x="143" y="176"/>
                      <a:pt x="143" y="176"/>
                    </a:cubicBezTo>
                    <a:cubicBezTo>
                      <a:pt x="143" y="176"/>
                      <a:pt x="142" y="172"/>
                      <a:pt x="142" y="172"/>
                    </a:cubicBezTo>
                    <a:cubicBezTo>
                      <a:pt x="142" y="171"/>
                      <a:pt x="141" y="170"/>
                      <a:pt x="141" y="170"/>
                    </a:cubicBezTo>
                    <a:cubicBezTo>
                      <a:pt x="141" y="166"/>
                      <a:pt x="141" y="166"/>
                      <a:pt x="141" y="166"/>
                    </a:cubicBezTo>
                    <a:cubicBezTo>
                      <a:pt x="136" y="165"/>
                      <a:pt x="136" y="165"/>
                      <a:pt x="136" y="165"/>
                    </a:cubicBezTo>
                    <a:cubicBezTo>
                      <a:pt x="133" y="165"/>
                      <a:pt x="133" y="165"/>
                      <a:pt x="133" y="165"/>
                    </a:cubicBezTo>
                    <a:cubicBezTo>
                      <a:pt x="129" y="165"/>
                      <a:pt x="129" y="165"/>
                      <a:pt x="129" y="165"/>
                    </a:cubicBezTo>
                    <a:cubicBezTo>
                      <a:pt x="129" y="163"/>
                      <a:pt x="129" y="163"/>
                      <a:pt x="129" y="163"/>
                    </a:cubicBezTo>
                    <a:cubicBezTo>
                      <a:pt x="131" y="163"/>
                      <a:pt x="131" y="163"/>
                      <a:pt x="131" y="163"/>
                    </a:cubicBezTo>
                    <a:cubicBezTo>
                      <a:pt x="131" y="163"/>
                      <a:pt x="134" y="163"/>
                      <a:pt x="135" y="163"/>
                    </a:cubicBezTo>
                    <a:cubicBezTo>
                      <a:pt x="136" y="163"/>
                      <a:pt x="137" y="162"/>
                      <a:pt x="137" y="162"/>
                    </a:cubicBezTo>
                    <a:cubicBezTo>
                      <a:pt x="140" y="161"/>
                      <a:pt x="140" y="161"/>
                      <a:pt x="140" y="161"/>
                    </a:cubicBezTo>
                    <a:cubicBezTo>
                      <a:pt x="142" y="164"/>
                      <a:pt x="142" y="164"/>
                      <a:pt x="142" y="164"/>
                    </a:cubicBezTo>
                    <a:cubicBezTo>
                      <a:pt x="144" y="166"/>
                      <a:pt x="144" y="166"/>
                      <a:pt x="144" y="166"/>
                    </a:cubicBezTo>
                    <a:cubicBezTo>
                      <a:pt x="147" y="168"/>
                      <a:pt x="147" y="168"/>
                      <a:pt x="147" y="168"/>
                    </a:cubicBezTo>
                    <a:cubicBezTo>
                      <a:pt x="147" y="172"/>
                      <a:pt x="147" y="172"/>
                      <a:pt x="147" y="172"/>
                    </a:cubicBezTo>
                    <a:cubicBezTo>
                      <a:pt x="147" y="172"/>
                      <a:pt x="152" y="173"/>
                      <a:pt x="153" y="174"/>
                    </a:cubicBezTo>
                    <a:cubicBezTo>
                      <a:pt x="153" y="174"/>
                      <a:pt x="153" y="174"/>
                      <a:pt x="153" y="174"/>
                    </a:cubicBezTo>
                    <a:cubicBezTo>
                      <a:pt x="153" y="177"/>
                      <a:pt x="153" y="177"/>
                      <a:pt x="153" y="177"/>
                    </a:cubicBezTo>
                    <a:cubicBezTo>
                      <a:pt x="153" y="177"/>
                      <a:pt x="156" y="176"/>
                      <a:pt x="157" y="176"/>
                    </a:cubicBezTo>
                    <a:cubicBezTo>
                      <a:pt x="157" y="176"/>
                      <a:pt x="160" y="176"/>
                      <a:pt x="160" y="176"/>
                    </a:cubicBezTo>
                    <a:cubicBezTo>
                      <a:pt x="161" y="176"/>
                      <a:pt x="163" y="174"/>
                      <a:pt x="163" y="174"/>
                    </a:cubicBezTo>
                    <a:cubicBezTo>
                      <a:pt x="164" y="174"/>
                      <a:pt x="163" y="170"/>
                      <a:pt x="163" y="170"/>
                    </a:cubicBezTo>
                    <a:cubicBezTo>
                      <a:pt x="163" y="170"/>
                      <a:pt x="160" y="168"/>
                      <a:pt x="160" y="167"/>
                    </a:cubicBezTo>
                    <a:cubicBezTo>
                      <a:pt x="159" y="167"/>
                      <a:pt x="157" y="167"/>
                      <a:pt x="157" y="167"/>
                    </a:cubicBezTo>
                    <a:cubicBezTo>
                      <a:pt x="157" y="167"/>
                      <a:pt x="155" y="168"/>
                      <a:pt x="154" y="168"/>
                    </a:cubicBezTo>
                    <a:cubicBezTo>
                      <a:pt x="154" y="168"/>
                      <a:pt x="153" y="168"/>
                      <a:pt x="153" y="169"/>
                    </a:cubicBezTo>
                    <a:cubicBezTo>
                      <a:pt x="152" y="169"/>
                      <a:pt x="151" y="167"/>
                      <a:pt x="150" y="166"/>
                    </a:cubicBezTo>
                    <a:cubicBezTo>
                      <a:pt x="150" y="165"/>
                      <a:pt x="147" y="162"/>
                      <a:pt x="147" y="162"/>
                    </a:cubicBezTo>
                    <a:cubicBezTo>
                      <a:pt x="147" y="161"/>
                      <a:pt x="145" y="158"/>
                      <a:pt x="145" y="158"/>
                    </a:cubicBezTo>
                    <a:cubicBezTo>
                      <a:pt x="145" y="157"/>
                      <a:pt x="145" y="155"/>
                      <a:pt x="145" y="155"/>
                    </a:cubicBezTo>
                    <a:cubicBezTo>
                      <a:pt x="145" y="155"/>
                      <a:pt x="144" y="152"/>
                      <a:pt x="144" y="151"/>
                    </a:cubicBezTo>
                    <a:cubicBezTo>
                      <a:pt x="143" y="151"/>
                      <a:pt x="141" y="149"/>
                      <a:pt x="141" y="149"/>
                    </a:cubicBezTo>
                    <a:cubicBezTo>
                      <a:pt x="140" y="148"/>
                      <a:pt x="140" y="148"/>
                      <a:pt x="140" y="148"/>
                    </a:cubicBezTo>
                    <a:cubicBezTo>
                      <a:pt x="136" y="149"/>
                      <a:pt x="136" y="149"/>
                      <a:pt x="136" y="149"/>
                    </a:cubicBezTo>
                    <a:cubicBezTo>
                      <a:pt x="131" y="149"/>
                      <a:pt x="131" y="149"/>
                      <a:pt x="131" y="149"/>
                    </a:cubicBezTo>
                    <a:cubicBezTo>
                      <a:pt x="128" y="147"/>
                      <a:pt x="128" y="147"/>
                      <a:pt x="128" y="147"/>
                    </a:cubicBezTo>
                    <a:cubicBezTo>
                      <a:pt x="128" y="147"/>
                      <a:pt x="126" y="147"/>
                      <a:pt x="126" y="147"/>
                    </a:cubicBezTo>
                    <a:cubicBezTo>
                      <a:pt x="125" y="147"/>
                      <a:pt x="121" y="145"/>
                      <a:pt x="121" y="145"/>
                    </a:cubicBezTo>
                    <a:cubicBezTo>
                      <a:pt x="121" y="145"/>
                      <a:pt x="117" y="144"/>
                      <a:pt x="116" y="144"/>
                    </a:cubicBezTo>
                    <a:cubicBezTo>
                      <a:pt x="116" y="143"/>
                      <a:pt x="115" y="142"/>
                      <a:pt x="115" y="141"/>
                    </a:cubicBezTo>
                    <a:cubicBezTo>
                      <a:pt x="114" y="140"/>
                      <a:pt x="113" y="139"/>
                      <a:pt x="113" y="139"/>
                    </a:cubicBezTo>
                    <a:cubicBezTo>
                      <a:pt x="113" y="139"/>
                      <a:pt x="112" y="138"/>
                      <a:pt x="111" y="138"/>
                    </a:cubicBezTo>
                    <a:cubicBezTo>
                      <a:pt x="110" y="138"/>
                      <a:pt x="109" y="139"/>
                      <a:pt x="108" y="139"/>
                    </a:cubicBezTo>
                    <a:cubicBezTo>
                      <a:pt x="108" y="139"/>
                      <a:pt x="105" y="139"/>
                      <a:pt x="105" y="139"/>
                    </a:cubicBezTo>
                    <a:cubicBezTo>
                      <a:pt x="104" y="138"/>
                      <a:pt x="104" y="141"/>
                      <a:pt x="104" y="141"/>
                    </a:cubicBezTo>
                    <a:cubicBezTo>
                      <a:pt x="103" y="142"/>
                      <a:pt x="102" y="145"/>
                      <a:pt x="102" y="145"/>
                    </a:cubicBezTo>
                    <a:cubicBezTo>
                      <a:pt x="106" y="147"/>
                      <a:pt x="106" y="147"/>
                      <a:pt x="106" y="147"/>
                    </a:cubicBezTo>
                    <a:cubicBezTo>
                      <a:pt x="111" y="150"/>
                      <a:pt x="111" y="150"/>
                      <a:pt x="111" y="150"/>
                    </a:cubicBezTo>
                    <a:cubicBezTo>
                      <a:pt x="115" y="150"/>
                      <a:pt x="115" y="150"/>
                      <a:pt x="115" y="150"/>
                    </a:cubicBezTo>
                    <a:cubicBezTo>
                      <a:pt x="115" y="150"/>
                      <a:pt x="119" y="153"/>
                      <a:pt x="119" y="154"/>
                    </a:cubicBezTo>
                    <a:cubicBezTo>
                      <a:pt x="120" y="154"/>
                      <a:pt x="122" y="156"/>
                      <a:pt x="122" y="156"/>
                    </a:cubicBezTo>
                    <a:cubicBezTo>
                      <a:pt x="125" y="158"/>
                      <a:pt x="125" y="158"/>
                      <a:pt x="125" y="158"/>
                    </a:cubicBezTo>
                    <a:cubicBezTo>
                      <a:pt x="125" y="158"/>
                      <a:pt x="118" y="160"/>
                      <a:pt x="118" y="160"/>
                    </a:cubicBezTo>
                    <a:cubicBezTo>
                      <a:pt x="117" y="160"/>
                      <a:pt x="116" y="159"/>
                      <a:pt x="115" y="159"/>
                    </a:cubicBezTo>
                    <a:cubicBezTo>
                      <a:pt x="114" y="159"/>
                      <a:pt x="114" y="157"/>
                      <a:pt x="114" y="157"/>
                    </a:cubicBezTo>
                    <a:cubicBezTo>
                      <a:pt x="113" y="155"/>
                      <a:pt x="113" y="155"/>
                      <a:pt x="113" y="155"/>
                    </a:cubicBezTo>
                    <a:cubicBezTo>
                      <a:pt x="113" y="155"/>
                      <a:pt x="110" y="154"/>
                      <a:pt x="110" y="154"/>
                    </a:cubicBezTo>
                    <a:cubicBezTo>
                      <a:pt x="109" y="154"/>
                      <a:pt x="109" y="155"/>
                      <a:pt x="108" y="155"/>
                    </a:cubicBezTo>
                    <a:cubicBezTo>
                      <a:pt x="108" y="155"/>
                      <a:pt x="107" y="155"/>
                      <a:pt x="107" y="155"/>
                    </a:cubicBezTo>
                    <a:cubicBezTo>
                      <a:pt x="106" y="155"/>
                      <a:pt x="106" y="155"/>
                      <a:pt x="106" y="155"/>
                    </a:cubicBezTo>
                    <a:cubicBezTo>
                      <a:pt x="106" y="155"/>
                      <a:pt x="105" y="155"/>
                      <a:pt x="104" y="155"/>
                    </a:cubicBezTo>
                    <a:cubicBezTo>
                      <a:pt x="103" y="155"/>
                      <a:pt x="103" y="154"/>
                      <a:pt x="103" y="154"/>
                    </a:cubicBezTo>
                    <a:cubicBezTo>
                      <a:pt x="103" y="154"/>
                      <a:pt x="103" y="153"/>
                      <a:pt x="102" y="152"/>
                    </a:cubicBezTo>
                    <a:cubicBezTo>
                      <a:pt x="101" y="152"/>
                      <a:pt x="100" y="152"/>
                      <a:pt x="99" y="152"/>
                    </a:cubicBezTo>
                    <a:cubicBezTo>
                      <a:pt x="98" y="151"/>
                      <a:pt x="97" y="151"/>
                      <a:pt x="97" y="151"/>
                    </a:cubicBezTo>
                    <a:cubicBezTo>
                      <a:pt x="96" y="151"/>
                      <a:pt x="94" y="151"/>
                      <a:pt x="93" y="151"/>
                    </a:cubicBezTo>
                    <a:cubicBezTo>
                      <a:pt x="93" y="151"/>
                      <a:pt x="92" y="151"/>
                      <a:pt x="89" y="151"/>
                    </a:cubicBezTo>
                    <a:cubicBezTo>
                      <a:pt x="85" y="150"/>
                      <a:pt x="88" y="149"/>
                      <a:pt x="88" y="149"/>
                    </a:cubicBezTo>
                    <a:cubicBezTo>
                      <a:pt x="88" y="148"/>
                      <a:pt x="90" y="148"/>
                      <a:pt x="90" y="148"/>
                    </a:cubicBezTo>
                    <a:cubicBezTo>
                      <a:pt x="90" y="148"/>
                      <a:pt x="92" y="149"/>
                      <a:pt x="92" y="148"/>
                    </a:cubicBezTo>
                    <a:cubicBezTo>
                      <a:pt x="93" y="148"/>
                      <a:pt x="93" y="148"/>
                      <a:pt x="93" y="148"/>
                    </a:cubicBezTo>
                    <a:cubicBezTo>
                      <a:pt x="93" y="148"/>
                      <a:pt x="95" y="147"/>
                      <a:pt x="96" y="147"/>
                    </a:cubicBezTo>
                    <a:cubicBezTo>
                      <a:pt x="96" y="147"/>
                      <a:pt x="97" y="146"/>
                      <a:pt x="97" y="146"/>
                    </a:cubicBezTo>
                    <a:cubicBezTo>
                      <a:pt x="100" y="143"/>
                      <a:pt x="100" y="143"/>
                      <a:pt x="100" y="143"/>
                    </a:cubicBezTo>
                    <a:cubicBezTo>
                      <a:pt x="101" y="141"/>
                      <a:pt x="101" y="141"/>
                      <a:pt x="101" y="141"/>
                    </a:cubicBezTo>
                    <a:cubicBezTo>
                      <a:pt x="101" y="139"/>
                      <a:pt x="101" y="139"/>
                      <a:pt x="101" y="139"/>
                    </a:cubicBezTo>
                    <a:cubicBezTo>
                      <a:pt x="99" y="138"/>
                      <a:pt x="99" y="138"/>
                      <a:pt x="99" y="138"/>
                    </a:cubicBezTo>
                    <a:cubicBezTo>
                      <a:pt x="99" y="138"/>
                      <a:pt x="98" y="137"/>
                      <a:pt x="98" y="136"/>
                    </a:cubicBezTo>
                    <a:cubicBezTo>
                      <a:pt x="98" y="136"/>
                      <a:pt x="96" y="135"/>
                      <a:pt x="96" y="135"/>
                    </a:cubicBezTo>
                    <a:cubicBezTo>
                      <a:pt x="92" y="133"/>
                      <a:pt x="92" y="133"/>
                      <a:pt x="92" y="133"/>
                    </a:cubicBezTo>
                    <a:cubicBezTo>
                      <a:pt x="93" y="131"/>
                      <a:pt x="93" y="131"/>
                      <a:pt x="93" y="131"/>
                    </a:cubicBezTo>
                    <a:cubicBezTo>
                      <a:pt x="93" y="131"/>
                      <a:pt x="96" y="128"/>
                      <a:pt x="97" y="128"/>
                    </a:cubicBezTo>
                    <a:cubicBezTo>
                      <a:pt x="97" y="127"/>
                      <a:pt x="99" y="127"/>
                      <a:pt x="99" y="127"/>
                    </a:cubicBezTo>
                    <a:cubicBezTo>
                      <a:pt x="101" y="127"/>
                      <a:pt x="101" y="127"/>
                      <a:pt x="101" y="127"/>
                    </a:cubicBezTo>
                    <a:cubicBezTo>
                      <a:pt x="103" y="129"/>
                      <a:pt x="103" y="129"/>
                      <a:pt x="103" y="129"/>
                    </a:cubicBezTo>
                    <a:cubicBezTo>
                      <a:pt x="103" y="129"/>
                      <a:pt x="105" y="130"/>
                      <a:pt x="106" y="131"/>
                    </a:cubicBezTo>
                    <a:cubicBezTo>
                      <a:pt x="106" y="131"/>
                      <a:pt x="107" y="133"/>
                      <a:pt x="107" y="133"/>
                    </a:cubicBezTo>
                    <a:cubicBezTo>
                      <a:pt x="107" y="133"/>
                      <a:pt x="104" y="134"/>
                      <a:pt x="104" y="135"/>
                    </a:cubicBezTo>
                    <a:cubicBezTo>
                      <a:pt x="103" y="135"/>
                      <a:pt x="104" y="136"/>
                      <a:pt x="104" y="136"/>
                    </a:cubicBezTo>
                    <a:cubicBezTo>
                      <a:pt x="104" y="136"/>
                      <a:pt x="105" y="135"/>
                      <a:pt x="106" y="135"/>
                    </a:cubicBezTo>
                    <a:cubicBezTo>
                      <a:pt x="106" y="135"/>
                      <a:pt x="108" y="134"/>
                      <a:pt x="108" y="134"/>
                    </a:cubicBezTo>
                    <a:cubicBezTo>
                      <a:pt x="109" y="132"/>
                      <a:pt x="109" y="132"/>
                      <a:pt x="109" y="132"/>
                    </a:cubicBezTo>
                    <a:cubicBezTo>
                      <a:pt x="110" y="129"/>
                      <a:pt x="110" y="129"/>
                      <a:pt x="110" y="129"/>
                    </a:cubicBezTo>
                    <a:cubicBezTo>
                      <a:pt x="107" y="127"/>
                      <a:pt x="107" y="127"/>
                      <a:pt x="107" y="127"/>
                    </a:cubicBezTo>
                    <a:cubicBezTo>
                      <a:pt x="104" y="123"/>
                      <a:pt x="104" y="123"/>
                      <a:pt x="104" y="123"/>
                    </a:cubicBezTo>
                    <a:cubicBezTo>
                      <a:pt x="99" y="120"/>
                      <a:pt x="99" y="120"/>
                      <a:pt x="99" y="120"/>
                    </a:cubicBezTo>
                    <a:cubicBezTo>
                      <a:pt x="99" y="120"/>
                      <a:pt x="97" y="119"/>
                      <a:pt x="97" y="119"/>
                    </a:cubicBezTo>
                    <a:cubicBezTo>
                      <a:pt x="96" y="119"/>
                      <a:pt x="96" y="118"/>
                      <a:pt x="94" y="117"/>
                    </a:cubicBezTo>
                    <a:cubicBezTo>
                      <a:pt x="92" y="115"/>
                      <a:pt x="93" y="115"/>
                      <a:pt x="93" y="114"/>
                    </a:cubicBezTo>
                    <a:cubicBezTo>
                      <a:pt x="93" y="114"/>
                      <a:pt x="92" y="114"/>
                      <a:pt x="91" y="113"/>
                    </a:cubicBezTo>
                    <a:cubicBezTo>
                      <a:pt x="91" y="113"/>
                      <a:pt x="90" y="112"/>
                      <a:pt x="90" y="112"/>
                    </a:cubicBezTo>
                    <a:cubicBezTo>
                      <a:pt x="90" y="112"/>
                      <a:pt x="90" y="110"/>
                      <a:pt x="90" y="109"/>
                    </a:cubicBezTo>
                    <a:cubicBezTo>
                      <a:pt x="89" y="107"/>
                      <a:pt x="87" y="107"/>
                      <a:pt x="86" y="107"/>
                    </a:cubicBezTo>
                    <a:cubicBezTo>
                      <a:pt x="86" y="106"/>
                      <a:pt x="85" y="105"/>
                      <a:pt x="85" y="105"/>
                    </a:cubicBezTo>
                    <a:cubicBezTo>
                      <a:pt x="83" y="102"/>
                      <a:pt x="83" y="102"/>
                      <a:pt x="83" y="102"/>
                    </a:cubicBezTo>
                    <a:cubicBezTo>
                      <a:pt x="83" y="102"/>
                      <a:pt x="82" y="101"/>
                      <a:pt x="81" y="100"/>
                    </a:cubicBezTo>
                    <a:cubicBezTo>
                      <a:pt x="79" y="100"/>
                      <a:pt x="79" y="100"/>
                      <a:pt x="78" y="99"/>
                    </a:cubicBezTo>
                    <a:cubicBezTo>
                      <a:pt x="77" y="98"/>
                      <a:pt x="77" y="97"/>
                      <a:pt x="76" y="96"/>
                    </a:cubicBezTo>
                    <a:cubicBezTo>
                      <a:pt x="76" y="95"/>
                      <a:pt x="76" y="93"/>
                      <a:pt x="76" y="92"/>
                    </a:cubicBezTo>
                    <a:cubicBezTo>
                      <a:pt x="76" y="92"/>
                      <a:pt x="77" y="88"/>
                      <a:pt x="77" y="88"/>
                    </a:cubicBezTo>
                    <a:cubicBezTo>
                      <a:pt x="77" y="84"/>
                      <a:pt x="77" y="84"/>
                      <a:pt x="77" y="84"/>
                    </a:cubicBezTo>
                    <a:cubicBezTo>
                      <a:pt x="74" y="81"/>
                      <a:pt x="74" y="81"/>
                      <a:pt x="74" y="81"/>
                    </a:cubicBezTo>
                    <a:cubicBezTo>
                      <a:pt x="76" y="78"/>
                      <a:pt x="76" y="78"/>
                      <a:pt x="76" y="78"/>
                    </a:cubicBezTo>
                    <a:cubicBezTo>
                      <a:pt x="79" y="76"/>
                      <a:pt x="79" y="76"/>
                      <a:pt x="79" y="76"/>
                    </a:cubicBezTo>
                    <a:cubicBezTo>
                      <a:pt x="80" y="74"/>
                      <a:pt x="80" y="74"/>
                      <a:pt x="80" y="74"/>
                    </a:cubicBezTo>
                    <a:cubicBezTo>
                      <a:pt x="84" y="71"/>
                      <a:pt x="84" y="71"/>
                      <a:pt x="84" y="71"/>
                    </a:cubicBezTo>
                    <a:cubicBezTo>
                      <a:pt x="86" y="73"/>
                      <a:pt x="86" y="73"/>
                      <a:pt x="86" y="73"/>
                    </a:cubicBezTo>
                    <a:cubicBezTo>
                      <a:pt x="86" y="76"/>
                      <a:pt x="86" y="76"/>
                      <a:pt x="86" y="76"/>
                    </a:cubicBezTo>
                    <a:cubicBezTo>
                      <a:pt x="83" y="78"/>
                      <a:pt x="83" y="78"/>
                      <a:pt x="83" y="78"/>
                    </a:cubicBezTo>
                    <a:cubicBezTo>
                      <a:pt x="84" y="81"/>
                      <a:pt x="84" y="81"/>
                      <a:pt x="84" y="81"/>
                    </a:cubicBezTo>
                    <a:cubicBezTo>
                      <a:pt x="89" y="83"/>
                      <a:pt x="89" y="83"/>
                      <a:pt x="89" y="83"/>
                    </a:cubicBezTo>
                    <a:cubicBezTo>
                      <a:pt x="94" y="85"/>
                      <a:pt x="94" y="85"/>
                      <a:pt x="94" y="85"/>
                    </a:cubicBezTo>
                    <a:cubicBezTo>
                      <a:pt x="98" y="85"/>
                      <a:pt x="98" y="85"/>
                      <a:pt x="98" y="85"/>
                    </a:cubicBezTo>
                    <a:cubicBezTo>
                      <a:pt x="101" y="87"/>
                      <a:pt x="101" y="87"/>
                      <a:pt x="101" y="87"/>
                    </a:cubicBezTo>
                    <a:cubicBezTo>
                      <a:pt x="102" y="90"/>
                      <a:pt x="102" y="90"/>
                      <a:pt x="102" y="90"/>
                    </a:cubicBezTo>
                    <a:cubicBezTo>
                      <a:pt x="102" y="91"/>
                      <a:pt x="102" y="91"/>
                      <a:pt x="102" y="91"/>
                    </a:cubicBezTo>
                    <a:cubicBezTo>
                      <a:pt x="101" y="93"/>
                      <a:pt x="101" y="93"/>
                      <a:pt x="101" y="93"/>
                    </a:cubicBezTo>
                    <a:cubicBezTo>
                      <a:pt x="101" y="93"/>
                      <a:pt x="102" y="95"/>
                      <a:pt x="103" y="97"/>
                    </a:cubicBezTo>
                    <a:cubicBezTo>
                      <a:pt x="104" y="98"/>
                      <a:pt x="105" y="97"/>
                      <a:pt x="105" y="97"/>
                    </a:cubicBezTo>
                    <a:cubicBezTo>
                      <a:pt x="105" y="97"/>
                      <a:pt x="108" y="96"/>
                      <a:pt x="108" y="96"/>
                    </a:cubicBezTo>
                    <a:cubicBezTo>
                      <a:pt x="108" y="96"/>
                      <a:pt x="110" y="97"/>
                      <a:pt x="110" y="97"/>
                    </a:cubicBezTo>
                    <a:cubicBezTo>
                      <a:pt x="110" y="97"/>
                      <a:pt x="113" y="97"/>
                      <a:pt x="114" y="97"/>
                    </a:cubicBezTo>
                    <a:cubicBezTo>
                      <a:pt x="115" y="97"/>
                      <a:pt x="117" y="96"/>
                      <a:pt x="117" y="96"/>
                    </a:cubicBezTo>
                    <a:cubicBezTo>
                      <a:pt x="116" y="95"/>
                      <a:pt x="116" y="95"/>
                      <a:pt x="116" y="95"/>
                    </a:cubicBezTo>
                    <a:cubicBezTo>
                      <a:pt x="114" y="94"/>
                      <a:pt x="114" y="94"/>
                      <a:pt x="114" y="94"/>
                    </a:cubicBezTo>
                    <a:cubicBezTo>
                      <a:pt x="114" y="94"/>
                      <a:pt x="112" y="93"/>
                      <a:pt x="111" y="93"/>
                    </a:cubicBezTo>
                    <a:cubicBezTo>
                      <a:pt x="109" y="93"/>
                      <a:pt x="109" y="93"/>
                      <a:pt x="109" y="93"/>
                    </a:cubicBezTo>
                    <a:cubicBezTo>
                      <a:pt x="109" y="93"/>
                      <a:pt x="107" y="92"/>
                      <a:pt x="106" y="91"/>
                    </a:cubicBezTo>
                    <a:cubicBezTo>
                      <a:pt x="106" y="90"/>
                      <a:pt x="105" y="90"/>
                      <a:pt x="105" y="90"/>
                    </a:cubicBezTo>
                    <a:cubicBezTo>
                      <a:pt x="105" y="90"/>
                      <a:pt x="102" y="88"/>
                      <a:pt x="102" y="88"/>
                    </a:cubicBezTo>
                    <a:cubicBezTo>
                      <a:pt x="102" y="88"/>
                      <a:pt x="101" y="86"/>
                      <a:pt x="101" y="86"/>
                    </a:cubicBezTo>
                    <a:cubicBezTo>
                      <a:pt x="103" y="83"/>
                      <a:pt x="103" y="83"/>
                      <a:pt x="103" y="83"/>
                    </a:cubicBezTo>
                    <a:cubicBezTo>
                      <a:pt x="105" y="83"/>
                      <a:pt x="105" y="83"/>
                      <a:pt x="105" y="83"/>
                    </a:cubicBezTo>
                    <a:cubicBezTo>
                      <a:pt x="110" y="84"/>
                      <a:pt x="110" y="84"/>
                      <a:pt x="110" y="84"/>
                    </a:cubicBezTo>
                    <a:cubicBezTo>
                      <a:pt x="110" y="84"/>
                      <a:pt x="115" y="86"/>
                      <a:pt x="115" y="86"/>
                    </a:cubicBezTo>
                    <a:cubicBezTo>
                      <a:pt x="115" y="86"/>
                      <a:pt x="117" y="88"/>
                      <a:pt x="117" y="88"/>
                    </a:cubicBezTo>
                    <a:cubicBezTo>
                      <a:pt x="117" y="91"/>
                      <a:pt x="117" y="91"/>
                      <a:pt x="117" y="91"/>
                    </a:cubicBezTo>
                    <a:cubicBezTo>
                      <a:pt x="120" y="92"/>
                      <a:pt x="120" y="92"/>
                      <a:pt x="120" y="92"/>
                    </a:cubicBezTo>
                    <a:cubicBezTo>
                      <a:pt x="120" y="92"/>
                      <a:pt x="121" y="93"/>
                      <a:pt x="123" y="93"/>
                    </a:cubicBezTo>
                    <a:cubicBezTo>
                      <a:pt x="124" y="94"/>
                      <a:pt x="124" y="93"/>
                      <a:pt x="124" y="93"/>
                    </a:cubicBezTo>
                    <a:cubicBezTo>
                      <a:pt x="125" y="90"/>
                      <a:pt x="125" y="90"/>
                      <a:pt x="125" y="90"/>
                    </a:cubicBezTo>
                    <a:cubicBezTo>
                      <a:pt x="125" y="88"/>
                      <a:pt x="125" y="88"/>
                      <a:pt x="125" y="88"/>
                    </a:cubicBezTo>
                    <a:cubicBezTo>
                      <a:pt x="125" y="88"/>
                      <a:pt x="123" y="85"/>
                      <a:pt x="123" y="85"/>
                    </a:cubicBezTo>
                    <a:cubicBezTo>
                      <a:pt x="122" y="85"/>
                      <a:pt x="118" y="84"/>
                      <a:pt x="118" y="84"/>
                    </a:cubicBezTo>
                    <a:cubicBezTo>
                      <a:pt x="116" y="82"/>
                      <a:pt x="116" y="82"/>
                      <a:pt x="116" y="82"/>
                    </a:cubicBezTo>
                    <a:cubicBezTo>
                      <a:pt x="113" y="80"/>
                      <a:pt x="113" y="80"/>
                      <a:pt x="113" y="80"/>
                    </a:cubicBezTo>
                    <a:cubicBezTo>
                      <a:pt x="113" y="79"/>
                      <a:pt x="113" y="79"/>
                      <a:pt x="113" y="79"/>
                    </a:cubicBezTo>
                    <a:cubicBezTo>
                      <a:pt x="115" y="78"/>
                      <a:pt x="115" y="78"/>
                      <a:pt x="115" y="78"/>
                    </a:cubicBezTo>
                    <a:cubicBezTo>
                      <a:pt x="115" y="78"/>
                      <a:pt x="116" y="77"/>
                      <a:pt x="116" y="76"/>
                    </a:cubicBezTo>
                    <a:cubicBezTo>
                      <a:pt x="116" y="76"/>
                      <a:pt x="117" y="75"/>
                      <a:pt x="117" y="75"/>
                    </a:cubicBezTo>
                    <a:cubicBezTo>
                      <a:pt x="121" y="76"/>
                      <a:pt x="121" y="76"/>
                      <a:pt x="121" y="76"/>
                    </a:cubicBezTo>
                    <a:cubicBezTo>
                      <a:pt x="121" y="76"/>
                      <a:pt x="122" y="78"/>
                      <a:pt x="122" y="78"/>
                    </a:cubicBezTo>
                    <a:cubicBezTo>
                      <a:pt x="122" y="79"/>
                      <a:pt x="124" y="79"/>
                      <a:pt x="125" y="78"/>
                    </a:cubicBezTo>
                    <a:cubicBezTo>
                      <a:pt x="126" y="78"/>
                      <a:pt x="128" y="78"/>
                      <a:pt x="128" y="78"/>
                    </a:cubicBezTo>
                    <a:cubicBezTo>
                      <a:pt x="128" y="78"/>
                      <a:pt x="130" y="79"/>
                      <a:pt x="131" y="79"/>
                    </a:cubicBezTo>
                    <a:cubicBezTo>
                      <a:pt x="131" y="80"/>
                      <a:pt x="132" y="81"/>
                      <a:pt x="132" y="82"/>
                    </a:cubicBezTo>
                    <a:cubicBezTo>
                      <a:pt x="132" y="83"/>
                      <a:pt x="134" y="83"/>
                      <a:pt x="134" y="84"/>
                    </a:cubicBezTo>
                    <a:cubicBezTo>
                      <a:pt x="134" y="84"/>
                      <a:pt x="136" y="83"/>
                      <a:pt x="138" y="82"/>
                    </a:cubicBezTo>
                    <a:cubicBezTo>
                      <a:pt x="139" y="81"/>
                      <a:pt x="135" y="80"/>
                      <a:pt x="135" y="80"/>
                    </a:cubicBezTo>
                    <a:cubicBezTo>
                      <a:pt x="131" y="77"/>
                      <a:pt x="131" y="77"/>
                      <a:pt x="131" y="77"/>
                    </a:cubicBezTo>
                    <a:cubicBezTo>
                      <a:pt x="128" y="75"/>
                      <a:pt x="128" y="75"/>
                      <a:pt x="128" y="75"/>
                    </a:cubicBezTo>
                    <a:cubicBezTo>
                      <a:pt x="128" y="75"/>
                      <a:pt x="126" y="75"/>
                      <a:pt x="125" y="75"/>
                    </a:cubicBezTo>
                    <a:cubicBezTo>
                      <a:pt x="125" y="75"/>
                      <a:pt x="124" y="73"/>
                      <a:pt x="124" y="73"/>
                    </a:cubicBezTo>
                    <a:cubicBezTo>
                      <a:pt x="123" y="71"/>
                      <a:pt x="123" y="71"/>
                      <a:pt x="123" y="71"/>
                    </a:cubicBezTo>
                    <a:cubicBezTo>
                      <a:pt x="123" y="71"/>
                      <a:pt x="122" y="72"/>
                      <a:pt x="122" y="73"/>
                    </a:cubicBezTo>
                    <a:cubicBezTo>
                      <a:pt x="122" y="73"/>
                      <a:pt x="119" y="74"/>
                      <a:pt x="119" y="74"/>
                    </a:cubicBezTo>
                    <a:cubicBezTo>
                      <a:pt x="118" y="75"/>
                      <a:pt x="116" y="74"/>
                      <a:pt x="116" y="74"/>
                    </a:cubicBezTo>
                    <a:cubicBezTo>
                      <a:pt x="116" y="70"/>
                      <a:pt x="116" y="70"/>
                      <a:pt x="116" y="70"/>
                    </a:cubicBezTo>
                    <a:cubicBezTo>
                      <a:pt x="116" y="70"/>
                      <a:pt x="117" y="68"/>
                      <a:pt x="117" y="68"/>
                    </a:cubicBezTo>
                    <a:cubicBezTo>
                      <a:pt x="117" y="68"/>
                      <a:pt x="115" y="67"/>
                      <a:pt x="115" y="67"/>
                    </a:cubicBezTo>
                    <a:cubicBezTo>
                      <a:pt x="111" y="65"/>
                      <a:pt x="111" y="65"/>
                      <a:pt x="111" y="65"/>
                    </a:cubicBezTo>
                    <a:cubicBezTo>
                      <a:pt x="109" y="64"/>
                      <a:pt x="109" y="64"/>
                      <a:pt x="109" y="64"/>
                    </a:cubicBezTo>
                    <a:cubicBezTo>
                      <a:pt x="111" y="61"/>
                      <a:pt x="111" y="61"/>
                      <a:pt x="111" y="61"/>
                    </a:cubicBezTo>
                    <a:cubicBezTo>
                      <a:pt x="114" y="59"/>
                      <a:pt x="114" y="59"/>
                      <a:pt x="114" y="59"/>
                    </a:cubicBezTo>
                    <a:cubicBezTo>
                      <a:pt x="114" y="59"/>
                      <a:pt x="117" y="59"/>
                      <a:pt x="118" y="59"/>
                    </a:cubicBezTo>
                    <a:cubicBezTo>
                      <a:pt x="118" y="59"/>
                      <a:pt x="123" y="57"/>
                      <a:pt x="123" y="57"/>
                    </a:cubicBezTo>
                    <a:cubicBezTo>
                      <a:pt x="127" y="55"/>
                      <a:pt x="127" y="55"/>
                      <a:pt x="127" y="55"/>
                    </a:cubicBezTo>
                    <a:cubicBezTo>
                      <a:pt x="129" y="50"/>
                      <a:pt x="129" y="50"/>
                      <a:pt x="129" y="50"/>
                    </a:cubicBezTo>
                    <a:cubicBezTo>
                      <a:pt x="129" y="48"/>
                      <a:pt x="129" y="48"/>
                      <a:pt x="129" y="48"/>
                    </a:cubicBezTo>
                    <a:cubicBezTo>
                      <a:pt x="134" y="48"/>
                      <a:pt x="134" y="48"/>
                      <a:pt x="134" y="48"/>
                    </a:cubicBezTo>
                    <a:cubicBezTo>
                      <a:pt x="142" y="48"/>
                      <a:pt x="142" y="48"/>
                      <a:pt x="142" y="48"/>
                    </a:cubicBezTo>
                    <a:cubicBezTo>
                      <a:pt x="146" y="46"/>
                      <a:pt x="146" y="46"/>
                      <a:pt x="146" y="46"/>
                    </a:cubicBezTo>
                    <a:cubicBezTo>
                      <a:pt x="150" y="44"/>
                      <a:pt x="150" y="44"/>
                      <a:pt x="150" y="44"/>
                    </a:cubicBezTo>
                    <a:cubicBezTo>
                      <a:pt x="150" y="40"/>
                      <a:pt x="150" y="40"/>
                      <a:pt x="150" y="40"/>
                    </a:cubicBezTo>
                    <a:cubicBezTo>
                      <a:pt x="154" y="39"/>
                      <a:pt x="154" y="39"/>
                      <a:pt x="154" y="39"/>
                    </a:cubicBezTo>
                    <a:cubicBezTo>
                      <a:pt x="155" y="43"/>
                      <a:pt x="155" y="43"/>
                      <a:pt x="155" y="43"/>
                    </a:cubicBezTo>
                    <a:cubicBezTo>
                      <a:pt x="155" y="43"/>
                      <a:pt x="159" y="43"/>
                      <a:pt x="160" y="43"/>
                    </a:cubicBezTo>
                    <a:cubicBezTo>
                      <a:pt x="160" y="42"/>
                      <a:pt x="163" y="43"/>
                      <a:pt x="163" y="43"/>
                    </a:cubicBezTo>
                    <a:cubicBezTo>
                      <a:pt x="163" y="43"/>
                      <a:pt x="174" y="43"/>
                      <a:pt x="174" y="42"/>
                    </a:cubicBezTo>
                    <a:cubicBezTo>
                      <a:pt x="175" y="42"/>
                      <a:pt x="180" y="41"/>
                      <a:pt x="180" y="41"/>
                    </a:cubicBezTo>
                    <a:cubicBezTo>
                      <a:pt x="180" y="41"/>
                      <a:pt x="183" y="43"/>
                      <a:pt x="183" y="43"/>
                    </a:cubicBezTo>
                    <a:cubicBezTo>
                      <a:pt x="184" y="44"/>
                      <a:pt x="188" y="44"/>
                      <a:pt x="188" y="44"/>
                    </a:cubicBezTo>
                    <a:cubicBezTo>
                      <a:pt x="191" y="41"/>
                      <a:pt x="191" y="41"/>
                      <a:pt x="191" y="41"/>
                    </a:cubicBezTo>
                    <a:cubicBezTo>
                      <a:pt x="195" y="36"/>
                      <a:pt x="195" y="36"/>
                      <a:pt x="195" y="36"/>
                    </a:cubicBezTo>
                    <a:cubicBezTo>
                      <a:pt x="192" y="26"/>
                      <a:pt x="192" y="26"/>
                      <a:pt x="192" y="26"/>
                    </a:cubicBezTo>
                    <a:cubicBezTo>
                      <a:pt x="192" y="26"/>
                      <a:pt x="192" y="23"/>
                      <a:pt x="192" y="22"/>
                    </a:cubicBezTo>
                    <a:cubicBezTo>
                      <a:pt x="192" y="21"/>
                      <a:pt x="194" y="18"/>
                      <a:pt x="194" y="18"/>
                    </a:cubicBezTo>
                    <a:cubicBezTo>
                      <a:pt x="196" y="16"/>
                      <a:pt x="196" y="16"/>
                      <a:pt x="196" y="16"/>
                    </a:cubicBezTo>
                    <a:cubicBezTo>
                      <a:pt x="196" y="16"/>
                      <a:pt x="199" y="15"/>
                      <a:pt x="200" y="15"/>
                    </a:cubicBezTo>
                    <a:cubicBezTo>
                      <a:pt x="201" y="14"/>
                      <a:pt x="197" y="10"/>
                      <a:pt x="197" y="9"/>
                    </a:cubicBezTo>
                    <a:cubicBezTo>
                      <a:pt x="197" y="8"/>
                      <a:pt x="196" y="4"/>
                      <a:pt x="196" y="4"/>
                    </a:cubicBezTo>
                    <a:cubicBezTo>
                      <a:pt x="196" y="4"/>
                      <a:pt x="191" y="2"/>
                      <a:pt x="191" y="2"/>
                    </a:cubicBezTo>
                    <a:cubicBezTo>
                      <a:pt x="190" y="1"/>
                      <a:pt x="186" y="1"/>
                      <a:pt x="184" y="0"/>
                    </a:cubicBezTo>
                    <a:cubicBezTo>
                      <a:pt x="183" y="0"/>
                      <a:pt x="181" y="1"/>
                      <a:pt x="180" y="1"/>
                    </a:cubicBezTo>
                    <a:cubicBezTo>
                      <a:pt x="178" y="2"/>
                      <a:pt x="179" y="4"/>
                      <a:pt x="179" y="4"/>
                    </a:cubicBezTo>
                    <a:cubicBezTo>
                      <a:pt x="180" y="5"/>
                      <a:pt x="181" y="7"/>
                      <a:pt x="182" y="9"/>
                    </a:cubicBezTo>
                    <a:cubicBezTo>
                      <a:pt x="184" y="12"/>
                      <a:pt x="184" y="12"/>
                      <a:pt x="184" y="13"/>
                    </a:cubicBezTo>
                    <a:cubicBezTo>
                      <a:pt x="184" y="14"/>
                      <a:pt x="184" y="16"/>
                      <a:pt x="182" y="17"/>
                    </a:cubicBezTo>
                    <a:cubicBezTo>
                      <a:pt x="181" y="18"/>
                      <a:pt x="180" y="18"/>
                      <a:pt x="179" y="19"/>
                    </a:cubicBezTo>
                    <a:cubicBezTo>
                      <a:pt x="178" y="19"/>
                      <a:pt x="175" y="21"/>
                      <a:pt x="174" y="21"/>
                    </a:cubicBezTo>
                    <a:cubicBezTo>
                      <a:pt x="174" y="22"/>
                      <a:pt x="170" y="22"/>
                      <a:pt x="169" y="22"/>
                    </a:cubicBezTo>
                    <a:cubicBezTo>
                      <a:pt x="168" y="23"/>
                      <a:pt x="163" y="24"/>
                      <a:pt x="163" y="24"/>
                    </a:cubicBezTo>
                    <a:cubicBezTo>
                      <a:pt x="160" y="26"/>
                      <a:pt x="160" y="26"/>
                      <a:pt x="160" y="26"/>
                    </a:cubicBezTo>
                    <a:cubicBezTo>
                      <a:pt x="157" y="28"/>
                      <a:pt x="157" y="28"/>
                      <a:pt x="157" y="28"/>
                    </a:cubicBezTo>
                    <a:cubicBezTo>
                      <a:pt x="151" y="25"/>
                      <a:pt x="151" y="25"/>
                      <a:pt x="151" y="25"/>
                    </a:cubicBezTo>
                    <a:cubicBezTo>
                      <a:pt x="143" y="24"/>
                      <a:pt x="143" y="24"/>
                      <a:pt x="143" y="24"/>
                    </a:cubicBezTo>
                    <a:cubicBezTo>
                      <a:pt x="143" y="24"/>
                      <a:pt x="138" y="26"/>
                      <a:pt x="138" y="26"/>
                    </a:cubicBezTo>
                    <a:cubicBezTo>
                      <a:pt x="137" y="27"/>
                      <a:pt x="132" y="23"/>
                      <a:pt x="132" y="23"/>
                    </a:cubicBezTo>
                    <a:cubicBezTo>
                      <a:pt x="130" y="20"/>
                      <a:pt x="130" y="20"/>
                      <a:pt x="130" y="20"/>
                    </a:cubicBezTo>
                    <a:cubicBezTo>
                      <a:pt x="130" y="20"/>
                      <a:pt x="125" y="20"/>
                      <a:pt x="124" y="20"/>
                    </a:cubicBezTo>
                    <a:cubicBezTo>
                      <a:pt x="123" y="20"/>
                      <a:pt x="123" y="22"/>
                      <a:pt x="122" y="22"/>
                    </a:cubicBezTo>
                    <a:cubicBezTo>
                      <a:pt x="122" y="22"/>
                      <a:pt x="120" y="22"/>
                      <a:pt x="118" y="22"/>
                    </a:cubicBezTo>
                    <a:cubicBezTo>
                      <a:pt x="116" y="22"/>
                      <a:pt x="115" y="24"/>
                      <a:pt x="115" y="24"/>
                    </a:cubicBezTo>
                    <a:cubicBezTo>
                      <a:pt x="113" y="27"/>
                      <a:pt x="113" y="27"/>
                      <a:pt x="113" y="27"/>
                    </a:cubicBezTo>
                    <a:cubicBezTo>
                      <a:pt x="113" y="27"/>
                      <a:pt x="109" y="29"/>
                      <a:pt x="108" y="29"/>
                    </a:cubicBezTo>
                    <a:cubicBezTo>
                      <a:pt x="108" y="29"/>
                      <a:pt x="101" y="32"/>
                      <a:pt x="101" y="32"/>
                    </a:cubicBezTo>
                    <a:cubicBezTo>
                      <a:pt x="95" y="34"/>
                      <a:pt x="95" y="34"/>
                      <a:pt x="95" y="34"/>
                    </a:cubicBezTo>
                    <a:cubicBezTo>
                      <a:pt x="95" y="34"/>
                      <a:pt x="93" y="34"/>
                      <a:pt x="93" y="34"/>
                    </a:cubicBezTo>
                    <a:cubicBezTo>
                      <a:pt x="92" y="34"/>
                      <a:pt x="90" y="36"/>
                      <a:pt x="90" y="36"/>
                    </a:cubicBezTo>
                    <a:cubicBezTo>
                      <a:pt x="84" y="39"/>
                      <a:pt x="84" y="39"/>
                      <a:pt x="84" y="39"/>
                    </a:cubicBezTo>
                    <a:cubicBezTo>
                      <a:pt x="72" y="41"/>
                      <a:pt x="72" y="41"/>
                      <a:pt x="72" y="41"/>
                    </a:cubicBezTo>
                    <a:cubicBezTo>
                      <a:pt x="74" y="48"/>
                      <a:pt x="74" y="48"/>
                      <a:pt x="74" y="48"/>
                    </a:cubicBezTo>
                    <a:cubicBezTo>
                      <a:pt x="70" y="51"/>
                      <a:pt x="70" y="51"/>
                      <a:pt x="70" y="51"/>
                    </a:cubicBezTo>
                    <a:cubicBezTo>
                      <a:pt x="70" y="51"/>
                      <a:pt x="60" y="53"/>
                      <a:pt x="59" y="53"/>
                    </a:cubicBezTo>
                    <a:cubicBezTo>
                      <a:pt x="58" y="53"/>
                      <a:pt x="54" y="54"/>
                      <a:pt x="53" y="54"/>
                    </a:cubicBezTo>
                    <a:cubicBezTo>
                      <a:pt x="51" y="55"/>
                      <a:pt x="48" y="56"/>
                      <a:pt x="47" y="57"/>
                    </a:cubicBezTo>
                    <a:cubicBezTo>
                      <a:pt x="47" y="57"/>
                      <a:pt x="45" y="61"/>
                      <a:pt x="45" y="61"/>
                    </a:cubicBezTo>
                    <a:cubicBezTo>
                      <a:pt x="45" y="61"/>
                      <a:pt x="43" y="65"/>
                      <a:pt x="42" y="65"/>
                    </a:cubicBezTo>
                    <a:cubicBezTo>
                      <a:pt x="41" y="66"/>
                      <a:pt x="38" y="69"/>
                      <a:pt x="38" y="69"/>
                    </a:cubicBezTo>
                    <a:cubicBezTo>
                      <a:pt x="38" y="69"/>
                      <a:pt x="33" y="68"/>
                      <a:pt x="32" y="68"/>
                    </a:cubicBezTo>
                    <a:cubicBezTo>
                      <a:pt x="31" y="68"/>
                      <a:pt x="29" y="70"/>
                      <a:pt x="27" y="70"/>
                    </a:cubicBezTo>
                    <a:cubicBezTo>
                      <a:pt x="25" y="71"/>
                      <a:pt x="24" y="71"/>
                      <a:pt x="23" y="71"/>
                    </a:cubicBezTo>
                    <a:cubicBezTo>
                      <a:pt x="22" y="71"/>
                      <a:pt x="19" y="72"/>
                      <a:pt x="18" y="72"/>
                    </a:cubicBezTo>
                    <a:cubicBezTo>
                      <a:pt x="18" y="73"/>
                      <a:pt x="18" y="73"/>
                      <a:pt x="18" y="73"/>
                    </a:cubicBezTo>
                    <a:cubicBezTo>
                      <a:pt x="20" y="73"/>
                      <a:pt x="20" y="73"/>
                      <a:pt x="20" y="73"/>
                    </a:cubicBezTo>
                    <a:cubicBezTo>
                      <a:pt x="20" y="74"/>
                      <a:pt x="20" y="74"/>
                      <a:pt x="20" y="74"/>
                    </a:cubicBezTo>
                    <a:cubicBezTo>
                      <a:pt x="20" y="76"/>
                      <a:pt x="20" y="76"/>
                      <a:pt x="20" y="76"/>
                    </a:cubicBezTo>
                    <a:cubicBezTo>
                      <a:pt x="22" y="78"/>
                      <a:pt x="22" y="78"/>
                      <a:pt x="22" y="78"/>
                    </a:cubicBezTo>
                    <a:cubicBezTo>
                      <a:pt x="22" y="78"/>
                      <a:pt x="22" y="78"/>
                      <a:pt x="22" y="78"/>
                    </a:cubicBezTo>
                    <a:cubicBezTo>
                      <a:pt x="23" y="86"/>
                      <a:pt x="23" y="86"/>
                      <a:pt x="22" y="87"/>
                    </a:cubicBezTo>
                    <a:cubicBezTo>
                      <a:pt x="22" y="88"/>
                      <a:pt x="22" y="88"/>
                      <a:pt x="22" y="88"/>
                    </a:cubicBezTo>
                    <a:cubicBezTo>
                      <a:pt x="21" y="88"/>
                      <a:pt x="21" y="88"/>
                      <a:pt x="21" y="88"/>
                    </a:cubicBezTo>
                    <a:cubicBezTo>
                      <a:pt x="21" y="88"/>
                      <a:pt x="20" y="88"/>
                      <a:pt x="19" y="89"/>
                    </a:cubicBezTo>
                    <a:cubicBezTo>
                      <a:pt x="17" y="95"/>
                      <a:pt x="17" y="95"/>
                      <a:pt x="17" y="95"/>
                    </a:cubicBezTo>
                    <a:cubicBezTo>
                      <a:pt x="15" y="102"/>
                      <a:pt x="15" y="102"/>
                      <a:pt x="15" y="102"/>
                    </a:cubicBezTo>
                    <a:cubicBezTo>
                      <a:pt x="11" y="110"/>
                      <a:pt x="11" y="110"/>
                      <a:pt x="11" y="110"/>
                    </a:cubicBezTo>
                    <a:cubicBezTo>
                      <a:pt x="4" y="113"/>
                      <a:pt x="4" y="113"/>
                      <a:pt x="4" y="113"/>
                    </a:cubicBezTo>
                    <a:cubicBezTo>
                      <a:pt x="4" y="113"/>
                      <a:pt x="4" y="113"/>
                      <a:pt x="4" y="113"/>
                    </a:cubicBezTo>
                    <a:cubicBezTo>
                      <a:pt x="3" y="115"/>
                      <a:pt x="3" y="115"/>
                      <a:pt x="3" y="115"/>
                    </a:cubicBezTo>
                    <a:cubicBezTo>
                      <a:pt x="3" y="116"/>
                      <a:pt x="3" y="117"/>
                      <a:pt x="3" y="118"/>
                    </a:cubicBezTo>
                    <a:cubicBezTo>
                      <a:pt x="4" y="119"/>
                      <a:pt x="5" y="119"/>
                      <a:pt x="5" y="119"/>
                    </a:cubicBezTo>
                    <a:cubicBezTo>
                      <a:pt x="6" y="120"/>
                      <a:pt x="6" y="120"/>
                      <a:pt x="6" y="120"/>
                    </a:cubicBezTo>
                    <a:cubicBezTo>
                      <a:pt x="6" y="122"/>
                      <a:pt x="6" y="122"/>
                      <a:pt x="6" y="122"/>
                    </a:cubicBezTo>
                    <a:cubicBezTo>
                      <a:pt x="6" y="123"/>
                      <a:pt x="6" y="123"/>
                      <a:pt x="6" y="123"/>
                    </a:cubicBezTo>
                    <a:cubicBezTo>
                      <a:pt x="5" y="123"/>
                      <a:pt x="5" y="124"/>
                      <a:pt x="4" y="125"/>
                    </a:cubicBezTo>
                    <a:cubicBezTo>
                      <a:pt x="4" y="125"/>
                      <a:pt x="4" y="126"/>
                      <a:pt x="4" y="126"/>
                    </a:cubicBezTo>
                    <a:cubicBezTo>
                      <a:pt x="3" y="129"/>
                      <a:pt x="3" y="129"/>
                      <a:pt x="3" y="129"/>
                    </a:cubicBezTo>
                    <a:cubicBezTo>
                      <a:pt x="3" y="129"/>
                      <a:pt x="1" y="132"/>
                      <a:pt x="1" y="133"/>
                    </a:cubicBezTo>
                    <a:cubicBezTo>
                      <a:pt x="0" y="134"/>
                      <a:pt x="2" y="135"/>
                      <a:pt x="2" y="135"/>
                    </a:cubicBezTo>
                    <a:cubicBezTo>
                      <a:pt x="5" y="136"/>
                      <a:pt x="5" y="136"/>
                      <a:pt x="5" y="136"/>
                    </a:cubicBezTo>
                    <a:cubicBezTo>
                      <a:pt x="4" y="139"/>
                      <a:pt x="4" y="139"/>
                      <a:pt x="4" y="139"/>
                    </a:cubicBezTo>
                    <a:cubicBezTo>
                      <a:pt x="4" y="139"/>
                      <a:pt x="7" y="142"/>
                      <a:pt x="7" y="144"/>
                    </a:cubicBezTo>
                    <a:cubicBezTo>
                      <a:pt x="7" y="145"/>
                      <a:pt x="9" y="145"/>
                      <a:pt x="10" y="144"/>
                    </a:cubicBezTo>
                    <a:cubicBezTo>
                      <a:pt x="11" y="143"/>
                      <a:pt x="12" y="140"/>
                      <a:pt x="12" y="140"/>
                    </a:cubicBezTo>
                    <a:cubicBezTo>
                      <a:pt x="14" y="144"/>
                      <a:pt x="14" y="144"/>
                      <a:pt x="14" y="144"/>
                    </a:cubicBezTo>
                    <a:cubicBezTo>
                      <a:pt x="16" y="149"/>
                      <a:pt x="16" y="149"/>
                      <a:pt x="16" y="149"/>
                    </a:cubicBezTo>
                    <a:cubicBezTo>
                      <a:pt x="19" y="153"/>
                      <a:pt x="19" y="153"/>
                      <a:pt x="19" y="153"/>
                    </a:cubicBezTo>
                    <a:cubicBezTo>
                      <a:pt x="19" y="153"/>
                      <a:pt x="19" y="153"/>
                      <a:pt x="22" y="156"/>
                    </a:cubicBezTo>
                    <a:cubicBezTo>
                      <a:pt x="25" y="158"/>
                      <a:pt x="24" y="155"/>
                      <a:pt x="24" y="155"/>
                    </a:cubicBezTo>
                    <a:cubicBezTo>
                      <a:pt x="26" y="152"/>
                      <a:pt x="26" y="152"/>
                      <a:pt x="26" y="152"/>
                    </a:cubicBezTo>
                    <a:cubicBezTo>
                      <a:pt x="26" y="152"/>
                      <a:pt x="28" y="152"/>
                      <a:pt x="29" y="153"/>
                    </a:cubicBezTo>
                    <a:cubicBezTo>
                      <a:pt x="30" y="153"/>
                      <a:pt x="31" y="154"/>
                      <a:pt x="32" y="154"/>
                    </a:cubicBezTo>
                    <a:cubicBezTo>
                      <a:pt x="33" y="153"/>
                      <a:pt x="35" y="152"/>
                      <a:pt x="37" y="152"/>
                    </a:cubicBezTo>
                    <a:cubicBezTo>
                      <a:pt x="39" y="152"/>
                      <a:pt x="38" y="155"/>
                      <a:pt x="38" y="156"/>
                    </a:cubicBezTo>
                    <a:cubicBezTo>
                      <a:pt x="38" y="157"/>
                      <a:pt x="37" y="158"/>
                      <a:pt x="35" y="158"/>
                    </a:cubicBezTo>
                    <a:cubicBezTo>
                      <a:pt x="34" y="158"/>
                      <a:pt x="34" y="158"/>
                      <a:pt x="33" y="158"/>
                    </a:cubicBezTo>
                    <a:cubicBezTo>
                      <a:pt x="32" y="157"/>
                      <a:pt x="30" y="157"/>
                      <a:pt x="29" y="157"/>
                    </a:cubicBezTo>
                    <a:cubicBezTo>
                      <a:pt x="28" y="156"/>
                      <a:pt x="25" y="157"/>
                      <a:pt x="25" y="157"/>
                    </a:cubicBezTo>
                    <a:cubicBezTo>
                      <a:pt x="25" y="160"/>
                      <a:pt x="25" y="160"/>
                      <a:pt x="25" y="160"/>
                    </a:cubicBezTo>
                    <a:cubicBezTo>
                      <a:pt x="25" y="160"/>
                      <a:pt x="23" y="164"/>
                      <a:pt x="23" y="164"/>
                    </a:cubicBezTo>
                    <a:cubicBezTo>
                      <a:pt x="23" y="165"/>
                      <a:pt x="19" y="167"/>
                      <a:pt x="19" y="167"/>
                    </a:cubicBezTo>
                    <a:cubicBezTo>
                      <a:pt x="19" y="167"/>
                      <a:pt x="20" y="169"/>
                      <a:pt x="20" y="170"/>
                    </a:cubicBezTo>
                    <a:cubicBezTo>
                      <a:pt x="19" y="171"/>
                      <a:pt x="21" y="174"/>
                      <a:pt x="21" y="174"/>
                    </a:cubicBezTo>
                    <a:cubicBezTo>
                      <a:pt x="21" y="174"/>
                      <a:pt x="24" y="172"/>
                      <a:pt x="25" y="172"/>
                    </a:cubicBezTo>
                    <a:cubicBezTo>
                      <a:pt x="25" y="172"/>
                      <a:pt x="26" y="171"/>
                      <a:pt x="26" y="170"/>
                    </a:cubicBezTo>
                    <a:cubicBezTo>
                      <a:pt x="26" y="170"/>
                      <a:pt x="25" y="168"/>
                      <a:pt x="25" y="168"/>
                    </a:cubicBezTo>
                    <a:cubicBezTo>
                      <a:pt x="26" y="165"/>
                      <a:pt x="26" y="165"/>
                      <a:pt x="26" y="165"/>
                    </a:cubicBezTo>
                    <a:cubicBezTo>
                      <a:pt x="27" y="164"/>
                      <a:pt x="27" y="164"/>
                      <a:pt x="27" y="164"/>
                    </a:cubicBezTo>
                    <a:cubicBezTo>
                      <a:pt x="30" y="164"/>
                      <a:pt x="30" y="164"/>
                      <a:pt x="30" y="164"/>
                    </a:cubicBezTo>
                    <a:cubicBezTo>
                      <a:pt x="32" y="166"/>
                      <a:pt x="32" y="166"/>
                      <a:pt x="32" y="166"/>
                    </a:cubicBezTo>
                    <a:cubicBezTo>
                      <a:pt x="32" y="170"/>
                      <a:pt x="32" y="170"/>
                      <a:pt x="32" y="170"/>
                    </a:cubicBezTo>
                    <a:cubicBezTo>
                      <a:pt x="35" y="170"/>
                      <a:pt x="35" y="170"/>
                      <a:pt x="35" y="170"/>
                    </a:cubicBezTo>
                    <a:cubicBezTo>
                      <a:pt x="39" y="174"/>
                      <a:pt x="39" y="174"/>
                      <a:pt x="39" y="174"/>
                    </a:cubicBezTo>
                    <a:cubicBezTo>
                      <a:pt x="40" y="179"/>
                      <a:pt x="40" y="179"/>
                      <a:pt x="40" y="179"/>
                    </a:cubicBezTo>
                    <a:cubicBezTo>
                      <a:pt x="40" y="179"/>
                      <a:pt x="43" y="183"/>
                      <a:pt x="44" y="183"/>
                    </a:cubicBezTo>
                    <a:cubicBezTo>
                      <a:pt x="44" y="183"/>
                      <a:pt x="47" y="180"/>
                      <a:pt x="47" y="180"/>
                    </a:cubicBezTo>
                    <a:cubicBezTo>
                      <a:pt x="48" y="178"/>
                      <a:pt x="48" y="178"/>
                      <a:pt x="48" y="178"/>
                    </a:cubicBezTo>
                    <a:cubicBezTo>
                      <a:pt x="48" y="175"/>
                      <a:pt x="48" y="175"/>
                      <a:pt x="48" y="175"/>
                    </a:cubicBezTo>
                    <a:cubicBezTo>
                      <a:pt x="50" y="177"/>
                      <a:pt x="50" y="177"/>
                      <a:pt x="50" y="177"/>
                    </a:cubicBezTo>
                    <a:cubicBezTo>
                      <a:pt x="52" y="180"/>
                      <a:pt x="52" y="180"/>
                      <a:pt x="52" y="180"/>
                    </a:cubicBezTo>
                    <a:cubicBezTo>
                      <a:pt x="55" y="180"/>
                      <a:pt x="55" y="180"/>
                      <a:pt x="55" y="180"/>
                    </a:cubicBezTo>
                    <a:cubicBezTo>
                      <a:pt x="59" y="177"/>
                      <a:pt x="59" y="177"/>
                      <a:pt x="59" y="177"/>
                    </a:cubicBezTo>
                    <a:cubicBezTo>
                      <a:pt x="59" y="177"/>
                      <a:pt x="67" y="176"/>
                      <a:pt x="67" y="176"/>
                    </a:cubicBezTo>
                    <a:cubicBezTo>
                      <a:pt x="68" y="175"/>
                      <a:pt x="70" y="175"/>
                      <a:pt x="70" y="175"/>
                    </a:cubicBezTo>
                    <a:cubicBezTo>
                      <a:pt x="75" y="176"/>
                      <a:pt x="75" y="176"/>
                      <a:pt x="75" y="176"/>
                    </a:cubicBezTo>
                    <a:cubicBezTo>
                      <a:pt x="75" y="176"/>
                      <a:pt x="79" y="176"/>
                      <a:pt x="79" y="176"/>
                    </a:cubicBezTo>
                    <a:cubicBezTo>
                      <a:pt x="80" y="176"/>
                      <a:pt x="83" y="175"/>
                      <a:pt x="83" y="175"/>
                    </a:cubicBezTo>
                    <a:cubicBezTo>
                      <a:pt x="83" y="175"/>
                      <a:pt x="85" y="173"/>
                      <a:pt x="85" y="173"/>
                    </a:cubicBezTo>
                    <a:cubicBezTo>
                      <a:pt x="85" y="170"/>
                      <a:pt x="85" y="170"/>
                      <a:pt x="85" y="170"/>
                    </a:cubicBezTo>
                    <a:cubicBezTo>
                      <a:pt x="88" y="170"/>
                      <a:pt x="88" y="170"/>
                      <a:pt x="88" y="170"/>
                    </a:cubicBezTo>
                    <a:cubicBezTo>
                      <a:pt x="88" y="170"/>
                      <a:pt x="88" y="172"/>
                      <a:pt x="90" y="174"/>
                    </a:cubicBezTo>
                    <a:cubicBezTo>
                      <a:pt x="91" y="176"/>
                      <a:pt x="91" y="174"/>
                      <a:pt x="91" y="174"/>
                    </a:cubicBezTo>
                    <a:cubicBezTo>
                      <a:pt x="93" y="173"/>
                      <a:pt x="93" y="173"/>
                      <a:pt x="93" y="173"/>
                    </a:cubicBezTo>
                    <a:cubicBezTo>
                      <a:pt x="95" y="171"/>
                      <a:pt x="95" y="171"/>
                      <a:pt x="95" y="171"/>
                    </a:cubicBezTo>
                    <a:cubicBezTo>
                      <a:pt x="99" y="174"/>
                      <a:pt x="99" y="174"/>
                      <a:pt x="99" y="174"/>
                    </a:cubicBezTo>
                    <a:cubicBezTo>
                      <a:pt x="99" y="174"/>
                      <a:pt x="102" y="176"/>
                      <a:pt x="104" y="177"/>
                    </a:cubicBezTo>
                    <a:cubicBezTo>
                      <a:pt x="106" y="177"/>
                      <a:pt x="106" y="176"/>
                      <a:pt x="107" y="176"/>
                    </a:cubicBezTo>
                    <a:cubicBezTo>
                      <a:pt x="108" y="175"/>
                      <a:pt x="111" y="175"/>
                      <a:pt x="111" y="175"/>
                    </a:cubicBezTo>
                    <a:cubicBezTo>
                      <a:pt x="111" y="175"/>
                      <a:pt x="113" y="178"/>
                      <a:pt x="114" y="179"/>
                    </a:cubicBezTo>
                    <a:cubicBezTo>
                      <a:pt x="114" y="180"/>
                      <a:pt x="113" y="180"/>
                      <a:pt x="113" y="180"/>
                    </a:cubicBezTo>
                    <a:cubicBezTo>
                      <a:pt x="113" y="180"/>
                      <a:pt x="112" y="181"/>
                      <a:pt x="111" y="181"/>
                    </a:cubicBezTo>
                    <a:cubicBezTo>
                      <a:pt x="110" y="181"/>
                      <a:pt x="110" y="181"/>
                      <a:pt x="108" y="181"/>
                    </a:cubicBezTo>
                    <a:cubicBezTo>
                      <a:pt x="107" y="181"/>
                      <a:pt x="106" y="182"/>
                      <a:pt x="105" y="182"/>
                    </a:cubicBezTo>
                    <a:cubicBezTo>
                      <a:pt x="105" y="182"/>
                      <a:pt x="105" y="184"/>
                      <a:pt x="105" y="184"/>
                    </a:cubicBezTo>
                    <a:cubicBezTo>
                      <a:pt x="106" y="184"/>
                      <a:pt x="106" y="184"/>
                      <a:pt x="106" y="184"/>
                    </a:cubicBezTo>
                    <a:cubicBezTo>
                      <a:pt x="108" y="187"/>
                      <a:pt x="108" y="187"/>
                      <a:pt x="108" y="187"/>
                    </a:cubicBezTo>
                    <a:cubicBezTo>
                      <a:pt x="110" y="188"/>
                      <a:pt x="110" y="188"/>
                      <a:pt x="110" y="188"/>
                    </a:cubicBezTo>
                    <a:cubicBezTo>
                      <a:pt x="113" y="188"/>
                      <a:pt x="113" y="188"/>
                      <a:pt x="113" y="188"/>
                    </a:cubicBezTo>
                    <a:cubicBezTo>
                      <a:pt x="116" y="186"/>
                      <a:pt x="116" y="186"/>
                      <a:pt x="116" y="186"/>
                    </a:cubicBezTo>
                    <a:cubicBezTo>
                      <a:pt x="118" y="185"/>
                      <a:pt x="118" y="185"/>
                      <a:pt x="118" y="185"/>
                    </a:cubicBezTo>
                    <a:cubicBezTo>
                      <a:pt x="121" y="184"/>
                      <a:pt x="121" y="184"/>
                      <a:pt x="121" y="184"/>
                    </a:cubicBezTo>
                    <a:cubicBezTo>
                      <a:pt x="124" y="182"/>
                      <a:pt x="124" y="182"/>
                      <a:pt x="124" y="182"/>
                    </a:cubicBezTo>
                    <a:cubicBezTo>
                      <a:pt x="126" y="180"/>
                      <a:pt x="126" y="180"/>
                      <a:pt x="126" y="180"/>
                    </a:cubicBezTo>
                    <a:cubicBezTo>
                      <a:pt x="127" y="179"/>
                      <a:pt x="127" y="179"/>
                      <a:pt x="127" y="179"/>
                    </a:cubicBezTo>
                    <a:cubicBezTo>
                      <a:pt x="127" y="179"/>
                      <a:pt x="129" y="182"/>
                      <a:pt x="129" y="182"/>
                    </a:cubicBezTo>
                    <a:cubicBezTo>
                      <a:pt x="129" y="183"/>
                      <a:pt x="124" y="185"/>
                      <a:pt x="123" y="186"/>
                    </a:cubicBezTo>
                    <a:cubicBezTo>
                      <a:pt x="123" y="186"/>
                      <a:pt x="123" y="186"/>
                      <a:pt x="123" y="187"/>
                    </a:cubicBezTo>
                    <a:cubicBezTo>
                      <a:pt x="123" y="187"/>
                      <a:pt x="125" y="187"/>
                      <a:pt x="126" y="187"/>
                    </a:cubicBezTo>
                    <a:cubicBezTo>
                      <a:pt x="127" y="187"/>
                      <a:pt x="126" y="187"/>
                      <a:pt x="127" y="186"/>
                    </a:cubicBezTo>
                    <a:cubicBezTo>
                      <a:pt x="127" y="186"/>
                      <a:pt x="129" y="184"/>
                      <a:pt x="129" y="184"/>
                    </a:cubicBezTo>
                    <a:cubicBezTo>
                      <a:pt x="129" y="184"/>
                      <a:pt x="130" y="184"/>
                      <a:pt x="131" y="184"/>
                    </a:cubicBezTo>
                    <a:cubicBezTo>
                      <a:pt x="132" y="184"/>
                      <a:pt x="131" y="182"/>
                      <a:pt x="131" y="181"/>
                    </a:cubicBezTo>
                    <a:cubicBezTo>
                      <a:pt x="131" y="180"/>
                      <a:pt x="133" y="182"/>
                      <a:pt x="134" y="183"/>
                    </a:cubicBezTo>
                    <a:cubicBezTo>
                      <a:pt x="135" y="184"/>
                      <a:pt x="135" y="185"/>
                      <a:pt x="136" y="185"/>
                    </a:cubicBezTo>
                    <a:cubicBezTo>
                      <a:pt x="136" y="186"/>
                      <a:pt x="137" y="188"/>
                      <a:pt x="137" y="188"/>
                    </a:cubicBezTo>
                    <a:cubicBezTo>
                      <a:pt x="137" y="188"/>
                      <a:pt x="140" y="188"/>
                      <a:pt x="141" y="188"/>
                    </a:cubicBezTo>
                    <a:cubicBezTo>
                      <a:pt x="142" y="188"/>
                      <a:pt x="142" y="190"/>
                      <a:pt x="143" y="190"/>
                    </a:cubicBezTo>
                    <a:cubicBezTo>
                      <a:pt x="144" y="191"/>
                      <a:pt x="145" y="192"/>
                      <a:pt x="145" y="193"/>
                    </a:cubicBezTo>
                    <a:cubicBezTo>
                      <a:pt x="145" y="193"/>
                      <a:pt x="147" y="193"/>
                      <a:pt x="147" y="193"/>
                    </a:cubicBezTo>
                    <a:cubicBezTo>
                      <a:pt x="147" y="193"/>
                      <a:pt x="149" y="191"/>
                      <a:pt x="149" y="190"/>
                    </a:cubicBezTo>
                    <a:cubicBezTo>
                      <a:pt x="149" y="190"/>
                      <a:pt x="149" y="188"/>
                      <a:pt x="149" y="188"/>
                    </a:cubicBezTo>
                    <a:close/>
                  </a:path>
                </a:pathLst>
              </a:custGeom>
              <a:solidFill>
                <a:srgbClr val="0181C7"/>
              </a:solid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grpSp>
        <p:sp>
          <p:nvSpPr>
            <p:cNvPr id="296" name="Freeform 206"/>
            <p:cNvSpPr>
              <a:spLocks/>
            </p:cNvSpPr>
            <p:nvPr/>
          </p:nvSpPr>
          <p:spPr bwMode="auto">
            <a:xfrm>
              <a:off x="5611039" y="4131355"/>
              <a:ext cx="611188" cy="465138"/>
            </a:xfrm>
            <a:custGeom>
              <a:avLst/>
              <a:gdLst>
                <a:gd name="T0" fmla="*/ 140 w 192"/>
                <a:gd name="T1" fmla="*/ 121 h 146"/>
                <a:gd name="T2" fmla="*/ 136 w 192"/>
                <a:gd name="T3" fmla="*/ 114 h 146"/>
                <a:gd name="T4" fmla="*/ 139 w 192"/>
                <a:gd name="T5" fmla="*/ 107 h 146"/>
                <a:gd name="T6" fmla="*/ 145 w 192"/>
                <a:gd name="T7" fmla="*/ 101 h 146"/>
                <a:gd name="T8" fmla="*/ 146 w 192"/>
                <a:gd name="T9" fmla="*/ 97 h 146"/>
                <a:gd name="T10" fmla="*/ 160 w 192"/>
                <a:gd name="T11" fmla="*/ 86 h 146"/>
                <a:gd name="T12" fmla="*/ 172 w 192"/>
                <a:gd name="T13" fmla="*/ 84 h 146"/>
                <a:gd name="T14" fmla="*/ 183 w 192"/>
                <a:gd name="T15" fmla="*/ 84 h 146"/>
                <a:gd name="T16" fmla="*/ 189 w 192"/>
                <a:gd name="T17" fmla="*/ 81 h 146"/>
                <a:gd name="T18" fmla="*/ 186 w 192"/>
                <a:gd name="T19" fmla="*/ 78 h 146"/>
                <a:gd name="T20" fmla="*/ 180 w 192"/>
                <a:gd name="T21" fmla="*/ 68 h 146"/>
                <a:gd name="T22" fmla="*/ 173 w 192"/>
                <a:gd name="T23" fmla="*/ 62 h 146"/>
                <a:gd name="T24" fmla="*/ 176 w 192"/>
                <a:gd name="T25" fmla="*/ 55 h 146"/>
                <a:gd name="T26" fmla="*/ 178 w 192"/>
                <a:gd name="T27" fmla="*/ 45 h 146"/>
                <a:gd name="T28" fmla="*/ 178 w 192"/>
                <a:gd name="T29" fmla="*/ 28 h 146"/>
                <a:gd name="T30" fmla="*/ 184 w 192"/>
                <a:gd name="T31" fmla="*/ 21 h 146"/>
                <a:gd name="T32" fmla="*/ 192 w 192"/>
                <a:gd name="T33" fmla="*/ 13 h 146"/>
                <a:gd name="T34" fmla="*/ 189 w 192"/>
                <a:gd name="T35" fmla="*/ 6 h 146"/>
                <a:gd name="T36" fmla="*/ 161 w 192"/>
                <a:gd name="T37" fmla="*/ 2 h 146"/>
                <a:gd name="T38" fmla="*/ 125 w 192"/>
                <a:gd name="T39" fmla="*/ 9 h 146"/>
                <a:gd name="T40" fmla="*/ 107 w 192"/>
                <a:gd name="T41" fmla="*/ 29 h 146"/>
                <a:gd name="T42" fmla="*/ 60 w 192"/>
                <a:gd name="T43" fmla="*/ 39 h 146"/>
                <a:gd name="T44" fmla="*/ 33 w 192"/>
                <a:gd name="T45" fmla="*/ 39 h 146"/>
                <a:gd name="T46" fmla="*/ 15 w 192"/>
                <a:gd name="T47" fmla="*/ 42 h 146"/>
                <a:gd name="T48" fmla="*/ 13 w 192"/>
                <a:gd name="T49" fmla="*/ 36 h 146"/>
                <a:gd name="T50" fmla="*/ 14 w 192"/>
                <a:gd name="T51" fmla="*/ 30 h 146"/>
                <a:gd name="T52" fmla="*/ 5 w 192"/>
                <a:gd name="T53" fmla="*/ 34 h 146"/>
                <a:gd name="T54" fmla="*/ 2 w 192"/>
                <a:gd name="T55" fmla="*/ 36 h 146"/>
                <a:gd name="T56" fmla="*/ 0 w 192"/>
                <a:gd name="T57" fmla="*/ 45 h 146"/>
                <a:gd name="T58" fmla="*/ 2 w 192"/>
                <a:gd name="T59" fmla="*/ 49 h 146"/>
                <a:gd name="T60" fmla="*/ 10 w 192"/>
                <a:gd name="T61" fmla="*/ 57 h 146"/>
                <a:gd name="T62" fmla="*/ 19 w 192"/>
                <a:gd name="T63" fmla="*/ 64 h 146"/>
                <a:gd name="T64" fmla="*/ 26 w 192"/>
                <a:gd name="T65" fmla="*/ 65 h 146"/>
                <a:gd name="T66" fmla="*/ 21 w 192"/>
                <a:gd name="T67" fmla="*/ 77 h 146"/>
                <a:gd name="T68" fmla="*/ 20 w 192"/>
                <a:gd name="T69" fmla="*/ 81 h 146"/>
                <a:gd name="T70" fmla="*/ 17 w 192"/>
                <a:gd name="T71" fmla="*/ 86 h 146"/>
                <a:gd name="T72" fmla="*/ 12 w 192"/>
                <a:gd name="T73" fmla="*/ 88 h 146"/>
                <a:gd name="T74" fmla="*/ 13 w 192"/>
                <a:gd name="T75" fmla="*/ 97 h 146"/>
                <a:gd name="T76" fmla="*/ 18 w 192"/>
                <a:gd name="T77" fmla="*/ 101 h 146"/>
                <a:gd name="T78" fmla="*/ 15 w 192"/>
                <a:gd name="T79" fmla="*/ 110 h 146"/>
                <a:gd name="T80" fmla="*/ 17 w 192"/>
                <a:gd name="T81" fmla="*/ 114 h 146"/>
                <a:gd name="T82" fmla="*/ 31 w 192"/>
                <a:gd name="T83" fmla="*/ 121 h 146"/>
                <a:gd name="T84" fmla="*/ 38 w 192"/>
                <a:gd name="T85" fmla="*/ 132 h 146"/>
                <a:gd name="T86" fmla="*/ 38 w 192"/>
                <a:gd name="T87" fmla="*/ 143 h 146"/>
                <a:gd name="T88" fmla="*/ 47 w 192"/>
                <a:gd name="T89" fmla="*/ 142 h 146"/>
                <a:gd name="T90" fmla="*/ 52 w 192"/>
                <a:gd name="T91" fmla="*/ 140 h 146"/>
                <a:gd name="T92" fmla="*/ 59 w 192"/>
                <a:gd name="T93" fmla="*/ 138 h 146"/>
                <a:gd name="T94" fmla="*/ 72 w 192"/>
                <a:gd name="T95" fmla="*/ 131 h 146"/>
                <a:gd name="T96" fmla="*/ 83 w 192"/>
                <a:gd name="T97" fmla="*/ 126 h 146"/>
                <a:gd name="T98" fmla="*/ 93 w 192"/>
                <a:gd name="T99" fmla="*/ 129 h 146"/>
                <a:gd name="T100" fmla="*/ 110 w 192"/>
                <a:gd name="T101" fmla="*/ 131 h 146"/>
                <a:gd name="T102" fmla="*/ 121 w 192"/>
                <a:gd name="T103" fmla="*/ 130 h 146"/>
                <a:gd name="T104" fmla="*/ 133 w 192"/>
                <a:gd name="T105" fmla="*/ 127 h 146"/>
                <a:gd name="T106" fmla="*/ 138 w 192"/>
                <a:gd name="T107" fmla="*/ 12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2" h="146">
                  <a:moveTo>
                    <a:pt x="141" y="121"/>
                  </a:moveTo>
                  <a:cubicBezTo>
                    <a:pt x="141" y="121"/>
                    <a:pt x="141" y="121"/>
                    <a:pt x="141" y="121"/>
                  </a:cubicBezTo>
                  <a:cubicBezTo>
                    <a:pt x="141" y="121"/>
                    <a:pt x="141" y="121"/>
                    <a:pt x="140" y="121"/>
                  </a:cubicBezTo>
                  <a:cubicBezTo>
                    <a:pt x="140" y="120"/>
                    <a:pt x="140" y="120"/>
                    <a:pt x="139" y="119"/>
                  </a:cubicBezTo>
                  <a:cubicBezTo>
                    <a:pt x="138" y="117"/>
                    <a:pt x="138" y="116"/>
                    <a:pt x="137" y="115"/>
                  </a:cubicBezTo>
                  <a:cubicBezTo>
                    <a:pt x="136" y="114"/>
                    <a:pt x="136" y="114"/>
                    <a:pt x="136" y="114"/>
                  </a:cubicBezTo>
                  <a:cubicBezTo>
                    <a:pt x="136" y="113"/>
                    <a:pt x="135" y="110"/>
                    <a:pt x="136" y="109"/>
                  </a:cubicBezTo>
                  <a:cubicBezTo>
                    <a:pt x="136" y="108"/>
                    <a:pt x="137" y="107"/>
                    <a:pt x="138" y="107"/>
                  </a:cubicBezTo>
                  <a:cubicBezTo>
                    <a:pt x="138" y="107"/>
                    <a:pt x="138" y="107"/>
                    <a:pt x="139" y="107"/>
                  </a:cubicBezTo>
                  <a:cubicBezTo>
                    <a:pt x="139" y="107"/>
                    <a:pt x="140" y="106"/>
                    <a:pt x="141" y="106"/>
                  </a:cubicBezTo>
                  <a:cubicBezTo>
                    <a:pt x="141" y="106"/>
                    <a:pt x="141" y="106"/>
                    <a:pt x="141" y="106"/>
                  </a:cubicBezTo>
                  <a:cubicBezTo>
                    <a:pt x="141" y="103"/>
                    <a:pt x="143" y="102"/>
                    <a:pt x="145" y="101"/>
                  </a:cubicBezTo>
                  <a:cubicBezTo>
                    <a:pt x="147" y="100"/>
                    <a:pt x="147" y="100"/>
                    <a:pt x="147" y="100"/>
                  </a:cubicBezTo>
                  <a:cubicBezTo>
                    <a:pt x="146" y="98"/>
                    <a:pt x="146" y="98"/>
                    <a:pt x="146" y="98"/>
                  </a:cubicBezTo>
                  <a:cubicBezTo>
                    <a:pt x="146" y="97"/>
                    <a:pt x="146" y="97"/>
                    <a:pt x="146" y="97"/>
                  </a:cubicBezTo>
                  <a:cubicBezTo>
                    <a:pt x="147" y="96"/>
                    <a:pt x="150" y="93"/>
                    <a:pt x="151" y="92"/>
                  </a:cubicBezTo>
                  <a:cubicBezTo>
                    <a:pt x="152" y="92"/>
                    <a:pt x="155" y="91"/>
                    <a:pt x="158" y="90"/>
                  </a:cubicBezTo>
                  <a:cubicBezTo>
                    <a:pt x="160" y="86"/>
                    <a:pt x="160" y="86"/>
                    <a:pt x="160" y="86"/>
                  </a:cubicBezTo>
                  <a:cubicBezTo>
                    <a:pt x="165" y="85"/>
                    <a:pt x="165" y="85"/>
                    <a:pt x="165" y="85"/>
                  </a:cubicBezTo>
                  <a:cubicBezTo>
                    <a:pt x="167" y="82"/>
                    <a:pt x="167" y="82"/>
                    <a:pt x="167" y="82"/>
                  </a:cubicBezTo>
                  <a:cubicBezTo>
                    <a:pt x="172" y="84"/>
                    <a:pt x="172" y="84"/>
                    <a:pt x="172" y="84"/>
                  </a:cubicBezTo>
                  <a:cubicBezTo>
                    <a:pt x="178" y="87"/>
                    <a:pt x="178" y="87"/>
                    <a:pt x="178" y="87"/>
                  </a:cubicBezTo>
                  <a:cubicBezTo>
                    <a:pt x="178" y="87"/>
                    <a:pt x="179" y="86"/>
                    <a:pt x="180" y="86"/>
                  </a:cubicBezTo>
                  <a:cubicBezTo>
                    <a:pt x="181" y="85"/>
                    <a:pt x="182" y="85"/>
                    <a:pt x="183" y="84"/>
                  </a:cubicBezTo>
                  <a:cubicBezTo>
                    <a:pt x="184" y="84"/>
                    <a:pt x="185" y="83"/>
                    <a:pt x="186" y="83"/>
                  </a:cubicBezTo>
                  <a:cubicBezTo>
                    <a:pt x="188" y="82"/>
                    <a:pt x="188" y="82"/>
                    <a:pt x="188" y="82"/>
                  </a:cubicBezTo>
                  <a:cubicBezTo>
                    <a:pt x="188" y="82"/>
                    <a:pt x="188" y="82"/>
                    <a:pt x="189" y="81"/>
                  </a:cubicBezTo>
                  <a:cubicBezTo>
                    <a:pt x="190" y="81"/>
                    <a:pt x="191" y="81"/>
                    <a:pt x="192" y="80"/>
                  </a:cubicBezTo>
                  <a:cubicBezTo>
                    <a:pt x="191" y="80"/>
                    <a:pt x="191" y="80"/>
                    <a:pt x="191" y="80"/>
                  </a:cubicBezTo>
                  <a:cubicBezTo>
                    <a:pt x="186" y="78"/>
                    <a:pt x="186" y="78"/>
                    <a:pt x="186" y="78"/>
                  </a:cubicBezTo>
                  <a:cubicBezTo>
                    <a:pt x="184" y="73"/>
                    <a:pt x="184" y="73"/>
                    <a:pt x="184" y="73"/>
                  </a:cubicBezTo>
                  <a:cubicBezTo>
                    <a:pt x="180" y="70"/>
                    <a:pt x="180" y="70"/>
                    <a:pt x="180" y="70"/>
                  </a:cubicBezTo>
                  <a:cubicBezTo>
                    <a:pt x="180" y="68"/>
                    <a:pt x="180" y="68"/>
                    <a:pt x="180" y="68"/>
                  </a:cubicBezTo>
                  <a:cubicBezTo>
                    <a:pt x="172" y="67"/>
                    <a:pt x="172" y="67"/>
                    <a:pt x="172" y="67"/>
                  </a:cubicBezTo>
                  <a:cubicBezTo>
                    <a:pt x="171" y="64"/>
                    <a:pt x="171" y="64"/>
                    <a:pt x="171" y="64"/>
                  </a:cubicBezTo>
                  <a:cubicBezTo>
                    <a:pt x="171" y="64"/>
                    <a:pt x="172" y="62"/>
                    <a:pt x="173" y="62"/>
                  </a:cubicBezTo>
                  <a:cubicBezTo>
                    <a:pt x="174" y="62"/>
                    <a:pt x="174" y="61"/>
                    <a:pt x="174" y="60"/>
                  </a:cubicBezTo>
                  <a:cubicBezTo>
                    <a:pt x="176" y="56"/>
                    <a:pt x="176" y="56"/>
                    <a:pt x="176" y="56"/>
                  </a:cubicBezTo>
                  <a:cubicBezTo>
                    <a:pt x="176" y="55"/>
                    <a:pt x="176" y="55"/>
                    <a:pt x="176" y="55"/>
                  </a:cubicBezTo>
                  <a:cubicBezTo>
                    <a:pt x="176" y="55"/>
                    <a:pt x="177" y="54"/>
                    <a:pt x="177" y="54"/>
                  </a:cubicBezTo>
                  <a:cubicBezTo>
                    <a:pt x="178" y="54"/>
                    <a:pt x="179" y="53"/>
                    <a:pt x="180" y="51"/>
                  </a:cubicBezTo>
                  <a:cubicBezTo>
                    <a:pt x="178" y="45"/>
                    <a:pt x="178" y="45"/>
                    <a:pt x="178" y="45"/>
                  </a:cubicBezTo>
                  <a:cubicBezTo>
                    <a:pt x="177" y="39"/>
                    <a:pt x="177" y="39"/>
                    <a:pt x="177" y="39"/>
                  </a:cubicBezTo>
                  <a:cubicBezTo>
                    <a:pt x="177" y="32"/>
                    <a:pt x="177" y="32"/>
                    <a:pt x="177" y="32"/>
                  </a:cubicBezTo>
                  <a:cubicBezTo>
                    <a:pt x="178" y="28"/>
                    <a:pt x="178" y="28"/>
                    <a:pt x="178" y="28"/>
                  </a:cubicBezTo>
                  <a:cubicBezTo>
                    <a:pt x="178" y="28"/>
                    <a:pt x="179" y="26"/>
                    <a:pt x="180" y="25"/>
                  </a:cubicBezTo>
                  <a:cubicBezTo>
                    <a:pt x="180" y="23"/>
                    <a:pt x="181" y="22"/>
                    <a:pt x="181" y="22"/>
                  </a:cubicBezTo>
                  <a:cubicBezTo>
                    <a:pt x="182" y="22"/>
                    <a:pt x="184" y="21"/>
                    <a:pt x="184" y="21"/>
                  </a:cubicBezTo>
                  <a:cubicBezTo>
                    <a:pt x="185" y="21"/>
                    <a:pt x="186" y="20"/>
                    <a:pt x="186" y="20"/>
                  </a:cubicBezTo>
                  <a:cubicBezTo>
                    <a:pt x="192" y="17"/>
                    <a:pt x="192" y="17"/>
                    <a:pt x="192" y="17"/>
                  </a:cubicBezTo>
                  <a:cubicBezTo>
                    <a:pt x="192" y="13"/>
                    <a:pt x="192" y="13"/>
                    <a:pt x="192" y="13"/>
                  </a:cubicBezTo>
                  <a:cubicBezTo>
                    <a:pt x="192" y="13"/>
                    <a:pt x="191" y="10"/>
                    <a:pt x="190" y="8"/>
                  </a:cubicBezTo>
                  <a:cubicBezTo>
                    <a:pt x="190" y="7"/>
                    <a:pt x="189" y="6"/>
                    <a:pt x="189" y="6"/>
                  </a:cubicBezTo>
                  <a:cubicBezTo>
                    <a:pt x="189" y="6"/>
                    <a:pt x="189" y="6"/>
                    <a:pt x="189" y="6"/>
                  </a:cubicBezTo>
                  <a:cubicBezTo>
                    <a:pt x="187" y="8"/>
                    <a:pt x="182" y="8"/>
                    <a:pt x="174" y="7"/>
                  </a:cubicBezTo>
                  <a:cubicBezTo>
                    <a:pt x="171" y="6"/>
                    <a:pt x="169" y="0"/>
                    <a:pt x="169" y="0"/>
                  </a:cubicBezTo>
                  <a:cubicBezTo>
                    <a:pt x="161" y="2"/>
                    <a:pt x="161" y="2"/>
                    <a:pt x="161" y="2"/>
                  </a:cubicBezTo>
                  <a:cubicBezTo>
                    <a:pt x="161" y="2"/>
                    <a:pt x="150" y="2"/>
                    <a:pt x="144" y="2"/>
                  </a:cubicBezTo>
                  <a:cubicBezTo>
                    <a:pt x="143" y="2"/>
                    <a:pt x="142" y="2"/>
                    <a:pt x="142" y="2"/>
                  </a:cubicBezTo>
                  <a:cubicBezTo>
                    <a:pt x="139" y="2"/>
                    <a:pt x="129" y="5"/>
                    <a:pt x="125" y="9"/>
                  </a:cubicBezTo>
                  <a:cubicBezTo>
                    <a:pt x="123" y="10"/>
                    <a:pt x="122" y="11"/>
                    <a:pt x="120" y="11"/>
                  </a:cubicBezTo>
                  <a:cubicBezTo>
                    <a:pt x="118" y="13"/>
                    <a:pt x="115" y="14"/>
                    <a:pt x="114" y="17"/>
                  </a:cubicBezTo>
                  <a:cubicBezTo>
                    <a:pt x="111" y="21"/>
                    <a:pt x="108" y="29"/>
                    <a:pt x="107" y="29"/>
                  </a:cubicBezTo>
                  <a:cubicBezTo>
                    <a:pt x="101" y="34"/>
                    <a:pt x="100" y="34"/>
                    <a:pt x="87" y="34"/>
                  </a:cubicBezTo>
                  <a:cubicBezTo>
                    <a:pt x="86" y="34"/>
                    <a:pt x="86" y="34"/>
                    <a:pt x="86" y="34"/>
                  </a:cubicBezTo>
                  <a:cubicBezTo>
                    <a:pt x="80" y="34"/>
                    <a:pt x="64" y="36"/>
                    <a:pt x="60" y="39"/>
                  </a:cubicBezTo>
                  <a:cubicBezTo>
                    <a:pt x="57" y="41"/>
                    <a:pt x="51" y="40"/>
                    <a:pt x="46" y="39"/>
                  </a:cubicBezTo>
                  <a:cubicBezTo>
                    <a:pt x="42" y="38"/>
                    <a:pt x="39" y="38"/>
                    <a:pt x="37" y="39"/>
                  </a:cubicBezTo>
                  <a:cubicBezTo>
                    <a:pt x="37" y="40"/>
                    <a:pt x="35" y="40"/>
                    <a:pt x="33" y="39"/>
                  </a:cubicBezTo>
                  <a:cubicBezTo>
                    <a:pt x="31" y="39"/>
                    <a:pt x="29" y="39"/>
                    <a:pt x="27" y="39"/>
                  </a:cubicBezTo>
                  <a:cubicBezTo>
                    <a:pt x="25" y="39"/>
                    <a:pt x="23" y="40"/>
                    <a:pt x="21" y="40"/>
                  </a:cubicBezTo>
                  <a:cubicBezTo>
                    <a:pt x="19" y="41"/>
                    <a:pt x="17" y="42"/>
                    <a:pt x="15" y="42"/>
                  </a:cubicBezTo>
                  <a:cubicBezTo>
                    <a:pt x="13" y="41"/>
                    <a:pt x="13" y="40"/>
                    <a:pt x="13" y="39"/>
                  </a:cubicBezTo>
                  <a:cubicBezTo>
                    <a:pt x="13" y="37"/>
                    <a:pt x="13" y="37"/>
                    <a:pt x="12" y="37"/>
                  </a:cubicBezTo>
                  <a:cubicBezTo>
                    <a:pt x="12" y="36"/>
                    <a:pt x="12" y="36"/>
                    <a:pt x="13" y="36"/>
                  </a:cubicBezTo>
                  <a:cubicBezTo>
                    <a:pt x="14" y="35"/>
                    <a:pt x="17" y="32"/>
                    <a:pt x="17" y="31"/>
                  </a:cubicBezTo>
                  <a:cubicBezTo>
                    <a:pt x="17" y="31"/>
                    <a:pt x="17" y="31"/>
                    <a:pt x="16" y="31"/>
                  </a:cubicBezTo>
                  <a:cubicBezTo>
                    <a:pt x="15" y="31"/>
                    <a:pt x="15" y="30"/>
                    <a:pt x="14" y="30"/>
                  </a:cubicBezTo>
                  <a:cubicBezTo>
                    <a:pt x="11" y="29"/>
                    <a:pt x="8" y="28"/>
                    <a:pt x="5" y="29"/>
                  </a:cubicBezTo>
                  <a:cubicBezTo>
                    <a:pt x="5" y="31"/>
                    <a:pt x="5" y="31"/>
                    <a:pt x="5" y="31"/>
                  </a:cubicBezTo>
                  <a:cubicBezTo>
                    <a:pt x="6" y="31"/>
                    <a:pt x="6" y="33"/>
                    <a:pt x="5" y="34"/>
                  </a:cubicBezTo>
                  <a:cubicBezTo>
                    <a:pt x="4" y="35"/>
                    <a:pt x="4" y="35"/>
                    <a:pt x="4" y="35"/>
                  </a:cubicBezTo>
                  <a:cubicBezTo>
                    <a:pt x="4" y="35"/>
                    <a:pt x="4" y="35"/>
                    <a:pt x="4" y="35"/>
                  </a:cubicBezTo>
                  <a:cubicBezTo>
                    <a:pt x="3" y="35"/>
                    <a:pt x="2" y="35"/>
                    <a:pt x="2" y="36"/>
                  </a:cubicBezTo>
                  <a:cubicBezTo>
                    <a:pt x="0" y="38"/>
                    <a:pt x="0" y="38"/>
                    <a:pt x="0" y="38"/>
                  </a:cubicBezTo>
                  <a:cubicBezTo>
                    <a:pt x="0" y="39"/>
                    <a:pt x="0" y="41"/>
                    <a:pt x="1" y="41"/>
                  </a:cubicBezTo>
                  <a:cubicBezTo>
                    <a:pt x="1" y="42"/>
                    <a:pt x="1" y="44"/>
                    <a:pt x="0" y="45"/>
                  </a:cubicBezTo>
                  <a:cubicBezTo>
                    <a:pt x="1" y="46"/>
                    <a:pt x="1" y="46"/>
                    <a:pt x="1" y="47"/>
                  </a:cubicBezTo>
                  <a:cubicBezTo>
                    <a:pt x="2" y="48"/>
                    <a:pt x="2" y="48"/>
                    <a:pt x="2" y="49"/>
                  </a:cubicBezTo>
                  <a:cubicBezTo>
                    <a:pt x="2" y="49"/>
                    <a:pt x="2" y="49"/>
                    <a:pt x="2" y="49"/>
                  </a:cubicBezTo>
                  <a:cubicBezTo>
                    <a:pt x="3" y="50"/>
                    <a:pt x="4" y="51"/>
                    <a:pt x="4" y="52"/>
                  </a:cubicBezTo>
                  <a:cubicBezTo>
                    <a:pt x="5" y="53"/>
                    <a:pt x="7" y="56"/>
                    <a:pt x="8" y="57"/>
                  </a:cubicBezTo>
                  <a:cubicBezTo>
                    <a:pt x="9" y="57"/>
                    <a:pt x="10" y="57"/>
                    <a:pt x="10" y="57"/>
                  </a:cubicBezTo>
                  <a:cubicBezTo>
                    <a:pt x="10" y="58"/>
                    <a:pt x="11" y="58"/>
                    <a:pt x="13" y="59"/>
                  </a:cubicBezTo>
                  <a:cubicBezTo>
                    <a:pt x="14" y="59"/>
                    <a:pt x="16" y="59"/>
                    <a:pt x="16" y="61"/>
                  </a:cubicBezTo>
                  <a:cubicBezTo>
                    <a:pt x="17" y="61"/>
                    <a:pt x="18" y="63"/>
                    <a:pt x="19" y="64"/>
                  </a:cubicBezTo>
                  <a:cubicBezTo>
                    <a:pt x="21" y="65"/>
                    <a:pt x="21" y="65"/>
                    <a:pt x="21" y="65"/>
                  </a:cubicBezTo>
                  <a:cubicBezTo>
                    <a:pt x="24" y="65"/>
                    <a:pt x="24" y="65"/>
                    <a:pt x="24" y="65"/>
                  </a:cubicBezTo>
                  <a:cubicBezTo>
                    <a:pt x="26" y="65"/>
                    <a:pt x="26" y="65"/>
                    <a:pt x="26" y="65"/>
                  </a:cubicBezTo>
                  <a:cubicBezTo>
                    <a:pt x="26" y="67"/>
                    <a:pt x="26" y="67"/>
                    <a:pt x="26" y="67"/>
                  </a:cubicBezTo>
                  <a:cubicBezTo>
                    <a:pt x="26" y="69"/>
                    <a:pt x="25" y="72"/>
                    <a:pt x="24" y="73"/>
                  </a:cubicBezTo>
                  <a:cubicBezTo>
                    <a:pt x="24" y="74"/>
                    <a:pt x="22" y="76"/>
                    <a:pt x="21" y="77"/>
                  </a:cubicBezTo>
                  <a:cubicBezTo>
                    <a:pt x="21" y="77"/>
                    <a:pt x="20" y="78"/>
                    <a:pt x="20" y="79"/>
                  </a:cubicBezTo>
                  <a:cubicBezTo>
                    <a:pt x="20" y="79"/>
                    <a:pt x="20" y="80"/>
                    <a:pt x="20" y="80"/>
                  </a:cubicBezTo>
                  <a:cubicBezTo>
                    <a:pt x="20" y="80"/>
                    <a:pt x="20" y="81"/>
                    <a:pt x="20" y="81"/>
                  </a:cubicBezTo>
                  <a:cubicBezTo>
                    <a:pt x="22" y="81"/>
                    <a:pt x="22" y="81"/>
                    <a:pt x="22" y="81"/>
                  </a:cubicBezTo>
                  <a:cubicBezTo>
                    <a:pt x="20" y="83"/>
                    <a:pt x="20" y="83"/>
                    <a:pt x="20" y="83"/>
                  </a:cubicBezTo>
                  <a:cubicBezTo>
                    <a:pt x="19" y="84"/>
                    <a:pt x="18" y="85"/>
                    <a:pt x="17" y="86"/>
                  </a:cubicBezTo>
                  <a:cubicBezTo>
                    <a:pt x="13" y="86"/>
                    <a:pt x="13" y="86"/>
                    <a:pt x="13" y="86"/>
                  </a:cubicBezTo>
                  <a:cubicBezTo>
                    <a:pt x="13" y="86"/>
                    <a:pt x="13" y="86"/>
                    <a:pt x="13" y="87"/>
                  </a:cubicBezTo>
                  <a:cubicBezTo>
                    <a:pt x="13" y="87"/>
                    <a:pt x="12" y="87"/>
                    <a:pt x="12" y="88"/>
                  </a:cubicBezTo>
                  <a:cubicBezTo>
                    <a:pt x="12" y="88"/>
                    <a:pt x="12" y="88"/>
                    <a:pt x="11" y="88"/>
                  </a:cubicBezTo>
                  <a:cubicBezTo>
                    <a:pt x="13" y="90"/>
                    <a:pt x="13" y="90"/>
                    <a:pt x="13" y="90"/>
                  </a:cubicBezTo>
                  <a:cubicBezTo>
                    <a:pt x="13" y="97"/>
                    <a:pt x="13" y="97"/>
                    <a:pt x="13" y="97"/>
                  </a:cubicBezTo>
                  <a:cubicBezTo>
                    <a:pt x="15" y="98"/>
                    <a:pt x="15" y="98"/>
                    <a:pt x="16" y="99"/>
                  </a:cubicBezTo>
                  <a:cubicBezTo>
                    <a:pt x="16" y="99"/>
                    <a:pt x="16" y="100"/>
                    <a:pt x="16" y="100"/>
                  </a:cubicBezTo>
                  <a:cubicBezTo>
                    <a:pt x="18" y="101"/>
                    <a:pt x="18" y="101"/>
                    <a:pt x="18" y="101"/>
                  </a:cubicBezTo>
                  <a:cubicBezTo>
                    <a:pt x="15" y="107"/>
                    <a:pt x="15" y="107"/>
                    <a:pt x="15" y="107"/>
                  </a:cubicBezTo>
                  <a:cubicBezTo>
                    <a:pt x="15" y="108"/>
                    <a:pt x="15" y="109"/>
                    <a:pt x="14" y="109"/>
                  </a:cubicBezTo>
                  <a:cubicBezTo>
                    <a:pt x="14" y="110"/>
                    <a:pt x="15" y="110"/>
                    <a:pt x="15" y="110"/>
                  </a:cubicBezTo>
                  <a:cubicBezTo>
                    <a:pt x="16" y="111"/>
                    <a:pt x="16" y="111"/>
                    <a:pt x="16" y="111"/>
                  </a:cubicBezTo>
                  <a:cubicBezTo>
                    <a:pt x="16" y="112"/>
                    <a:pt x="16" y="112"/>
                    <a:pt x="16" y="112"/>
                  </a:cubicBezTo>
                  <a:cubicBezTo>
                    <a:pt x="16" y="113"/>
                    <a:pt x="16" y="113"/>
                    <a:pt x="17" y="114"/>
                  </a:cubicBezTo>
                  <a:cubicBezTo>
                    <a:pt x="19" y="116"/>
                    <a:pt x="21" y="117"/>
                    <a:pt x="23" y="117"/>
                  </a:cubicBezTo>
                  <a:cubicBezTo>
                    <a:pt x="25" y="118"/>
                    <a:pt x="27" y="118"/>
                    <a:pt x="29" y="120"/>
                  </a:cubicBezTo>
                  <a:cubicBezTo>
                    <a:pt x="29" y="120"/>
                    <a:pt x="30" y="121"/>
                    <a:pt x="31" y="121"/>
                  </a:cubicBezTo>
                  <a:cubicBezTo>
                    <a:pt x="31" y="123"/>
                    <a:pt x="33" y="124"/>
                    <a:pt x="33" y="126"/>
                  </a:cubicBezTo>
                  <a:cubicBezTo>
                    <a:pt x="34" y="127"/>
                    <a:pt x="35" y="128"/>
                    <a:pt x="36" y="129"/>
                  </a:cubicBezTo>
                  <a:cubicBezTo>
                    <a:pt x="37" y="129"/>
                    <a:pt x="38" y="130"/>
                    <a:pt x="38" y="132"/>
                  </a:cubicBezTo>
                  <a:cubicBezTo>
                    <a:pt x="38" y="133"/>
                    <a:pt x="38" y="134"/>
                    <a:pt x="38" y="135"/>
                  </a:cubicBezTo>
                  <a:cubicBezTo>
                    <a:pt x="37" y="136"/>
                    <a:pt x="37" y="137"/>
                    <a:pt x="37" y="138"/>
                  </a:cubicBezTo>
                  <a:cubicBezTo>
                    <a:pt x="37" y="139"/>
                    <a:pt x="38" y="142"/>
                    <a:pt x="38" y="143"/>
                  </a:cubicBezTo>
                  <a:cubicBezTo>
                    <a:pt x="39" y="144"/>
                    <a:pt x="39" y="145"/>
                    <a:pt x="39" y="146"/>
                  </a:cubicBezTo>
                  <a:cubicBezTo>
                    <a:pt x="43" y="145"/>
                    <a:pt x="43" y="145"/>
                    <a:pt x="43" y="145"/>
                  </a:cubicBezTo>
                  <a:cubicBezTo>
                    <a:pt x="47" y="142"/>
                    <a:pt x="47" y="142"/>
                    <a:pt x="47" y="142"/>
                  </a:cubicBezTo>
                  <a:cubicBezTo>
                    <a:pt x="48" y="141"/>
                    <a:pt x="50" y="140"/>
                    <a:pt x="51" y="140"/>
                  </a:cubicBezTo>
                  <a:cubicBezTo>
                    <a:pt x="52" y="140"/>
                    <a:pt x="52" y="140"/>
                    <a:pt x="52" y="140"/>
                  </a:cubicBezTo>
                  <a:cubicBezTo>
                    <a:pt x="52" y="140"/>
                    <a:pt x="52" y="140"/>
                    <a:pt x="52" y="140"/>
                  </a:cubicBezTo>
                  <a:cubicBezTo>
                    <a:pt x="52" y="140"/>
                    <a:pt x="52" y="140"/>
                    <a:pt x="52" y="140"/>
                  </a:cubicBezTo>
                  <a:cubicBezTo>
                    <a:pt x="53" y="140"/>
                    <a:pt x="53" y="140"/>
                    <a:pt x="54" y="140"/>
                  </a:cubicBezTo>
                  <a:cubicBezTo>
                    <a:pt x="59" y="138"/>
                    <a:pt x="59" y="138"/>
                    <a:pt x="59" y="138"/>
                  </a:cubicBezTo>
                  <a:cubicBezTo>
                    <a:pt x="59" y="138"/>
                    <a:pt x="66" y="135"/>
                    <a:pt x="67" y="135"/>
                  </a:cubicBezTo>
                  <a:cubicBezTo>
                    <a:pt x="67" y="135"/>
                    <a:pt x="69" y="134"/>
                    <a:pt x="70" y="133"/>
                  </a:cubicBezTo>
                  <a:cubicBezTo>
                    <a:pt x="72" y="131"/>
                    <a:pt x="72" y="131"/>
                    <a:pt x="72" y="131"/>
                  </a:cubicBezTo>
                  <a:cubicBezTo>
                    <a:pt x="72" y="130"/>
                    <a:pt x="75" y="128"/>
                    <a:pt x="77" y="128"/>
                  </a:cubicBezTo>
                  <a:cubicBezTo>
                    <a:pt x="79" y="128"/>
                    <a:pt x="80" y="128"/>
                    <a:pt x="80" y="128"/>
                  </a:cubicBezTo>
                  <a:cubicBezTo>
                    <a:pt x="81" y="127"/>
                    <a:pt x="81" y="126"/>
                    <a:pt x="83" y="126"/>
                  </a:cubicBezTo>
                  <a:cubicBezTo>
                    <a:pt x="83" y="126"/>
                    <a:pt x="87" y="125"/>
                    <a:pt x="88" y="125"/>
                  </a:cubicBezTo>
                  <a:cubicBezTo>
                    <a:pt x="90" y="125"/>
                    <a:pt x="90" y="125"/>
                    <a:pt x="90" y="125"/>
                  </a:cubicBezTo>
                  <a:cubicBezTo>
                    <a:pt x="93" y="129"/>
                    <a:pt x="93" y="129"/>
                    <a:pt x="93" y="129"/>
                  </a:cubicBezTo>
                  <a:cubicBezTo>
                    <a:pt x="95" y="131"/>
                    <a:pt x="96" y="131"/>
                    <a:pt x="97" y="132"/>
                  </a:cubicBezTo>
                  <a:cubicBezTo>
                    <a:pt x="98" y="131"/>
                    <a:pt x="101" y="129"/>
                    <a:pt x="101" y="129"/>
                  </a:cubicBezTo>
                  <a:cubicBezTo>
                    <a:pt x="110" y="131"/>
                    <a:pt x="110" y="131"/>
                    <a:pt x="110" y="131"/>
                  </a:cubicBezTo>
                  <a:cubicBezTo>
                    <a:pt x="116" y="133"/>
                    <a:pt x="116" y="133"/>
                    <a:pt x="116" y="133"/>
                  </a:cubicBezTo>
                  <a:cubicBezTo>
                    <a:pt x="118" y="132"/>
                    <a:pt x="118" y="132"/>
                    <a:pt x="118" y="132"/>
                  </a:cubicBezTo>
                  <a:cubicBezTo>
                    <a:pt x="121" y="130"/>
                    <a:pt x="121" y="130"/>
                    <a:pt x="121" y="130"/>
                  </a:cubicBezTo>
                  <a:cubicBezTo>
                    <a:pt x="122" y="130"/>
                    <a:pt x="127" y="128"/>
                    <a:pt x="127" y="128"/>
                  </a:cubicBezTo>
                  <a:cubicBezTo>
                    <a:pt x="128" y="128"/>
                    <a:pt x="128" y="128"/>
                    <a:pt x="128" y="128"/>
                  </a:cubicBezTo>
                  <a:cubicBezTo>
                    <a:pt x="130" y="128"/>
                    <a:pt x="132" y="127"/>
                    <a:pt x="133" y="127"/>
                  </a:cubicBezTo>
                  <a:cubicBezTo>
                    <a:pt x="133" y="127"/>
                    <a:pt x="133" y="127"/>
                    <a:pt x="134" y="126"/>
                  </a:cubicBezTo>
                  <a:cubicBezTo>
                    <a:pt x="136" y="125"/>
                    <a:pt x="136" y="125"/>
                    <a:pt x="137" y="125"/>
                  </a:cubicBezTo>
                  <a:cubicBezTo>
                    <a:pt x="137" y="124"/>
                    <a:pt x="138" y="124"/>
                    <a:pt x="138" y="124"/>
                  </a:cubicBezTo>
                  <a:cubicBezTo>
                    <a:pt x="139" y="124"/>
                    <a:pt x="139" y="124"/>
                    <a:pt x="140" y="123"/>
                  </a:cubicBezTo>
                  <a:cubicBezTo>
                    <a:pt x="141" y="123"/>
                    <a:pt x="141" y="122"/>
                    <a:pt x="141" y="121"/>
                  </a:cubicBezTo>
                  <a:close/>
                </a:path>
              </a:pathLst>
            </a:custGeom>
            <a:solidFill>
              <a:srgbClr val="0181C7"/>
            </a:solid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297" name="Freeform 208"/>
            <p:cNvSpPr>
              <a:spLocks/>
            </p:cNvSpPr>
            <p:nvPr/>
          </p:nvSpPr>
          <p:spPr bwMode="auto">
            <a:xfrm>
              <a:off x="7766866" y="4090079"/>
              <a:ext cx="6350" cy="3175"/>
            </a:xfrm>
            <a:custGeom>
              <a:avLst/>
              <a:gdLst>
                <a:gd name="T0" fmla="*/ 0 w 2"/>
                <a:gd name="T1" fmla="*/ 0 h 1"/>
                <a:gd name="T2" fmla="*/ 1 w 2"/>
                <a:gd name="T3" fmla="*/ 1 h 1"/>
                <a:gd name="T4" fmla="*/ 2 w 2"/>
                <a:gd name="T5" fmla="*/ 0 h 1"/>
                <a:gd name="T6" fmla="*/ 0 w 2"/>
                <a:gd name="T7" fmla="*/ 0 h 1"/>
              </a:gdLst>
              <a:ahLst/>
              <a:cxnLst>
                <a:cxn ang="0">
                  <a:pos x="T0" y="T1"/>
                </a:cxn>
                <a:cxn ang="0">
                  <a:pos x="T2" y="T3"/>
                </a:cxn>
                <a:cxn ang="0">
                  <a:pos x="T4" y="T5"/>
                </a:cxn>
                <a:cxn ang="0">
                  <a:pos x="T6" y="T7"/>
                </a:cxn>
              </a:cxnLst>
              <a:rect l="0" t="0" r="r" b="b"/>
              <a:pathLst>
                <a:path w="2" h="1">
                  <a:moveTo>
                    <a:pt x="0" y="0"/>
                  </a:moveTo>
                  <a:cubicBezTo>
                    <a:pt x="1" y="1"/>
                    <a:pt x="1" y="1"/>
                    <a:pt x="1" y="1"/>
                  </a:cubicBezTo>
                  <a:cubicBezTo>
                    <a:pt x="2" y="0"/>
                    <a:pt x="2" y="0"/>
                    <a:pt x="2" y="0"/>
                  </a:cubicBezTo>
                  <a:cubicBezTo>
                    <a:pt x="1" y="0"/>
                    <a:pt x="0" y="0"/>
                    <a:pt x="0" y="0"/>
                  </a:cubicBezTo>
                  <a:close/>
                </a:path>
              </a:pathLst>
            </a:custGeom>
            <a:grpFill/>
            <a:ln w="9525">
              <a:solidFill>
                <a:schemeClr val="bg1">
                  <a:alpha val="25000"/>
                </a:schemeClr>
              </a:solidFill>
              <a:round/>
              <a:headEnd/>
              <a:tailEnd/>
            </a:ln>
            <a:extLst/>
          </p:spPr>
          <p:txBody>
            <a:bodyPr vert="horz" wrap="square" lIns="91440" tIns="45720" rIns="91440" bIns="45720" numCol="1" anchor="t" anchorCtr="0" compatLnSpc="1">
              <a:prstTxWarp prst="textNoShape">
                <a:avLst/>
              </a:prstTxWarp>
            </a:bodyPr>
            <a:lstStyle/>
            <a:p>
              <a:pPr algn="l"/>
              <a:endParaRPr lang="id-ID" sz="5400"/>
            </a:p>
          </p:txBody>
        </p:sp>
        <p:sp>
          <p:nvSpPr>
            <p:cNvPr id="298" name="Freeform 209"/>
            <p:cNvSpPr>
              <a:spLocks/>
            </p:cNvSpPr>
            <p:nvPr/>
          </p:nvSpPr>
          <p:spPr bwMode="auto">
            <a:xfrm>
              <a:off x="5349101" y="3596368"/>
              <a:ext cx="930275" cy="668336"/>
            </a:xfrm>
            <a:custGeom>
              <a:avLst/>
              <a:gdLst>
                <a:gd name="T0" fmla="*/ 277 w 292"/>
                <a:gd name="T1" fmla="*/ 94 h 210"/>
                <a:gd name="T2" fmla="*/ 239 w 292"/>
                <a:gd name="T3" fmla="*/ 104 h 210"/>
                <a:gd name="T4" fmla="*/ 235 w 292"/>
                <a:gd name="T5" fmla="*/ 95 h 210"/>
                <a:gd name="T6" fmla="*/ 233 w 292"/>
                <a:gd name="T7" fmla="*/ 91 h 210"/>
                <a:gd name="T8" fmla="*/ 230 w 292"/>
                <a:gd name="T9" fmla="*/ 82 h 210"/>
                <a:gd name="T10" fmla="*/ 228 w 292"/>
                <a:gd name="T11" fmla="*/ 74 h 210"/>
                <a:gd name="T12" fmla="*/ 228 w 292"/>
                <a:gd name="T13" fmla="*/ 63 h 210"/>
                <a:gd name="T14" fmla="*/ 226 w 292"/>
                <a:gd name="T15" fmla="*/ 56 h 210"/>
                <a:gd name="T16" fmla="*/ 222 w 292"/>
                <a:gd name="T17" fmla="*/ 49 h 210"/>
                <a:gd name="T18" fmla="*/ 217 w 292"/>
                <a:gd name="T19" fmla="*/ 41 h 210"/>
                <a:gd name="T20" fmla="*/ 206 w 292"/>
                <a:gd name="T21" fmla="*/ 33 h 210"/>
                <a:gd name="T22" fmla="*/ 198 w 292"/>
                <a:gd name="T23" fmla="*/ 27 h 210"/>
                <a:gd name="T24" fmla="*/ 195 w 292"/>
                <a:gd name="T25" fmla="*/ 25 h 210"/>
                <a:gd name="T26" fmla="*/ 187 w 292"/>
                <a:gd name="T27" fmla="*/ 18 h 210"/>
                <a:gd name="T28" fmla="*/ 184 w 292"/>
                <a:gd name="T29" fmla="*/ 12 h 210"/>
                <a:gd name="T30" fmla="*/ 178 w 292"/>
                <a:gd name="T31" fmla="*/ 6 h 210"/>
                <a:gd name="T32" fmla="*/ 173 w 292"/>
                <a:gd name="T33" fmla="*/ 3 h 210"/>
                <a:gd name="T34" fmla="*/ 169 w 292"/>
                <a:gd name="T35" fmla="*/ 0 h 210"/>
                <a:gd name="T36" fmla="*/ 155 w 292"/>
                <a:gd name="T37" fmla="*/ 5 h 210"/>
                <a:gd name="T38" fmla="*/ 132 w 292"/>
                <a:gd name="T39" fmla="*/ 20 h 210"/>
                <a:gd name="T40" fmla="*/ 108 w 292"/>
                <a:gd name="T41" fmla="*/ 27 h 210"/>
                <a:gd name="T42" fmla="*/ 73 w 292"/>
                <a:gd name="T43" fmla="*/ 29 h 210"/>
                <a:gd name="T44" fmla="*/ 67 w 292"/>
                <a:gd name="T45" fmla="*/ 37 h 210"/>
                <a:gd name="T46" fmla="*/ 55 w 292"/>
                <a:gd name="T47" fmla="*/ 48 h 210"/>
                <a:gd name="T48" fmla="*/ 45 w 292"/>
                <a:gd name="T49" fmla="*/ 57 h 210"/>
                <a:gd name="T50" fmla="*/ 42 w 292"/>
                <a:gd name="T51" fmla="*/ 73 h 210"/>
                <a:gd name="T52" fmla="*/ 35 w 292"/>
                <a:gd name="T53" fmla="*/ 88 h 210"/>
                <a:gd name="T54" fmla="*/ 32 w 292"/>
                <a:gd name="T55" fmla="*/ 107 h 210"/>
                <a:gd name="T56" fmla="*/ 16 w 292"/>
                <a:gd name="T57" fmla="*/ 124 h 210"/>
                <a:gd name="T58" fmla="*/ 6 w 292"/>
                <a:gd name="T59" fmla="*/ 129 h 210"/>
                <a:gd name="T60" fmla="*/ 7 w 292"/>
                <a:gd name="T61" fmla="*/ 131 h 210"/>
                <a:gd name="T62" fmla="*/ 16 w 292"/>
                <a:gd name="T63" fmla="*/ 136 h 210"/>
                <a:gd name="T64" fmla="*/ 18 w 292"/>
                <a:gd name="T65" fmla="*/ 145 h 210"/>
                <a:gd name="T66" fmla="*/ 22 w 292"/>
                <a:gd name="T67" fmla="*/ 152 h 210"/>
                <a:gd name="T68" fmla="*/ 33 w 292"/>
                <a:gd name="T69" fmla="*/ 156 h 210"/>
                <a:gd name="T70" fmla="*/ 43 w 292"/>
                <a:gd name="T71" fmla="*/ 158 h 210"/>
                <a:gd name="T72" fmla="*/ 45 w 292"/>
                <a:gd name="T73" fmla="*/ 168 h 210"/>
                <a:gd name="T74" fmla="*/ 45 w 292"/>
                <a:gd name="T75" fmla="*/ 175 h 210"/>
                <a:gd name="T76" fmla="*/ 51 w 292"/>
                <a:gd name="T77" fmla="*/ 178 h 210"/>
                <a:gd name="T78" fmla="*/ 56 w 292"/>
                <a:gd name="T79" fmla="*/ 179 h 210"/>
                <a:gd name="T80" fmla="*/ 66 w 292"/>
                <a:gd name="T81" fmla="*/ 183 h 210"/>
                <a:gd name="T82" fmla="*/ 71 w 292"/>
                <a:gd name="T83" fmla="*/ 176 h 210"/>
                <a:gd name="T84" fmla="*/ 80 w 292"/>
                <a:gd name="T85" fmla="*/ 176 h 210"/>
                <a:gd name="T86" fmla="*/ 84 w 292"/>
                <a:gd name="T87" fmla="*/ 183 h 210"/>
                <a:gd name="T88" fmla="*/ 83 w 292"/>
                <a:gd name="T89" fmla="*/ 189 h 210"/>
                <a:gd name="T90" fmla="*/ 87 w 292"/>
                <a:gd name="T91" fmla="*/ 196 h 210"/>
                <a:gd name="T92" fmla="*/ 95 w 292"/>
                <a:gd name="T93" fmla="*/ 204 h 210"/>
                <a:gd name="T94" fmla="*/ 97 w 292"/>
                <a:gd name="T95" fmla="*/ 209 h 210"/>
                <a:gd name="T96" fmla="*/ 128 w 292"/>
                <a:gd name="T97" fmla="*/ 207 h 210"/>
                <a:gd name="T98" fmla="*/ 195 w 292"/>
                <a:gd name="T99" fmla="*/ 185 h 210"/>
                <a:gd name="T100" fmla="*/ 252 w 292"/>
                <a:gd name="T101" fmla="*/ 168 h 210"/>
                <a:gd name="T102" fmla="*/ 271 w 292"/>
                <a:gd name="T103" fmla="*/ 143 h 210"/>
                <a:gd name="T104" fmla="*/ 287 w 292"/>
                <a:gd name="T105" fmla="*/ 9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2" h="210">
                  <a:moveTo>
                    <a:pt x="287" y="96"/>
                  </a:moveTo>
                  <a:cubicBezTo>
                    <a:pt x="284" y="96"/>
                    <a:pt x="284" y="96"/>
                    <a:pt x="284" y="96"/>
                  </a:cubicBezTo>
                  <a:cubicBezTo>
                    <a:pt x="277" y="94"/>
                    <a:pt x="277" y="94"/>
                    <a:pt x="277" y="94"/>
                  </a:cubicBezTo>
                  <a:cubicBezTo>
                    <a:pt x="277" y="94"/>
                    <a:pt x="277" y="94"/>
                    <a:pt x="277" y="94"/>
                  </a:cubicBezTo>
                  <a:cubicBezTo>
                    <a:pt x="277" y="94"/>
                    <a:pt x="277" y="94"/>
                    <a:pt x="277" y="94"/>
                  </a:cubicBezTo>
                  <a:cubicBezTo>
                    <a:pt x="271" y="94"/>
                    <a:pt x="264" y="106"/>
                    <a:pt x="264" y="106"/>
                  </a:cubicBezTo>
                  <a:cubicBezTo>
                    <a:pt x="261" y="112"/>
                    <a:pt x="261" y="112"/>
                    <a:pt x="261" y="112"/>
                  </a:cubicBezTo>
                  <a:cubicBezTo>
                    <a:pt x="257" y="111"/>
                    <a:pt x="257" y="111"/>
                    <a:pt x="257" y="111"/>
                  </a:cubicBezTo>
                  <a:cubicBezTo>
                    <a:pt x="251" y="110"/>
                    <a:pt x="245" y="108"/>
                    <a:pt x="240" y="105"/>
                  </a:cubicBezTo>
                  <a:cubicBezTo>
                    <a:pt x="239" y="104"/>
                    <a:pt x="239" y="104"/>
                    <a:pt x="239" y="104"/>
                  </a:cubicBezTo>
                  <a:cubicBezTo>
                    <a:pt x="237" y="101"/>
                    <a:pt x="237" y="101"/>
                    <a:pt x="237" y="101"/>
                  </a:cubicBezTo>
                  <a:cubicBezTo>
                    <a:pt x="236" y="101"/>
                    <a:pt x="235" y="101"/>
                    <a:pt x="235" y="100"/>
                  </a:cubicBezTo>
                  <a:cubicBezTo>
                    <a:pt x="234" y="99"/>
                    <a:pt x="234" y="99"/>
                    <a:pt x="234" y="99"/>
                  </a:cubicBezTo>
                  <a:cubicBezTo>
                    <a:pt x="234" y="96"/>
                    <a:pt x="234" y="96"/>
                    <a:pt x="234" y="96"/>
                  </a:cubicBezTo>
                  <a:cubicBezTo>
                    <a:pt x="234" y="96"/>
                    <a:pt x="235" y="95"/>
                    <a:pt x="235" y="95"/>
                  </a:cubicBezTo>
                  <a:cubicBezTo>
                    <a:pt x="235" y="95"/>
                    <a:pt x="235" y="95"/>
                    <a:pt x="235" y="95"/>
                  </a:cubicBezTo>
                  <a:cubicBezTo>
                    <a:pt x="235" y="94"/>
                    <a:pt x="235" y="94"/>
                    <a:pt x="235" y="94"/>
                  </a:cubicBezTo>
                  <a:cubicBezTo>
                    <a:pt x="235" y="94"/>
                    <a:pt x="235" y="93"/>
                    <a:pt x="235" y="93"/>
                  </a:cubicBezTo>
                  <a:cubicBezTo>
                    <a:pt x="235" y="93"/>
                    <a:pt x="235" y="93"/>
                    <a:pt x="235" y="93"/>
                  </a:cubicBezTo>
                  <a:cubicBezTo>
                    <a:pt x="234" y="92"/>
                    <a:pt x="234" y="92"/>
                    <a:pt x="233" y="91"/>
                  </a:cubicBezTo>
                  <a:cubicBezTo>
                    <a:pt x="232" y="90"/>
                    <a:pt x="232" y="90"/>
                    <a:pt x="232" y="89"/>
                  </a:cubicBezTo>
                  <a:cubicBezTo>
                    <a:pt x="232" y="88"/>
                    <a:pt x="232" y="88"/>
                    <a:pt x="232" y="87"/>
                  </a:cubicBezTo>
                  <a:cubicBezTo>
                    <a:pt x="232" y="87"/>
                    <a:pt x="232" y="87"/>
                    <a:pt x="232" y="87"/>
                  </a:cubicBezTo>
                  <a:cubicBezTo>
                    <a:pt x="232" y="87"/>
                    <a:pt x="232" y="87"/>
                    <a:pt x="232" y="86"/>
                  </a:cubicBezTo>
                  <a:cubicBezTo>
                    <a:pt x="231" y="85"/>
                    <a:pt x="230" y="83"/>
                    <a:pt x="230" y="82"/>
                  </a:cubicBezTo>
                  <a:cubicBezTo>
                    <a:pt x="229" y="82"/>
                    <a:pt x="229" y="81"/>
                    <a:pt x="229" y="80"/>
                  </a:cubicBezTo>
                  <a:cubicBezTo>
                    <a:pt x="229" y="80"/>
                    <a:pt x="229" y="79"/>
                    <a:pt x="229" y="79"/>
                  </a:cubicBezTo>
                  <a:cubicBezTo>
                    <a:pt x="229" y="79"/>
                    <a:pt x="228" y="78"/>
                    <a:pt x="229" y="76"/>
                  </a:cubicBezTo>
                  <a:cubicBezTo>
                    <a:pt x="229" y="75"/>
                    <a:pt x="229" y="75"/>
                    <a:pt x="229" y="74"/>
                  </a:cubicBezTo>
                  <a:cubicBezTo>
                    <a:pt x="229" y="74"/>
                    <a:pt x="228" y="74"/>
                    <a:pt x="228" y="74"/>
                  </a:cubicBezTo>
                  <a:cubicBezTo>
                    <a:pt x="228" y="69"/>
                    <a:pt x="228" y="69"/>
                    <a:pt x="228" y="69"/>
                  </a:cubicBezTo>
                  <a:cubicBezTo>
                    <a:pt x="228" y="68"/>
                    <a:pt x="228" y="68"/>
                    <a:pt x="228" y="68"/>
                  </a:cubicBezTo>
                  <a:cubicBezTo>
                    <a:pt x="228" y="68"/>
                    <a:pt x="228" y="68"/>
                    <a:pt x="228" y="68"/>
                  </a:cubicBezTo>
                  <a:cubicBezTo>
                    <a:pt x="228" y="67"/>
                    <a:pt x="228" y="66"/>
                    <a:pt x="228" y="65"/>
                  </a:cubicBezTo>
                  <a:cubicBezTo>
                    <a:pt x="228" y="63"/>
                    <a:pt x="228" y="63"/>
                    <a:pt x="228" y="63"/>
                  </a:cubicBezTo>
                  <a:cubicBezTo>
                    <a:pt x="228" y="62"/>
                    <a:pt x="228" y="62"/>
                    <a:pt x="228" y="62"/>
                  </a:cubicBezTo>
                  <a:cubicBezTo>
                    <a:pt x="227" y="61"/>
                    <a:pt x="227" y="60"/>
                    <a:pt x="227" y="59"/>
                  </a:cubicBezTo>
                  <a:cubicBezTo>
                    <a:pt x="227" y="59"/>
                    <a:pt x="227" y="58"/>
                    <a:pt x="227" y="58"/>
                  </a:cubicBezTo>
                  <a:cubicBezTo>
                    <a:pt x="227" y="58"/>
                    <a:pt x="227" y="58"/>
                    <a:pt x="227" y="58"/>
                  </a:cubicBezTo>
                  <a:cubicBezTo>
                    <a:pt x="227" y="58"/>
                    <a:pt x="226" y="56"/>
                    <a:pt x="226" y="56"/>
                  </a:cubicBezTo>
                  <a:cubicBezTo>
                    <a:pt x="226" y="55"/>
                    <a:pt x="226" y="55"/>
                    <a:pt x="226" y="55"/>
                  </a:cubicBezTo>
                  <a:cubicBezTo>
                    <a:pt x="226" y="55"/>
                    <a:pt x="226" y="55"/>
                    <a:pt x="226" y="55"/>
                  </a:cubicBezTo>
                  <a:cubicBezTo>
                    <a:pt x="226" y="55"/>
                    <a:pt x="226" y="55"/>
                    <a:pt x="225" y="54"/>
                  </a:cubicBezTo>
                  <a:cubicBezTo>
                    <a:pt x="225" y="53"/>
                    <a:pt x="225" y="53"/>
                    <a:pt x="224" y="52"/>
                  </a:cubicBezTo>
                  <a:cubicBezTo>
                    <a:pt x="223" y="51"/>
                    <a:pt x="222" y="50"/>
                    <a:pt x="222" y="49"/>
                  </a:cubicBezTo>
                  <a:cubicBezTo>
                    <a:pt x="222" y="48"/>
                    <a:pt x="221" y="48"/>
                    <a:pt x="221" y="47"/>
                  </a:cubicBezTo>
                  <a:cubicBezTo>
                    <a:pt x="221" y="47"/>
                    <a:pt x="221" y="47"/>
                    <a:pt x="221" y="47"/>
                  </a:cubicBezTo>
                  <a:cubicBezTo>
                    <a:pt x="221" y="47"/>
                    <a:pt x="221" y="46"/>
                    <a:pt x="220" y="45"/>
                  </a:cubicBezTo>
                  <a:cubicBezTo>
                    <a:pt x="219" y="44"/>
                    <a:pt x="218" y="43"/>
                    <a:pt x="218" y="42"/>
                  </a:cubicBezTo>
                  <a:cubicBezTo>
                    <a:pt x="217" y="42"/>
                    <a:pt x="217" y="41"/>
                    <a:pt x="217" y="41"/>
                  </a:cubicBezTo>
                  <a:cubicBezTo>
                    <a:pt x="216" y="41"/>
                    <a:pt x="215" y="41"/>
                    <a:pt x="214" y="41"/>
                  </a:cubicBezTo>
                  <a:cubicBezTo>
                    <a:pt x="211" y="39"/>
                    <a:pt x="211" y="39"/>
                    <a:pt x="211" y="39"/>
                  </a:cubicBezTo>
                  <a:cubicBezTo>
                    <a:pt x="209" y="37"/>
                    <a:pt x="209" y="37"/>
                    <a:pt x="209" y="37"/>
                  </a:cubicBezTo>
                  <a:cubicBezTo>
                    <a:pt x="208" y="37"/>
                    <a:pt x="208" y="36"/>
                    <a:pt x="207" y="36"/>
                  </a:cubicBezTo>
                  <a:cubicBezTo>
                    <a:pt x="206" y="35"/>
                    <a:pt x="206" y="34"/>
                    <a:pt x="206" y="33"/>
                  </a:cubicBezTo>
                  <a:cubicBezTo>
                    <a:pt x="205" y="33"/>
                    <a:pt x="205" y="33"/>
                    <a:pt x="205" y="33"/>
                  </a:cubicBezTo>
                  <a:cubicBezTo>
                    <a:pt x="201" y="31"/>
                    <a:pt x="201" y="31"/>
                    <a:pt x="201" y="31"/>
                  </a:cubicBezTo>
                  <a:cubicBezTo>
                    <a:pt x="201" y="31"/>
                    <a:pt x="201" y="31"/>
                    <a:pt x="201" y="31"/>
                  </a:cubicBezTo>
                  <a:cubicBezTo>
                    <a:pt x="201" y="31"/>
                    <a:pt x="199" y="29"/>
                    <a:pt x="199" y="28"/>
                  </a:cubicBezTo>
                  <a:cubicBezTo>
                    <a:pt x="199" y="28"/>
                    <a:pt x="199" y="28"/>
                    <a:pt x="198" y="27"/>
                  </a:cubicBezTo>
                  <a:cubicBezTo>
                    <a:pt x="198" y="27"/>
                    <a:pt x="198" y="27"/>
                    <a:pt x="198" y="26"/>
                  </a:cubicBezTo>
                  <a:cubicBezTo>
                    <a:pt x="197" y="26"/>
                    <a:pt x="197" y="26"/>
                    <a:pt x="197" y="26"/>
                  </a:cubicBezTo>
                  <a:cubicBezTo>
                    <a:pt x="196" y="26"/>
                    <a:pt x="196" y="26"/>
                    <a:pt x="196" y="26"/>
                  </a:cubicBezTo>
                  <a:cubicBezTo>
                    <a:pt x="196" y="26"/>
                    <a:pt x="196" y="26"/>
                    <a:pt x="196" y="26"/>
                  </a:cubicBezTo>
                  <a:cubicBezTo>
                    <a:pt x="195" y="25"/>
                    <a:pt x="195" y="25"/>
                    <a:pt x="195" y="25"/>
                  </a:cubicBezTo>
                  <a:cubicBezTo>
                    <a:pt x="195" y="25"/>
                    <a:pt x="194" y="24"/>
                    <a:pt x="193" y="23"/>
                  </a:cubicBezTo>
                  <a:cubicBezTo>
                    <a:pt x="192" y="23"/>
                    <a:pt x="192" y="23"/>
                    <a:pt x="192" y="23"/>
                  </a:cubicBezTo>
                  <a:cubicBezTo>
                    <a:pt x="192" y="22"/>
                    <a:pt x="191" y="22"/>
                    <a:pt x="191" y="22"/>
                  </a:cubicBezTo>
                  <a:cubicBezTo>
                    <a:pt x="190" y="21"/>
                    <a:pt x="190" y="21"/>
                    <a:pt x="190" y="20"/>
                  </a:cubicBezTo>
                  <a:cubicBezTo>
                    <a:pt x="189" y="20"/>
                    <a:pt x="188" y="20"/>
                    <a:pt x="187" y="18"/>
                  </a:cubicBezTo>
                  <a:cubicBezTo>
                    <a:pt x="186" y="18"/>
                    <a:pt x="186" y="17"/>
                    <a:pt x="186" y="16"/>
                  </a:cubicBezTo>
                  <a:cubicBezTo>
                    <a:pt x="185" y="15"/>
                    <a:pt x="185" y="14"/>
                    <a:pt x="185" y="14"/>
                  </a:cubicBezTo>
                  <a:cubicBezTo>
                    <a:pt x="184" y="14"/>
                    <a:pt x="184" y="13"/>
                    <a:pt x="184" y="12"/>
                  </a:cubicBezTo>
                  <a:cubicBezTo>
                    <a:pt x="184" y="12"/>
                    <a:pt x="184" y="12"/>
                    <a:pt x="184" y="12"/>
                  </a:cubicBezTo>
                  <a:cubicBezTo>
                    <a:pt x="184" y="12"/>
                    <a:pt x="184" y="12"/>
                    <a:pt x="184" y="12"/>
                  </a:cubicBezTo>
                  <a:cubicBezTo>
                    <a:pt x="183" y="11"/>
                    <a:pt x="183" y="11"/>
                    <a:pt x="183" y="11"/>
                  </a:cubicBezTo>
                  <a:cubicBezTo>
                    <a:pt x="182" y="10"/>
                    <a:pt x="182" y="10"/>
                    <a:pt x="181" y="10"/>
                  </a:cubicBezTo>
                  <a:cubicBezTo>
                    <a:pt x="181" y="9"/>
                    <a:pt x="181" y="9"/>
                    <a:pt x="181" y="8"/>
                  </a:cubicBezTo>
                  <a:cubicBezTo>
                    <a:pt x="180" y="7"/>
                    <a:pt x="180" y="7"/>
                    <a:pt x="180" y="7"/>
                  </a:cubicBezTo>
                  <a:cubicBezTo>
                    <a:pt x="178" y="6"/>
                    <a:pt x="178" y="6"/>
                    <a:pt x="178" y="6"/>
                  </a:cubicBezTo>
                  <a:cubicBezTo>
                    <a:pt x="178" y="6"/>
                    <a:pt x="178" y="5"/>
                    <a:pt x="178" y="5"/>
                  </a:cubicBezTo>
                  <a:cubicBezTo>
                    <a:pt x="177" y="5"/>
                    <a:pt x="177" y="5"/>
                    <a:pt x="177" y="4"/>
                  </a:cubicBezTo>
                  <a:cubicBezTo>
                    <a:pt x="176" y="4"/>
                    <a:pt x="176" y="4"/>
                    <a:pt x="176" y="4"/>
                  </a:cubicBezTo>
                  <a:cubicBezTo>
                    <a:pt x="176" y="4"/>
                    <a:pt x="176" y="4"/>
                    <a:pt x="176" y="4"/>
                  </a:cubicBezTo>
                  <a:cubicBezTo>
                    <a:pt x="173" y="3"/>
                    <a:pt x="173" y="3"/>
                    <a:pt x="173" y="3"/>
                  </a:cubicBezTo>
                  <a:cubicBezTo>
                    <a:pt x="173" y="2"/>
                    <a:pt x="173" y="2"/>
                    <a:pt x="173" y="2"/>
                  </a:cubicBezTo>
                  <a:cubicBezTo>
                    <a:pt x="173" y="1"/>
                    <a:pt x="173" y="1"/>
                    <a:pt x="172" y="1"/>
                  </a:cubicBezTo>
                  <a:cubicBezTo>
                    <a:pt x="172" y="1"/>
                    <a:pt x="172" y="1"/>
                    <a:pt x="172" y="1"/>
                  </a:cubicBezTo>
                  <a:cubicBezTo>
                    <a:pt x="172" y="1"/>
                    <a:pt x="172" y="1"/>
                    <a:pt x="172" y="1"/>
                  </a:cubicBezTo>
                  <a:cubicBezTo>
                    <a:pt x="171" y="1"/>
                    <a:pt x="170" y="0"/>
                    <a:pt x="169" y="0"/>
                  </a:cubicBezTo>
                  <a:cubicBezTo>
                    <a:pt x="169" y="0"/>
                    <a:pt x="169" y="0"/>
                    <a:pt x="169" y="0"/>
                  </a:cubicBezTo>
                  <a:cubicBezTo>
                    <a:pt x="166" y="0"/>
                    <a:pt x="166" y="0"/>
                    <a:pt x="166" y="0"/>
                  </a:cubicBezTo>
                  <a:cubicBezTo>
                    <a:pt x="159" y="0"/>
                    <a:pt x="159" y="0"/>
                    <a:pt x="159" y="0"/>
                  </a:cubicBezTo>
                  <a:cubicBezTo>
                    <a:pt x="157" y="1"/>
                    <a:pt x="156" y="2"/>
                    <a:pt x="156" y="3"/>
                  </a:cubicBezTo>
                  <a:cubicBezTo>
                    <a:pt x="155" y="4"/>
                    <a:pt x="155" y="4"/>
                    <a:pt x="155" y="5"/>
                  </a:cubicBezTo>
                  <a:cubicBezTo>
                    <a:pt x="155" y="7"/>
                    <a:pt x="155" y="9"/>
                    <a:pt x="154" y="9"/>
                  </a:cubicBezTo>
                  <a:cubicBezTo>
                    <a:pt x="152" y="10"/>
                    <a:pt x="151" y="11"/>
                    <a:pt x="150" y="12"/>
                  </a:cubicBezTo>
                  <a:cubicBezTo>
                    <a:pt x="149" y="13"/>
                    <a:pt x="149" y="14"/>
                    <a:pt x="148" y="14"/>
                  </a:cubicBezTo>
                  <a:cubicBezTo>
                    <a:pt x="141" y="18"/>
                    <a:pt x="141" y="18"/>
                    <a:pt x="141" y="18"/>
                  </a:cubicBezTo>
                  <a:cubicBezTo>
                    <a:pt x="141" y="18"/>
                    <a:pt x="135" y="20"/>
                    <a:pt x="132" y="20"/>
                  </a:cubicBezTo>
                  <a:cubicBezTo>
                    <a:pt x="129" y="20"/>
                    <a:pt x="127" y="23"/>
                    <a:pt x="127" y="23"/>
                  </a:cubicBezTo>
                  <a:cubicBezTo>
                    <a:pt x="123" y="29"/>
                    <a:pt x="123" y="29"/>
                    <a:pt x="123" y="29"/>
                  </a:cubicBezTo>
                  <a:cubicBezTo>
                    <a:pt x="116" y="29"/>
                    <a:pt x="116" y="29"/>
                    <a:pt x="116" y="29"/>
                  </a:cubicBezTo>
                  <a:cubicBezTo>
                    <a:pt x="113" y="26"/>
                    <a:pt x="113" y="26"/>
                    <a:pt x="113" y="26"/>
                  </a:cubicBezTo>
                  <a:cubicBezTo>
                    <a:pt x="108" y="27"/>
                    <a:pt x="108" y="27"/>
                    <a:pt x="108" y="27"/>
                  </a:cubicBezTo>
                  <a:cubicBezTo>
                    <a:pt x="98" y="26"/>
                    <a:pt x="98" y="26"/>
                    <a:pt x="98" y="26"/>
                  </a:cubicBezTo>
                  <a:cubicBezTo>
                    <a:pt x="93" y="29"/>
                    <a:pt x="93" y="29"/>
                    <a:pt x="93" y="29"/>
                  </a:cubicBezTo>
                  <a:cubicBezTo>
                    <a:pt x="84" y="28"/>
                    <a:pt x="84" y="28"/>
                    <a:pt x="84" y="28"/>
                  </a:cubicBezTo>
                  <a:cubicBezTo>
                    <a:pt x="84" y="28"/>
                    <a:pt x="78" y="29"/>
                    <a:pt x="76" y="29"/>
                  </a:cubicBezTo>
                  <a:cubicBezTo>
                    <a:pt x="73" y="29"/>
                    <a:pt x="73" y="29"/>
                    <a:pt x="73" y="29"/>
                  </a:cubicBezTo>
                  <a:cubicBezTo>
                    <a:pt x="72" y="28"/>
                    <a:pt x="70" y="27"/>
                    <a:pt x="70" y="27"/>
                  </a:cubicBezTo>
                  <a:cubicBezTo>
                    <a:pt x="70" y="27"/>
                    <a:pt x="67" y="27"/>
                    <a:pt x="66" y="28"/>
                  </a:cubicBezTo>
                  <a:cubicBezTo>
                    <a:pt x="66" y="29"/>
                    <a:pt x="66" y="29"/>
                    <a:pt x="65" y="30"/>
                  </a:cubicBezTo>
                  <a:cubicBezTo>
                    <a:pt x="64" y="33"/>
                    <a:pt x="64" y="33"/>
                    <a:pt x="64" y="33"/>
                  </a:cubicBezTo>
                  <a:cubicBezTo>
                    <a:pt x="67" y="37"/>
                    <a:pt x="67" y="37"/>
                    <a:pt x="67" y="37"/>
                  </a:cubicBezTo>
                  <a:cubicBezTo>
                    <a:pt x="63" y="41"/>
                    <a:pt x="63" y="41"/>
                    <a:pt x="63" y="41"/>
                  </a:cubicBezTo>
                  <a:cubicBezTo>
                    <a:pt x="63" y="42"/>
                    <a:pt x="62" y="42"/>
                    <a:pt x="62" y="42"/>
                  </a:cubicBezTo>
                  <a:cubicBezTo>
                    <a:pt x="62" y="43"/>
                    <a:pt x="61" y="44"/>
                    <a:pt x="60" y="44"/>
                  </a:cubicBezTo>
                  <a:cubicBezTo>
                    <a:pt x="59" y="44"/>
                    <a:pt x="59" y="44"/>
                    <a:pt x="58" y="45"/>
                  </a:cubicBezTo>
                  <a:cubicBezTo>
                    <a:pt x="55" y="48"/>
                    <a:pt x="55" y="48"/>
                    <a:pt x="55" y="48"/>
                  </a:cubicBezTo>
                  <a:cubicBezTo>
                    <a:pt x="52" y="49"/>
                    <a:pt x="52" y="49"/>
                    <a:pt x="52" y="49"/>
                  </a:cubicBezTo>
                  <a:cubicBezTo>
                    <a:pt x="50" y="49"/>
                    <a:pt x="50" y="49"/>
                    <a:pt x="50" y="49"/>
                  </a:cubicBezTo>
                  <a:cubicBezTo>
                    <a:pt x="49" y="50"/>
                    <a:pt x="49" y="50"/>
                    <a:pt x="49" y="50"/>
                  </a:cubicBezTo>
                  <a:cubicBezTo>
                    <a:pt x="48" y="55"/>
                    <a:pt x="48" y="55"/>
                    <a:pt x="48" y="55"/>
                  </a:cubicBezTo>
                  <a:cubicBezTo>
                    <a:pt x="45" y="57"/>
                    <a:pt x="45" y="57"/>
                    <a:pt x="45" y="57"/>
                  </a:cubicBezTo>
                  <a:cubicBezTo>
                    <a:pt x="44" y="60"/>
                    <a:pt x="44" y="60"/>
                    <a:pt x="44" y="60"/>
                  </a:cubicBezTo>
                  <a:cubicBezTo>
                    <a:pt x="45" y="61"/>
                    <a:pt x="46" y="64"/>
                    <a:pt x="45" y="65"/>
                  </a:cubicBezTo>
                  <a:cubicBezTo>
                    <a:pt x="44" y="66"/>
                    <a:pt x="43" y="67"/>
                    <a:pt x="43" y="67"/>
                  </a:cubicBezTo>
                  <a:cubicBezTo>
                    <a:pt x="43" y="67"/>
                    <a:pt x="42" y="67"/>
                    <a:pt x="42" y="67"/>
                  </a:cubicBezTo>
                  <a:cubicBezTo>
                    <a:pt x="42" y="73"/>
                    <a:pt x="42" y="73"/>
                    <a:pt x="42" y="73"/>
                  </a:cubicBezTo>
                  <a:cubicBezTo>
                    <a:pt x="38" y="76"/>
                    <a:pt x="38" y="76"/>
                    <a:pt x="38" y="76"/>
                  </a:cubicBezTo>
                  <a:cubicBezTo>
                    <a:pt x="38" y="81"/>
                    <a:pt x="38" y="81"/>
                    <a:pt x="38" y="81"/>
                  </a:cubicBezTo>
                  <a:cubicBezTo>
                    <a:pt x="38" y="82"/>
                    <a:pt x="39" y="84"/>
                    <a:pt x="38" y="86"/>
                  </a:cubicBezTo>
                  <a:cubicBezTo>
                    <a:pt x="37" y="87"/>
                    <a:pt x="37" y="87"/>
                    <a:pt x="36" y="87"/>
                  </a:cubicBezTo>
                  <a:cubicBezTo>
                    <a:pt x="35" y="87"/>
                    <a:pt x="35" y="88"/>
                    <a:pt x="35" y="88"/>
                  </a:cubicBezTo>
                  <a:cubicBezTo>
                    <a:pt x="35" y="94"/>
                    <a:pt x="35" y="94"/>
                    <a:pt x="35" y="94"/>
                  </a:cubicBezTo>
                  <a:cubicBezTo>
                    <a:pt x="33" y="98"/>
                    <a:pt x="33" y="98"/>
                    <a:pt x="33" y="98"/>
                  </a:cubicBezTo>
                  <a:cubicBezTo>
                    <a:pt x="33" y="100"/>
                    <a:pt x="33" y="100"/>
                    <a:pt x="33" y="100"/>
                  </a:cubicBezTo>
                  <a:cubicBezTo>
                    <a:pt x="32" y="103"/>
                    <a:pt x="32" y="103"/>
                    <a:pt x="32" y="103"/>
                  </a:cubicBezTo>
                  <a:cubicBezTo>
                    <a:pt x="32" y="107"/>
                    <a:pt x="32" y="107"/>
                    <a:pt x="32" y="107"/>
                  </a:cubicBezTo>
                  <a:cubicBezTo>
                    <a:pt x="29" y="111"/>
                    <a:pt x="29" y="111"/>
                    <a:pt x="29" y="111"/>
                  </a:cubicBezTo>
                  <a:cubicBezTo>
                    <a:pt x="27" y="117"/>
                    <a:pt x="27" y="117"/>
                    <a:pt x="27" y="117"/>
                  </a:cubicBezTo>
                  <a:cubicBezTo>
                    <a:pt x="20" y="124"/>
                    <a:pt x="20" y="124"/>
                    <a:pt x="20" y="124"/>
                  </a:cubicBezTo>
                  <a:cubicBezTo>
                    <a:pt x="16" y="124"/>
                    <a:pt x="16" y="124"/>
                    <a:pt x="16" y="124"/>
                  </a:cubicBezTo>
                  <a:cubicBezTo>
                    <a:pt x="16" y="124"/>
                    <a:pt x="16" y="124"/>
                    <a:pt x="16" y="124"/>
                  </a:cubicBezTo>
                  <a:cubicBezTo>
                    <a:pt x="16" y="124"/>
                    <a:pt x="16" y="124"/>
                    <a:pt x="16" y="124"/>
                  </a:cubicBezTo>
                  <a:cubicBezTo>
                    <a:pt x="16" y="125"/>
                    <a:pt x="15" y="126"/>
                    <a:pt x="14" y="127"/>
                  </a:cubicBezTo>
                  <a:cubicBezTo>
                    <a:pt x="12" y="128"/>
                    <a:pt x="9" y="129"/>
                    <a:pt x="8" y="129"/>
                  </a:cubicBezTo>
                  <a:cubicBezTo>
                    <a:pt x="8" y="129"/>
                    <a:pt x="8" y="129"/>
                    <a:pt x="8" y="129"/>
                  </a:cubicBezTo>
                  <a:cubicBezTo>
                    <a:pt x="6" y="129"/>
                    <a:pt x="6" y="129"/>
                    <a:pt x="6" y="129"/>
                  </a:cubicBezTo>
                  <a:cubicBezTo>
                    <a:pt x="0" y="128"/>
                    <a:pt x="0" y="128"/>
                    <a:pt x="0" y="128"/>
                  </a:cubicBezTo>
                  <a:cubicBezTo>
                    <a:pt x="1" y="129"/>
                    <a:pt x="1" y="129"/>
                    <a:pt x="1" y="129"/>
                  </a:cubicBezTo>
                  <a:cubicBezTo>
                    <a:pt x="1" y="129"/>
                    <a:pt x="2" y="129"/>
                    <a:pt x="3" y="129"/>
                  </a:cubicBezTo>
                  <a:cubicBezTo>
                    <a:pt x="4" y="130"/>
                    <a:pt x="4" y="130"/>
                    <a:pt x="5" y="130"/>
                  </a:cubicBezTo>
                  <a:cubicBezTo>
                    <a:pt x="6" y="130"/>
                    <a:pt x="7" y="131"/>
                    <a:pt x="7" y="131"/>
                  </a:cubicBezTo>
                  <a:cubicBezTo>
                    <a:pt x="7" y="131"/>
                    <a:pt x="7" y="131"/>
                    <a:pt x="7" y="131"/>
                  </a:cubicBezTo>
                  <a:cubicBezTo>
                    <a:pt x="8" y="132"/>
                    <a:pt x="8" y="132"/>
                    <a:pt x="8" y="132"/>
                  </a:cubicBezTo>
                  <a:cubicBezTo>
                    <a:pt x="11" y="134"/>
                    <a:pt x="12" y="136"/>
                    <a:pt x="13" y="136"/>
                  </a:cubicBezTo>
                  <a:cubicBezTo>
                    <a:pt x="13" y="136"/>
                    <a:pt x="14" y="136"/>
                    <a:pt x="15" y="137"/>
                  </a:cubicBezTo>
                  <a:cubicBezTo>
                    <a:pt x="16" y="136"/>
                    <a:pt x="16" y="136"/>
                    <a:pt x="16" y="136"/>
                  </a:cubicBezTo>
                  <a:cubicBezTo>
                    <a:pt x="18" y="138"/>
                    <a:pt x="18" y="138"/>
                    <a:pt x="18" y="138"/>
                  </a:cubicBezTo>
                  <a:cubicBezTo>
                    <a:pt x="18" y="139"/>
                    <a:pt x="19" y="141"/>
                    <a:pt x="18" y="143"/>
                  </a:cubicBezTo>
                  <a:cubicBezTo>
                    <a:pt x="18" y="143"/>
                    <a:pt x="18" y="144"/>
                    <a:pt x="18" y="145"/>
                  </a:cubicBezTo>
                  <a:cubicBezTo>
                    <a:pt x="18" y="145"/>
                    <a:pt x="18" y="145"/>
                    <a:pt x="18" y="145"/>
                  </a:cubicBezTo>
                  <a:cubicBezTo>
                    <a:pt x="18" y="145"/>
                    <a:pt x="18" y="145"/>
                    <a:pt x="18" y="145"/>
                  </a:cubicBezTo>
                  <a:cubicBezTo>
                    <a:pt x="18" y="145"/>
                    <a:pt x="18" y="145"/>
                    <a:pt x="18" y="145"/>
                  </a:cubicBezTo>
                  <a:cubicBezTo>
                    <a:pt x="18" y="145"/>
                    <a:pt x="18" y="146"/>
                    <a:pt x="18" y="146"/>
                  </a:cubicBezTo>
                  <a:cubicBezTo>
                    <a:pt x="19" y="147"/>
                    <a:pt x="20" y="148"/>
                    <a:pt x="20" y="150"/>
                  </a:cubicBezTo>
                  <a:cubicBezTo>
                    <a:pt x="20" y="150"/>
                    <a:pt x="20" y="150"/>
                    <a:pt x="20" y="151"/>
                  </a:cubicBezTo>
                  <a:cubicBezTo>
                    <a:pt x="21" y="151"/>
                    <a:pt x="22" y="152"/>
                    <a:pt x="22" y="152"/>
                  </a:cubicBezTo>
                  <a:cubicBezTo>
                    <a:pt x="23" y="152"/>
                    <a:pt x="24" y="153"/>
                    <a:pt x="26" y="153"/>
                  </a:cubicBezTo>
                  <a:cubicBezTo>
                    <a:pt x="27" y="154"/>
                    <a:pt x="28" y="154"/>
                    <a:pt x="28" y="154"/>
                  </a:cubicBezTo>
                  <a:cubicBezTo>
                    <a:pt x="29" y="155"/>
                    <a:pt x="29" y="155"/>
                    <a:pt x="30" y="155"/>
                  </a:cubicBezTo>
                  <a:cubicBezTo>
                    <a:pt x="31" y="156"/>
                    <a:pt x="31" y="156"/>
                    <a:pt x="31" y="156"/>
                  </a:cubicBezTo>
                  <a:cubicBezTo>
                    <a:pt x="32" y="156"/>
                    <a:pt x="32" y="156"/>
                    <a:pt x="33" y="156"/>
                  </a:cubicBezTo>
                  <a:cubicBezTo>
                    <a:pt x="34" y="157"/>
                    <a:pt x="35" y="157"/>
                    <a:pt x="35" y="157"/>
                  </a:cubicBezTo>
                  <a:cubicBezTo>
                    <a:pt x="36" y="157"/>
                    <a:pt x="36" y="157"/>
                    <a:pt x="36" y="157"/>
                  </a:cubicBezTo>
                  <a:cubicBezTo>
                    <a:pt x="37" y="157"/>
                    <a:pt x="37" y="157"/>
                    <a:pt x="38" y="157"/>
                  </a:cubicBezTo>
                  <a:cubicBezTo>
                    <a:pt x="40" y="157"/>
                    <a:pt x="41" y="158"/>
                    <a:pt x="41" y="158"/>
                  </a:cubicBezTo>
                  <a:cubicBezTo>
                    <a:pt x="43" y="158"/>
                    <a:pt x="43" y="158"/>
                    <a:pt x="43" y="158"/>
                  </a:cubicBezTo>
                  <a:cubicBezTo>
                    <a:pt x="43" y="161"/>
                    <a:pt x="43" y="161"/>
                    <a:pt x="43" y="161"/>
                  </a:cubicBezTo>
                  <a:cubicBezTo>
                    <a:pt x="41" y="165"/>
                    <a:pt x="41" y="165"/>
                    <a:pt x="41" y="165"/>
                  </a:cubicBezTo>
                  <a:cubicBezTo>
                    <a:pt x="42" y="167"/>
                    <a:pt x="42" y="167"/>
                    <a:pt x="42" y="167"/>
                  </a:cubicBezTo>
                  <a:cubicBezTo>
                    <a:pt x="42" y="167"/>
                    <a:pt x="43" y="167"/>
                    <a:pt x="44" y="167"/>
                  </a:cubicBezTo>
                  <a:cubicBezTo>
                    <a:pt x="44" y="167"/>
                    <a:pt x="44" y="167"/>
                    <a:pt x="45" y="168"/>
                  </a:cubicBezTo>
                  <a:cubicBezTo>
                    <a:pt x="45" y="168"/>
                    <a:pt x="45" y="168"/>
                    <a:pt x="45" y="168"/>
                  </a:cubicBezTo>
                  <a:cubicBezTo>
                    <a:pt x="47" y="168"/>
                    <a:pt x="47" y="168"/>
                    <a:pt x="47" y="168"/>
                  </a:cubicBezTo>
                  <a:cubicBezTo>
                    <a:pt x="50" y="170"/>
                    <a:pt x="50" y="170"/>
                    <a:pt x="50" y="170"/>
                  </a:cubicBezTo>
                  <a:cubicBezTo>
                    <a:pt x="48" y="172"/>
                    <a:pt x="48" y="172"/>
                    <a:pt x="48" y="172"/>
                  </a:cubicBezTo>
                  <a:cubicBezTo>
                    <a:pt x="46" y="175"/>
                    <a:pt x="45" y="175"/>
                    <a:pt x="45" y="175"/>
                  </a:cubicBezTo>
                  <a:cubicBezTo>
                    <a:pt x="45" y="175"/>
                    <a:pt x="45" y="175"/>
                    <a:pt x="45" y="175"/>
                  </a:cubicBezTo>
                  <a:cubicBezTo>
                    <a:pt x="45" y="175"/>
                    <a:pt x="45" y="175"/>
                    <a:pt x="45" y="175"/>
                  </a:cubicBezTo>
                  <a:cubicBezTo>
                    <a:pt x="45" y="175"/>
                    <a:pt x="45" y="175"/>
                    <a:pt x="45" y="175"/>
                  </a:cubicBezTo>
                  <a:cubicBezTo>
                    <a:pt x="46" y="175"/>
                    <a:pt x="47" y="175"/>
                    <a:pt x="49" y="176"/>
                  </a:cubicBezTo>
                  <a:cubicBezTo>
                    <a:pt x="50" y="176"/>
                    <a:pt x="50" y="177"/>
                    <a:pt x="51" y="178"/>
                  </a:cubicBezTo>
                  <a:cubicBezTo>
                    <a:pt x="51" y="179"/>
                    <a:pt x="51" y="179"/>
                    <a:pt x="51" y="180"/>
                  </a:cubicBezTo>
                  <a:cubicBezTo>
                    <a:pt x="52" y="179"/>
                    <a:pt x="53" y="179"/>
                    <a:pt x="54" y="179"/>
                  </a:cubicBezTo>
                  <a:cubicBezTo>
                    <a:pt x="55" y="179"/>
                    <a:pt x="55" y="179"/>
                    <a:pt x="55" y="179"/>
                  </a:cubicBezTo>
                  <a:cubicBezTo>
                    <a:pt x="55" y="179"/>
                    <a:pt x="55" y="179"/>
                    <a:pt x="55" y="179"/>
                  </a:cubicBezTo>
                  <a:cubicBezTo>
                    <a:pt x="56" y="179"/>
                    <a:pt x="56" y="179"/>
                    <a:pt x="56" y="179"/>
                  </a:cubicBezTo>
                  <a:cubicBezTo>
                    <a:pt x="57" y="179"/>
                    <a:pt x="61" y="179"/>
                    <a:pt x="61" y="179"/>
                  </a:cubicBezTo>
                  <a:cubicBezTo>
                    <a:pt x="61" y="179"/>
                    <a:pt x="61" y="179"/>
                    <a:pt x="61" y="179"/>
                  </a:cubicBezTo>
                  <a:cubicBezTo>
                    <a:pt x="61" y="179"/>
                    <a:pt x="61" y="179"/>
                    <a:pt x="61" y="179"/>
                  </a:cubicBezTo>
                  <a:cubicBezTo>
                    <a:pt x="62" y="179"/>
                    <a:pt x="63" y="180"/>
                    <a:pt x="64" y="182"/>
                  </a:cubicBezTo>
                  <a:cubicBezTo>
                    <a:pt x="64" y="182"/>
                    <a:pt x="65" y="183"/>
                    <a:pt x="66" y="183"/>
                  </a:cubicBezTo>
                  <a:cubicBezTo>
                    <a:pt x="66" y="183"/>
                    <a:pt x="66" y="183"/>
                    <a:pt x="66" y="183"/>
                  </a:cubicBezTo>
                  <a:cubicBezTo>
                    <a:pt x="66" y="182"/>
                    <a:pt x="66" y="182"/>
                    <a:pt x="66" y="182"/>
                  </a:cubicBezTo>
                  <a:cubicBezTo>
                    <a:pt x="66" y="182"/>
                    <a:pt x="68" y="180"/>
                    <a:pt x="68" y="180"/>
                  </a:cubicBezTo>
                  <a:cubicBezTo>
                    <a:pt x="69" y="179"/>
                    <a:pt x="69" y="179"/>
                    <a:pt x="69" y="178"/>
                  </a:cubicBezTo>
                  <a:cubicBezTo>
                    <a:pt x="70" y="177"/>
                    <a:pt x="70" y="176"/>
                    <a:pt x="71" y="176"/>
                  </a:cubicBezTo>
                  <a:cubicBezTo>
                    <a:pt x="71" y="175"/>
                    <a:pt x="72" y="175"/>
                    <a:pt x="73" y="174"/>
                  </a:cubicBezTo>
                  <a:cubicBezTo>
                    <a:pt x="75" y="173"/>
                    <a:pt x="75" y="173"/>
                    <a:pt x="75" y="173"/>
                  </a:cubicBezTo>
                  <a:cubicBezTo>
                    <a:pt x="75" y="173"/>
                    <a:pt x="75" y="173"/>
                    <a:pt x="75" y="173"/>
                  </a:cubicBezTo>
                  <a:cubicBezTo>
                    <a:pt x="76" y="173"/>
                    <a:pt x="77" y="173"/>
                    <a:pt x="77" y="174"/>
                  </a:cubicBezTo>
                  <a:cubicBezTo>
                    <a:pt x="78" y="174"/>
                    <a:pt x="79" y="175"/>
                    <a:pt x="80" y="176"/>
                  </a:cubicBezTo>
                  <a:cubicBezTo>
                    <a:pt x="80" y="176"/>
                    <a:pt x="80" y="176"/>
                    <a:pt x="81" y="176"/>
                  </a:cubicBezTo>
                  <a:cubicBezTo>
                    <a:pt x="84" y="176"/>
                    <a:pt x="84" y="176"/>
                    <a:pt x="84" y="176"/>
                  </a:cubicBezTo>
                  <a:cubicBezTo>
                    <a:pt x="85" y="176"/>
                    <a:pt x="85" y="176"/>
                    <a:pt x="85" y="176"/>
                  </a:cubicBezTo>
                  <a:cubicBezTo>
                    <a:pt x="88" y="177"/>
                    <a:pt x="88" y="179"/>
                    <a:pt x="88" y="179"/>
                  </a:cubicBezTo>
                  <a:cubicBezTo>
                    <a:pt x="88" y="181"/>
                    <a:pt x="86" y="182"/>
                    <a:pt x="84" y="183"/>
                  </a:cubicBezTo>
                  <a:cubicBezTo>
                    <a:pt x="84" y="183"/>
                    <a:pt x="84" y="183"/>
                    <a:pt x="84" y="183"/>
                  </a:cubicBezTo>
                  <a:cubicBezTo>
                    <a:pt x="84" y="183"/>
                    <a:pt x="83" y="183"/>
                    <a:pt x="83" y="182"/>
                  </a:cubicBezTo>
                  <a:cubicBezTo>
                    <a:pt x="79" y="184"/>
                    <a:pt x="79" y="184"/>
                    <a:pt x="79" y="184"/>
                  </a:cubicBezTo>
                  <a:cubicBezTo>
                    <a:pt x="83" y="186"/>
                    <a:pt x="83" y="187"/>
                    <a:pt x="83" y="188"/>
                  </a:cubicBezTo>
                  <a:cubicBezTo>
                    <a:pt x="83" y="188"/>
                    <a:pt x="83" y="188"/>
                    <a:pt x="83" y="189"/>
                  </a:cubicBezTo>
                  <a:cubicBezTo>
                    <a:pt x="84" y="189"/>
                    <a:pt x="84" y="189"/>
                    <a:pt x="84" y="189"/>
                  </a:cubicBezTo>
                  <a:cubicBezTo>
                    <a:pt x="85" y="189"/>
                    <a:pt x="85" y="189"/>
                    <a:pt x="85" y="189"/>
                  </a:cubicBezTo>
                  <a:cubicBezTo>
                    <a:pt x="87" y="188"/>
                    <a:pt x="87" y="188"/>
                    <a:pt x="87" y="188"/>
                  </a:cubicBezTo>
                  <a:cubicBezTo>
                    <a:pt x="87" y="191"/>
                    <a:pt x="87" y="191"/>
                    <a:pt x="87" y="191"/>
                  </a:cubicBezTo>
                  <a:cubicBezTo>
                    <a:pt x="87" y="196"/>
                    <a:pt x="87" y="196"/>
                    <a:pt x="87" y="196"/>
                  </a:cubicBezTo>
                  <a:cubicBezTo>
                    <a:pt x="88" y="196"/>
                    <a:pt x="88" y="196"/>
                    <a:pt x="89" y="196"/>
                  </a:cubicBezTo>
                  <a:cubicBezTo>
                    <a:pt x="92" y="196"/>
                    <a:pt x="94" y="197"/>
                    <a:pt x="96" y="197"/>
                  </a:cubicBezTo>
                  <a:cubicBezTo>
                    <a:pt x="97" y="198"/>
                    <a:pt x="98" y="198"/>
                    <a:pt x="98" y="198"/>
                  </a:cubicBezTo>
                  <a:cubicBezTo>
                    <a:pt x="99" y="198"/>
                    <a:pt x="100" y="199"/>
                    <a:pt x="100" y="199"/>
                  </a:cubicBezTo>
                  <a:cubicBezTo>
                    <a:pt x="100" y="201"/>
                    <a:pt x="98" y="202"/>
                    <a:pt x="95" y="204"/>
                  </a:cubicBezTo>
                  <a:cubicBezTo>
                    <a:pt x="95" y="204"/>
                    <a:pt x="95" y="205"/>
                    <a:pt x="94" y="205"/>
                  </a:cubicBezTo>
                  <a:cubicBezTo>
                    <a:pt x="95" y="205"/>
                    <a:pt x="95" y="205"/>
                    <a:pt x="95" y="205"/>
                  </a:cubicBezTo>
                  <a:cubicBezTo>
                    <a:pt x="95" y="205"/>
                    <a:pt x="95" y="205"/>
                    <a:pt x="95" y="205"/>
                  </a:cubicBezTo>
                  <a:cubicBezTo>
                    <a:pt x="95" y="205"/>
                    <a:pt x="96" y="206"/>
                    <a:pt x="96" y="206"/>
                  </a:cubicBezTo>
                  <a:cubicBezTo>
                    <a:pt x="96" y="208"/>
                    <a:pt x="96" y="209"/>
                    <a:pt x="97" y="209"/>
                  </a:cubicBezTo>
                  <a:cubicBezTo>
                    <a:pt x="99" y="210"/>
                    <a:pt x="101" y="209"/>
                    <a:pt x="103" y="208"/>
                  </a:cubicBezTo>
                  <a:cubicBezTo>
                    <a:pt x="105" y="207"/>
                    <a:pt x="107" y="206"/>
                    <a:pt x="109" y="206"/>
                  </a:cubicBezTo>
                  <a:cubicBezTo>
                    <a:pt x="111" y="206"/>
                    <a:pt x="113" y="206"/>
                    <a:pt x="115" y="207"/>
                  </a:cubicBezTo>
                  <a:cubicBezTo>
                    <a:pt x="117" y="207"/>
                    <a:pt x="118" y="207"/>
                    <a:pt x="119" y="207"/>
                  </a:cubicBezTo>
                  <a:cubicBezTo>
                    <a:pt x="120" y="205"/>
                    <a:pt x="124" y="206"/>
                    <a:pt x="128" y="207"/>
                  </a:cubicBezTo>
                  <a:cubicBezTo>
                    <a:pt x="133" y="208"/>
                    <a:pt x="139" y="208"/>
                    <a:pt x="142" y="206"/>
                  </a:cubicBezTo>
                  <a:cubicBezTo>
                    <a:pt x="146" y="204"/>
                    <a:pt x="162" y="202"/>
                    <a:pt x="168" y="202"/>
                  </a:cubicBezTo>
                  <a:cubicBezTo>
                    <a:pt x="169" y="202"/>
                    <a:pt x="169" y="202"/>
                    <a:pt x="169" y="202"/>
                  </a:cubicBezTo>
                  <a:cubicBezTo>
                    <a:pt x="182" y="201"/>
                    <a:pt x="183" y="201"/>
                    <a:pt x="189" y="197"/>
                  </a:cubicBezTo>
                  <a:cubicBezTo>
                    <a:pt x="189" y="197"/>
                    <a:pt x="193" y="188"/>
                    <a:pt x="195" y="185"/>
                  </a:cubicBezTo>
                  <a:cubicBezTo>
                    <a:pt x="196" y="182"/>
                    <a:pt x="199" y="180"/>
                    <a:pt x="202" y="179"/>
                  </a:cubicBezTo>
                  <a:cubicBezTo>
                    <a:pt x="204" y="178"/>
                    <a:pt x="205" y="177"/>
                    <a:pt x="207" y="176"/>
                  </a:cubicBezTo>
                  <a:cubicBezTo>
                    <a:pt x="211" y="173"/>
                    <a:pt x="221" y="170"/>
                    <a:pt x="224" y="169"/>
                  </a:cubicBezTo>
                  <a:cubicBezTo>
                    <a:pt x="226" y="169"/>
                    <a:pt x="243" y="170"/>
                    <a:pt x="243" y="170"/>
                  </a:cubicBezTo>
                  <a:cubicBezTo>
                    <a:pt x="252" y="168"/>
                    <a:pt x="252" y="168"/>
                    <a:pt x="252" y="168"/>
                  </a:cubicBezTo>
                  <a:cubicBezTo>
                    <a:pt x="252" y="169"/>
                    <a:pt x="254" y="174"/>
                    <a:pt x="256" y="174"/>
                  </a:cubicBezTo>
                  <a:cubicBezTo>
                    <a:pt x="267" y="176"/>
                    <a:pt x="272" y="175"/>
                    <a:pt x="273" y="170"/>
                  </a:cubicBezTo>
                  <a:cubicBezTo>
                    <a:pt x="273" y="168"/>
                    <a:pt x="272" y="165"/>
                    <a:pt x="271" y="162"/>
                  </a:cubicBezTo>
                  <a:cubicBezTo>
                    <a:pt x="270" y="159"/>
                    <a:pt x="269" y="156"/>
                    <a:pt x="269" y="154"/>
                  </a:cubicBezTo>
                  <a:cubicBezTo>
                    <a:pt x="269" y="150"/>
                    <a:pt x="270" y="146"/>
                    <a:pt x="271" y="143"/>
                  </a:cubicBezTo>
                  <a:cubicBezTo>
                    <a:pt x="271" y="140"/>
                    <a:pt x="272" y="137"/>
                    <a:pt x="272" y="134"/>
                  </a:cubicBezTo>
                  <a:cubicBezTo>
                    <a:pt x="271" y="132"/>
                    <a:pt x="273" y="128"/>
                    <a:pt x="275" y="125"/>
                  </a:cubicBezTo>
                  <a:cubicBezTo>
                    <a:pt x="277" y="122"/>
                    <a:pt x="281" y="121"/>
                    <a:pt x="285" y="121"/>
                  </a:cubicBezTo>
                  <a:cubicBezTo>
                    <a:pt x="288" y="120"/>
                    <a:pt x="291" y="120"/>
                    <a:pt x="292" y="118"/>
                  </a:cubicBezTo>
                  <a:lnTo>
                    <a:pt x="287" y="96"/>
                  </a:lnTo>
                  <a:close/>
                </a:path>
              </a:pathLst>
            </a:custGeom>
            <a:solidFill>
              <a:srgbClr val="0181C7"/>
            </a:solid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299" name="Freeform 210"/>
            <p:cNvSpPr>
              <a:spLocks/>
            </p:cNvSpPr>
            <p:nvPr/>
          </p:nvSpPr>
          <p:spPr bwMode="auto">
            <a:xfrm>
              <a:off x="5060177" y="2075546"/>
              <a:ext cx="9525" cy="12700"/>
            </a:xfrm>
            <a:custGeom>
              <a:avLst/>
              <a:gdLst>
                <a:gd name="T0" fmla="*/ 2 w 3"/>
                <a:gd name="T1" fmla="*/ 0 h 4"/>
                <a:gd name="T2" fmla="*/ 1 w 3"/>
                <a:gd name="T3" fmla="*/ 1 h 4"/>
                <a:gd name="T4" fmla="*/ 1 w 3"/>
                <a:gd name="T5" fmla="*/ 3 h 4"/>
                <a:gd name="T6" fmla="*/ 3 w 3"/>
                <a:gd name="T7" fmla="*/ 2 h 4"/>
                <a:gd name="T8" fmla="*/ 2 w 3"/>
                <a:gd name="T9" fmla="*/ 0 h 4"/>
              </a:gdLst>
              <a:ahLst/>
              <a:cxnLst>
                <a:cxn ang="0">
                  <a:pos x="T0" y="T1"/>
                </a:cxn>
                <a:cxn ang="0">
                  <a:pos x="T2" y="T3"/>
                </a:cxn>
                <a:cxn ang="0">
                  <a:pos x="T4" y="T5"/>
                </a:cxn>
                <a:cxn ang="0">
                  <a:pos x="T6" y="T7"/>
                </a:cxn>
                <a:cxn ang="0">
                  <a:pos x="T8" y="T9"/>
                </a:cxn>
              </a:cxnLst>
              <a:rect l="0" t="0" r="r" b="b"/>
              <a:pathLst>
                <a:path w="3" h="4">
                  <a:moveTo>
                    <a:pt x="2" y="0"/>
                  </a:moveTo>
                  <a:cubicBezTo>
                    <a:pt x="1" y="0"/>
                    <a:pt x="1" y="1"/>
                    <a:pt x="1" y="1"/>
                  </a:cubicBezTo>
                  <a:cubicBezTo>
                    <a:pt x="1" y="1"/>
                    <a:pt x="0" y="3"/>
                    <a:pt x="1" y="3"/>
                  </a:cubicBezTo>
                  <a:cubicBezTo>
                    <a:pt x="2" y="4"/>
                    <a:pt x="2" y="3"/>
                    <a:pt x="3" y="2"/>
                  </a:cubicBezTo>
                  <a:cubicBezTo>
                    <a:pt x="3" y="1"/>
                    <a:pt x="2" y="1"/>
                    <a:pt x="2" y="0"/>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300" name="Freeform 211"/>
            <p:cNvSpPr>
              <a:spLocks/>
            </p:cNvSpPr>
            <p:nvPr/>
          </p:nvSpPr>
          <p:spPr bwMode="auto">
            <a:xfrm>
              <a:off x="5034777" y="2091421"/>
              <a:ext cx="31750" cy="19050"/>
            </a:xfrm>
            <a:custGeom>
              <a:avLst/>
              <a:gdLst>
                <a:gd name="T0" fmla="*/ 6 w 10"/>
                <a:gd name="T1" fmla="*/ 0 h 6"/>
                <a:gd name="T2" fmla="*/ 5 w 10"/>
                <a:gd name="T3" fmla="*/ 1 h 6"/>
                <a:gd name="T4" fmla="*/ 2 w 10"/>
                <a:gd name="T5" fmla="*/ 2 h 6"/>
                <a:gd name="T6" fmla="*/ 2 w 10"/>
                <a:gd name="T7" fmla="*/ 5 h 6"/>
                <a:gd name="T8" fmla="*/ 5 w 10"/>
                <a:gd name="T9" fmla="*/ 4 h 6"/>
                <a:gd name="T10" fmla="*/ 6 w 10"/>
                <a:gd name="T11" fmla="*/ 3 h 6"/>
                <a:gd name="T12" fmla="*/ 8 w 10"/>
                <a:gd name="T13" fmla="*/ 2 h 6"/>
                <a:gd name="T14" fmla="*/ 8 w 10"/>
                <a:gd name="T15" fmla="*/ 1 h 6"/>
                <a:gd name="T16" fmla="*/ 6 w 10"/>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6">
                  <a:moveTo>
                    <a:pt x="6" y="0"/>
                  </a:moveTo>
                  <a:cubicBezTo>
                    <a:pt x="5" y="1"/>
                    <a:pt x="5" y="1"/>
                    <a:pt x="5" y="1"/>
                  </a:cubicBezTo>
                  <a:cubicBezTo>
                    <a:pt x="5" y="1"/>
                    <a:pt x="4" y="1"/>
                    <a:pt x="2" y="2"/>
                  </a:cubicBezTo>
                  <a:cubicBezTo>
                    <a:pt x="0" y="4"/>
                    <a:pt x="2" y="4"/>
                    <a:pt x="2" y="5"/>
                  </a:cubicBezTo>
                  <a:cubicBezTo>
                    <a:pt x="1" y="6"/>
                    <a:pt x="4" y="4"/>
                    <a:pt x="5" y="4"/>
                  </a:cubicBezTo>
                  <a:cubicBezTo>
                    <a:pt x="6" y="4"/>
                    <a:pt x="5" y="3"/>
                    <a:pt x="6" y="3"/>
                  </a:cubicBezTo>
                  <a:cubicBezTo>
                    <a:pt x="6" y="3"/>
                    <a:pt x="7" y="3"/>
                    <a:pt x="8" y="2"/>
                  </a:cubicBezTo>
                  <a:cubicBezTo>
                    <a:pt x="10" y="2"/>
                    <a:pt x="8" y="1"/>
                    <a:pt x="8" y="1"/>
                  </a:cubicBezTo>
                  <a:cubicBezTo>
                    <a:pt x="8" y="1"/>
                    <a:pt x="7" y="0"/>
                    <a:pt x="6" y="0"/>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301" name="Freeform 212"/>
            <p:cNvSpPr>
              <a:spLocks/>
            </p:cNvSpPr>
            <p:nvPr/>
          </p:nvSpPr>
          <p:spPr bwMode="auto">
            <a:xfrm>
              <a:off x="4980801" y="2104120"/>
              <a:ext cx="15875" cy="15875"/>
            </a:xfrm>
            <a:custGeom>
              <a:avLst/>
              <a:gdLst>
                <a:gd name="T0" fmla="*/ 2 w 5"/>
                <a:gd name="T1" fmla="*/ 0 h 5"/>
                <a:gd name="T2" fmla="*/ 0 w 5"/>
                <a:gd name="T3" fmla="*/ 1 h 5"/>
                <a:gd name="T4" fmla="*/ 0 w 5"/>
                <a:gd name="T5" fmla="*/ 4 h 5"/>
                <a:gd name="T6" fmla="*/ 2 w 5"/>
                <a:gd name="T7" fmla="*/ 5 h 5"/>
                <a:gd name="T8" fmla="*/ 4 w 5"/>
                <a:gd name="T9" fmla="*/ 4 h 5"/>
                <a:gd name="T10" fmla="*/ 5 w 5"/>
                <a:gd name="T11" fmla="*/ 1 h 5"/>
                <a:gd name="T12" fmla="*/ 2 w 5"/>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5" h="5">
                  <a:moveTo>
                    <a:pt x="2" y="0"/>
                  </a:moveTo>
                  <a:cubicBezTo>
                    <a:pt x="2" y="0"/>
                    <a:pt x="0" y="1"/>
                    <a:pt x="0" y="1"/>
                  </a:cubicBezTo>
                  <a:cubicBezTo>
                    <a:pt x="0" y="1"/>
                    <a:pt x="0" y="3"/>
                    <a:pt x="0" y="4"/>
                  </a:cubicBezTo>
                  <a:cubicBezTo>
                    <a:pt x="0" y="5"/>
                    <a:pt x="2" y="5"/>
                    <a:pt x="2" y="5"/>
                  </a:cubicBezTo>
                  <a:cubicBezTo>
                    <a:pt x="3" y="5"/>
                    <a:pt x="4" y="4"/>
                    <a:pt x="4" y="4"/>
                  </a:cubicBezTo>
                  <a:cubicBezTo>
                    <a:pt x="5" y="3"/>
                    <a:pt x="5" y="2"/>
                    <a:pt x="5" y="1"/>
                  </a:cubicBezTo>
                  <a:cubicBezTo>
                    <a:pt x="4" y="0"/>
                    <a:pt x="3" y="0"/>
                    <a:pt x="2" y="0"/>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302" name="Freeform 213"/>
            <p:cNvSpPr>
              <a:spLocks/>
            </p:cNvSpPr>
            <p:nvPr/>
          </p:nvSpPr>
          <p:spPr bwMode="auto">
            <a:xfrm>
              <a:off x="4980801" y="2046971"/>
              <a:ext cx="60326" cy="63501"/>
            </a:xfrm>
            <a:custGeom>
              <a:avLst/>
              <a:gdLst>
                <a:gd name="T0" fmla="*/ 13 w 19"/>
                <a:gd name="T1" fmla="*/ 13 h 20"/>
                <a:gd name="T2" fmla="*/ 13 w 19"/>
                <a:gd name="T3" fmla="*/ 11 h 20"/>
                <a:gd name="T4" fmla="*/ 15 w 19"/>
                <a:gd name="T5" fmla="*/ 12 h 20"/>
                <a:gd name="T6" fmla="*/ 17 w 19"/>
                <a:gd name="T7" fmla="*/ 13 h 20"/>
                <a:gd name="T8" fmla="*/ 18 w 19"/>
                <a:gd name="T9" fmla="*/ 11 h 20"/>
                <a:gd name="T10" fmla="*/ 16 w 19"/>
                <a:gd name="T11" fmla="*/ 9 h 20"/>
                <a:gd name="T12" fmla="*/ 17 w 19"/>
                <a:gd name="T13" fmla="*/ 7 h 20"/>
                <a:gd name="T14" fmla="*/ 18 w 19"/>
                <a:gd name="T15" fmla="*/ 5 h 20"/>
                <a:gd name="T16" fmla="*/ 16 w 19"/>
                <a:gd name="T17" fmla="*/ 4 h 20"/>
                <a:gd name="T18" fmla="*/ 15 w 19"/>
                <a:gd name="T19" fmla="*/ 4 h 20"/>
                <a:gd name="T20" fmla="*/ 12 w 19"/>
                <a:gd name="T21" fmla="*/ 3 h 20"/>
                <a:gd name="T22" fmla="*/ 11 w 19"/>
                <a:gd name="T23" fmla="*/ 1 h 20"/>
                <a:gd name="T24" fmla="*/ 8 w 19"/>
                <a:gd name="T25" fmla="*/ 0 h 20"/>
                <a:gd name="T26" fmla="*/ 7 w 19"/>
                <a:gd name="T27" fmla="*/ 3 h 20"/>
                <a:gd name="T28" fmla="*/ 9 w 19"/>
                <a:gd name="T29" fmla="*/ 5 h 20"/>
                <a:gd name="T30" fmla="*/ 8 w 19"/>
                <a:gd name="T31" fmla="*/ 7 h 20"/>
                <a:gd name="T32" fmla="*/ 8 w 19"/>
                <a:gd name="T33" fmla="*/ 7 h 20"/>
                <a:gd name="T34" fmla="*/ 7 w 19"/>
                <a:gd name="T35" fmla="*/ 9 h 20"/>
                <a:gd name="T36" fmla="*/ 7 w 19"/>
                <a:gd name="T37" fmla="*/ 6 h 20"/>
                <a:gd name="T38" fmla="*/ 3 w 19"/>
                <a:gd name="T39" fmla="*/ 6 h 20"/>
                <a:gd name="T40" fmla="*/ 3 w 19"/>
                <a:gd name="T41" fmla="*/ 10 h 20"/>
                <a:gd name="T42" fmla="*/ 1 w 19"/>
                <a:gd name="T43" fmla="*/ 11 h 20"/>
                <a:gd name="T44" fmla="*/ 1 w 19"/>
                <a:gd name="T45" fmla="*/ 13 h 20"/>
                <a:gd name="T46" fmla="*/ 3 w 19"/>
                <a:gd name="T47" fmla="*/ 14 h 20"/>
                <a:gd name="T48" fmla="*/ 6 w 19"/>
                <a:gd name="T49" fmla="*/ 15 h 20"/>
                <a:gd name="T50" fmla="*/ 9 w 19"/>
                <a:gd name="T51" fmla="*/ 15 h 20"/>
                <a:gd name="T52" fmla="*/ 11 w 19"/>
                <a:gd name="T53" fmla="*/ 16 h 20"/>
                <a:gd name="T54" fmla="*/ 14 w 19"/>
                <a:gd name="T55" fmla="*/ 19 h 20"/>
                <a:gd name="T56" fmla="*/ 16 w 19"/>
                <a:gd name="T57" fmla="*/ 18 h 20"/>
                <a:gd name="T58" fmla="*/ 18 w 19"/>
                <a:gd name="T59" fmla="*/ 15 h 20"/>
                <a:gd name="T60" fmla="*/ 13 w 19"/>
                <a:gd name="T61"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 h="20">
                  <a:moveTo>
                    <a:pt x="13" y="13"/>
                  </a:moveTo>
                  <a:cubicBezTo>
                    <a:pt x="13" y="13"/>
                    <a:pt x="12" y="11"/>
                    <a:pt x="13" y="11"/>
                  </a:cubicBezTo>
                  <a:cubicBezTo>
                    <a:pt x="14" y="10"/>
                    <a:pt x="14" y="12"/>
                    <a:pt x="15" y="12"/>
                  </a:cubicBezTo>
                  <a:cubicBezTo>
                    <a:pt x="15" y="13"/>
                    <a:pt x="16" y="13"/>
                    <a:pt x="17" y="13"/>
                  </a:cubicBezTo>
                  <a:cubicBezTo>
                    <a:pt x="18" y="13"/>
                    <a:pt x="18" y="12"/>
                    <a:pt x="18" y="11"/>
                  </a:cubicBezTo>
                  <a:cubicBezTo>
                    <a:pt x="18" y="11"/>
                    <a:pt x="18" y="11"/>
                    <a:pt x="16" y="9"/>
                  </a:cubicBezTo>
                  <a:cubicBezTo>
                    <a:pt x="13" y="7"/>
                    <a:pt x="16" y="8"/>
                    <a:pt x="17" y="7"/>
                  </a:cubicBezTo>
                  <a:cubicBezTo>
                    <a:pt x="17" y="7"/>
                    <a:pt x="18" y="5"/>
                    <a:pt x="18" y="5"/>
                  </a:cubicBezTo>
                  <a:cubicBezTo>
                    <a:pt x="19" y="5"/>
                    <a:pt x="16" y="4"/>
                    <a:pt x="16" y="4"/>
                  </a:cubicBezTo>
                  <a:cubicBezTo>
                    <a:pt x="15" y="3"/>
                    <a:pt x="15" y="4"/>
                    <a:pt x="15" y="4"/>
                  </a:cubicBezTo>
                  <a:cubicBezTo>
                    <a:pt x="15" y="4"/>
                    <a:pt x="13" y="3"/>
                    <a:pt x="12" y="3"/>
                  </a:cubicBezTo>
                  <a:cubicBezTo>
                    <a:pt x="12" y="2"/>
                    <a:pt x="12" y="1"/>
                    <a:pt x="11" y="1"/>
                  </a:cubicBezTo>
                  <a:cubicBezTo>
                    <a:pt x="11" y="0"/>
                    <a:pt x="10" y="0"/>
                    <a:pt x="8" y="0"/>
                  </a:cubicBezTo>
                  <a:cubicBezTo>
                    <a:pt x="7" y="1"/>
                    <a:pt x="7" y="3"/>
                    <a:pt x="7" y="3"/>
                  </a:cubicBezTo>
                  <a:cubicBezTo>
                    <a:pt x="7" y="3"/>
                    <a:pt x="8" y="4"/>
                    <a:pt x="9" y="5"/>
                  </a:cubicBezTo>
                  <a:cubicBezTo>
                    <a:pt x="9" y="5"/>
                    <a:pt x="9" y="7"/>
                    <a:pt x="8" y="7"/>
                  </a:cubicBezTo>
                  <a:cubicBezTo>
                    <a:pt x="8" y="7"/>
                    <a:pt x="8" y="7"/>
                    <a:pt x="8" y="7"/>
                  </a:cubicBezTo>
                  <a:cubicBezTo>
                    <a:pt x="8" y="7"/>
                    <a:pt x="9" y="8"/>
                    <a:pt x="7" y="9"/>
                  </a:cubicBezTo>
                  <a:cubicBezTo>
                    <a:pt x="6" y="9"/>
                    <a:pt x="7" y="7"/>
                    <a:pt x="7" y="6"/>
                  </a:cubicBezTo>
                  <a:cubicBezTo>
                    <a:pt x="7" y="5"/>
                    <a:pt x="3" y="6"/>
                    <a:pt x="3" y="6"/>
                  </a:cubicBezTo>
                  <a:cubicBezTo>
                    <a:pt x="3" y="6"/>
                    <a:pt x="4" y="9"/>
                    <a:pt x="3" y="10"/>
                  </a:cubicBezTo>
                  <a:cubicBezTo>
                    <a:pt x="2" y="10"/>
                    <a:pt x="2" y="10"/>
                    <a:pt x="1" y="11"/>
                  </a:cubicBezTo>
                  <a:cubicBezTo>
                    <a:pt x="0" y="12"/>
                    <a:pt x="1" y="13"/>
                    <a:pt x="1" y="13"/>
                  </a:cubicBezTo>
                  <a:cubicBezTo>
                    <a:pt x="1" y="14"/>
                    <a:pt x="3" y="14"/>
                    <a:pt x="3" y="14"/>
                  </a:cubicBezTo>
                  <a:cubicBezTo>
                    <a:pt x="4" y="14"/>
                    <a:pt x="4" y="14"/>
                    <a:pt x="6" y="15"/>
                  </a:cubicBezTo>
                  <a:cubicBezTo>
                    <a:pt x="9" y="17"/>
                    <a:pt x="7" y="15"/>
                    <a:pt x="9" y="15"/>
                  </a:cubicBezTo>
                  <a:cubicBezTo>
                    <a:pt x="11" y="15"/>
                    <a:pt x="10" y="16"/>
                    <a:pt x="11" y="16"/>
                  </a:cubicBezTo>
                  <a:cubicBezTo>
                    <a:pt x="12" y="17"/>
                    <a:pt x="13" y="18"/>
                    <a:pt x="14" y="19"/>
                  </a:cubicBezTo>
                  <a:cubicBezTo>
                    <a:pt x="15" y="20"/>
                    <a:pt x="16" y="18"/>
                    <a:pt x="16" y="18"/>
                  </a:cubicBezTo>
                  <a:cubicBezTo>
                    <a:pt x="17" y="17"/>
                    <a:pt x="18" y="15"/>
                    <a:pt x="18" y="15"/>
                  </a:cubicBezTo>
                  <a:cubicBezTo>
                    <a:pt x="18" y="15"/>
                    <a:pt x="14" y="13"/>
                    <a:pt x="13" y="13"/>
                  </a:cubicBezTo>
                  <a:close/>
                </a:path>
              </a:pathLst>
            </a:custGeom>
            <a:solidFill>
              <a:srgbClr val="0181C7"/>
            </a:solid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303" name="Freeform 214"/>
            <p:cNvSpPr>
              <a:spLocks/>
            </p:cNvSpPr>
            <p:nvPr/>
          </p:nvSpPr>
          <p:spPr bwMode="auto">
            <a:xfrm>
              <a:off x="5060177" y="2062846"/>
              <a:ext cx="12700" cy="12700"/>
            </a:xfrm>
            <a:custGeom>
              <a:avLst/>
              <a:gdLst>
                <a:gd name="T0" fmla="*/ 2 w 4"/>
                <a:gd name="T1" fmla="*/ 1 h 4"/>
                <a:gd name="T2" fmla="*/ 0 w 4"/>
                <a:gd name="T3" fmla="*/ 1 h 4"/>
                <a:gd name="T4" fmla="*/ 0 w 4"/>
                <a:gd name="T5" fmla="*/ 3 h 4"/>
                <a:gd name="T6" fmla="*/ 3 w 4"/>
                <a:gd name="T7" fmla="*/ 2 h 4"/>
                <a:gd name="T8" fmla="*/ 2 w 4"/>
                <a:gd name="T9" fmla="*/ 1 h 4"/>
              </a:gdLst>
              <a:ahLst/>
              <a:cxnLst>
                <a:cxn ang="0">
                  <a:pos x="T0" y="T1"/>
                </a:cxn>
                <a:cxn ang="0">
                  <a:pos x="T2" y="T3"/>
                </a:cxn>
                <a:cxn ang="0">
                  <a:pos x="T4" y="T5"/>
                </a:cxn>
                <a:cxn ang="0">
                  <a:pos x="T6" y="T7"/>
                </a:cxn>
                <a:cxn ang="0">
                  <a:pos x="T8" y="T9"/>
                </a:cxn>
              </a:cxnLst>
              <a:rect l="0" t="0" r="r" b="b"/>
              <a:pathLst>
                <a:path w="4" h="4">
                  <a:moveTo>
                    <a:pt x="2" y="1"/>
                  </a:moveTo>
                  <a:cubicBezTo>
                    <a:pt x="2" y="0"/>
                    <a:pt x="1" y="1"/>
                    <a:pt x="0" y="1"/>
                  </a:cubicBezTo>
                  <a:cubicBezTo>
                    <a:pt x="0" y="1"/>
                    <a:pt x="0" y="2"/>
                    <a:pt x="0" y="3"/>
                  </a:cubicBezTo>
                  <a:cubicBezTo>
                    <a:pt x="1" y="4"/>
                    <a:pt x="1" y="3"/>
                    <a:pt x="3" y="2"/>
                  </a:cubicBezTo>
                  <a:cubicBezTo>
                    <a:pt x="4" y="0"/>
                    <a:pt x="2" y="1"/>
                    <a:pt x="2" y="1"/>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304" name="Freeform 215"/>
            <p:cNvSpPr>
              <a:spLocks/>
            </p:cNvSpPr>
            <p:nvPr/>
          </p:nvSpPr>
          <p:spPr bwMode="auto">
            <a:xfrm>
              <a:off x="4855390" y="638862"/>
              <a:ext cx="806450" cy="1452560"/>
            </a:xfrm>
            <a:custGeom>
              <a:avLst/>
              <a:gdLst>
                <a:gd name="T0" fmla="*/ 222 w 253"/>
                <a:gd name="T1" fmla="*/ 377 h 456"/>
                <a:gd name="T2" fmla="*/ 247 w 253"/>
                <a:gd name="T3" fmla="*/ 312 h 456"/>
                <a:gd name="T4" fmla="*/ 235 w 253"/>
                <a:gd name="T5" fmla="*/ 269 h 456"/>
                <a:gd name="T6" fmla="*/ 216 w 253"/>
                <a:gd name="T7" fmla="*/ 241 h 456"/>
                <a:gd name="T8" fmla="*/ 204 w 253"/>
                <a:gd name="T9" fmla="*/ 226 h 456"/>
                <a:gd name="T10" fmla="*/ 200 w 253"/>
                <a:gd name="T11" fmla="*/ 214 h 456"/>
                <a:gd name="T12" fmla="*/ 185 w 253"/>
                <a:gd name="T13" fmla="*/ 195 h 456"/>
                <a:gd name="T14" fmla="*/ 186 w 253"/>
                <a:gd name="T15" fmla="*/ 170 h 456"/>
                <a:gd name="T16" fmla="*/ 161 w 253"/>
                <a:gd name="T17" fmla="*/ 137 h 456"/>
                <a:gd name="T18" fmla="*/ 160 w 253"/>
                <a:gd name="T19" fmla="*/ 100 h 456"/>
                <a:gd name="T20" fmla="*/ 141 w 253"/>
                <a:gd name="T21" fmla="*/ 79 h 456"/>
                <a:gd name="T22" fmla="*/ 128 w 253"/>
                <a:gd name="T23" fmla="*/ 52 h 456"/>
                <a:gd name="T24" fmla="*/ 123 w 253"/>
                <a:gd name="T25" fmla="*/ 44 h 456"/>
                <a:gd name="T26" fmla="*/ 129 w 253"/>
                <a:gd name="T27" fmla="*/ 38 h 456"/>
                <a:gd name="T28" fmla="*/ 128 w 253"/>
                <a:gd name="T29" fmla="*/ 19 h 456"/>
                <a:gd name="T30" fmla="*/ 104 w 253"/>
                <a:gd name="T31" fmla="*/ 1 h 456"/>
                <a:gd name="T32" fmla="*/ 82 w 253"/>
                <a:gd name="T33" fmla="*/ 20 h 456"/>
                <a:gd name="T34" fmla="*/ 79 w 253"/>
                <a:gd name="T35" fmla="*/ 58 h 456"/>
                <a:gd name="T36" fmla="*/ 74 w 253"/>
                <a:gd name="T37" fmla="*/ 73 h 456"/>
                <a:gd name="T38" fmla="*/ 59 w 253"/>
                <a:gd name="T39" fmla="*/ 70 h 456"/>
                <a:gd name="T40" fmla="*/ 27 w 253"/>
                <a:gd name="T41" fmla="*/ 68 h 456"/>
                <a:gd name="T42" fmla="*/ 7 w 253"/>
                <a:gd name="T43" fmla="*/ 63 h 456"/>
                <a:gd name="T44" fmla="*/ 7 w 253"/>
                <a:gd name="T45" fmla="*/ 74 h 456"/>
                <a:gd name="T46" fmla="*/ 26 w 253"/>
                <a:gd name="T47" fmla="*/ 85 h 456"/>
                <a:gd name="T48" fmla="*/ 51 w 253"/>
                <a:gd name="T49" fmla="*/ 99 h 456"/>
                <a:gd name="T50" fmla="*/ 63 w 253"/>
                <a:gd name="T51" fmla="*/ 127 h 456"/>
                <a:gd name="T52" fmla="*/ 74 w 253"/>
                <a:gd name="T53" fmla="*/ 159 h 456"/>
                <a:gd name="T54" fmla="*/ 81 w 253"/>
                <a:gd name="T55" fmla="*/ 184 h 456"/>
                <a:gd name="T56" fmla="*/ 109 w 253"/>
                <a:gd name="T57" fmla="*/ 205 h 456"/>
                <a:gd name="T58" fmla="*/ 113 w 253"/>
                <a:gd name="T59" fmla="*/ 228 h 456"/>
                <a:gd name="T60" fmla="*/ 102 w 253"/>
                <a:gd name="T61" fmla="*/ 246 h 456"/>
                <a:gd name="T62" fmla="*/ 88 w 253"/>
                <a:gd name="T63" fmla="*/ 280 h 456"/>
                <a:gd name="T64" fmla="*/ 81 w 253"/>
                <a:gd name="T65" fmla="*/ 293 h 456"/>
                <a:gd name="T66" fmla="*/ 73 w 253"/>
                <a:gd name="T67" fmla="*/ 307 h 456"/>
                <a:gd name="T68" fmla="*/ 67 w 253"/>
                <a:gd name="T69" fmla="*/ 314 h 456"/>
                <a:gd name="T70" fmla="*/ 54 w 253"/>
                <a:gd name="T71" fmla="*/ 313 h 456"/>
                <a:gd name="T72" fmla="*/ 61 w 253"/>
                <a:gd name="T73" fmla="*/ 327 h 456"/>
                <a:gd name="T74" fmla="*/ 58 w 253"/>
                <a:gd name="T75" fmla="*/ 348 h 456"/>
                <a:gd name="T76" fmla="*/ 65 w 253"/>
                <a:gd name="T77" fmla="*/ 369 h 456"/>
                <a:gd name="T78" fmla="*/ 71 w 253"/>
                <a:gd name="T79" fmla="*/ 387 h 456"/>
                <a:gd name="T80" fmla="*/ 73 w 253"/>
                <a:gd name="T81" fmla="*/ 400 h 456"/>
                <a:gd name="T82" fmla="*/ 73 w 253"/>
                <a:gd name="T83" fmla="*/ 414 h 456"/>
                <a:gd name="T84" fmla="*/ 76 w 253"/>
                <a:gd name="T85" fmla="*/ 420 h 456"/>
                <a:gd name="T86" fmla="*/ 75 w 253"/>
                <a:gd name="T87" fmla="*/ 429 h 456"/>
                <a:gd name="T88" fmla="*/ 83 w 253"/>
                <a:gd name="T89" fmla="*/ 433 h 456"/>
                <a:gd name="T90" fmla="*/ 89 w 253"/>
                <a:gd name="T91" fmla="*/ 436 h 456"/>
                <a:gd name="T92" fmla="*/ 95 w 253"/>
                <a:gd name="T93" fmla="*/ 436 h 456"/>
                <a:gd name="T94" fmla="*/ 98 w 253"/>
                <a:gd name="T95" fmla="*/ 442 h 456"/>
                <a:gd name="T96" fmla="*/ 104 w 253"/>
                <a:gd name="T97" fmla="*/ 447 h 456"/>
                <a:gd name="T98" fmla="*/ 104 w 253"/>
                <a:gd name="T99" fmla="*/ 454 h 456"/>
                <a:gd name="T100" fmla="*/ 113 w 253"/>
                <a:gd name="T101" fmla="*/ 447 h 456"/>
                <a:gd name="T102" fmla="*/ 116 w 253"/>
                <a:gd name="T103" fmla="*/ 453 h 456"/>
                <a:gd name="T104" fmla="*/ 122 w 253"/>
                <a:gd name="T105" fmla="*/ 455 h 456"/>
                <a:gd name="T106" fmla="*/ 127 w 253"/>
                <a:gd name="T107" fmla="*/ 452 h 456"/>
                <a:gd name="T108" fmla="*/ 139 w 253"/>
                <a:gd name="T109" fmla="*/ 443 h 456"/>
                <a:gd name="T110" fmla="*/ 153 w 253"/>
                <a:gd name="T111" fmla="*/ 439 h 456"/>
                <a:gd name="T112" fmla="*/ 167 w 253"/>
                <a:gd name="T113" fmla="*/ 428 h 456"/>
                <a:gd name="T114" fmla="*/ 176 w 253"/>
                <a:gd name="T115" fmla="*/ 420 h 456"/>
                <a:gd name="T116" fmla="*/ 188 w 253"/>
                <a:gd name="T117" fmla="*/ 414 h 456"/>
                <a:gd name="T118" fmla="*/ 201 w 253"/>
                <a:gd name="T119" fmla="*/ 406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3" h="456">
                  <a:moveTo>
                    <a:pt x="207" y="405"/>
                  </a:moveTo>
                  <a:cubicBezTo>
                    <a:pt x="210" y="399"/>
                    <a:pt x="210" y="399"/>
                    <a:pt x="210" y="399"/>
                  </a:cubicBezTo>
                  <a:cubicBezTo>
                    <a:pt x="212" y="395"/>
                    <a:pt x="212" y="395"/>
                    <a:pt x="212" y="395"/>
                  </a:cubicBezTo>
                  <a:cubicBezTo>
                    <a:pt x="212" y="395"/>
                    <a:pt x="212" y="395"/>
                    <a:pt x="212" y="395"/>
                  </a:cubicBezTo>
                  <a:cubicBezTo>
                    <a:pt x="215" y="390"/>
                    <a:pt x="216" y="388"/>
                    <a:pt x="216" y="387"/>
                  </a:cubicBezTo>
                  <a:cubicBezTo>
                    <a:pt x="217" y="385"/>
                    <a:pt x="218" y="382"/>
                    <a:pt x="218" y="381"/>
                  </a:cubicBezTo>
                  <a:cubicBezTo>
                    <a:pt x="219" y="379"/>
                    <a:pt x="221" y="378"/>
                    <a:pt x="222" y="377"/>
                  </a:cubicBezTo>
                  <a:cubicBezTo>
                    <a:pt x="224" y="370"/>
                    <a:pt x="224" y="370"/>
                    <a:pt x="224" y="370"/>
                  </a:cubicBezTo>
                  <a:cubicBezTo>
                    <a:pt x="234" y="349"/>
                    <a:pt x="234" y="349"/>
                    <a:pt x="234" y="349"/>
                  </a:cubicBezTo>
                  <a:cubicBezTo>
                    <a:pt x="235" y="348"/>
                    <a:pt x="236" y="343"/>
                    <a:pt x="237" y="341"/>
                  </a:cubicBezTo>
                  <a:cubicBezTo>
                    <a:pt x="237" y="341"/>
                    <a:pt x="239" y="335"/>
                    <a:pt x="239" y="334"/>
                  </a:cubicBezTo>
                  <a:cubicBezTo>
                    <a:pt x="239" y="333"/>
                    <a:pt x="241" y="327"/>
                    <a:pt x="241" y="327"/>
                  </a:cubicBezTo>
                  <a:cubicBezTo>
                    <a:pt x="242" y="326"/>
                    <a:pt x="244" y="318"/>
                    <a:pt x="244" y="317"/>
                  </a:cubicBezTo>
                  <a:cubicBezTo>
                    <a:pt x="244" y="314"/>
                    <a:pt x="246" y="313"/>
                    <a:pt x="247" y="312"/>
                  </a:cubicBezTo>
                  <a:cubicBezTo>
                    <a:pt x="248" y="312"/>
                    <a:pt x="248" y="312"/>
                    <a:pt x="248" y="312"/>
                  </a:cubicBezTo>
                  <a:cubicBezTo>
                    <a:pt x="248" y="311"/>
                    <a:pt x="250" y="306"/>
                    <a:pt x="251" y="303"/>
                  </a:cubicBezTo>
                  <a:cubicBezTo>
                    <a:pt x="251" y="303"/>
                    <a:pt x="252" y="298"/>
                    <a:pt x="253" y="288"/>
                  </a:cubicBezTo>
                  <a:cubicBezTo>
                    <a:pt x="251" y="280"/>
                    <a:pt x="251" y="280"/>
                    <a:pt x="251" y="280"/>
                  </a:cubicBezTo>
                  <a:cubicBezTo>
                    <a:pt x="248" y="277"/>
                    <a:pt x="248" y="277"/>
                    <a:pt x="248" y="277"/>
                  </a:cubicBezTo>
                  <a:cubicBezTo>
                    <a:pt x="243" y="274"/>
                    <a:pt x="243" y="274"/>
                    <a:pt x="243" y="274"/>
                  </a:cubicBezTo>
                  <a:cubicBezTo>
                    <a:pt x="237" y="271"/>
                    <a:pt x="236" y="270"/>
                    <a:pt x="235" y="269"/>
                  </a:cubicBezTo>
                  <a:cubicBezTo>
                    <a:pt x="235" y="269"/>
                    <a:pt x="234" y="268"/>
                    <a:pt x="232" y="268"/>
                  </a:cubicBezTo>
                  <a:cubicBezTo>
                    <a:pt x="231" y="267"/>
                    <a:pt x="227" y="266"/>
                    <a:pt x="226" y="266"/>
                  </a:cubicBezTo>
                  <a:cubicBezTo>
                    <a:pt x="225" y="266"/>
                    <a:pt x="224" y="266"/>
                    <a:pt x="219" y="262"/>
                  </a:cubicBezTo>
                  <a:cubicBezTo>
                    <a:pt x="216" y="260"/>
                    <a:pt x="213" y="256"/>
                    <a:pt x="212" y="256"/>
                  </a:cubicBezTo>
                  <a:cubicBezTo>
                    <a:pt x="212" y="255"/>
                    <a:pt x="212" y="255"/>
                    <a:pt x="212" y="255"/>
                  </a:cubicBezTo>
                  <a:cubicBezTo>
                    <a:pt x="215" y="247"/>
                    <a:pt x="215" y="247"/>
                    <a:pt x="215" y="247"/>
                  </a:cubicBezTo>
                  <a:cubicBezTo>
                    <a:pt x="216" y="246"/>
                    <a:pt x="216" y="242"/>
                    <a:pt x="216" y="241"/>
                  </a:cubicBezTo>
                  <a:cubicBezTo>
                    <a:pt x="216" y="241"/>
                    <a:pt x="216" y="239"/>
                    <a:pt x="216" y="239"/>
                  </a:cubicBezTo>
                  <a:cubicBezTo>
                    <a:pt x="215" y="236"/>
                    <a:pt x="215" y="236"/>
                    <a:pt x="215" y="236"/>
                  </a:cubicBezTo>
                  <a:cubicBezTo>
                    <a:pt x="214" y="233"/>
                    <a:pt x="214" y="233"/>
                    <a:pt x="214" y="233"/>
                  </a:cubicBezTo>
                  <a:cubicBezTo>
                    <a:pt x="213" y="233"/>
                    <a:pt x="211" y="233"/>
                    <a:pt x="210" y="233"/>
                  </a:cubicBezTo>
                  <a:cubicBezTo>
                    <a:pt x="207" y="233"/>
                    <a:pt x="207" y="230"/>
                    <a:pt x="206" y="228"/>
                  </a:cubicBezTo>
                  <a:cubicBezTo>
                    <a:pt x="206" y="228"/>
                    <a:pt x="206" y="228"/>
                    <a:pt x="205" y="227"/>
                  </a:cubicBezTo>
                  <a:cubicBezTo>
                    <a:pt x="205" y="227"/>
                    <a:pt x="204" y="227"/>
                    <a:pt x="204" y="226"/>
                  </a:cubicBezTo>
                  <a:cubicBezTo>
                    <a:pt x="201" y="225"/>
                    <a:pt x="200" y="222"/>
                    <a:pt x="200" y="221"/>
                  </a:cubicBezTo>
                  <a:cubicBezTo>
                    <a:pt x="200" y="221"/>
                    <a:pt x="200" y="221"/>
                    <a:pt x="200" y="221"/>
                  </a:cubicBezTo>
                  <a:cubicBezTo>
                    <a:pt x="202" y="216"/>
                    <a:pt x="202" y="216"/>
                    <a:pt x="202" y="216"/>
                  </a:cubicBezTo>
                  <a:cubicBezTo>
                    <a:pt x="201" y="215"/>
                    <a:pt x="201" y="214"/>
                    <a:pt x="201" y="214"/>
                  </a:cubicBezTo>
                  <a:cubicBezTo>
                    <a:pt x="201" y="214"/>
                    <a:pt x="201" y="214"/>
                    <a:pt x="201" y="214"/>
                  </a:cubicBezTo>
                  <a:cubicBezTo>
                    <a:pt x="200" y="214"/>
                    <a:pt x="200" y="214"/>
                    <a:pt x="200" y="214"/>
                  </a:cubicBezTo>
                  <a:cubicBezTo>
                    <a:pt x="200" y="214"/>
                    <a:pt x="200" y="214"/>
                    <a:pt x="200" y="214"/>
                  </a:cubicBezTo>
                  <a:cubicBezTo>
                    <a:pt x="200" y="214"/>
                    <a:pt x="200" y="214"/>
                    <a:pt x="200" y="214"/>
                  </a:cubicBezTo>
                  <a:cubicBezTo>
                    <a:pt x="193" y="213"/>
                    <a:pt x="193" y="213"/>
                    <a:pt x="193" y="213"/>
                  </a:cubicBezTo>
                  <a:cubicBezTo>
                    <a:pt x="187" y="205"/>
                    <a:pt x="187" y="205"/>
                    <a:pt x="187" y="205"/>
                  </a:cubicBezTo>
                  <a:cubicBezTo>
                    <a:pt x="188" y="204"/>
                    <a:pt x="188" y="204"/>
                    <a:pt x="188" y="204"/>
                  </a:cubicBezTo>
                  <a:cubicBezTo>
                    <a:pt x="188" y="204"/>
                    <a:pt x="189" y="198"/>
                    <a:pt x="189" y="197"/>
                  </a:cubicBezTo>
                  <a:cubicBezTo>
                    <a:pt x="189" y="197"/>
                    <a:pt x="189" y="197"/>
                    <a:pt x="189" y="197"/>
                  </a:cubicBezTo>
                  <a:cubicBezTo>
                    <a:pt x="185" y="195"/>
                    <a:pt x="185" y="195"/>
                    <a:pt x="185" y="195"/>
                  </a:cubicBezTo>
                  <a:cubicBezTo>
                    <a:pt x="187" y="191"/>
                    <a:pt x="187" y="191"/>
                    <a:pt x="187" y="191"/>
                  </a:cubicBezTo>
                  <a:cubicBezTo>
                    <a:pt x="184" y="186"/>
                    <a:pt x="184" y="186"/>
                    <a:pt x="184" y="186"/>
                  </a:cubicBezTo>
                  <a:cubicBezTo>
                    <a:pt x="185" y="183"/>
                    <a:pt x="185" y="183"/>
                    <a:pt x="185" y="183"/>
                  </a:cubicBezTo>
                  <a:cubicBezTo>
                    <a:pt x="183" y="180"/>
                    <a:pt x="183" y="180"/>
                    <a:pt x="183" y="180"/>
                  </a:cubicBezTo>
                  <a:cubicBezTo>
                    <a:pt x="182" y="177"/>
                    <a:pt x="182" y="177"/>
                    <a:pt x="182" y="177"/>
                  </a:cubicBezTo>
                  <a:cubicBezTo>
                    <a:pt x="186" y="172"/>
                    <a:pt x="186" y="172"/>
                    <a:pt x="186" y="172"/>
                  </a:cubicBezTo>
                  <a:cubicBezTo>
                    <a:pt x="186" y="170"/>
                    <a:pt x="186" y="170"/>
                    <a:pt x="186" y="170"/>
                  </a:cubicBezTo>
                  <a:cubicBezTo>
                    <a:pt x="183" y="164"/>
                    <a:pt x="183" y="164"/>
                    <a:pt x="183" y="164"/>
                  </a:cubicBezTo>
                  <a:cubicBezTo>
                    <a:pt x="181" y="162"/>
                    <a:pt x="181" y="160"/>
                    <a:pt x="181" y="160"/>
                  </a:cubicBezTo>
                  <a:cubicBezTo>
                    <a:pt x="180" y="159"/>
                    <a:pt x="178" y="158"/>
                    <a:pt x="175" y="156"/>
                  </a:cubicBezTo>
                  <a:cubicBezTo>
                    <a:pt x="175" y="156"/>
                    <a:pt x="175" y="156"/>
                    <a:pt x="175" y="156"/>
                  </a:cubicBezTo>
                  <a:cubicBezTo>
                    <a:pt x="172" y="149"/>
                    <a:pt x="172" y="149"/>
                    <a:pt x="172" y="149"/>
                  </a:cubicBezTo>
                  <a:cubicBezTo>
                    <a:pt x="166" y="143"/>
                    <a:pt x="166" y="143"/>
                    <a:pt x="166" y="143"/>
                  </a:cubicBezTo>
                  <a:cubicBezTo>
                    <a:pt x="161" y="137"/>
                    <a:pt x="161" y="137"/>
                    <a:pt x="161" y="137"/>
                  </a:cubicBezTo>
                  <a:cubicBezTo>
                    <a:pt x="158" y="134"/>
                    <a:pt x="158" y="134"/>
                    <a:pt x="158" y="134"/>
                  </a:cubicBezTo>
                  <a:cubicBezTo>
                    <a:pt x="155" y="126"/>
                    <a:pt x="155" y="126"/>
                    <a:pt x="155" y="126"/>
                  </a:cubicBezTo>
                  <a:cubicBezTo>
                    <a:pt x="155" y="124"/>
                    <a:pt x="155" y="124"/>
                    <a:pt x="155" y="124"/>
                  </a:cubicBezTo>
                  <a:cubicBezTo>
                    <a:pt x="155" y="123"/>
                    <a:pt x="156" y="120"/>
                    <a:pt x="156" y="119"/>
                  </a:cubicBezTo>
                  <a:cubicBezTo>
                    <a:pt x="156" y="118"/>
                    <a:pt x="156" y="118"/>
                    <a:pt x="157" y="116"/>
                  </a:cubicBezTo>
                  <a:cubicBezTo>
                    <a:pt x="157" y="114"/>
                    <a:pt x="158" y="110"/>
                    <a:pt x="158" y="108"/>
                  </a:cubicBezTo>
                  <a:cubicBezTo>
                    <a:pt x="158" y="105"/>
                    <a:pt x="160" y="101"/>
                    <a:pt x="160" y="100"/>
                  </a:cubicBezTo>
                  <a:cubicBezTo>
                    <a:pt x="161" y="94"/>
                    <a:pt x="161" y="94"/>
                    <a:pt x="161" y="94"/>
                  </a:cubicBezTo>
                  <a:cubicBezTo>
                    <a:pt x="160" y="93"/>
                    <a:pt x="160" y="93"/>
                    <a:pt x="160" y="93"/>
                  </a:cubicBezTo>
                  <a:cubicBezTo>
                    <a:pt x="155" y="90"/>
                    <a:pt x="155" y="90"/>
                    <a:pt x="155" y="90"/>
                  </a:cubicBezTo>
                  <a:cubicBezTo>
                    <a:pt x="151" y="85"/>
                    <a:pt x="151" y="85"/>
                    <a:pt x="151" y="85"/>
                  </a:cubicBezTo>
                  <a:cubicBezTo>
                    <a:pt x="151" y="85"/>
                    <a:pt x="151" y="85"/>
                    <a:pt x="151" y="85"/>
                  </a:cubicBezTo>
                  <a:cubicBezTo>
                    <a:pt x="151" y="84"/>
                    <a:pt x="149" y="81"/>
                    <a:pt x="145" y="80"/>
                  </a:cubicBezTo>
                  <a:cubicBezTo>
                    <a:pt x="144" y="80"/>
                    <a:pt x="142" y="79"/>
                    <a:pt x="141" y="79"/>
                  </a:cubicBezTo>
                  <a:cubicBezTo>
                    <a:pt x="141" y="79"/>
                    <a:pt x="141" y="79"/>
                    <a:pt x="140" y="79"/>
                  </a:cubicBezTo>
                  <a:cubicBezTo>
                    <a:pt x="140" y="80"/>
                    <a:pt x="140" y="80"/>
                    <a:pt x="140" y="80"/>
                  </a:cubicBezTo>
                  <a:cubicBezTo>
                    <a:pt x="132" y="76"/>
                    <a:pt x="132" y="76"/>
                    <a:pt x="132" y="76"/>
                  </a:cubicBezTo>
                  <a:cubicBezTo>
                    <a:pt x="128" y="69"/>
                    <a:pt x="128" y="69"/>
                    <a:pt x="128" y="69"/>
                  </a:cubicBezTo>
                  <a:cubicBezTo>
                    <a:pt x="124" y="63"/>
                    <a:pt x="124" y="63"/>
                    <a:pt x="124" y="63"/>
                  </a:cubicBezTo>
                  <a:cubicBezTo>
                    <a:pt x="127" y="59"/>
                    <a:pt x="127" y="59"/>
                    <a:pt x="127" y="59"/>
                  </a:cubicBezTo>
                  <a:cubicBezTo>
                    <a:pt x="128" y="52"/>
                    <a:pt x="128" y="52"/>
                    <a:pt x="128" y="52"/>
                  </a:cubicBezTo>
                  <a:cubicBezTo>
                    <a:pt x="127" y="49"/>
                    <a:pt x="127" y="49"/>
                    <a:pt x="127" y="49"/>
                  </a:cubicBezTo>
                  <a:cubicBezTo>
                    <a:pt x="120" y="48"/>
                    <a:pt x="120" y="48"/>
                    <a:pt x="120" y="48"/>
                  </a:cubicBezTo>
                  <a:cubicBezTo>
                    <a:pt x="122" y="46"/>
                    <a:pt x="122" y="46"/>
                    <a:pt x="122" y="46"/>
                  </a:cubicBezTo>
                  <a:cubicBezTo>
                    <a:pt x="122" y="45"/>
                    <a:pt x="122" y="45"/>
                    <a:pt x="122" y="44"/>
                  </a:cubicBezTo>
                  <a:cubicBezTo>
                    <a:pt x="123" y="44"/>
                    <a:pt x="123" y="44"/>
                    <a:pt x="123" y="44"/>
                  </a:cubicBezTo>
                  <a:cubicBezTo>
                    <a:pt x="123" y="44"/>
                    <a:pt x="123" y="44"/>
                    <a:pt x="123" y="44"/>
                  </a:cubicBezTo>
                  <a:cubicBezTo>
                    <a:pt x="123" y="44"/>
                    <a:pt x="123" y="44"/>
                    <a:pt x="123" y="44"/>
                  </a:cubicBezTo>
                  <a:cubicBezTo>
                    <a:pt x="123" y="43"/>
                    <a:pt x="123" y="43"/>
                    <a:pt x="123" y="43"/>
                  </a:cubicBezTo>
                  <a:cubicBezTo>
                    <a:pt x="123" y="43"/>
                    <a:pt x="123" y="43"/>
                    <a:pt x="123" y="43"/>
                  </a:cubicBezTo>
                  <a:cubicBezTo>
                    <a:pt x="123" y="43"/>
                    <a:pt x="123" y="43"/>
                    <a:pt x="123" y="43"/>
                  </a:cubicBezTo>
                  <a:cubicBezTo>
                    <a:pt x="125" y="41"/>
                    <a:pt x="125" y="41"/>
                    <a:pt x="125" y="41"/>
                  </a:cubicBezTo>
                  <a:cubicBezTo>
                    <a:pt x="125" y="41"/>
                    <a:pt x="126" y="41"/>
                    <a:pt x="126" y="41"/>
                  </a:cubicBezTo>
                  <a:cubicBezTo>
                    <a:pt x="127" y="39"/>
                    <a:pt x="128" y="39"/>
                    <a:pt x="129" y="38"/>
                  </a:cubicBezTo>
                  <a:cubicBezTo>
                    <a:pt x="129" y="38"/>
                    <a:pt x="129" y="38"/>
                    <a:pt x="129" y="38"/>
                  </a:cubicBezTo>
                  <a:cubicBezTo>
                    <a:pt x="129" y="38"/>
                    <a:pt x="129" y="38"/>
                    <a:pt x="129" y="38"/>
                  </a:cubicBezTo>
                  <a:cubicBezTo>
                    <a:pt x="129" y="37"/>
                    <a:pt x="129" y="37"/>
                    <a:pt x="130" y="37"/>
                  </a:cubicBezTo>
                  <a:cubicBezTo>
                    <a:pt x="129" y="37"/>
                    <a:pt x="127" y="36"/>
                    <a:pt x="127" y="35"/>
                  </a:cubicBezTo>
                  <a:cubicBezTo>
                    <a:pt x="127" y="34"/>
                    <a:pt x="126" y="32"/>
                    <a:pt x="126" y="30"/>
                  </a:cubicBezTo>
                  <a:cubicBezTo>
                    <a:pt x="126" y="30"/>
                    <a:pt x="126" y="29"/>
                    <a:pt x="126" y="28"/>
                  </a:cubicBezTo>
                  <a:cubicBezTo>
                    <a:pt x="126" y="27"/>
                    <a:pt x="126" y="25"/>
                    <a:pt x="126" y="23"/>
                  </a:cubicBezTo>
                  <a:cubicBezTo>
                    <a:pt x="126" y="22"/>
                    <a:pt x="128" y="19"/>
                    <a:pt x="128" y="19"/>
                  </a:cubicBezTo>
                  <a:cubicBezTo>
                    <a:pt x="128" y="19"/>
                    <a:pt x="126" y="17"/>
                    <a:pt x="126" y="16"/>
                  </a:cubicBezTo>
                  <a:cubicBezTo>
                    <a:pt x="126" y="15"/>
                    <a:pt x="125" y="13"/>
                    <a:pt x="126" y="12"/>
                  </a:cubicBezTo>
                  <a:cubicBezTo>
                    <a:pt x="126" y="11"/>
                    <a:pt x="126" y="11"/>
                    <a:pt x="126" y="11"/>
                  </a:cubicBezTo>
                  <a:cubicBezTo>
                    <a:pt x="124" y="10"/>
                    <a:pt x="124" y="10"/>
                    <a:pt x="124" y="10"/>
                  </a:cubicBezTo>
                  <a:cubicBezTo>
                    <a:pt x="119" y="9"/>
                    <a:pt x="119" y="9"/>
                    <a:pt x="119" y="9"/>
                  </a:cubicBezTo>
                  <a:cubicBezTo>
                    <a:pt x="108" y="6"/>
                    <a:pt x="108" y="6"/>
                    <a:pt x="108" y="6"/>
                  </a:cubicBezTo>
                  <a:cubicBezTo>
                    <a:pt x="105" y="5"/>
                    <a:pt x="106" y="3"/>
                    <a:pt x="104" y="1"/>
                  </a:cubicBezTo>
                  <a:cubicBezTo>
                    <a:pt x="103" y="0"/>
                    <a:pt x="99" y="1"/>
                    <a:pt x="97" y="1"/>
                  </a:cubicBezTo>
                  <a:cubicBezTo>
                    <a:pt x="93" y="5"/>
                    <a:pt x="93" y="5"/>
                    <a:pt x="93" y="5"/>
                  </a:cubicBezTo>
                  <a:cubicBezTo>
                    <a:pt x="92" y="9"/>
                    <a:pt x="92" y="9"/>
                    <a:pt x="92" y="9"/>
                  </a:cubicBezTo>
                  <a:cubicBezTo>
                    <a:pt x="85" y="9"/>
                    <a:pt x="85" y="9"/>
                    <a:pt x="85" y="9"/>
                  </a:cubicBezTo>
                  <a:cubicBezTo>
                    <a:pt x="82" y="11"/>
                    <a:pt x="82" y="11"/>
                    <a:pt x="82" y="11"/>
                  </a:cubicBezTo>
                  <a:cubicBezTo>
                    <a:pt x="76" y="12"/>
                    <a:pt x="81" y="16"/>
                    <a:pt x="81" y="19"/>
                  </a:cubicBezTo>
                  <a:cubicBezTo>
                    <a:pt x="82" y="20"/>
                    <a:pt x="82" y="20"/>
                    <a:pt x="82" y="20"/>
                  </a:cubicBezTo>
                  <a:cubicBezTo>
                    <a:pt x="79" y="22"/>
                    <a:pt x="79" y="22"/>
                    <a:pt x="79" y="22"/>
                  </a:cubicBezTo>
                  <a:cubicBezTo>
                    <a:pt x="77" y="23"/>
                    <a:pt x="77" y="23"/>
                    <a:pt x="77" y="23"/>
                  </a:cubicBezTo>
                  <a:cubicBezTo>
                    <a:pt x="77" y="23"/>
                    <a:pt x="77" y="23"/>
                    <a:pt x="77" y="23"/>
                  </a:cubicBezTo>
                  <a:cubicBezTo>
                    <a:pt x="75" y="24"/>
                    <a:pt x="79" y="31"/>
                    <a:pt x="78" y="40"/>
                  </a:cubicBezTo>
                  <a:cubicBezTo>
                    <a:pt x="77" y="42"/>
                    <a:pt x="79" y="46"/>
                    <a:pt x="79" y="46"/>
                  </a:cubicBezTo>
                  <a:cubicBezTo>
                    <a:pt x="79" y="46"/>
                    <a:pt x="81" y="52"/>
                    <a:pt x="81" y="55"/>
                  </a:cubicBezTo>
                  <a:cubicBezTo>
                    <a:pt x="81" y="58"/>
                    <a:pt x="79" y="58"/>
                    <a:pt x="79" y="58"/>
                  </a:cubicBezTo>
                  <a:cubicBezTo>
                    <a:pt x="79" y="58"/>
                    <a:pt x="76" y="61"/>
                    <a:pt x="73" y="63"/>
                  </a:cubicBezTo>
                  <a:cubicBezTo>
                    <a:pt x="71" y="65"/>
                    <a:pt x="73" y="66"/>
                    <a:pt x="73" y="66"/>
                  </a:cubicBezTo>
                  <a:cubicBezTo>
                    <a:pt x="73" y="66"/>
                    <a:pt x="73" y="71"/>
                    <a:pt x="74" y="72"/>
                  </a:cubicBezTo>
                  <a:cubicBezTo>
                    <a:pt x="74" y="72"/>
                    <a:pt x="74" y="72"/>
                    <a:pt x="74" y="72"/>
                  </a:cubicBezTo>
                  <a:cubicBezTo>
                    <a:pt x="74" y="72"/>
                    <a:pt x="74" y="72"/>
                    <a:pt x="74" y="72"/>
                  </a:cubicBezTo>
                  <a:cubicBezTo>
                    <a:pt x="74" y="73"/>
                    <a:pt x="74" y="73"/>
                    <a:pt x="74" y="73"/>
                  </a:cubicBezTo>
                  <a:cubicBezTo>
                    <a:pt x="74" y="73"/>
                    <a:pt x="74" y="73"/>
                    <a:pt x="74" y="73"/>
                  </a:cubicBezTo>
                  <a:cubicBezTo>
                    <a:pt x="73" y="73"/>
                    <a:pt x="73" y="73"/>
                    <a:pt x="73" y="73"/>
                  </a:cubicBezTo>
                  <a:cubicBezTo>
                    <a:pt x="73" y="73"/>
                    <a:pt x="73" y="73"/>
                    <a:pt x="73" y="73"/>
                  </a:cubicBezTo>
                  <a:cubicBezTo>
                    <a:pt x="73" y="73"/>
                    <a:pt x="72" y="73"/>
                    <a:pt x="72" y="74"/>
                  </a:cubicBezTo>
                  <a:cubicBezTo>
                    <a:pt x="72" y="74"/>
                    <a:pt x="72" y="74"/>
                    <a:pt x="72" y="74"/>
                  </a:cubicBezTo>
                  <a:cubicBezTo>
                    <a:pt x="71" y="74"/>
                    <a:pt x="70" y="74"/>
                    <a:pt x="70" y="74"/>
                  </a:cubicBezTo>
                  <a:cubicBezTo>
                    <a:pt x="67" y="72"/>
                    <a:pt x="67" y="72"/>
                    <a:pt x="67" y="72"/>
                  </a:cubicBezTo>
                  <a:cubicBezTo>
                    <a:pt x="59" y="70"/>
                    <a:pt x="59" y="70"/>
                    <a:pt x="59" y="70"/>
                  </a:cubicBezTo>
                  <a:cubicBezTo>
                    <a:pt x="56" y="68"/>
                    <a:pt x="56" y="68"/>
                    <a:pt x="56" y="68"/>
                  </a:cubicBezTo>
                  <a:cubicBezTo>
                    <a:pt x="52" y="70"/>
                    <a:pt x="52" y="70"/>
                    <a:pt x="52" y="70"/>
                  </a:cubicBezTo>
                  <a:cubicBezTo>
                    <a:pt x="52" y="72"/>
                    <a:pt x="52" y="72"/>
                    <a:pt x="52" y="72"/>
                  </a:cubicBezTo>
                  <a:cubicBezTo>
                    <a:pt x="50" y="74"/>
                    <a:pt x="50" y="74"/>
                    <a:pt x="50" y="74"/>
                  </a:cubicBezTo>
                  <a:cubicBezTo>
                    <a:pt x="47" y="77"/>
                    <a:pt x="47" y="77"/>
                    <a:pt x="47" y="77"/>
                  </a:cubicBezTo>
                  <a:cubicBezTo>
                    <a:pt x="46" y="77"/>
                    <a:pt x="38" y="75"/>
                    <a:pt x="36" y="74"/>
                  </a:cubicBezTo>
                  <a:cubicBezTo>
                    <a:pt x="34" y="74"/>
                    <a:pt x="27" y="68"/>
                    <a:pt x="27" y="68"/>
                  </a:cubicBezTo>
                  <a:cubicBezTo>
                    <a:pt x="22" y="62"/>
                    <a:pt x="22" y="62"/>
                    <a:pt x="22" y="62"/>
                  </a:cubicBezTo>
                  <a:cubicBezTo>
                    <a:pt x="16" y="55"/>
                    <a:pt x="16" y="55"/>
                    <a:pt x="16" y="55"/>
                  </a:cubicBezTo>
                  <a:cubicBezTo>
                    <a:pt x="13" y="55"/>
                    <a:pt x="13" y="55"/>
                    <a:pt x="13" y="55"/>
                  </a:cubicBezTo>
                  <a:cubicBezTo>
                    <a:pt x="11" y="53"/>
                    <a:pt x="8" y="53"/>
                    <a:pt x="7" y="55"/>
                  </a:cubicBezTo>
                  <a:cubicBezTo>
                    <a:pt x="7" y="55"/>
                    <a:pt x="7" y="55"/>
                    <a:pt x="7" y="55"/>
                  </a:cubicBezTo>
                  <a:cubicBezTo>
                    <a:pt x="6" y="56"/>
                    <a:pt x="6" y="56"/>
                    <a:pt x="6" y="56"/>
                  </a:cubicBezTo>
                  <a:cubicBezTo>
                    <a:pt x="5" y="58"/>
                    <a:pt x="7" y="63"/>
                    <a:pt x="7" y="63"/>
                  </a:cubicBezTo>
                  <a:cubicBezTo>
                    <a:pt x="7" y="63"/>
                    <a:pt x="7" y="64"/>
                    <a:pt x="6" y="64"/>
                  </a:cubicBezTo>
                  <a:cubicBezTo>
                    <a:pt x="6" y="64"/>
                    <a:pt x="6" y="64"/>
                    <a:pt x="6" y="64"/>
                  </a:cubicBezTo>
                  <a:cubicBezTo>
                    <a:pt x="6" y="64"/>
                    <a:pt x="6" y="64"/>
                    <a:pt x="6" y="64"/>
                  </a:cubicBezTo>
                  <a:cubicBezTo>
                    <a:pt x="5" y="64"/>
                    <a:pt x="2" y="65"/>
                    <a:pt x="1" y="65"/>
                  </a:cubicBezTo>
                  <a:cubicBezTo>
                    <a:pt x="0" y="65"/>
                    <a:pt x="1" y="67"/>
                    <a:pt x="1" y="67"/>
                  </a:cubicBezTo>
                  <a:cubicBezTo>
                    <a:pt x="7" y="70"/>
                    <a:pt x="7" y="70"/>
                    <a:pt x="7" y="70"/>
                  </a:cubicBezTo>
                  <a:cubicBezTo>
                    <a:pt x="7" y="74"/>
                    <a:pt x="7" y="74"/>
                    <a:pt x="7" y="74"/>
                  </a:cubicBezTo>
                  <a:cubicBezTo>
                    <a:pt x="11" y="75"/>
                    <a:pt x="11" y="75"/>
                    <a:pt x="11" y="75"/>
                  </a:cubicBezTo>
                  <a:cubicBezTo>
                    <a:pt x="14" y="77"/>
                    <a:pt x="14" y="77"/>
                    <a:pt x="14" y="77"/>
                  </a:cubicBezTo>
                  <a:cubicBezTo>
                    <a:pt x="17" y="81"/>
                    <a:pt x="17" y="81"/>
                    <a:pt x="17" y="81"/>
                  </a:cubicBezTo>
                  <a:cubicBezTo>
                    <a:pt x="17" y="81"/>
                    <a:pt x="18" y="82"/>
                    <a:pt x="19" y="82"/>
                  </a:cubicBezTo>
                  <a:cubicBezTo>
                    <a:pt x="20" y="82"/>
                    <a:pt x="21" y="83"/>
                    <a:pt x="21" y="83"/>
                  </a:cubicBezTo>
                  <a:cubicBezTo>
                    <a:pt x="23" y="86"/>
                    <a:pt x="23" y="86"/>
                    <a:pt x="23" y="86"/>
                  </a:cubicBezTo>
                  <a:cubicBezTo>
                    <a:pt x="26" y="85"/>
                    <a:pt x="26" y="85"/>
                    <a:pt x="26" y="85"/>
                  </a:cubicBezTo>
                  <a:cubicBezTo>
                    <a:pt x="26" y="85"/>
                    <a:pt x="27" y="86"/>
                    <a:pt x="28" y="88"/>
                  </a:cubicBezTo>
                  <a:cubicBezTo>
                    <a:pt x="29" y="89"/>
                    <a:pt x="30" y="88"/>
                    <a:pt x="30" y="88"/>
                  </a:cubicBezTo>
                  <a:cubicBezTo>
                    <a:pt x="34" y="88"/>
                    <a:pt x="34" y="88"/>
                    <a:pt x="34" y="88"/>
                  </a:cubicBezTo>
                  <a:cubicBezTo>
                    <a:pt x="38" y="90"/>
                    <a:pt x="38" y="90"/>
                    <a:pt x="38" y="90"/>
                  </a:cubicBezTo>
                  <a:cubicBezTo>
                    <a:pt x="44" y="93"/>
                    <a:pt x="44" y="93"/>
                    <a:pt x="44" y="93"/>
                  </a:cubicBezTo>
                  <a:cubicBezTo>
                    <a:pt x="44" y="93"/>
                    <a:pt x="49" y="99"/>
                    <a:pt x="49" y="100"/>
                  </a:cubicBezTo>
                  <a:cubicBezTo>
                    <a:pt x="50" y="100"/>
                    <a:pt x="51" y="99"/>
                    <a:pt x="51" y="99"/>
                  </a:cubicBezTo>
                  <a:cubicBezTo>
                    <a:pt x="54" y="104"/>
                    <a:pt x="54" y="104"/>
                    <a:pt x="54" y="104"/>
                  </a:cubicBezTo>
                  <a:cubicBezTo>
                    <a:pt x="59" y="106"/>
                    <a:pt x="59" y="106"/>
                    <a:pt x="59" y="106"/>
                  </a:cubicBezTo>
                  <a:cubicBezTo>
                    <a:pt x="57" y="111"/>
                    <a:pt x="57" y="111"/>
                    <a:pt x="57" y="111"/>
                  </a:cubicBezTo>
                  <a:cubicBezTo>
                    <a:pt x="59" y="121"/>
                    <a:pt x="59" y="121"/>
                    <a:pt x="59" y="121"/>
                  </a:cubicBezTo>
                  <a:cubicBezTo>
                    <a:pt x="59" y="125"/>
                    <a:pt x="59" y="125"/>
                    <a:pt x="59" y="125"/>
                  </a:cubicBezTo>
                  <a:cubicBezTo>
                    <a:pt x="60" y="128"/>
                    <a:pt x="60" y="128"/>
                    <a:pt x="60" y="128"/>
                  </a:cubicBezTo>
                  <a:cubicBezTo>
                    <a:pt x="63" y="127"/>
                    <a:pt x="63" y="127"/>
                    <a:pt x="63" y="127"/>
                  </a:cubicBezTo>
                  <a:cubicBezTo>
                    <a:pt x="64" y="128"/>
                    <a:pt x="64" y="128"/>
                    <a:pt x="64" y="128"/>
                  </a:cubicBezTo>
                  <a:cubicBezTo>
                    <a:pt x="63" y="130"/>
                    <a:pt x="63" y="130"/>
                    <a:pt x="64" y="132"/>
                  </a:cubicBezTo>
                  <a:cubicBezTo>
                    <a:pt x="64" y="134"/>
                    <a:pt x="64" y="134"/>
                    <a:pt x="64" y="134"/>
                  </a:cubicBezTo>
                  <a:cubicBezTo>
                    <a:pt x="64" y="139"/>
                    <a:pt x="64" y="139"/>
                    <a:pt x="64" y="139"/>
                  </a:cubicBezTo>
                  <a:cubicBezTo>
                    <a:pt x="74" y="151"/>
                    <a:pt x="74" y="151"/>
                    <a:pt x="74" y="151"/>
                  </a:cubicBezTo>
                  <a:cubicBezTo>
                    <a:pt x="74" y="155"/>
                    <a:pt x="74" y="155"/>
                    <a:pt x="74" y="155"/>
                  </a:cubicBezTo>
                  <a:cubicBezTo>
                    <a:pt x="74" y="155"/>
                    <a:pt x="74" y="159"/>
                    <a:pt x="74" y="159"/>
                  </a:cubicBezTo>
                  <a:cubicBezTo>
                    <a:pt x="73" y="160"/>
                    <a:pt x="74" y="164"/>
                    <a:pt x="74" y="164"/>
                  </a:cubicBezTo>
                  <a:cubicBezTo>
                    <a:pt x="74" y="164"/>
                    <a:pt x="73" y="168"/>
                    <a:pt x="72" y="168"/>
                  </a:cubicBezTo>
                  <a:cubicBezTo>
                    <a:pt x="71" y="169"/>
                    <a:pt x="71" y="171"/>
                    <a:pt x="71" y="171"/>
                  </a:cubicBezTo>
                  <a:cubicBezTo>
                    <a:pt x="73" y="175"/>
                    <a:pt x="73" y="175"/>
                    <a:pt x="73" y="175"/>
                  </a:cubicBezTo>
                  <a:cubicBezTo>
                    <a:pt x="73" y="179"/>
                    <a:pt x="73" y="179"/>
                    <a:pt x="73" y="179"/>
                  </a:cubicBezTo>
                  <a:cubicBezTo>
                    <a:pt x="77" y="182"/>
                    <a:pt x="77" y="182"/>
                    <a:pt x="77" y="182"/>
                  </a:cubicBezTo>
                  <a:cubicBezTo>
                    <a:pt x="81" y="184"/>
                    <a:pt x="81" y="184"/>
                    <a:pt x="81" y="184"/>
                  </a:cubicBezTo>
                  <a:cubicBezTo>
                    <a:pt x="87" y="196"/>
                    <a:pt x="87" y="196"/>
                    <a:pt x="87" y="196"/>
                  </a:cubicBezTo>
                  <a:cubicBezTo>
                    <a:pt x="90" y="196"/>
                    <a:pt x="90" y="196"/>
                    <a:pt x="90" y="196"/>
                  </a:cubicBezTo>
                  <a:cubicBezTo>
                    <a:pt x="93" y="197"/>
                    <a:pt x="93" y="197"/>
                    <a:pt x="93" y="197"/>
                  </a:cubicBezTo>
                  <a:cubicBezTo>
                    <a:pt x="98" y="201"/>
                    <a:pt x="98" y="201"/>
                    <a:pt x="98" y="201"/>
                  </a:cubicBezTo>
                  <a:cubicBezTo>
                    <a:pt x="99" y="199"/>
                    <a:pt x="99" y="199"/>
                    <a:pt x="99" y="199"/>
                  </a:cubicBezTo>
                  <a:cubicBezTo>
                    <a:pt x="105" y="202"/>
                    <a:pt x="105" y="202"/>
                    <a:pt x="105" y="202"/>
                  </a:cubicBezTo>
                  <a:cubicBezTo>
                    <a:pt x="105" y="202"/>
                    <a:pt x="108" y="204"/>
                    <a:pt x="109" y="205"/>
                  </a:cubicBezTo>
                  <a:cubicBezTo>
                    <a:pt x="110" y="206"/>
                    <a:pt x="110" y="208"/>
                    <a:pt x="111" y="209"/>
                  </a:cubicBezTo>
                  <a:cubicBezTo>
                    <a:pt x="111" y="210"/>
                    <a:pt x="111" y="213"/>
                    <a:pt x="111" y="213"/>
                  </a:cubicBezTo>
                  <a:cubicBezTo>
                    <a:pt x="111" y="213"/>
                    <a:pt x="111" y="216"/>
                    <a:pt x="111" y="217"/>
                  </a:cubicBezTo>
                  <a:cubicBezTo>
                    <a:pt x="111" y="218"/>
                    <a:pt x="112" y="220"/>
                    <a:pt x="112" y="221"/>
                  </a:cubicBezTo>
                  <a:cubicBezTo>
                    <a:pt x="112" y="221"/>
                    <a:pt x="114" y="223"/>
                    <a:pt x="116" y="223"/>
                  </a:cubicBezTo>
                  <a:cubicBezTo>
                    <a:pt x="117" y="224"/>
                    <a:pt x="115" y="225"/>
                    <a:pt x="115" y="225"/>
                  </a:cubicBezTo>
                  <a:cubicBezTo>
                    <a:pt x="113" y="228"/>
                    <a:pt x="113" y="228"/>
                    <a:pt x="113" y="228"/>
                  </a:cubicBezTo>
                  <a:cubicBezTo>
                    <a:pt x="113" y="228"/>
                    <a:pt x="117" y="231"/>
                    <a:pt x="117" y="231"/>
                  </a:cubicBezTo>
                  <a:cubicBezTo>
                    <a:pt x="117" y="232"/>
                    <a:pt x="114" y="232"/>
                    <a:pt x="114" y="232"/>
                  </a:cubicBezTo>
                  <a:cubicBezTo>
                    <a:pt x="109" y="230"/>
                    <a:pt x="112" y="232"/>
                    <a:pt x="107" y="233"/>
                  </a:cubicBezTo>
                  <a:cubicBezTo>
                    <a:pt x="107" y="233"/>
                    <a:pt x="103" y="236"/>
                    <a:pt x="103" y="236"/>
                  </a:cubicBezTo>
                  <a:cubicBezTo>
                    <a:pt x="103" y="239"/>
                    <a:pt x="103" y="239"/>
                    <a:pt x="103" y="239"/>
                  </a:cubicBezTo>
                  <a:cubicBezTo>
                    <a:pt x="103" y="239"/>
                    <a:pt x="102" y="241"/>
                    <a:pt x="101" y="242"/>
                  </a:cubicBezTo>
                  <a:cubicBezTo>
                    <a:pt x="101" y="242"/>
                    <a:pt x="102" y="245"/>
                    <a:pt x="102" y="246"/>
                  </a:cubicBezTo>
                  <a:cubicBezTo>
                    <a:pt x="102" y="248"/>
                    <a:pt x="102" y="250"/>
                    <a:pt x="102" y="250"/>
                  </a:cubicBezTo>
                  <a:cubicBezTo>
                    <a:pt x="99" y="255"/>
                    <a:pt x="99" y="255"/>
                    <a:pt x="99" y="255"/>
                  </a:cubicBezTo>
                  <a:cubicBezTo>
                    <a:pt x="99" y="255"/>
                    <a:pt x="96" y="260"/>
                    <a:pt x="97" y="261"/>
                  </a:cubicBezTo>
                  <a:cubicBezTo>
                    <a:pt x="97" y="263"/>
                    <a:pt x="94" y="265"/>
                    <a:pt x="93" y="267"/>
                  </a:cubicBezTo>
                  <a:cubicBezTo>
                    <a:pt x="92" y="268"/>
                    <a:pt x="92" y="272"/>
                    <a:pt x="91" y="273"/>
                  </a:cubicBezTo>
                  <a:cubicBezTo>
                    <a:pt x="90" y="274"/>
                    <a:pt x="88" y="273"/>
                    <a:pt x="88" y="274"/>
                  </a:cubicBezTo>
                  <a:cubicBezTo>
                    <a:pt x="88" y="275"/>
                    <a:pt x="88" y="279"/>
                    <a:pt x="88" y="280"/>
                  </a:cubicBezTo>
                  <a:cubicBezTo>
                    <a:pt x="87" y="281"/>
                    <a:pt x="86" y="282"/>
                    <a:pt x="85" y="282"/>
                  </a:cubicBezTo>
                  <a:cubicBezTo>
                    <a:pt x="85" y="283"/>
                    <a:pt x="85" y="283"/>
                    <a:pt x="83" y="284"/>
                  </a:cubicBezTo>
                  <a:cubicBezTo>
                    <a:pt x="82" y="285"/>
                    <a:pt x="82" y="284"/>
                    <a:pt x="81" y="284"/>
                  </a:cubicBezTo>
                  <a:cubicBezTo>
                    <a:pt x="80" y="284"/>
                    <a:pt x="80" y="285"/>
                    <a:pt x="80" y="286"/>
                  </a:cubicBezTo>
                  <a:cubicBezTo>
                    <a:pt x="79" y="286"/>
                    <a:pt x="79" y="288"/>
                    <a:pt x="80" y="288"/>
                  </a:cubicBezTo>
                  <a:cubicBezTo>
                    <a:pt x="80" y="288"/>
                    <a:pt x="82" y="289"/>
                    <a:pt x="82" y="289"/>
                  </a:cubicBezTo>
                  <a:cubicBezTo>
                    <a:pt x="82" y="289"/>
                    <a:pt x="82" y="293"/>
                    <a:pt x="81" y="293"/>
                  </a:cubicBezTo>
                  <a:cubicBezTo>
                    <a:pt x="80" y="294"/>
                    <a:pt x="80" y="293"/>
                    <a:pt x="79" y="293"/>
                  </a:cubicBezTo>
                  <a:cubicBezTo>
                    <a:pt x="77" y="292"/>
                    <a:pt x="78" y="293"/>
                    <a:pt x="77" y="294"/>
                  </a:cubicBezTo>
                  <a:cubicBezTo>
                    <a:pt x="75" y="295"/>
                    <a:pt x="77" y="295"/>
                    <a:pt x="77" y="297"/>
                  </a:cubicBezTo>
                  <a:cubicBezTo>
                    <a:pt x="77" y="299"/>
                    <a:pt x="77" y="301"/>
                    <a:pt x="75" y="301"/>
                  </a:cubicBezTo>
                  <a:cubicBezTo>
                    <a:pt x="73" y="301"/>
                    <a:pt x="75" y="301"/>
                    <a:pt x="73" y="301"/>
                  </a:cubicBezTo>
                  <a:cubicBezTo>
                    <a:pt x="72" y="302"/>
                    <a:pt x="73" y="303"/>
                    <a:pt x="72" y="305"/>
                  </a:cubicBezTo>
                  <a:cubicBezTo>
                    <a:pt x="72" y="307"/>
                    <a:pt x="72" y="306"/>
                    <a:pt x="73" y="307"/>
                  </a:cubicBezTo>
                  <a:cubicBezTo>
                    <a:pt x="73" y="308"/>
                    <a:pt x="75" y="308"/>
                    <a:pt x="75" y="310"/>
                  </a:cubicBezTo>
                  <a:cubicBezTo>
                    <a:pt x="75" y="311"/>
                    <a:pt x="75" y="311"/>
                    <a:pt x="75" y="312"/>
                  </a:cubicBezTo>
                  <a:cubicBezTo>
                    <a:pt x="74" y="313"/>
                    <a:pt x="72" y="312"/>
                    <a:pt x="72" y="311"/>
                  </a:cubicBezTo>
                  <a:cubicBezTo>
                    <a:pt x="72" y="310"/>
                    <a:pt x="72" y="309"/>
                    <a:pt x="72" y="309"/>
                  </a:cubicBezTo>
                  <a:cubicBezTo>
                    <a:pt x="72" y="309"/>
                    <a:pt x="71" y="308"/>
                    <a:pt x="69" y="308"/>
                  </a:cubicBezTo>
                  <a:cubicBezTo>
                    <a:pt x="67" y="308"/>
                    <a:pt x="69" y="311"/>
                    <a:pt x="69" y="312"/>
                  </a:cubicBezTo>
                  <a:cubicBezTo>
                    <a:pt x="70" y="314"/>
                    <a:pt x="69" y="315"/>
                    <a:pt x="67" y="314"/>
                  </a:cubicBezTo>
                  <a:cubicBezTo>
                    <a:pt x="65" y="314"/>
                    <a:pt x="66" y="314"/>
                    <a:pt x="66" y="314"/>
                  </a:cubicBezTo>
                  <a:cubicBezTo>
                    <a:pt x="66" y="314"/>
                    <a:pt x="62" y="316"/>
                    <a:pt x="62" y="315"/>
                  </a:cubicBezTo>
                  <a:cubicBezTo>
                    <a:pt x="62" y="315"/>
                    <a:pt x="61" y="314"/>
                    <a:pt x="61" y="314"/>
                  </a:cubicBezTo>
                  <a:cubicBezTo>
                    <a:pt x="60" y="314"/>
                    <a:pt x="60" y="315"/>
                    <a:pt x="59" y="316"/>
                  </a:cubicBezTo>
                  <a:cubicBezTo>
                    <a:pt x="59" y="316"/>
                    <a:pt x="57" y="316"/>
                    <a:pt x="57" y="315"/>
                  </a:cubicBezTo>
                  <a:cubicBezTo>
                    <a:pt x="57" y="314"/>
                    <a:pt x="56" y="311"/>
                    <a:pt x="56" y="311"/>
                  </a:cubicBezTo>
                  <a:cubicBezTo>
                    <a:pt x="56" y="311"/>
                    <a:pt x="54" y="312"/>
                    <a:pt x="54" y="313"/>
                  </a:cubicBezTo>
                  <a:cubicBezTo>
                    <a:pt x="54" y="314"/>
                    <a:pt x="55" y="316"/>
                    <a:pt x="55" y="316"/>
                  </a:cubicBezTo>
                  <a:cubicBezTo>
                    <a:pt x="55" y="318"/>
                    <a:pt x="55" y="318"/>
                    <a:pt x="55" y="318"/>
                  </a:cubicBezTo>
                  <a:cubicBezTo>
                    <a:pt x="56" y="319"/>
                    <a:pt x="56" y="319"/>
                    <a:pt x="56" y="319"/>
                  </a:cubicBezTo>
                  <a:cubicBezTo>
                    <a:pt x="59" y="317"/>
                    <a:pt x="59" y="317"/>
                    <a:pt x="59" y="317"/>
                  </a:cubicBezTo>
                  <a:cubicBezTo>
                    <a:pt x="59" y="317"/>
                    <a:pt x="61" y="320"/>
                    <a:pt x="61" y="321"/>
                  </a:cubicBezTo>
                  <a:cubicBezTo>
                    <a:pt x="61" y="321"/>
                    <a:pt x="59" y="323"/>
                    <a:pt x="59" y="323"/>
                  </a:cubicBezTo>
                  <a:cubicBezTo>
                    <a:pt x="59" y="323"/>
                    <a:pt x="61" y="326"/>
                    <a:pt x="61" y="327"/>
                  </a:cubicBezTo>
                  <a:cubicBezTo>
                    <a:pt x="61" y="328"/>
                    <a:pt x="60" y="331"/>
                    <a:pt x="60" y="331"/>
                  </a:cubicBezTo>
                  <a:cubicBezTo>
                    <a:pt x="60" y="331"/>
                    <a:pt x="58" y="333"/>
                    <a:pt x="57" y="333"/>
                  </a:cubicBezTo>
                  <a:cubicBezTo>
                    <a:pt x="57" y="333"/>
                    <a:pt x="57" y="337"/>
                    <a:pt x="57" y="337"/>
                  </a:cubicBezTo>
                  <a:cubicBezTo>
                    <a:pt x="57" y="340"/>
                    <a:pt x="57" y="340"/>
                    <a:pt x="57" y="340"/>
                  </a:cubicBezTo>
                  <a:cubicBezTo>
                    <a:pt x="56" y="343"/>
                    <a:pt x="56" y="343"/>
                    <a:pt x="56" y="343"/>
                  </a:cubicBezTo>
                  <a:cubicBezTo>
                    <a:pt x="58" y="346"/>
                    <a:pt x="58" y="346"/>
                    <a:pt x="58" y="346"/>
                  </a:cubicBezTo>
                  <a:cubicBezTo>
                    <a:pt x="58" y="346"/>
                    <a:pt x="58" y="348"/>
                    <a:pt x="58" y="348"/>
                  </a:cubicBezTo>
                  <a:cubicBezTo>
                    <a:pt x="58" y="349"/>
                    <a:pt x="58" y="350"/>
                    <a:pt x="59" y="352"/>
                  </a:cubicBezTo>
                  <a:cubicBezTo>
                    <a:pt x="59" y="353"/>
                    <a:pt x="59" y="353"/>
                    <a:pt x="59" y="353"/>
                  </a:cubicBezTo>
                  <a:cubicBezTo>
                    <a:pt x="59" y="353"/>
                    <a:pt x="62" y="357"/>
                    <a:pt x="63" y="358"/>
                  </a:cubicBezTo>
                  <a:cubicBezTo>
                    <a:pt x="64" y="359"/>
                    <a:pt x="64" y="359"/>
                    <a:pt x="64" y="359"/>
                  </a:cubicBezTo>
                  <a:cubicBezTo>
                    <a:pt x="64" y="359"/>
                    <a:pt x="64" y="361"/>
                    <a:pt x="64" y="362"/>
                  </a:cubicBezTo>
                  <a:cubicBezTo>
                    <a:pt x="63" y="363"/>
                    <a:pt x="65" y="365"/>
                    <a:pt x="65" y="365"/>
                  </a:cubicBezTo>
                  <a:cubicBezTo>
                    <a:pt x="65" y="366"/>
                    <a:pt x="65" y="367"/>
                    <a:pt x="65" y="369"/>
                  </a:cubicBezTo>
                  <a:cubicBezTo>
                    <a:pt x="65" y="371"/>
                    <a:pt x="65" y="371"/>
                    <a:pt x="65" y="371"/>
                  </a:cubicBezTo>
                  <a:cubicBezTo>
                    <a:pt x="65" y="371"/>
                    <a:pt x="66" y="373"/>
                    <a:pt x="66" y="373"/>
                  </a:cubicBezTo>
                  <a:cubicBezTo>
                    <a:pt x="66" y="374"/>
                    <a:pt x="68" y="375"/>
                    <a:pt x="68" y="375"/>
                  </a:cubicBezTo>
                  <a:cubicBezTo>
                    <a:pt x="68" y="375"/>
                    <a:pt x="68" y="377"/>
                    <a:pt x="68" y="377"/>
                  </a:cubicBezTo>
                  <a:cubicBezTo>
                    <a:pt x="68" y="377"/>
                    <a:pt x="69" y="378"/>
                    <a:pt x="71" y="379"/>
                  </a:cubicBezTo>
                  <a:cubicBezTo>
                    <a:pt x="72" y="380"/>
                    <a:pt x="72" y="383"/>
                    <a:pt x="72" y="383"/>
                  </a:cubicBezTo>
                  <a:cubicBezTo>
                    <a:pt x="72" y="383"/>
                    <a:pt x="71" y="386"/>
                    <a:pt x="71" y="387"/>
                  </a:cubicBezTo>
                  <a:cubicBezTo>
                    <a:pt x="71" y="387"/>
                    <a:pt x="71" y="389"/>
                    <a:pt x="72" y="390"/>
                  </a:cubicBezTo>
                  <a:cubicBezTo>
                    <a:pt x="73" y="392"/>
                    <a:pt x="73" y="392"/>
                    <a:pt x="73" y="392"/>
                  </a:cubicBezTo>
                  <a:cubicBezTo>
                    <a:pt x="73" y="392"/>
                    <a:pt x="73" y="393"/>
                    <a:pt x="73" y="393"/>
                  </a:cubicBezTo>
                  <a:cubicBezTo>
                    <a:pt x="73" y="393"/>
                    <a:pt x="73" y="394"/>
                    <a:pt x="72" y="394"/>
                  </a:cubicBezTo>
                  <a:cubicBezTo>
                    <a:pt x="71" y="395"/>
                    <a:pt x="72" y="395"/>
                    <a:pt x="72" y="396"/>
                  </a:cubicBezTo>
                  <a:cubicBezTo>
                    <a:pt x="72" y="397"/>
                    <a:pt x="74" y="397"/>
                    <a:pt x="74" y="398"/>
                  </a:cubicBezTo>
                  <a:cubicBezTo>
                    <a:pt x="74" y="399"/>
                    <a:pt x="73" y="399"/>
                    <a:pt x="73" y="400"/>
                  </a:cubicBezTo>
                  <a:cubicBezTo>
                    <a:pt x="74" y="401"/>
                    <a:pt x="73" y="403"/>
                    <a:pt x="73" y="403"/>
                  </a:cubicBezTo>
                  <a:cubicBezTo>
                    <a:pt x="73" y="403"/>
                    <a:pt x="73" y="403"/>
                    <a:pt x="72" y="404"/>
                  </a:cubicBezTo>
                  <a:cubicBezTo>
                    <a:pt x="70" y="405"/>
                    <a:pt x="72" y="406"/>
                    <a:pt x="72" y="406"/>
                  </a:cubicBezTo>
                  <a:cubicBezTo>
                    <a:pt x="72" y="407"/>
                    <a:pt x="74" y="408"/>
                    <a:pt x="74" y="408"/>
                  </a:cubicBezTo>
                  <a:cubicBezTo>
                    <a:pt x="74" y="408"/>
                    <a:pt x="74" y="409"/>
                    <a:pt x="73" y="410"/>
                  </a:cubicBezTo>
                  <a:cubicBezTo>
                    <a:pt x="72" y="411"/>
                    <a:pt x="72" y="412"/>
                    <a:pt x="72" y="412"/>
                  </a:cubicBezTo>
                  <a:cubicBezTo>
                    <a:pt x="72" y="413"/>
                    <a:pt x="72" y="412"/>
                    <a:pt x="73" y="414"/>
                  </a:cubicBezTo>
                  <a:cubicBezTo>
                    <a:pt x="74" y="415"/>
                    <a:pt x="73" y="415"/>
                    <a:pt x="73" y="415"/>
                  </a:cubicBezTo>
                  <a:cubicBezTo>
                    <a:pt x="73" y="415"/>
                    <a:pt x="74" y="416"/>
                    <a:pt x="74" y="417"/>
                  </a:cubicBezTo>
                  <a:cubicBezTo>
                    <a:pt x="73" y="418"/>
                    <a:pt x="71" y="418"/>
                    <a:pt x="70" y="419"/>
                  </a:cubicBezTo>
                  <a:cubicBezTo>
                    <a:pt x="70" y="419"/>
                    <a:pt x="70" y="421"/>
                    <a:pt x="70" y="421"/>
                  </a:cubicBezTo>
                  <a:cubicBezTo>
                    <a:pt x="70" y="422"/>
                    <a:pt x="73" y="420"/>
                    <a:pt x="74" y="419"/>
                  </a:cubicBezTo>
                  <a:cubicBezTo>
                    <a:pt x="75" y="419"/>
                    <a:pt x="75" y="418"/>
                    <a:pt x="75" y="418"/>
                  </a:cubicBezTo>
                  <a:cubicBezTo>
                    <a:pt x="75" y="418"/>
                    <a:pt x="76" y="419"/>
                    <a:pt x="76" y="420"/>
                  </a:cubicBezTo>
                  <a:cubicBezTo>
                    <a:pt x="76" y="420"/>
                    <a:pt x="75" y="422"/>
                    <a:pt x="75" y="423"/>
                  </a:cubicBezTo>
                  <a:cubicBezTo>
                    <a:pt x="75" y="423"/>
                    <a:pt x="76" y="423"/>
                    <a:pt x="76" y="423"/>
                  </a:cubicBezTo>
                  <a:cubicBezTo>
                    <a:pt x="76" y="423"/>
                    <a:pt x="77" y="423"/>
                    <a:pt x="77" y="424"/>
                  </a:cubicBezTo>
                  <a:cubicBezTo>
                    <a:pt x="78" y="424"/>
                    <a:pt x="77" y="425"/>
                    <a:pt x="76" y="425"/>
                  </a:cubicBezTo>
                  <a:cubicBezTo>
                    <a:pt x="76" y="425"/>
                    <a:pt x="75" y="426"/>
                    <a:pt x="75" y="426"/>
                  </a:cubicBezTo>
                  <a:cubicBezTo>
                    <a:pt x="75" y="426"/>
                    <a:pt x="74" y="428"/>
                    <a:pt x="73" y="428"/>
                  </a:cubicBezTo>
                  <a:cubicBezTo>
                    <a:pt x="73" y="428"/>
                    <a:pt x="75" y="429"/>
                    <a:pt x="75" y="429"/>
                  </a:cubicBezTo>
                  <a:cubicBezTo>
                    <a:pt x="76" y="429"/>
                    <a:pt x="76" y="429"/>
                    <a:pt x="76" y="429"/>
                  </a:cubicBezTo>
                  <a:cubicBezTo>
                    <a:pt x="75" y="430"/>
                    <a:pt x="75" y="430"/>
                    <a:pt x="75" y="430"/>
                  </a:cubicBezTo>
                  <a:cubicBezTo>
                    <a:pt x="75" y="430"/>
                    <a:pt x="74" y="433"/>
                    <a:pt x="74" y="433"/>
                  </a:cubicBezTo>
                  <a:cubicBezTo>
                    <a:pt x="74" y="433"/>
                    <a:pt x="75" y="435"/>
                    <a:pt x="75" y="435"/>
                  </a:cubicBezTo>
                  <a:cubicBezTo>
                    <a:pt x="75" y="435"/>
                    <a:pt x="79" y="435"/>
                    <a:pt x="79" y="434"/>
                  </a:cubicBezTo>
                  <a:cubicBezTo>
                    <a:pt x="80" y="433"/>
                    <a:pt x="80" y="434"/>
                    <a:pt x="80" y="434"/>
                  </a:cubicBezTo>
                  <a:cubicBezTo>
                    <a:pt x="80" y="434"/>
                    <a:pt x="82" y="434"/>
                    <a:pt x="83" y="433"/>
                  </a:cubicBezTo>
                  <a:cubicBezTo>
                    <a:pt x="83" y="433"/>
                    <a:pt x="83" y="433"/>
                    <a:pt x="83" y="432"/>
                  </a:cubicBezTo>
                  <a:cubicBezTo>
                    <a:pt x="84" y="432"/>
                    <a:pt x="85" y="433"/>
                    <a:pt x="85" y="433"/>
                  </a:cubicBezTo>
                  <a:cubicBezTo>
                    <a:pt x="85" y="434"/>
                    <a:pt x="85" y="434"/>
                    <a:pt x="85" y="434"/>
                  </a:cubicBezTo>
                  <a:cubicBezTo>
                    <a:pt x="87" y="434"/>
                    <a:pt x="87" y="434"/>
                    <a:pt x="87" y="434"/>
                  </a:cubicBezTo>
                  <a:cubicBezTo>
                    <a:pt x="87" y="435"/>
                    <a:pt x="87" y="435"/>
                    <a:pt x="87" y="435"/>
                  </a:cubicBezTo>
                  <a:cubicBezTo>
                    <a:pt x="87" y="435"/>
                    <a:pt x="88" y="435"/>
                    <a:pt x="88" y="435"/>
                  </a:cubicBezTo>
                  <a:cubicBezTo>
                    <a:pt x="89" y="435"/>
                    <a:pt x="89" y="436"/>
                    <a:pt x="89" y="436"/>
                  </a:cubicBezTo>
                  <a:cubicBezTo>
                    <a:pt x="89" y="436"/>
                    <a:pt x="89" y="437"/>
                    <a:pt x="89" y="438"/>
                  </a:cubicBezTo>
                  <a:cubicBezTo>
                    <a:pt x="89" y="438"/>
                    <a:pt x="89" y="438"/>
                    <a:pt x="89" y="439"/>
                  </a:cubicBezTo>
                  <a:cubicBezTo>
                    <a:pt x="90" y="439"/>
                    <a:pt x="92" y="439"/>
                    <a:pt x="93" y="439"/>
                  </a:cubicBezTo>
                  <a:cubicBezTo>
                    <a:pt x="94" y="438"/>
                    <a:pt x="94" y="437"/>
                    <a:pt x="94" y="437"/>
                  </a:cubicBezTo>
                  <a:cubicBezTo>
                    <a:pt x="94" y="436"/>
                    <a:pt x="94" y="435"/>
                    <a:pt x="94" y="435"/>
                  </a:cubicBezTo>
                  <a:cubicBezTo>
                    <a:pt x="95" y="435"/>
                    <a:pt x="96" y="435"/>
                    <a:pt x="96" y="435"/>
                  </a:cubicBezTo>
                  <a:cubicBezTo>
                    <a:pt x="96" y="435"/>
                    <a:pt x="95" y="436"/>
                    <a:pt x="95" y="436"/>
                  </a:cubicBezTo>
                  <a:cubicBezTo>
                    <a:pt x="95" y="436"/>
                    <a:pt x="94" y="439"/>
                    <a:pt x="94" y="439"/>
                  </a:cubicBezTo>
                  <a:cubicBezTo>
                    <a:pt x="94" y="440"/>
                    <a:pt x="95" y="440"/>
                    <a:pt x="95" y="441"/>
                  </a:cubicBezTo>
                  <a:cubicBezTo>
                    <a:pt x="95" y="441"/>
                    <a:pt x="98" y="441"/>
                    <a:pt x="98" y="441"/>
                  </a:cubicBezTo>
                  <a:cubicBezTo>
                    <a:pt x="98" y="441"/>
                    <a:pt x="99" y="440"/>
                    <a:pt x="99" y="438"/>
                  </a:cubicBezTo>
                  <a:cubicBezTo>
                    <a:pt x="99" y="437"/>
                    <a:pt x="100" y="439"/>
                    <a:pt x="100" y="439"/>
                  </a:cubicBezTo>
                  <a:cubicBezTo>
                    <a:pt x="101" y="440"/>
                    <a:pt x="101" y="441"/>
                    <a:pt x="100" y="441"/>
                  </a:cubicBezTo>
                  <a:cubicBezTo>
                    <a:pt x="100" y="442"/>
                    <a:pt x="100" y="441"/>
                    <a:pt x="98" y="442"/>
                  </a:cubicBezTo>
                  <a:cubicBezTo>
                    <a:pt x="95" y="442"/>
                    <a:pt x="97" y="443"/>
                    <a:pt x="97" y="444"/>
                  </a:cubicBezTo>
                  <a:cubicBezTo>
                    <a:pt x="97" y="444"/>
                    <a:pt x="99" y="445"/>
                    <a:pt x="102" y="445"/>
                  </a:cubicBezTo>
                  <a:cubicBezTo>
                    <a:pt x="104" y="445"/>
                    <a:pt x="103" y="444"/>
                    <a:pt x="103" y="444"/>
                  </a:cubicBezTo>
                  <a:cubicBezTo>
                    <a:pt x="103" y="443"/>
                    <a:pt x="104" y="441"/>
                    <a:pt x="104" y="441"/>
                  </a:cubicBezTo>
                  <a:cubicBezTo>
                    <a:pt x="104" y="441"/>
                    <a:pt x="105" y="442"/>
                    <a:pt x="105" y="443"/>
                  </a:cubicBezTo>
                  <a:cubicBezTo>
                    <a:pt x="105" y="443"/>
                    <a:pt x="105" y="444"/>
                    <a:pt x="104" y="445"/>
                  </a:cubicBezTo>
                  <a:cubicBezTo>
                    <a:pt x="103" y="446"/>
                    <a:pt x="104" y="447"/>
                    <a:pt x="104" y="447"/>
                  </a:cubicBezTo>
                  <a:cubicBezTo>
                    <a:pt x="104" y="447"/>
                    <a:pt x="104" y="447"/>
                    <a:pt x="104" y="448"/>
                  </a:cubicBezTo>
                  <a:cubicBezTo>
                    <a:pt x="104" y="448"/>
                    <a:pt x="102" y="449"/>
                    <a:pt x="102" y="450"/>
                  </a:cubicBezTo>
                  <a:cubicBezTo>
                    <a:pt x="102" y="450"/>
                    <a:pt x="102" y="451"/>
                    <a:pt x="103" y="452"/>
                  </a:cubicBezTo>
                  <a:cubicBezTo>
                    <a:pt x="104" y="453"/>
                    <a:pt x="103" y="452"/>
                    <a:pt x="103" y="453"/>
                  </a:cubicBezTo>
                  <a:cubicBezTo>
                    <a:pt x="103" y="453"/>
                    <a:pt x="102" y="454"/>
                    <a:pt x="102" y="455"/>
                  </a:cubicBezTo>
                  <a:cubicBezTo>
                    <a:pt x="102" y="455"/>
                    <a:pt x="103" y="455"/>
                    <a:pt x="103" y="455"/>
                  </a:cubicBezTo>
                  <a:cubicBezTo>
                    <a:pt x="104" y="454"/>
                    <a:pt x="104" y="454"/>
                    <a:pt x="104" y="454"/>
                  </a:cubicBezTo>
                  <a:cubicBezTo>
                    <a:pt x="104" y="454"/>
                    <a:pt x="105" y="454"/>
                    <a:pt x="107" y="454"/>
                  </a:cubicBezTo>
                  <a:cubicBezTo>
                    <a:pt x="108" y="453"/>
                    <a:pt x="108" y="453"/>
                    <a:pt x="108" y="453"/>
                  </a:cubicBezTo>
                  <a:cubicBezTo>
                    <a:pt x="108" y="453"/>
                    <a:pt x="106" y="452"/>
                    <a:pt x="106" y="451"/>
                  </a:cubicBezTo>
                  <a:cubicBezTo>
                    <a:pt x="106" y="450"/>
                    <a:pt x="107" y="450"/>
                    <a:pt x="107" y="450"/>
                  </a:cubicBezTo>
                  <a:cubicBezTo>
                    <a:pt x="107" y="450"/>
                    <a:pt x="110" y="450"/>
                    <a:pt x="110" y="450"/>
                  </a:cubicBezTo>
                  <a:cubicBezTo>
                    <a:pt x="111" y="449"/>
                    <a:pt x="110" y="450"/>
                    <a:pt x="113" y="449"/>
                  </a:cubicBezTo>
                  <a:cubicBezTo>
                    <a:pt x="115" y="449"/>
                    <a:pt x="113" y="448"/>
                    <a:pt x="113" y="447"/>
                  </a:cubicBezTo>
                  <a:cubicBezTo>
                    <a:pt x="113" y="447"/>
                    <a:pt x="113" y="445"/>
                    <a:pt x="113" y="445"/>
                  </a:cubicBezTo>
                  <a:cubicBezTo>
                    <a:pt x="113" y="445"/>
                    <a:pt x="113" y="446"/>
                    <a:pt x="116" y="448"/>
                  </a:cubicBezTo>
                  <a:cubicBezTo>
                    <a:pt x="118" y="450"/>
                    <a:pt x="116" y="448"/>
                    <a:pt x="116" y="448"/>
                  </a:cubicBezTo>
                  <a:cubicBezTo>
                    <a:pt x="116" y="448"/>
                    <a:pt x="116" y="450"/>
                    <a:pt x="115" y="450"/>
                  </a:cubicBezTo>
                  <a:cubicBezTo>
                    <a:pt x="114" y="451"/>
                    <a:pt x="114" y="451"/>
                    <a:pt x="113" y="452"/>
                  </a:cubicBezTo>
                  <a:cubicBezTo>
                    <a:pt x="112" y="453"/>
                    <a:pt x="113" y="453"/>
                    <a:pt x="113" y="453"/>
                  </a:cubicBezTo>
                  <a:cubicBezTo>
                    <a:pt x="114" y="453"/>
                    <a:pt x="114" y="453"/>
                    <a:pt x="116" y="453"/>
                  </a:cubicBezTo>
                  <a:cubicBezTo>
                    <a:pt x="118" y="453"/>
                    <a:pt x="118" y="452"/>
                    <a:pt x="118" y="452"/>
                  </a:cubicBezTo>
                  <a:cubicBezTo>
                    <a:pt x="118" y="452"/>
                    <a:pt x="118" y="453"/>
                    <a:pt x="119" y="453"/>
                  </a:cubicBezTo>
                  <a:cubicBezTo>
                    <a:pt x="120" y="454"/>
                    <a:pt x="119" y="455"/>
                    <a:pt x="119" y="455"/>
                  </a:cubicBezTo>
                  <a:cubicBezTo>
                    <a:pt x="119" y="455"/>
                    <a:pt x="118" y="455"/>
                    <a:pt x="117" y="455"/>
                  </a:cubicBezTo>
                  <a:cubicBezTo>
                    <a:pt x="117" y="456"/>
                    <a:pt x="118" y="456"/>
                    <a:pt x="118" y="456"/>
                  </a:cubicBezTo>
                  <a:cubicBezTo>
                    <a:pt x="119" y="456"/>
                    <a:pt x="120" y="456"/>
                    <a:pt x="120" y="456"/>
                  </a:cubicBezTo>
                  <a:cubicBezTo>
                    <a:pt x="121" y="456"/>
                    <a:pt x="122" y="456"/>
                    <a:pt x="122" y="455"/>
                  </a:cubicBezTo>
                  <a:cubicBezTo>
                    <a:pt x="122" y="455"/>
                    <a:pt x="123" y="454"/>
                    <a:pt x="123" y="454"/>
                  </a:cubicBezTo>
                  <a:cubicBezTo>
                    <a:pt x="124" y="453"/>
                    <a:pt x="124" y="453"/>
                    <a:pt x="124" y="452"/>
                  </a:cubicBezTo>
                  <a:cubicBezTo>
                    <a:pt x="124" y="451"/>
                    <a:pt x="124" y="451"/>
                    <a:pt x="124" y="451"/>
                  </a:cubicBezTo>
                  <a:cubicBezTo>
                    <a:pt x="124" y="451"/>
                    <a:pt x="124" y="450"/>
                    <a:pt x="124" y="449"/>
                  </a:cubicBezTo>
                  <a:cubicBezTo>
                    <a:pt x="125" y="448"/>
                    <a:pt x="126" y="450"/>
                    <a:pt x="126" y="450"/>
                  </a:cubicBezTo>
                  <a:cubicBezTo>
                    <a:pt x="125" y="451"/>
                    <a:pt x="125" y="451"/>
                    <a:pt x="125" y="451"/>
                  </a:cubicBezTo>
                  <a:cubicBezTo>
                    <a:pt x="127" y="452"/>
                    <a:pt x="127" y="452"/>
                    <a:pt x="127" y="452"/>
                  </a:cubicBezTo>
                  <a:cubicBezTo>
                    <a:pt x="127" y="452"/>
                    <a:pt x="127" y="452"/>
                    <a:pt x="128" y="452"/>
                  </a:cubicBezTo>
                  <a:cubicBezTo>
                    <a:pt x="130" y="451"/>
                    <a:pt x="129" y="451"/>
                    <a:pt x="129" y="451"/>
                  </a:cubicBezTo>
                  <a:cubicBezTo>
                    <a:pt x="130" y="450"/>
                    <a:pt x="131" y="449"/>
                    <a:pt x="131" y="449"/>
                  </a:cubicBezTo>
                  <a:cubicBezTo>
                    <a:pt x="131" y="449"/>
                    <a:pt x="134" y="449"/>
                    <a:pt x="135" y="448"/>
                  </a:cubicBezTo>
                  <a:cubicBezTo>
                    <a:pt x="137" y="448"/>
                    <a:pt x="135" y="448"/>
                    <a:pt x="135" y="447"/>
                  </a:cubicBezTo>
                  <a:cubicBezTo>
                    <a:pt x="135" y="446"/>
                    <a:pt x="136" y="445"/>
                    <a:pt x="137" y="444"/>
                  </a:cubicBezTo>
                  <a:cubicBezTo>
                    <a:pt x="137" y="444"/>
                    <a:pt x="139" y="444"/>
                    <a:pt x="139" y="443"/>
                  </a:cubicBezTo>
                  <a:cubicBezTo>
                    <a:pt x="140" y="443"/>
                    <a:pt x="141" y="443"/>
                    <a:pt x="141" y="443"/>
                  </a:cubicBezTo>
                  <a:cubicBezTo>
                    <a:pt x="142" y="442"/>
                    <a:pt x="142" y="441"/>
                    <a:pt x="143" y="441"/>
                  </a:cubicBezTo>
                  <a:cubicBezTo>
                    <a:pt x="143" y="440"/>
                    <a:pt x="145" y="440"/>
                    <a:pt x="145" y="440"/>
                  </a:cubicBezTo>
                  <a:cubicBezTo>
                    <a:pt x="145" y="440"/>
                    <a:pt x="146" y="442"/>
                    <a:pt x="147" y="442"/>
                  </a:cubicBezTo>
                  <a:cubicBezTo>
                    <a:pt x="148" y="443"/>
                    <a:pt x="149" y="442"/>
                    <a:pt x="149" y="442"/>
                  </a:cubicBezTo>
                  <a:cubicBezTo>
                    <a:pt x="149" y="442"/>
                    <a:pt x="151" y="441"/>
                    <a:pt x="151" y="441"/>
                  </a:cubicBezTo>
                  <a:cubicBezTo>
                    <a:pt x="152" y="440"/>
                    <a:pt x="153" y="439"/>
                    <a:pt x="153" y="439"/>
                  </a:cubicBezTo>
                  <a:cubicBezTo>
                    <a:pt x="153" y="439"/>
                    <a:pt x="154" y="438"/>
                    <a:pt x="154" y="437"/>
                  </a:cubicBezTo>
                  <a:cubicBezTo>
                    <a:pt x="154" y="437"/>
                    <a:pt x="154" y="436"/>
                    <a:pt x="155" y="436"/>
                  </a:cubicBezTo>
                  <a:cubicBezTo>
                    <a:pt x="155" y="436"/>
                    <a:pt x="156" y="436"/>
                    <a:pt x="156" y="436"/>
                  </a:cubicBezTo>
                  <a:cubicBezTo>
                    <a:pt x="156" y="436"/>
                    <a:pt x="158" y="435"/>
                    <a:pt x="158" y="435"/>
                  </a:cubicBezTo>
                  <a:cubicBezTo>
                    <a:pt x="158" y="434"/>
                    <a:pt x="159" y="432"/>
                    <a:pt x="159" y="432"/>
                  </a:cubicBezTo>
                  <a:cubicBezTo>
                    <a:pt x="159" y="432"/>
                    <a:pt x="160" y="434"/>
                    <a:pt x="161" y="434"/>
                  </a:cubicBezTo>
                  <a:cubicBezTo>
                    <a:pt x="161" y="434"/>
                    <a:pt x="167" y="428"/>
                    <a:pt x="167" y="428"/>
                  </a:cubicBezTo>
                  <a:cubicBezTo>
                    <a:pt x="167" y="428"/>
                    <a:pt x="167" y="427"/>
                    <a:pt x="167" y="426"/>
                  </a:cubicBezTo>
                  <a:cubicBezTo>
                    <a:pt x="167" y="426"/>
                    <a:pt x="168" y="424"/>
                    <a:pt x="169" y="424"/>
                  </a:cubicBezTo>
                  <a:cubicBezTo>
                    <a:pt x="169" y="424"/>
                    <a:pt x="171" y="425"/>
                    <a:pt x="171" y="425"/>
                  </a:cubicBezTo>
                  <a:cubicBezTo>
                    <a:pt x="171" y="425"/>
                    <a:pt x="172" y="425"/>
                    <a:pt x="173" y="424"/>
                  </a:cubicBezTo>
                  <a:cubicBezTo>
                    <a:pt x="173" y="424"/>
                    <a:pt x="173" y="422"/>
                    <a:pt x="173" y="422"/>
                  </a:cubicBezTo>
                  <a:cubicBezTo>
                    <a:pt x="173" y="422"/>
                    <a:pt x="175" y="422"/>
                    <a:pt x="175" y="421"/>
                  </a:cubicBezTo>
                  <a:cubicBezTo>
                    <a:pt x="176" y="421"/>
                    <a:pt x="176" y="420"/>
                    <a:pt x="176" y="420"/>
                  </a:cubicBezTo>
                  <a:cubicBezTo>
                    <a:pt x="176" y="419"/>
                    <a:pt x="175" y="416"/>
                    <a:pt x="175" y="416"/>
                  </a:cubicBezTo>
                  <a:cubicBezTo>
                    <a:pt x="175" y="416"/>
                    <a:pt x="176" y="416"/>
                    <a:pt x="177" y="416"/>
                  </a:cubicBezTo>
                  <a:cubicBezTo>
                    <a:pt x="178" y="416"/>
                    <a:pt x="179" y="417"/>
                    <a:pt x="180" y="417"/>
                  </a:cubicBezTo>
                  <a:cubicBezTo>
                    <a:pt x="181" y="418"/>
                    <a:pt x="183" y="415"/>
                    <a:pt x="183" y="415"/>
                  </a:cubicBezTo>
                  <a:cubicBezTo>
                    <a:pt x="183" y="414"/>
                    <a:pt x="183" y="412"/>
                    <a:pt x="183" y="412"/>
                  </a:cubicBezTo>
                  <a:cubicBezTo>
                    <a:pt x="183" y="412"/>
                    <a:pt x="184" y="413"/>
                    <a:pt x="185" y="413"/>
                  </a:cubicBezTo>
                  <a:cubicBezTo>
                    <a:pt x="186" y="414"/>
                    <a:pt x="188" y="414"/>
                    <a:pt x="188" y="414"/>
                  </a:cubicBezTo>
                  <a:cubicBezTo>
                    <a:pt x="189" y="414"/>
                    <a:pt x="189" y="413"/>
                    <a:pt x="189" y="413"/>
                  </a:cubicBezTo>
                  <a:cubicBezTo>
                    <a:pt x="189" y="413"/>
                    <a:pt x="191" y="412"/>
                    <a:pt x="191" y="412"/>
                  </a:cubicBezTo>
                  <a:cubicBezTo>
                    <a:pt x="191" y="412"/>
                    <a:pt x="192" y="411"/>
                    <a:pt x="193" y="410"/>
                  </a:cubicBezTo>
                  <a:cubicBezTo>
                    <a:pt x="194" y="410"/>
                    <a:pt x="195" y="409"/>
                    <a:pt x="195" y="408"/>
                  </a:cubicBezTo>
                  <a:cubicBezTo>
                    <a:pt x="195" y="408"/>
                    <a:pt x="196" y="407"/>
                    <a:pt x="196" y="406"/>
                  </a:cubicBezTo>
                  <a:cubicBezTo>
                    <a:pt x="196" y="406"/>
                    <a:pt x="199" y="405"/>
                    <a:pt x="199" y="405"/>
                  </a:cubicBezTo>
                  <a:cubicBezTo>
                    <a:pt x="201" y="406"/>
                    <a:pt x="201" y="406"/>
                    <a:pt x="201" y="406"/>
                  </a:cubicBezTo>
                  <a:cubicBezTo>
                    <a:pt x="205" y="407"/>
                    <a:pt x="205" y="407"/>
                    <a:pt x="205" y="407"/>
                  </a:cubicBezTo>
                  <a:cubicBezTo>
                    <a:pt x="205" y="407"/>
                    <a:pt x="207" y="406"/>
                    <a:pt x="207" y="406"/>
                  </a:cubicBezTo>
                  <a:cubicBezTo>
                    <a:pt x="207" y="406"/>
                    <a:pt x="207" y="406"/>
                    <a:pt x="208" y="406"/>
                  </a:cubicBezTo>
                  <a:lnTo>
                    <a:pt x="207" y="405"/>
                  </a:lnTo>
                  <a:close/>
                </a:path>
              </a:pathLst>
            </a:custGeom>
            <a:solidFill>
              <a:srgbClr val="0181C7"/>
            </a:solid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305" name="Freeform 216"/>
            <p:cNvSpPr>
              <a:spLocks/>
            </p:cNvSpPr>
            <p:nvPr/>
          </p:nvSpPr>
          <p:spPr bwMode="auto">
            <a:xfrm>
              <a:off x="5187177" y="2088246"/>
              <a:ext cx="12700" cy="12700"/>
            </a:xfrm>
            <a:custGeom>
              <a:avLst/>
              <a:gdLst>
                <a:gd name="T0" fmla="*/ 1 w 4"/>
                <a:gd name="T1" fmla="*/ 1 h 4"/>
                <a:gd name="T2" fmla="*/ 0 w 4"/>
                <a:gd name="T3" fmla="*/ 2 h 4"/>
                <a:gd name="T4" fmla="*/ 0 w 4"/>
                <a:gd name="T5" fmla="*/ 3 h 4"/>
                <a:gd name="T6" fmla="*/ 1 w 4"/>
                <a:gd name="T7" fmla="*/ 4 h 4"/>
                <a:gd name="T8" fmla="*/ 3 w 4"/>
                <a:gd name="T9" fmla="*/ 2 h 4"/>
                <a:gd name="T10" fmla="*/ 2 w 4"/>
                <a:gd name="T11" fmla="*/ 1 h 4"/>
                <a:gd name="T12" fmla="*/ 1 w 4"/>
                <a:gd name="T13" fmla="*/ 1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1" y="1"/>
                  </a:moveTo>
                  <a:cubicBezTo>
                    <a:pt x="1" y="1"/>
                    <a:pt x="0" y="2"/>
                    <a:pt x="0" y="2"/>
                  </a:cubicBezTo>
                  <a:cubicBezTo>
                    <a:pt x="0" y="2"/>
                    <a:pt x="0" y="3"/>
                    <a:pt x="0" y="3"/>
                  </a:cubicBezTo>
                  <a:cubicBezTo>
                    <a:pt x="0" y="4"/>
                    <a:pt x="1" y="4"/>
                    <a:pt x="1" y="4"/>
                  </a:cubicBezTo>
                  <a:cubicBezTo>
                    <a:pt x="2" y="4"/>
                    <a:pt x="2" y="3"/>
                    <a:pt x="3" y="2"/>
                  </a:cubicBezTo>
                  <a:cubicBezTo>
                    <a:pt x="4" y="2"/>
                    <a:pt x="3" y="1"/>
                    <a:pt x="2" y="1"/>
                  </a:cubicBezTo>
                  <a:cubicBezTo>
                    <a:pt x="2" y="0"/>
                    <a:pt x="2" y="1"/>
                    <a:pt x="1" y="1"/>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306" name="Freeform 217"/>
            <p:cNvSpPr>
              <a:spLocks/>
            </p:cNvSpPr>
            <p:nvPr/>
          </p:nvSpPr>
          <p:spPr bwMode="auto">
            <a:xfrm>
              <a:off x="5218926" y="2091421"/>
              <a:ext cx="19050" cy="9525"/>
            </a:xfrm>
            <a:custGeom>
              <a:avLst/>
              <a:gdLst>
                <a:gd name="T0" fmla="*/ 4 w 6"/>
                <a:gd name="T1" fmla="*/ 1 h 3"/>
                <a:gd name="T2" fmla="*/ 3 w 6"/>
                <a:gd name="T3" fmla="*/ 0 h 3"/>
                <a:gd name="T4" fmla="*/ 0 w 6"/>
                <a:gd name="T5" fmla="*/ 1 h 3"/>
                <a:gd name="T6" fmla="*/ 0 w 6"/>
                <a:gd name="T7" fmla="*/ 2 h 3"/>
                <a:gd name="T8" fmla="*/ 2 w 6"/>
                <a:gd name="T9" fmla="*/ 3 h 3"/>
                <a:gd name="T10" fmla="*/ 5 w 6"/>
                <a:gd name="T11" fmla="*/ 1 h 3"/>
                <a:gd name="T12" fmla="*/ 4 w 6"/>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4" y="1"/>
                  </a:moveTo>
                  <a:cubicBezTo>
                    <a:pt x="3" y="0"/>
                    <a:pt x="3" y="0"/>
                    <a:pt x="3" y="0"/>
                  </a:cubicBezTo>
                  <a:cubicBezTo>
                    <a:pt x="3" y="0"/>
                    <a:pt x="1" y="1"/>
                    <a:pt x="0" y="1"/>
                  </a:cubicBezTo>
                  <a:cubicBezTo>
                    <a:pt x="0" y="1"/>
                    <a:pt x="0" y="2"/>
                    <a:pt x="0" y="2"/>
                  </a:cubicBezTo>
                  <a:cubicBezTo>
                    <a:pt x="0" y="2"/>
                    <a:pt x="1" y="3"/>
                    <a:pt x="2" y="3"/>
                  </a:cubicBezTo>
                  <a:cubicBezTo>
                    <a:pt x="2" y="3"/>
                    <a:pt x="4" y="2"/>
                    <a:pt x="5" y="1"/>
                  </a:cubicBezTo>
                  <a:cubicBezTo>
                    <a:pt x="6" y="1"/>
                    <a:pt x="4" y="1"/>
                    <a:pt x="4" y="1"/>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307" name="Freeform 218"/>
            <p:cNvSpPr>
              <a:spLocks/>
            </p:cNvSpPr>
            <p:nvPr/>
          </p:nvSpPr>
          <p:spPr bwMode="auto">
            <a:xfrm>
              <a:off x="5079227" y="2015220"/>
              <a:ext cx="12700" cy="31750"/>
            </a:xfrm>
            <a:custGeom>
              <a:avLst/>
              <a:gdLst>
                <a:gd name="T0" fmla="*/ 1 w 4"/>
                <a:gd name="T1" fmla="*/ 3 h 10"/>
                <a:gd name="T2" fmla="*/ 2 w 4"/>
                <a:gd name="T3" fmla="*/ 5 h 10"/>
                <a:gd name="T4" fmla="*/ 1 w 4"/>
                <a:gd name="T5" fmla="*/ 7 h 10"/>
                <a:gd name="T6" fmla="*/ 4 w 4"/>
                <a:gd name="T7" fmla="*/ 5 h 10"/>
                <a:gd name="T8" fmla="*/ 3 w 4"/>
                <a:gd name="T9" fmla="*/ 2 h 10"/>
                <a:gd name="T10" fmla="*/ 1 w 4"/>
                <a:gd name="T11" fmla="*/ 3 h 10"/>
              </a:gdLst>
              <a:ahLst/>
              <a:cxnLst>
                <a:cxn ang="0">
                  <a:pos x="T0" y="T1"/>
                </a:cxn>
                <a:cxn ang="0">
                  <a:pos x="T2" y="T3"/>
                </a:cxn>
                <a:cxn ang="0">
                  <a:pos x="T4" y="T5"/>
                </a:cxn>
                <a:cxn ang="0">
                  <a:pos x="T6" y="T7"/>
                </a:cxn>
                <a:cxn ang="0">
                  <a:pos x="T8" y="T9"/>
                </a:cxn>
                <a:cxn ang="0">
                  <a:pos x="T10" y="T11"/>
                </a:cxn>
              </a:cxnLst>
              <a:rect l="0" t="0" r="r" b="b"/>
              <a:pathLst>
                <a:path w="4" h="10">
                  <a:moveTo>
                    <a:pt x="1" y="3"/>
                  </a:moveTo>
                  <a:cubicBezTo>
                    <a:pt x="0" y="4"/>
                    <a:pt x="1" y="5"/>
                    <a:pt x="2" y="5"/>
                  </a:cubicBezTo>
                  <a:cubicBezTo>
                    <a:pt x="2" y="6"/>
                    <a:pt x="1" y="5"/>
                    <a:pt x="1" y="7"/>
                  </a:cubicBezTo>
                  <a:cubicBezTo>
                    <a:pt x="0" y="10"/>
                    <a:pt x="4" y="8"/>
                    <a:pt x="4" y="5"/>
                  </a:cubicBezTo>
                  <a:cubicBezTo>
                    <a:pt x="4" y="4"/>
                    <a:pt x="4" y="4"/>
                    <a:pt x="3" y="2"/>
                  </a:cubicBezTo>
                  <a:cubicBezTo>
                    <a:pt x="1" y="0"/>
                    <a:pt x="2" y="2"/>
                    <a:pt x="1" y="3"/>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308" name="Freeform 219"/>
            <p:cNvSpPr>
              <a:spLocks/>
            </p:cNvSpPr>
            <p:nvPr/>
          </p:nvSpPr>
          <p:spPr bwMode="auto">
            <a:xfrm>
              <a:off x="5120501" y="2053321"/>
              <a:ext cx="41274" cy="22225"/>
            </a:xfrm>
            <a:custGeom>
              <a:avLst/>
              <a:gdLst>
                <a:gd name="T0" fmla="*/ 9 w 13"/>
                <a:gd name="T1" fmla="*/ 1 h 7"/>
                <a:gd name="T2" fmla="*/ 7 w 13"/>
                <a:gd name="T3" fmla="*/ 0 h 7"/>
                <a:gd name="T4" fmla="*/ 5 w 13"/>
                <a:gd name="T5" fmla="*/ 0 h 7"/>
                <a:gd name="T6" fmla="*/ 4 w 13"/>
                <a:gd name="T7" fmla="*/ 2 h 7"/>
                <a:gd name="T8" fmla="*/ 3 w 13"/>
                <a:gd name="T9" fmla="*/ 2 h 7"/>
                <a:gd name="T10" fmla="*/ 1 w 13"/>
                <a:gd name="T11" fmla="*/ 1 h 7"/>
                <a:gd name="T12" fmla="*/ 1 w 13"/>
                <a:gd name="T13" fmla="*/ 3 h 7"/>
                <a:gd name="T14" fmla="*/ 1 w 13"/>
                <a:gd name="T15" fmla="*/ 4 h 7"/>
                <a:gd name="T16" fmla="*/ 1 w 13"/>
                <a:gd name="T17" fmla="*/ 6 h 7"/>
                <a:gd name="T18" fmla="*/ 2 w 13"/>
                <a:gd name="T19" fmla="*/ 7 h 7"/>
                <a:gd name="T20" fmla="*/ 4 w 13"/>
                <a:gd name="T21" fmla="*/ 6 h 7"/>
                <a:gd name="T22" fmla="*/ 7 w 13"/>
                <a:gd name="T23" fmla="*/ 4 h 7"/>
                <a:gd name="T24" fmla="*/ 8 w 13"/>
                <a:gd name="T25" fmla="*/ 2 h 7"/>
                <a:gd name="T26" fmla="*/ 12 w 13"/>
                <a:gd name="T27" fmla="*/ 3 h 7"/>
                <a:gd name="T28" fmla="*/ 11 w 13"/>
                <a:gd name="T29" fmla="*/ 1 h 7"/>
                <a:gd name="T30" fmla="*/ 9 w 13"/>
                <a:gd name="T31"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7">
                  <a:moveTo>
                    <a:pt x="9" y="1"/>
                  </a:moveTo>
                  <a:cubicBezTo>
                    <a:pt x="9" y="1"/>
                    <a:pt x="8" y="0"/>
                    <a:pt x="7" y="0"/>
                  </a:cubicBezTo>
                  <a:cubicBezTo>
                    <a:pt x="6" y="0"/>
                    <a:pt x="6" y="0"/>
                    <a:pt x="5" y="0"/>
                  </a:cubicBezTo>
                  <a:cubicBezTo>
                    <a:pt x="5" y="0"/>
                    <a:pt x="5" y="2"/>
                    <a:pt x="4" y="2"/>
                  </a:cubicBezTo>
                  <a:cubicBezTo>
                    <a:pt x="3" y="3"/>
                    <a:pt x="3" y="2"/>
                    <a:pt x="3" y="2"/>
                  </a:cubicBezTo>
                  <a:cubicBezTo>
                    <a:pt x="3" y="1"/>
                    <a:pt x="1" y="1"/>
                    <a:pt x="1" y="1"/>
                  </a:cubicBezTo>
                  <a:cubicBezTo>
                    <a:pt x="1" y="1"/>
                    <a:pt x="1" y="3"/>
                    <a:pt x="1" y="3"/>
                  </a:cubicBezTo>
                  <a:cubicBezTo>
                    <a:pt x="1" y="4"/>
                    <a:pt x="1" y="4"/>
                    <a:pt x="1" y="4"/>
                  </a:cubicBezTo>
                  <a:cubicBezTo>
                    <a:pt x="1" y="4"/>
                    <a:pt x="0" y="5"/>
                    <a:pt x="1" y="6"/>
                  </a:cubicBezTo>
                  <a:cubicBezTo>
                    <a:pt x="1" y="7"/>
                    <a:pt x="2" y="7"/>
                    <a:pt x="2" y="7"/>
                  </a:cubicBezTo>
                  <a:cubicBezTo>
                    <a:pt x="2" y="7"/>
                    <a:pt x="3" y="7"/>
                    <a:pt x="4" y="6"/>
                  </a:cubicBezTo>
                  <a:cubicBezTo>
                    <a:pt x="5" y="6"/>
                    <a:pt x="6" y="5"/>
                    <a:pt x="7" y="4"/>
                  </a:cubicBezTo>
                  <a:cubicBezTo>
                    <a:pt x="7" y="4"/>
                    <a:pt x="8" y="3"/>
                    <a:pt x="8" y="2"/>
                  </a:cubicBezTo>
                  <a:cubicBezTo>
                    <a:pt x="9" y="2"/>
                    <a:pt x="12" y="3"/>
                    <a:pt x="12" y="3"/>
                  </a:cubicBezTo>
                  <a:cubicBezTo>
                    <a:pt x="13" y="3"/>
                    <a:pt x="12" y="1"/>
                    <a:pt x="11" y="1"/>
                  </a:cubicBezTo>
                  <a:cubicBezTo>
                    <a:pt x="11" y="0"/>
                    <a:pt x="9" y="1"/>
                    <a:pt x="9" y="1"/>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309" name="Freeform 220"/>
            <p:cNvSpPr>
              <a:spLocks/>
            </p:cNvSpPr>
            <p:nvPr/>
          </p:nvSpPr>
          <p:spPr bwMode="auto">
            <a:xfrm>
              <a:off x="5104626" y="2056496"/>
              <a:ext cx="15875" cy="9525"/>
            </a:xfrm>
            <a:custGeom>
              <a:avLst/>
              <a:gdLst>
                <a:gd name="T0" fmla="*/ 3 w 5"/>
                <a:gd name="T1" fmla="*/ 1 h 3"/>
                <a:gd name="T2" fmla="*/ 1 w 5"/>
                <a:gd name="T3" fmla="*/ 0 h 3"/>
                <a:gd name="T4" fmla="*/ 0 w 5"/>
                <a:gd name="T5" fmla="*/ 2 h 3"/>
                <a:gd name="T6" fmla="*/ 3 w 5"/>
                <a:gd name="T7" fmla="*/ 3 h 3"/>
                <a:gd name="T8" fmla="*/ 4 w 5"/>
                <a:gd name="T9" fmla="*/ 1 h 3"/>
                <a:gd name="T10" fmla="*/ 3 w 5"/>
                <a:gd name="T11" fmla="*/ 1 h 3"/>
              </a:gdLst>
              <a:ahLst/>
              <a:cxnLst>
                <a:cxn ang="0">
                  <a:pos x="T0" y="T1"/>
                </a:cxn>
                <a:cxn ang="0">
                  <a:pos x="T2" y="T3"/>
                </a:cxn>
                <a:cxn ang="0">
                  <a:pos x="T4" y="T5"/>
                </a:cxn>
                <a:cxn ang="0">
                  <a:pos x="T6" y="T7"/>
                </a:cxn>
                <a:cxn ang="0">
                  <a:pos x="T8" y="T9"/>
                </a:cxn>
                <a:cxn ang="0">
                  <a:pos x="T10" y="T11"/>
                </a:cxn>
              </a:cxnLst>
              <a:rect l="0" t="0" r="r" b="b"/>
              <a:pathLst>
                <a:path w="5" h="3">
                  <a:moveTo>
                    <a:pt x="3" y="1"/>
                  </a:moveTo>
                  <a:cubicBezTo>
                    <a:pt x="2" y="1"/>
                    <a:pt x="2" y="0"/>
                    <a:pt x="1" y="0"/>
                  </a:cubicBezTo>
                  <a:cubicBezTo>
                    <a:pt x="0" y="1"/>
                    <a:pt x="0" y="2"/>
                    <a:pt x="0" y="2"/>
                  </a:cubicBezTo>
                  <a:cubicBezTo>
                    <a:pt x="0" y="2"/>
                    <a:pt x="2" y="3"/>
                    <a:pt x="3" y="3"/>
                  </a:cubicBezTo>
                  <a:cubicBezTo>
                    <a:pt x="5" y="3"/>
                    <a:pt x="4" y="2"/>
                    <a:pt x="4" y="1"/>
                  </a:cubicBezTo>
                  <a:cubicBezTo>
                    <a:pt x="4" y="0"/>
                    <a:pt x="4" y="1"/>
                    <a:pt x="3" y="1"/>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310" name="Freeform 224"/>
            <p:cNvSpPr>
              <a:spLocks/>
            </p:cNvSpPr>
            <p:nvPr/>
          </p:nvSpPr>
          <p:spPr bwMode="auto">
            <a:xfrm>
              <a:off x="5468164" y="2869293"/>
              <a:ext cx="1550988" cy="1074736"/>
            </a:xfrm>
            <a:custGeom>
              <a:avLst/>
              <a:gdLst>
                <a:gd name="T0" fmla="*/ 403 w 487"/>
                <a:gd name="T1" fmla="*/ 271 h 337"/>
                <a:gd name="T2" fmla="*/ 348 w 487"/>
                <a:gd name="T3" fmla="*/ 250 h 337"/>
                <a:gd name="T4" fmla="*/ 390 w 487"/>
                <a:gd name="T5" fmla="*/ 230 h 337"/>
                <a:gd name="T6" fmla="*/ 429 w 487"/>
                <a:gd name="T7" fmla="*/ 190 h 337"/>
                <a:gd name="T8" fmla="*/ 452 w 487"/>
                <a:gd name="T9" fmla="*/ 171 h 337"/>
                <a:gd name="T10" fmla="*/ 453 w 487"/>
                <a:gd name="T11" fmla="*/ 143 h 337"/>
                <a:gd name="T12" fmla="*/ 487 w 487"/>
                <a:gd name="T13" fmla="*/ 122 h 337"/>
                <a:gd name="T14" fmla="*/ 470 w 487"/>
                <a:gd name="T15" fmla="*/ 83 h 337"/>
                <a:gd name="T16" fmla="*/ 466 w 487"/>
                <a:gd name="T17" fmla="*/ 72 h 337"/>
                <a:gd name="T18" fmla="*/ 453 w 487"/>
                <a:gd name="T19" fmla="*/ 56 h 337"/>
                <a:gd name="T20" fmla="*/ 433 w 487"/>
                <a:gd name="T21" fmla="*/ 54 h 337"/>
                <a:gd name="T22" fmla="*/ 389 w 487"/>
                <a:gd name="T23" fmla="*/ 52 h 337"/>
                <a:gd name="T24" fmla="*/ 362 w 487"/>
                <a:gd name="T25" fmla="*/ 62 h 337"/>
                <a:gd name="T26" fmla="*/ 340 w 487"/>
                <a:gd name="T27" fmla="*/ 67 h 337"/>
                <a:gd name="T28" fmla="*/ 301 w 487"/>
                <a:gd name="T29" fmla="*/ 38 h 337"/>
                <a:gd name="T30" fmla="*/ 280 w 487"/>
                <a:gd name="T31" fmla="*/ 25 h 337"/>
                <a:gd name="T32" fmla="*/ 261 w 487"/>
                <a:gd name="T33" fmla="*/ 4 h 337"/>
                <a:gd name="T34" fmla="*/ 225 w 487"/>
                <a:gd name="T35" fmla="*/ 28 h 337"/>
                <a:gd name="T36" fmla="*/ 189 w 487"/>
                <a:gd name="T37" fmla="*/ 55 h 337"/>
                <a:gd name="T38" fmla="*/ 176 w 487"/>
                <a:gd name="T39" fmla="*/ 69 h 337"/>
                <a:gd name="T40" fmla="*/ 146 w 487"/>
                <a:gd name="T41" fmla="*/ 75 h 337"/>
                <a:gd name="T42" fmla="*/ 117 w 487"/>
                <a:gd name="T43" fmla="*/ 81 h 337"/>
                <a:gd name="T44" fmla="*/ 59 w 487"/>
                <a:gd name="T45" fmla="*/ 80 h 337"/>
                <a:gd name="T46" fmla="*/ 28 w 487"/>
                <a:gd name="T47" fmla="*/ 91 h 337"/>
                <a:gd name="T48" fmla="*/ 16 w 487"/>
                <a:gd name="T49" fmla="*/ 104 h 337"/>
                <a:gd name="T50" fmla="*/ 27 w 487"/>
                <a:gd name="T51" fmla="*/ 124 h 337"/>
                <a:gd name="T52" fmla="*/ 37 w 487"/>
                <a:gd name="T53" fmla="*/ 151 h 337"/>
                <a:gd name="T54" fmla="*/ 26 w 487"/>
                <a:gd name="T55" fmla="*/ 164 h 337"/>
                <a:gd name="T56" fmla="*/ 11 w 487"/>
                <a:gd name="T57" fmla="*/ 199 h 337"/>
                <a:gd name="T58" fmla="*/ 13 w 487"/>
                <a:gd name="T59" fmla="*/ 219 h 337"/>
                <a:gd name="T60" fmla="*/ 5 w 487"/>
                <a:gd name="T61" fmla="*/ 222 h 337"/>
                <a:gd name="T62" fmla="*/ 1 w 487"/>
                <a:gd name="T63" fmla="*/ 236 h 337"/>
                <a:gd name="T64" fmla="*/ 1 w 487"/>
                <a:gd name="T65" fmla="*/ 242 h 337"/>
                <a:gd name="T66" fmla="*/ 9 w 487"/>
                <a:gd name="T67" fmla="*/ 251 h 337"/>
                <a:gd name="T68" fmla="*/ 27 w 487"/>
                <a:gd name="T69" fmla="*/ 256 h 337"/>
                <a:gd name="T70" fmla="*/ 55 w 487"/>
                <a:gd name="T71" fmla="*/ 255 h 337"/>
                <a:gd name="T72" fmla="*/ 110 w 487"/>
                <a:gd name="T73" fmla="*/ 240 h 337"/>
                <a:gd name="T74" fmla="*/ 124 w 487"/>
                <a:gd name="T75" fmla="*/ 224 h 337"/>
                <a:gd name="T76" fmla="*/ 131 w 487"/>
                <a:gd name="T77" fmla="*/ 217 h 337"/>
                <a:gd name="T78" fmla="*/ 142 w 487"/>
                <a:gd name="T79" fmla="*/ 215 h 337"/>
                <a:gd name="T80" fmla="*/ 149 w 487"/>
                <a:gd name="T81" fmla="*/ 209 h 337"/>
                <a:gd name="T82" fmla="*/ 162 w 487"/>
                <a:gd name="T83" fmla="*/ 209 h 337"/>
                <a:gd name="T84" fmla="*/ 176 w 487"/>
                <a:gd name="T85" fmla="*/ 211 h 337"/>
                <a:gd name="T86" fmla="*/ 194 w 487"/>
                <a:gd name="T87" fmla="*/ 217 h 337"/>
                <a:gd name="T88" fmla="*/ 209 w 487"/>
                <a:gd name="T89" fmla="*/ 225 h 337"/>
                <a:gd name="T90" fmla="*/ 214 w 487"/>
                <a:gd name="T91" fmla="*/ 239 h 337"/>
                <a:gd name="T92" fmla="*/ 226 w 487"/>
                <a:gd name="T93" fmla="*/ 250 h 337"/>
                <a:gd name="T94" fmla="*/ 233 w 487"/>
                <a:gd name="T95" fmla="*/ 256 h 337"/>
                <a:gd name="T96" fmla="*/ 243 w 487"/>
                <a:gd name="T97" fmla="*/ 268 h 337"/>
                <a:gd name="T98" fmla="*/ 252 w 487"/>
                <a:gd name="T99" fmla="*/ 275 h 337"/>
                <a:gd name="T100" fmla="*/ 234 w 487"/>
                <a:gd name="T101" fmla="*/ 283 h 337"/>
                <a:gd name="T102" fmla="*/ 229 w 487"/>
                <a:gd name="T103" fmla="*/ 283 h 337"/>
                <a:gd name="T104" fmla="*/ 220 w 487"/>
                <a:gd name="T105" fmla="*/ 286 h 337"/>
                <a:gd name="T106" fmla="*/ 219 w 487"/>
                <a:gd name="T107" fmla="*/ 290 h 337"/>
                <a:gd name="T108" fmla="*/ 217 w 487"/>
                <a:gd name="T109" fmla="*/ 306 h 337"/>
                <a:gd name="T110" fmla="*/ 213 w 487"/>
                <a:gd name="T111" fmla="*/ 318 h 337"/>
                <a:gd name="T112" fmla="*/ 209 w 487"/>
                <a:gd name="T113" fmla="*/ 328 h 337"/>
                <a:gd name="T114" fmla="*/ 248 w 487"/>
                <a:gd name="T115" fmla="*/ 322 h 337"/>
                <a:gd name="T116" fmla="*/ 308 w 487"/>
                <a:gd name="T117" fmla="*/ 248 h 337"/>
                <a:gd name="T118" fmla="*/ 345 w 487"/>
                <a:gd name="T119" fmla="*/ 274 h 337"/>
                <a:gd name="T120" fmla="*/ 367 w 487"/>
                <a:gd name="T121" fmla="*/ 323 h 337"/>
                <a:gd name="T122" fmla="*/ 411 w 487"/>
                <a:gd name="T123" fmla="*/ 282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87" h="337">
                  <a:moveTo>
                    <a:pt x="436" y="262"/>
                  </a:moveTo>
                  <a:cubicBezTo>
                    <a:pt x="436" y="257"/>
                    <a:pt x="436" y="257"/>
                    <a:pt x="436" y="257"/>
                  </a:cubicBezTo>
                  <a:cubicBezTo>
                    <a:pt x="436" y="257"/>
                    <a:pt x="436" y="257"/>
                    <a:pt x="436" y="257"/>
                  </a:cubicBezTo>
                  <a:cubicBezTo>
                    <a:pt x="436" y="257"/>
                    <a:pt x="436" y="255"/>
                    <a:pt x="438" y="253"/>
                  </a:cubicBezTo>
                  <a:cubicBezTo>
                    <a:pt x="437" y="252"/>
                    <a:pt x="437" y="252"/>
                    <a:pt x="436" y="252"/>
                  </a:cubicBezTo>
                  <a:cubicBezTo>
                    <a:pt x="433" y="252"/>
                    <a:pt x="425" y="261"/>
                    <a:pt x="425" y="261"/>
                  </a:cubicBezTo>
                  <a:cubicBezTo>
                    <a:pt x="416" y="262"/>
                    <a:pt x="416" y="262"/>
                    <a:pt x="416" y="262"/>
                  </a:cubicBezTo>
                  <a:cubicBezTo>
                    <a:pt x="416" y="262"/>
                    <a:pt x="412" y="268"/>
                    <a:pt x="411" y="269"/>
                  </a:cubicBezTo>
                  <a:cubicBezTo>
                    <a:pt x="410" y="269"/>
                    <a:pt x="405" y="271"/>
                    <a:pt x="403" y="271"/>
                  </a:cubicBezTo>
                  <a:cubicBezTo>
                    <a:pt x="401" y="270"/>
                    <a:pt x="403" y="279"/>
                    <a:pt x="398" y="269"/>
                  </a:cubicBezTo>
                  <a:cubicBezTo>
                    <a:pt x="392" y="258"/>
                    <a:pt x="390" y="258"/>
                    <a:pt x="390" y="258"/>
                  </a:cubicBezTo>
                  <a:cubicBezTo>
                    <a:pt x="384" y="258"/>
                    <a:pt x="384" y="258"/>
                    <a:pt x="384" y="258"/>
                  </a:cubicBezTo>
                  <a:cubicBezTo>
                    <a:pt x="384" y="258"/>
                    <a:pt x="379" y="260"/>
                    <a:pt x="379" y="259"/>
                  </a:cubicBezTo>
                  <a:cubicBezTo>
                    <a:pt x="378" y="257"/>
                    <a:pt x="376" y="253"/>
                    <a:pt x="376" y="253"/>
                  </a:cubicBezTo>
                  <a:cubicBezTo>
                    <a:pt x="368" y="253"/>
                    <a:pt x="368" y="253"/>
                    <a:pt x="368" y="253"/>
                  </a:cubicBezTo>
                  <a:cubicBezTo>
                    <a:pt x="365" y="254"/>
                    <a:pt x="365" y="254"/>
                    <a:pt x="365" y="254"/>
                  </a:cubicBezTo>
                  <a:cubicBezTo>
                    <a:pt x="353" y="254"/>
                    <a:pt x="353" y="254"/>
                    <a:pt x="353" y="254"/>
                  </a:cubicBezTo>
                  <a:cubicBezTo>
                    <a:pt x="348" y="250"/>
                    <a:pt x="348" y="250"/>
                    <a:pt x="348" y="250"/>
                  </a:cubicBezTo>
                  <a:cubicBezTo>
                    <a:pt x="355" y="247"/>
                    <a:pt x="355" y="247"/>
                    <a:pt x="355" y="247"/>
                  </a:cubicBezTo>
                  <a:cubicBezTo>
                    <a:pt x="355" y="247"/>
                    <a:pt x="357" y="250"/>
                    <a:pt x="358" y="249"/>
                  </a:cubicBezTo>
                  <a:cubicBezTo>
                    <a:pt x="359" y="249"/>
                    <a:pt x="358" y="246"/>
                    <a:pt x="360" y="245"/>
                  </a:cubicBezTo>
                  <a:cubicBezTo>
                    <a:pt x="362" y="244"/>
                    <a:pt x="364" y="242"/>
                    <a:pt x="367" y="244"/>
                  </a:cubicBezTo>
                  <a:cubicBezTo>
                    <a:pt x="369" y="245"/>
                    <a:pt x="367" y="249"/>
                    <a:pt x="371" y="246"/>
                  </a:cubicBezTo>
                  <a:cubicBezTo>
                    <a:pt x="375" y="243"/>
                    <a:pt x="379" y="244"/>
                    <a:pt x="379" y="244"/>
                  </a:cubicBezTo>
                  <a:cubicBezTo>
                    <a:pt x="383" y="236"/>
                    <a:pt x="383" y="236"/>
                    <a:pt x="383" y="236"/>
                  </a:cubicBezTo>
                  <a:cubicBezTo>
                    <a:pt x="387" y="228"/>
                    <a:pt x="387" y="228"/>
                    <a:pt x="387" y="228"/>
                  </a:cubicBezTo>
                  <a:cubicBezTo>
                    <a:pt x="387" y="228"/>
                    <a:pt x="388" y="230"/>
                    <a:pt x="390" y="230"/>
                  </a:cubicBezTo>
                  <a:cubicBezTo>
                    <a:pt x="393" y="230"/>
                    <a:pt x="398" y="220"/>
                    <a:pt x="398" y="220"/>
                  </a:cubicBezTo>
                  <a:cubicBezTo>
                    <a:pt x="398" y="220"/>
                    <a:pt x="398" y="218"/>
                    <a:pt x="399" y="216"/>
                  </a:cubicBezTo>
                  <a:cubicBezTo>
                    <a:pt x="397" y="216"/>
                    <a:pt x="397" y="216"/>
                    <a:pt x="397" y="216"/>
                  </a:cubicBezTo>
                  <a:cubicBezTo>
                    <a:pt x="397" y="214"/>
                    <a:pt x="397" y="214"/>
                    <a:pt x="397" y="214"/>
                  </a:cubicBezTo>
                  <a:cubicBezTo>
                    <a:pt x="397" y="211"/>
                    <a:pt x="398" y="209"/>
                    <a:pt x="400" y="208"/>
                  </a:cubicBezTo>
                  <a:cubicBezTo>
                    <a:pt x="413" y="204"/>
                    <a:pt x="413" y="204"/>
                    <a:pt x="413" y="204"/>
                  </a:cubicBezTo>
                  <a:cubicBezTo>
                    <a:pt x="420" y="200"/>
                    <a:pt x="420" y="200"/>
                    <a:pt x="420" y="200"/>
                  </a:cubicBezTo>
                  <a:cubicBezTo>
                    <a:pt x="421" y="198"/>
                    <a:pt x="425" y="193"/>
                    <a:pt x="427" y="193"/>
                  </a:cubicBezTo>
                  <a:cubicBezTo>
                    <a:pt x="428" y="192"/>
                    <a:pt x="428" y="191"/>
                    <a:pt x="429" y="190"/>
                  </a:cubicBezTo>
                  <a:cubicBezTo>
                    <a:pt x="430" y="189"/>
                    <a:pt x="430" y="188"/>
                    <a:pt x="431" y="187"/>
                  </a:cubicBezTo>
                  <a:cubicBezTo>
                    <a:pt x="433" y="183"/>
                    <a:pt x="435" y="180"/>
                    <a:pt x="435" y="180"/>
                  </a:cubicBezTo>
                  <a:cubicBezTo>
                    <a:pt x="436" y="180"/>
                    <a:pt x="436" y="180"/>
                    <a:pt x="436" y="180"/>
                  </a:cubicBezTo>
                  <a:cubicBezTo>
                    <a:pt x="436" y="180"/>
                    <a:pt x="436" y="180"/>
                    <a:pt x="436" y="180"/>
                  </a:cubicBezTo>
                  <a:cubicBezTo>
                    <a:pt x="439" y="179"/>
                    <a:pt x="441" y="178"/>
                    <a:pt x="443" y="178"/>
                  </a:cubicBezTo>
                  <a:cubicBezTo>
                    <a:pt x="442" y="177"/>
                    <a:pt x="441" y="175"/>
                    <a:pt x="442" y="174"/>
                  </a:cubicBezTo>
                  <a:cubicBezTo>
                    <a:pt x="443" y="172"/>
                    <a:pt x="446" y="171"/>
                    <a:pt x="446" y="171"/>
                  </a:cubicBezTo>
                  <a:cubicBezTo>
                    <a:pt x="449" y="171"/>
                    <a:pt x="449" y="171"/>
                    <a:pt x="449" y="171"/>
                  </a:cubicBezTo>
                  <a:cubicBezTo>
                    <a:pt x="451" y="171"/>
                    <a:pt x="451" y="171"/>
                    <a:pt x="452" y="171"/>
                  </a:cubicBezTo>
                  <a:cubicBezTo>
                    <a:pt x="452" y="170"/>
                    <a:pt x="452" y="170"/>
                    <a:pt x="453" y="169"/>
                  </a:cubicBezTo>
                  <a:cubicBezTo>
                    <a:pt x="453" y="169"/>
                    <a:pt x="453" y="168"/>
                    <a:pt x="453" y="167"/>
                  </a:cubicBezTo>
                  <a:cubicBezTo>
                    <a:pt x="455" y="165"/>
                    <a:pt x="455" y="163"/>
                    <a:pt x="455" y="163"/>
                  </a:cubicBezTo>
                  <a:cubicBezTo>
                    <a:pt x="455" y="162"/>
                    <a:pt x="454" y="160"/>
                    <a:pt x="453" y="159"/>
                  </a:cubicBezTo>
                  <a:cubicBezTo>
                    <a:pt x="451" y="156"/>
                    <a:pt x="451" y="155"/>
                    <a:pt x="450" y="153"/>
                  </a:cubicBezTo>
                  <a:cubicBezTo>
                    <a:pt x="449" y="151"/>
                    <a:pt x="451" y="146"/>
                    <a:pt x="451" y="145"/>
                  </a:cubicBezTo>
                  <a:cubicBezTo>
                    <a:pt x="451" y="145"/>
                    <a:pt x="451" y="145"/>
                    <a:pt x="451" y="145"/>
                  </a:cubicBezTo>
                  <a:cubicBezTo>
                    <a:pt x="451" y="145"/>
                    <a:pt x="451" y="145"/>
                    <a:pt x="451" y="145"/>
                  </a:cubicBezTo>
                  <a:cubicBezTo>
                    <a:pt x="452" y="144"/>
                    <a:pt x="452" y="144"/>
                    <a:pt x="453" y="143"/>
                  </a:cubicBezTo>
                  <a:cubicBezTo>
                    <a:pt x="454" y="143"/>
                    <a:pt x="455" y="142"/>
                    <a:pt x="456" y="142"/>
                  </a:cubicBezTo>
                  <a:cubicBezTo>
                    <a:pt x="457" y="141"/>
                    <a:pt x="458" y="139"/>
                    <a:pt x="460" y="136"/>
                  </a:cubicBezTo>
                  <a:cubicBezTo>
                    <a:pt x="461" y="132"/>
                    <a:pt x="461" y="132"/>
                    <a:pt x="461" y="132"/>
                  </a:cubicBezTo>
                  <a:cubicBezTo>
                    <a:pt x="461" y="132"/>
                    <a:pt x="461" y="132"/>
                    <a:pt x="461" y="132"/>
                  </a:cubicBezTo>
                  <a:cubicBezTo>
                    <a:pt x="462" y="131"/>
                    <a:pt x="465" y="129"/>
                    <a:pt x="467" y="128"/>
                  </a:cubicBezTo>
                  <a:cubicBezTo>
                    <a:pt x="467" y="128"/>
                    <a:pt x="471" y="126"/>
                    <a:pt x="473" y="126"/>
                  </a:cubicBezTo>
                  <a:cubicBezTo>
                    <a:pt x="480" y="123"/>
                    <a:pt x="481" y="122"/>
                    <a:pt x="482" y="122"/>
                  </a:cubicBezTo>
                  <a:cubicBezTo>
                    <a:pt x="485" y="122"/>
                    <a:pt x="485" y="122"/>
                    <a:pt x="485" y="122"/>
                  </a:cubicBezTo>
                  <a:cubicBezTo>
                    <a:pt x="485" y="122"/>
                    <a:pt x="486" y="122"/>
                    <a:pt x="487" y="122"/>
                  </a:cubicBezTo>
                  <a:cubicBezTo>
                    <a:pt x="487" y="122"/>
                    <a:pt x="487" y="122"/>
                    <a:pt x="487" y="122"/>
                  </a:cubicBezTo>
                  <a:cubicBezTo>
                    <a:pt x="484" y="119"/>
                    <a:pt x="483" y="117"/>
                    <a:pt x="482" y="115"/>
                  </a:cubicBezTo>
                  <a:cubicBezTo>
                    <a:pt x="482" y="113"/>
                    <a:pt x="482" y="106"/>
                    <a:pt x="482" y="104"/>
                  </a:cubicBezTo>
                  <a:cubicBezTo>
                    <a:pt x="482" y="104"/>
                    <a:pt x="482" y="104"/>
                    <a:pt x="483" y="104"/>
                  </a:cubicBezTo>
                  <a:cubicBezTo>
                    <a:pt x="481" y="104"/>
                    <a:pt x="480" y="103"/>
                    <a:pt x="479" y="102"/>
                  </a:cubicBezTo>
                  <a:cubicBezTo>
                    <a:pt x="478" y="100"/>
                    <a:pt x="478" y="99"/>
                    <a:pt x="479" y="98"/>
                  </a:cubicBezTo>
                  <a:cubicBezTo>
                    <a:pt x="477" y="97"/>
                    <a:pt x="474" y="95"/>
                    <a:pt x="473" y="94"/>
                  </a:cubicBezTo>
                  <a:cubicBezTo>
                    <a:pt x="469" y="95"/>
                    <a:pt x="469" y="95"/>
                    <a:pt x="469" y="95"/>
                  </a:cubicBezTo>
                  <a:cubicBezTo>
                    <a:pt x="470" y="83"/>
                    <a:pt x="470" y="83"/>
                    <a:pt x="470" y="83"/>
                  </a:cubicBezTo>
                  <a:cubicBezTo>
                    <a:pt x="470" y="83"/>
                    <a:pt x="470" y="83"/>
                    <a:pt x="470" y="83"/>
                  </a:cubicBezTo>
                  <a:cubicBezTo>
                    <a:pt x="470" y="83"/>
                    <a:pt x="471" y="81"/>
                    <a:pt x="472" y="80"/>
                  </a:cubicBezTo>
                  <a:cubicBezTo>
                    <a:pt x="471" y="80"/>
                    <a:pt x="469" y="81"/>
                    <a:pt x="469" y="81"/>
                  </a:cubicBezTo>
                  <a:cubicBezTo>
                    <a:pt x="469" y="81"/>
                    <a:pt x="469" y="81"/>
                    <a:pt x="469" y="81"/>
                  </a:cubicBezTo>
                  <a:cubicBezTo>
                    <a:pt x="469" y="79"/>
                    <a:pt x="469" y="79"/>
                    <a:pt x="469" y="79"/>
                  </a:cubicBezTo>
                  <a:cubicBezTo>
                    <a:pt x="469" y="81"/>
                    <a:pt x="469" y="81"/>
                    <a:pt x="469" y="81"/>
                  </a:cubicBezTo>
                  <a:cubicBezTo>
                    <a:pt x="468" y="81"/>
                    <a:pt x="465" y="80"/>
                    <a:pt x="464" y="79"/>
                  </a:cubicBezTo>
                  <a:cubicBezTo>
                    <a:pt x="463" y="78"/>
                    <a:pt x="463" y="77"/>
                    <a:pt x="463" y="76"/>
                  </a:cubicBezTo>
                  <a:cubicBezTo>
                    <a:pt x="464" y="74"/>
                    <a:pt x="465" y="73"/>
                    <a:pt x="466" y="72"/>
                  </a:cubicBezTo>
                  <a:cubicBezTo>
                    <a:pt x="467" y="71"/>
                    <a:pt x="467" y="71"/>
                    <a:pt x="468" y="70"/>
                  </a:cubicBezTo>
                  <a:cubicBezTo>
                    <a:pt x="469" y="69"/>
                    <a:pt x="470" y="68"/>
                    <a:pt x="470" y="68"/>
                  </a:cubicBezTo>
                  <a:cubicBezTo>
                    <a:pt x="470" y="63"/>
                    <a:pt x="470" y="63"/>
                    <a:pt x="470" y="63"/>
                  </a:cubicBezTo>
                  <a:cubicBezTo>
                    <a:pt x="470" y="62"/>
                    <a:pt x="469" y="61"/>
                    <a:pt x="469" y="60"/>
                  </a:cubicBezTo>
                  <a:cubicBezTo>
                    <a:pt x="469" y="60"/>
                    <a:pt x="466" y="54"/>
                    <a:pt x="465" y="51"/>
                  </a:cubicBezTo>
                  <a:cubicBezTo>
                    <a:pt x="464" y="51"/>
                    <a:pt x="464" y="51"/>
                    <a:pt x="463" y="51"/>
                  </a:cubicBezTo>
                  <a:cubicBezTo>
                    <a:pt x="462" y="53"/>
                    <a:pt x="461" y="55"/>
                    <a:pt x="461" y="55"/>
                  </a:cubicBezTo>
                  <a:cubicBezTo>
                    <a:pt x="461" y="57"/>
                    <a:pt x="461" y="57"/>
                    <a:pt x="461" y="57"/>
                  </a:cubicBezTo>
                  <a:cubicBezTo>
                    <a:pt x="453" y="56"/>
                    <a:pt x="453" y="56"/>
                    <a:pt x="453" y="56"/>
                  </a:cubicBezTo>
                  <a:cubicBezTo>
                    <a:pt x="450" y="53"/>
                    <a:pt x="450" y="53"/>
                    <a:pt x="450" y="53"/>
                  </a:cubicBezTo>
                  <a:cubicBezTo>
                    <a:pt x="445" y="52"/>
                    <a:pt x="445" y="52"/>
                    <a:pt x="445" y="52"/>
                  </a:cubicBezTo>
                  <a:cubicBezTo>
                    <a:pt x="445" y="52"/>
                    <a:pt x="444" y="53"/>
                    <a:pt x="444" y="53"/>
                  </a:cubicBezTo>
                  <a:cubicBezTo>
                    <a:pt x="443" y="54"/>
                    <a:pt x="443" y="54"/>
                    <a:pt x="443" y="54"/>
                  </a:cubicBezTo>
                  <a:cubicBezTo>
                    <a:pt x="442" y="54"/>
                    <a:pt x="442" y="54"/>
                    <a:pt x="442" y="54"/>
                  </a:cubicBezTo>
                  <a:cubicBezTo>
                    <a:pt x="441" y="54"/>
                    <a:pt x="440" y="53"/>
                    <a:pt x="437" y="51"/>
                  </a:cubicBezTo>
                  <a:cubicBezTo>
                    <a:pt x="436" y="53"/>
                    <a:pt x="435" y="54"/>
                    <a:pt x="434" y="54"/>
                  </a:cubicBezTo>
                  <a:cubicBezTo>
                    <a:pt x="433" y="54"/>
                    <a:pt x="433" y="54"/>
                    <a:pt x="433" y="54"/>
                  </a:cubicBezTo>
                  <a:cubicBezTo>
                    <a:pt x="433" y="54"/>
                    <a:pt x="433" y="54"/>
                    <a:pt x="433" y="54"/>
                  </a:cubicBezTo>
                  <a:cubicBezTo>
                    <a:pt x="431" y="54"/>
                    <a:pt x="429" y="54"/>
                    <a:pt x="426" y="53"/>
                  </a:cubicBezTo>
                  <a:cubicBezTo>
                    <a:pt x="420" y="54"/>
                    <a:pt x="420" y="54"/>
                    <a:pt x="420" y="54"/>
                  </a:cubicBezTo>
                  <a:cubicBezTo>
                    <a:pt x="414" y="55"/>
                    <a:pt x="414" y="55"/>
                    <a:pt x="414" y="55"/>
                  </a:cubicBezTo>
                  <a:cubicBezTo>
                    <a:pt x="410" y="53"/>
                    <a:pt x="410" y="53"/>
                    <a:pt x="410" y="53"/>
                  </a:cubicBezTo>
                  <a:cubicBezTo>
                    <a:pt x="411" y="57"/>
                    <a:pt x="411" y="57"/>
                    <a:pt x="411" y="57"/>
                  </a:cubicBezTo>
                  <a:cubicBezTo>
                    <a:pt x="405" y="61"/>
                    <a:pt x="405" y="61"/>
                    <a:pt x="405" y="61"/>
                  </a:cubicBezTo>
                  <a:cubicBezTo>
                    <a:pt x="399" y="58"/>
                    <a:pt x="399" y="58"/>
                    <a:pt x="399" y="58"/>
                  </a:cubicBezTo>
                  <a:cubicBezTo>
                    <a:pt x="395" y="57"/>
                    <a:pt x="395" y="57"/>
                    <a:pt x="395" y="57"/>
                  </a:cubicBezTo>
                  <a:cubicBezTo>
                    <a:pt x="389" y="52"/>
                    <a:pt x="389" y="52"/>
                    <a:pt x="389" y="52"/>
                  </a:cubicBezTo>
                  <a:cubicBezTo>
                    <a:pt x="382" y="49"/>
                    <a:pt x="382" y="49"/>
                    <a:pt x="382" y="49"/>
                  </a:cubicBezTo>
                  <a:cubicBezTo>
                    <a:pt x="381" y="51"/>
                    <a:pt x="380" y="54"/>
                    <a:pt x="378" y="54"/>
                  </a:cubicBezTo>
                  <a:cubicBezTo>
                    <a:pt x="377" y="55"/>
                    <a:pt x="373" y="56"/>
                    <a:pt x="372" y="56"/>
                  </a:cubicBezTo>
                  <a:cubicBezTo>
                    <a:pt x="372" y="57"/>
                    <a:pt x="371" y="58"/>
                    <a:pt x="371" y="59"/>
                  </a:cubicBezTo>
                  <a:cubicBezTo>
                    <a:pt x="371" y="60"/>
                    <a:pt x="371" y="60"/>
                    <a:pt x="371" y="60"/>
                  </a:cubicBezTo>
                  <a:cubicBezTo>
                    <a:pt x="365" y="64"/>
                    <a:pt x="365" y="64"/>
                    <a:pt x="365" y="64"/>
                  </a:cubicBezTo>
                  <a:cubicBezTo>
                    <a:pt x="365" y="63"/>
                    <a:pt x="365" y="63"/>
                    <a:pt x="365" y="63"/>
                  </a:cubicBezTo>
                  <a:cubicBezTo>
                    <a:pt x="364" y="63"/>
                    <a:pt x="364" y="63"/>
                    <a:pt x="363" y="63"/>
                  </a:cubicBezTo>
                  <a:cubicBezTo>
                    <a:pt x="363" y="63"/>
                    <a:pt x="362" y="62"/>
                    <a:pt x="362" y="62"/>
                  </a:cubicBezTo>
                  <a:cubicBezTo>
                    <a:pt x="361" y="62"/>
                    <a:pt x="361" y="62"/>
                    <a:pt x="361" y="62"/>
                  </a:cubicBezTo>
                  <a:cubicBezTo>
                    <a:pt x="360" y="65"/>
                    <a:pt x="360" y="65"/>
                    <a:pt x="360" y="65"/>
                  </a:cubicBezTo>
                  <a:cubicBezTo>
                    <a:pt x="359" y="65"/>
                    <a:pt x="359" y="65"/>
                    <a:pt x="359" y="65"/>
                  </a:cubicBezTo>
                  <a:cubicBezTo>
                    <a:pt x="359" y="65"/>
                    <a:pt x="358" y="65"/>
                    <a:pt x="358" y="65"/>
                  </a:cubicBezTo>
                  <a:cubicBezTo>
                    <a:pt x="357" y="65"/>
                    <a:pt x="356" y="65"/>
                    <a:pt x="354" y="63"/>
                  </a:cubicBezTo>
                  <a:cubicBezTo>
                    <a:pt x="352" y="63"/>
                    <a:pt x="350" y="61"/>
                    <a:pt x="350" y="61"/>
                  </a:cubicBezTo>
                  <a:cubicBezTo>
                    <a:pt x="348" y="61"/>
                    <a:pt x="348" y="61"/>
                    <a:pt x="348" y="61"/>
                  </a:cubicBezTo>
                  <a:cubicBezTo>
                    <a:pt x="345" y="62"/>
                    <a:pt x="343" y="63"/>
                    <a:pt x="342" y="63"/>
                  </a:cubicBezTo>
                  <a:cubicBezTo>
                    <a:pt x="342" y="65"/>
                    <a:pt x="341" y="66"/>
                    <a:pt x="340" y="67"/>
                  </a:cubicBezTo>
                  <a:cubicBezTo>
                    <a:pt x="339" y="68"/>
                    <a:pt x="339" y="68"/>
                    <a:pt x="339" y="68"/>
                  </a:cubicBezTo>
                  <a:cubicBezTo>
                    <a:pt x="333" y="64"/>
                    <a:pt x="333" y="64"/>
                    <a:pt x="333" y="64"/>
                  </a:cubicBezTo>
                  <a:cubicBezTo>
                    <a:pt x="327" y="60"/>
                    <a:pt x="327" y="60"/>
                    <a:pt x="327" y="60"/>
                  </a:cubicBezTo>
                  <a:cubicBezTo>
                    <a:pt x="327" y="54"/>
                    <a:pt x="327" y="54"/>
                    <a:pt x="327" y="54"/>
                  </a:cubicBezTo>
                  <a:cubicBezTo>
                    <a:pt x="318" y="47"/>
                    <a:pt x="318" y="47"/>
                    <a:pt x="318" y="47"/>
                  </a:cubicBezTo>
                  <a:cubicBezTo>
                    <a:pt x="316" y="38"/>
                    <a:pt x="316" y="38"/>
                    <a:pt x="316" y="38"/>
                  </a:cubicBezTo>
                  <a:cubicBezTo>
                    <a:pt x="312" y="35"/>
                    <a:pt x="312" y="35"/>
                    <a:pt x="312" y="35"/>
                  </a:cubicBezTo>
                  <a:cubicBezTo>
                    <a:pt x="309" y="39"/>
                    <a:pt x="309" y="39"/>
                    <a:pt x="309" y="39"/>
                  </a:cubicBezTo>
                  <a:cubicBezTo>
                    <a:pt x="301" y="38"/>
                    <a:pt x="301" y="38"/>
                    <a:pt x="301" y="38"/>
                  </a:cubicBezTo>
                  <a:cubicBezTo>
                    <a:pt x="297" y="40"/>
                    <a:pt x="297" y="40"/>
                    <a:pt x="297" y="40"/>
                  </a:cubicBezTo>
                  <a:cubicBezTo>
                    <a:pt x="296" y="41"/>
                    <a:pt x="293" y="43"/>
                    <a:pt x="292" y="43"/>
                  </a:cubicBezTo>
                  <a:cubicBezTo>
                    <a:pt x="291" y="43"/>
                    <a:pt x="289" y="42"/>
                    <a:pt x="289" y="41"/>
                  </a:cubicBezTo>
                  <a:cubicBezTo>
                    <a:pt x="288" y="39"/>
                    <a:pt x="289" y="38"/>
                    <a:pt x="289" y="36"/>
                  </a:cubicBezTo>
                  <a:cubicBezTo>
                    <a:pt x="288" y="36"/>
                    <a:pt x="287" y="36"/>
                    <a:pt x="286" y="35"/>
                  </a:cubicBezTo>
                  <a:cubicBezTo>
                    <a:pt x="286" y="34"/>
                    <a:pt x="286" y="33"/>
                    <a:pt x="286" y="31"/>
                  </a:cubicBezTo>
                  <a:cubicBezTo>
                    <a:pt x="286" y="31"/>
                    <a:pt x="286" y="30"/>
                    <a:pt x="286" y="29"/>
                  </a:cubicBezTo>
                  <a:cubicBezTo>
                    <a:pt x="286" y="29"/>
                    <a:pt x="285" y="29"/>
                    <a:pt x="284" y="28"/>
                  </a:cubicBezTo>
                  <a:cubicBezTo>
                    <a:pt x="283" y="28"/>
                    <a:pt x="281" y="27"/>
                    <a:pt x="280" y="25"/>
                  </a:cubicBezTo>
                  <a:cubicBezTo>
                    <a:pt x="280" y="24"/>
                    <a:pt x="280" y="23"/>
                    <a:pt x="281" y="21"/>
                  </a:cubicBezTo>
                  <a:cubicBezTo>
                    <a:pt x="282" y="19"/>
                    <a:pt x="284" y="18"/>
                    <a:pt x="286" y="17"/>
                  </a:cubicBezTo>
                  <a:cubicBezTo>
                    <a:pt x="284" y="16"/>
                    <a:pt x="284" y="16"/>
                    <a:pt x="284" y="16"/>
                  </a:cubicBezTo>
                  <a:cubicBezTo>
                    <a:pt x="274" y="11"/>
                    <a:pt x="274" y="11"/>
                    <a:pt x="274" y="11"/>
                  </a:cubicBezTo>
                  <a:cubicBezTo>
                    <a:pt x="274" y="10"/>
                    <a:pt x="274" y="10"/>
                    <a:pt x="274" y="10"/>
                  </a:cubicBezTo>
                  <a:cubicBezTo>
                    <a:pt x="273" y="8"/>
                    <a:pt x="273" y="7"/>
                    <a:pt x="273" y="7"/>
                  </a:cubicBezTo>
                  <a:cubicBezTo>
                    <a:pt x="272" y="6"/>
                    <a:pt x="270" y="5"/>
                    <a:pt x="269" y="4"/>
                  </a:cubicBezTo>
                  <a:cubicBezTo>
                    <a:pt x="269" y="3"/>
                    <a:pt x="266" y="1"/>
                    <a:pt x="264" y="0"/>
                  </a:cubicBezTo>
                  <a:cubicBezTo>
                    <a:pt x="263" y="0"/>
                    <a:pt x="262" y="2"/>
                    <a:pt x="261" y="4"/>
                  </a:cubicBezTo>
                  <a:cubicBezTo>
                    <a:pt x="260" y="7"/>
                    <a:pt x="260" y="7"/>
                    <a:pt x="260" y="7"/>
                  </a:cubicBezTo>
                  <a:cubicBezTo>
                    <a:pt x="255" y="3"/>
                    <a:pt x="255" y="3"/>
                    <a:pt x="255" y="3"/>
                  </a:cubicBezTo>
                  <a:cubicBezTo>
                    <a:pt x="251" y="5"/>
                    <a:pt x="251" y="5"/>
                    <a:pt x="251" y="5"/>
                  </a:cubicBezTo>
                  <a:cubicBezTo>
                    <a:pt x="246" y="12"/>
                    <a:pt x="246" y="12"/>
                    <a:pt x="246" y="12"/>
                  </a:cubicBezTo>
                  <a:cubicBezTo>
                    <a:pt x="242" y="13"/>
                    <a:pt x="242" y="13"/>
                    <a:pt x="242" y="13"/>
                  </a:cubicBezTo>
                  <a:cubicBezTo>
                    <a:pt x="231" y="15"/>
                    <a:pt x="231" y="15"/>
                    <a:pt x="231" y="15"/>
                  </a:cubicBezTo>
                  <a:cubicBezTo>
                    <a:pt x="230" y="18"/>
                    <a:pt x="230" y="18"/>
                    <a:pt x="230" y="18"/>
                  </a:cubicBezTo>
                  <a:cubicBezTo>
                    <a:pt x="231" y="24"/>
                    <a:pt x="231" y="24"/>
                    <a:pt x="231" y="24"/>
                  </a:cubicBezTo>
                  <a:cubicBezTo>
                    <a:pt x="225" y="28"/>
                    <a:pt x="225" y="28"/>
                    <a:pt x="225" y="28"/>
                  </a:cubicBezTo>
                  <a:cubicBezTo>
                    <a:pt x="215" y="27"/>
                    <a:pt x="215" y="27"/>
                    <a:pt x="215" y="27"/>
                  </a:cubicBezTo>
                  <a:cubicBezTo>
                    <a:pt x="215" y="27"/>
                    <a:pt x="215" y="27"/>
                    <a:pt x="215" y="27"/>
                  </a:cubicBezTo>
                  <a:cubicBezTo>
                    <a:pt x="213" y="26"/>
                    <a:pt x="213" y="26"/>
                    <a:pt x="213" y="26"/>
                  </a:cubicBezTo>
                  <a:cubicBezTo>
                    <a:pt x="208" y="27"/>
                    <a:pt x="208" y="27"/>
                    <a:pt x="208" y="27"/>
                  </a:cubicBezTo>
                  <a:cubicBezTo>
                    <a:pt x="205" y="32"/>
                    <a:pt x="205" y="32"/>
                    <a:pt x="205" y="32"/>
                  </a:cubicBezTo>
                  <a:cubicBezTo>
                    <a:pt x="195" y="32"/>
                    <a:pt x="195" y="32"/>
                    <a:pt x="195" y="32"/>
                  </a:cubicBezTo>
                  <a:cubicBezTo>
                    <a:pt x="194" y="41"/>
                    <a:pt x="194" y="41"/>
                    <a:pt x="194" y="41"/>
                  </a:cubicBezTo>
                  <a:cubicBezTo>
                    <a:pt x="191" y="48"/>
                    <a:pt x="191" y="48"/>
                    <a:pt x="191" y="48"/>
                  </a:cubicBezTo>
                  <a:cubicBezTo>
                    <a:pt x="189" y="55"/>
                    <a:pt x="189" y="55"/>
                    <a:pt x="189" y="55"/>
                  </a:cubicBezTo>
                  <a:cubicBezTo>
                    <a:pt x="191" y="59"/>
                    <a:pt x="191" y="59"/>
                    <a:pt x="191" y="59"/>
                  </a:cubicBezTo>
                  <a:cubicBezTo>
                    <a:pt x="194" y="65"/>
                    <a:pt x="194" y="65"/>
                    <a:pt x="194" y="65"/>
                  </a:cubicBezTo>
                  <a:cubicBezTo>
                    <a:pt x="198" y="70"/>
                    <a:pt x="198" y="70"/>
                    <a:pt x="198" y="70"/>
                  </a:cubicBezTo>
                  <a:cubicBezTo>
                    <a:pt x="198" y="70"/>
                    <a:pt x="198" y="70"/>
                    <a:pt x="198" y="70"/>
                  </a:cubicBezTo>
                  <a:cubicBezTo>
                    <a:pt x="193" y="72"/>
                    <a:pt x="193" y="72"/>
                    <a:pt x="193" y="72"/>
                  </a:cubicBezTo>
                  <a:cubicBezTo>
                    <a:pt x="190" y="72"/>
                    <a:pt x="190" y="72"/>
                    <a:pt x="190" y="72"/>
                  </a:cubicBezTo>
                  <a:cubicBezTo>
                    <a:pt x="187" y="68"/>
                    <a:pt x="187" y="68"/>
                    <a:pt x="187" y="68"/>
                  </a:cubicBezTo>
                  <a:cubicBezTo>
                    <a:pt x="182" y="66"/>
                    <a:pt x="182" y="66"/>
                    <a:pt x="182" y="66"/>
                  </a:cubicBezTo>
                  <a:cubicBezTo>
                    <a:pt x="176" y="69"/>
                    <a:pt x="176" y="69"/>
                    <a:pt x="176" y="69"/>
                  </a:cubicBezTo>
                  <a:cubicBezTo>
                    <a:pt x="171" y="70"/>
                    <a:pt x="171" y="70"/>
                    <a:pt x="171" y="70"/>
                  </a:cubicBezTo>
                  <a:cubicBezTo>
                    <a:pt x="169" y="70"/>
                    <a:pt x="169" y="70"/>
                    <a:pt x="169" y="70"/>
                  </a:cubicBezTo>
                  <a:cubicBezTo>
                    <a:pt x="167" y="73"/>
                    <a:pt x="167" y="73"/>
                    <a:pt x="167" y="73"/>
                  </a:cubicBezTo>
                  <a:cubicBezTo>
                    <a:pt x="163" y="76"/>
                    <a:pt x="163" y="76"/>
                    <a:pt x="163" y="76"/>
                  </a:cubicBezTo>
                  <a:cubicBezTo>
                    <a:pt x="163" y="76"/>
                    <a:pt x="161" y="74"/>
                    <a:pt x="160" y="74"/>
                  </a:cubicBezTo>
                  <a:cubicBezTo>
                    <a:pt x="159" y="73"/>
                    <a:pt x="157" y="71"/>
                    <a:pt x="157" y="71"/>
                  </a:cubicBezTo>
                  <a:cubicBezTo>
                    <a:pt x="157" y="71"/>
                    <a:pt x="156" y="69"/>
                    <a:pt x="155" y="69"/>
                  </a:cubicBezTo>
                  <a:cubicBezTo>
                    <a:pt x="154" y="69"/>
                    <a:pt x="150" y="72"/>
                    <a:pt x="150" y="72"/>
                  </a:cubicBezTo>
                  <a:cubicBezTo>
                    <a:pt x="150" y="72"/>
                    <a:pt x="146" y="74"/>
                    <a:pt x="146" y="75"/>
                  </a:cubicBezTo>
                  <a:cubicBezTo>
                    <a:pt x="146" y="75"/>
                    <a:pt x="146" y="79"/>
                    <a:pt x="146" y="79"/>
                  </a:cubicBezTo>
                  <a:cubicBezTo>
                    <a:pt x="140" y="74"/>
                    <a:pt x="140" y="74"/>
                    <a:pt x="140" y="74"/>
                  </a:cubicBezTo>
                  <a:cubicBezTo>
                    <a:pt x="136" y="77"/>
                    <a:pt x="136" y="77"/>
                    <a:pt x="136" y="77"/>
                  </a:cubicBezTo>
                  <a:cubicBezTo>
                    <a:pt x="133" y="75"/>
                    <a:pt x="133" y="75"/>
                    <a:pt x="133" y="75"/>
                  </a:cubicBezTo>
                  <a:cubicBezTo>
                    <a:pt x="131" y="74"/>
                    <a:pt x="131" y="74"/>
                    <a:pt x="131" y="74"/>
                  </a:cubicBezTo>
                  <a:cubicBezTo>
                    <a:pt x="127" y="80"/>
                    <a:pt x="127" y="80"/>
                    <a:pt x="127" y="80"/>
                  </a:cubicBezTo>
                  <a:cubicBezTo>
                    <a:pt x="123" y="78"/>
                    <a:pt x="123" y="78"/>
                    <a:pt x="123" y="78"/>
                  </a:cubicBezTo>
                  <a:cubicBezTo>
                    <a:pt x="122" y="84"/>
                    <a:pt x="122" y="84"/>
                    <a:pt x="122" y="84"/>
                  </a:cubicBezTo>
                  <a:cubicBezTo>
                    <a:pt x="117" y="81"/>
                    <a:pt x="117" y="81"/>
                    <a:pt x="117" y="81"/>
                  </a:cubicBezTo>
                  <a:cubicBezTo>
                    <a:pt x="117" y="81"/>
                    <a:pt x="113" y="79"/>
                    <a:pt x="113" y="80"/>
                  </a:cubicBezTo>
                  <a:cubicBezTo>
                    <a:pt x="112" y="80"/>
                    <a:pt x="110" y="83"/>
                    <a:pt x="110" y="83"/>
                  </a:cubicBezTo>
                  <a:cubicBezTo>
                    <a:pt x="105" y="80"/>
                    <a:pt x="105" y="80"/>
                    <a:pt x="105" y="80"/>
                  </a:cubicBezTo>
                  <a:cubicBezTo>
                    <a:pt x="103" y="77"/>
                    <a:pt x="103" y="77"/>
                    <a:pt x="103" y="77"/>
                  </a:cubicBezTo>
                  <a:cubicBezTo>
                    <a:pt x="103" y="77"/>
                    <a:pt x="94" y="78"/>
                    <a:pt x="93" y="78"/>
                  </a:cubicBezTo>
                  <a:cubicBezTo>
                    <a:pt x="92" y="79"/>
                    <a:pt x="86" y="78"/>
                    <a:pt x="86" y="78"/>
                  </a:cubicBezTo>
                  <a:cubicBezTo>
                    <a:pt x="79" y="79"/>
                    <a:pt x="79" y="79"/>
                    <a:pt x="79" y="79"/>
                  </a:cubicBezTo>
                  <a:cubicBezTo>
                    <a:pt x="68" y="79"/>
                    <a:pt x="68" y="79"/>
                    <a:pt x="68" y="79"/>
                  </a:cubicBezTo>
                  <a:cubicBezTo>
                    <a:pt x="59" y="80"/>
                    <a:pt x="59" y="80"/>
                    <a:pt x="59" y="80"/>
                  </a:cubicBezTo>
                  <a:cubicBezTo>
                    <a:pt x="52" y="80"/>
                    <a:pt x="52" y="80"/>
                    <a:pt x="52" y="80"/>
                  </a:cubicBezTo>
                  <a:cubicBezTo>
                    <a:pt x="46" y="84"/>
                    <a:pt x="46" y="84"/>
                    <a:pt x="46" y="84"/>
                  </a:cubicBezTo>
                  <a:cubicBezTo>
                    <a:pt x="41" y="84"/>
                    <a:pt x="41" y="84"/>
                    <a:pt x="41" y="84"/>
                  </a:cubicBezTo>
                  <a:cubicBezTo>
                    <a:pt x="34" y="85"/>
                    <a:pt x="34" y="85"/>
                    <a:pt x="34" y="85"/>
                  </a:cubicBezTo>
                  <a:cubicBezTo>
                    <a:pt x="33" y="85"/>
                    <a:pt x="33" y="85"/>
                    <a:pt x="33" y="85"/>
                  </a:cubicBezTo>
                  <a:cubicBezTo>
                    <a:pt x="33" y="86"/>
                    <a:pt x="33" y="86"/>
                    <a:pt x="33" y="86"/>
                  </a:cubicBezTo>
                  <a:cubicBezTo>
                    <a:pt x="30" y="88"/>
                    <a:pt x="30" y="88"/>
                    <a:pt x="30" y="88"/>
                  </a:cubicBezTo>
                  <a:cubicBezTo>
                    <a:pt x="30" y="89"/>
                    <a:pt x="30" y="89"/>
                    <a:pt x="30" y="89"/>
                  </a:cubicBezTo>
                  <a:cubicBezTo>
                    <a:pt x="28" y="91"/>
                    <a:pt x="28" y="91"/>
                    <a:pt x="28" y="91"/>
                  </a:cubicBezTo>
                  <a:cubicBezTo>
                    <a:pt x="28" y="94"/>
                    <a:pt x="28" y="94"/>
                    <a:pt x="28" y="94"/>
                  </a:cubicBezTo>
                  <a:cubicBezTo>
                    <a:pt x="27" y="96"/>
                    <a:pt x="25" y="98"/>
                    <a:pt x="24" y="99"/>
                  </a:cubicBezTo>
                  <a:cubicBezTo>
                    <a:pt x="24" y="99"/>
                    <a:pt x="24" y="99"/>
                    <a:pt x="24" y="99"/>
                  </a:cubicBezTo>
                  <a:cubicBezTo>
                    <a:pt x="24" y="99"/>
                    <a:pt x="22" y="98"/>
                    <a:pt x="22" y="100"/>
                  </a:cubicBezTo>
                  <a:cubicBezTo>
                    <a:pt x="22" y="100"/>
                    <a:pt x="22" y="101"/>
                    <a:pt x="22" y="101"/>
                  </a:cubicBezTo>
                  <a:cubicBezTo>
                    <a:pt x="20" y="101"/>
                    <a:pt x="15" y="100"/>
                    <a:pt x="15" y="100"/>
                  </a:cubicBezTo>
                  <a:cubicBezTo>
                    <a:pt x="13" y="101"/>
                    <a:pt x="13" y="101"/>
                    <a:pt x="13" y="101"/>
                  </a:cubicBezTo>
                  <a:cubicBezTo>
                    <a:pt x="13" y="102"/>
                    <a:pt x="14" y="102"/>
                    <a:pt x="14" y="103"/>
                  </a:cubicBezTo>
                  <a:cubicBezTo>
                    <a:pt x="15" y="103"/>
                    <a:pt x="15" y="104"/>
                    <a:pt x="16" y="104"/>
                  </a:cubicBezTo>
                  <a:cubicBezTo>
                    <a:pt x="18" y="110"/>
                    <a:pt x="18" y="110"/>
                    <a:pt x="18" y="110"/>
                  </a:cubicBezTo>
                  <a:cubicBezTo>
                    <a:pt x="18" y="113"/>
                    <a:pt x="18" y="113"/>
                    <a:pt x="18" y="113"/>
                  </a:cubicBezTo>
                  <a:cubicBezTo>
                    <a:pt x="18" y="114"/>
                    <a:pt x="18" y="114"/>
                    <a:pt x="18" y="114"/>
                  </a:cubicBezTo>
                  <a:cubicBezTo>
                    <a:pt x="20" y="114"/>
                    <a:pt x="21" y="116"/>
                    <a:pt x="22" y="118"/>
                  </a:cubicBezTo>
                  <a:cubicBezTo>
                    <a:pt x="22" y="118"/>
                    <a:pt x="23" y="119"/>
                    <a:pt x="25" y="120"/>
                  </a:cubicBezTo>
                  <a:cubicBezTo>
                    <a:pt x="26" y="120"/>
                    <a:pt x="26" y="120"/>
                    <a:pt x="26" y="120"/>
                  </a:cubicBezTo>
                  <a:cubicBezTo>
                    <a:pt x="26" y="122"/>
                    <a:pt x="26" y="122"/>
                    <a:pt x="26" y="122"/>
                  </a:cubicBezTo>
                  <a:cubicBezTo>
                    <a:pt x="26" y="122"/>
                    <a:pt x="26" y="123"/>
                    <a:pt x="26" y="124"/>
                  </a:cubicBezTo>
                  <a:cubicBezTo>
                    <a:pt x="27" y="124"/>
                    <a:pt x="27" y="124"/>
                    <a:pt x="27" y="124"/>
                  </a:cubicBezTo>
                  <a:cubicBezTo>
                    <a:pt x="28" y="125"/>
                    <a:pt x="29" y="125"/>
                    <a:pt x="30" y="125"/>
                  </a:cubicBezTo>
                  <a:cubicBezTo>
                    <a:pt x="33" y="126"/>
                    <a:pt x="34" y="128"/>
                    <a:pt x="34" y="129"/>
                  </a:cubicBezTo>
                  <a:cubicBezTo>
                    <a:pt x="34" y="130"/>
                    <a:pt x="34" y="130"/>
                    <a:pt x="35" y="130"/>
                  </a:cubicBezTo>
                  <a:cubicBezTo>
                    <a:pt x="35" y="130"/>
                    <a:pt x="38" y="132"/>
                    <a:pt x="38" y="134"/>
                  </a:cubicBezTo>
                  <a:cubicBezTo>
                    <a:pt x="38" y="136"/>
                    <a:pt x="37" y="137"/>
                    <a:pt x="36" y="137"/>
                  </a:cubicBezTo>
                  <a:cubicBezTo>
                    <a:pt x="35" y="137"/>
                    <a:pt x="34" y="137"/>
                    <a:pt x="34" y="137"/>
                  </a:cubicBezTo>
                  <a:cubicBezTo>
                    <a:pt x="37" y="141"/>
                    <a:pt x="37" y="141"/>
                    <a:pt x="37" y="141"/>
                  </a:cubicBezTo>
                  <a:cubicBezTo>
                    <a:pt x="37" y="147"/>
                    <a:pt x="37" y="147"/>
                    <a:pt x="37" y="147"/>
                  </a:cubicBezTo>
                  <a:cubicBezTo>
                    <a:pt x="37" y="148"/>
                    <a:pt x="37" y="150"/>
                    <a:pt x="37" y="151"/>
                  </a:cubicBezTo>
                  <a:cubicBezTo>
                    <a:pt x="37" y="152"/>
                    <a:pt x="36" y="155"/>
                    <a:pt x="33" y="155"/>
                  </a:cubicBezTo>
                  <a:cubicBezTo>
                    <a:pt x="33" y="155"/>
                    <a:pt x="33" y="155"/>
                    <a:pt x="33" y="156"/>
                  </a:cubicBezTo>
                  <a:cubicBezTo>
                    <a:pt x="32" y="156"/>
                    <a:pt x="32" y="157"/>
                    <a:pt x="31" y="157"/>
                  </a:cubicBezTo>
                  <a:cubicBezTo>
                    <a:pt x="31" y="158"/>
                    <a:pt x="31" y="158"/>
                    <a:pt x="31" y="158"/>
                  </a:cubicBezTo>
                  <a:cubicBezTo>
                    <a:pt x="30" y="158"/>
                    <a:pt x="30" y="158"/>
                    <a:pt x="30" y="158"/>
                  </a:cubicBezTo>
                  <a:cubicBezTo>
                    <a:pt x="30" y="158"/>
                    <a:pt x="30" y="158"/>
                    <a:pt x="29" y="158"/>
                  </a:cubicBezTo>
                  <a:cubicBezTo>
                    <a:pt x="29" y="158"/>
                    <a:pt x="29" y="158"/>
                    <a:pt x="29" y="158"/>
                  </a:cubicBezTo>
                  <a:cubicBezTo>
                    <a:pt x="28" y="160"/>
                    <a:pt x="28" y="160"/>
                    <a:pt x="28" y="160"/>
                  </a:cubicBezTo>
                  <a:cubicBezTo>
                    <a:pt x="27" y="162"/>
                    <a:pt x="26" y="163"/>
                    <a:pt x="26" y="164"/>
                  </a:cubicBezTo>
                  <a:cubicBezTo>
                    <a:pt x="26" y="164"/>
                    <a:pt x="25" y="165"/>
                    <a:pt x="25" y="165"/>
                  </a:cubicBezTo>
                  <a:cubicBezTo>
                    <a:pt x="24" y="165"/>
                    <a:pt x="23" y="166"/>
                    <a:pt x="23" y="167"/>
                  </a:cubicBezTo>
                  <a:cubicBezTo>
                    <a:pt x="23" y="167"/>
                    <a:pt x="22" y="168"/>
                    <a:pt x="22" y="168"/>
                  </a:cubicBezTo>
                  <a:cubicBezTo>
                    <a:pt x="22" y="168"/>
                    <a:pt x="22" y="168"/>
                    <a:pt x="21" y="170"/>
                  </a:cubicBezTo>
                  <a:cubicBezTo>
                    <a:pt x="19" y="175"/>
                    <a:pt x="19" y="176"/>
                    <a:pt x="19" y="176"/>
                  </a:cubicBezTo>
                  <a:cubicBezTo>
                    <a:pt x="11" y="187"/>
                    <a:pt x="11" y="187"/>
                    <a:pt x="11" y="187"/>
                  </a:cubicBezTo>
                  <a:cubicBezTo>
                    <a:pt x="9" y="190"/>
                    <a:pt x="8" y="193"/>
                    <a:pt x="8" y="193"/>
                  </a:cubicBezTo>
                  <a:cubicBezTo>
                    <a:pt x="8" y="193"/>
                    <a:pt x="7" y="195"/>
                    <a:pt x="8" y="196"/>
                  </a:cubicBezTo>
                  <a:cubicBezTo>
                    <a:pt x="11" y="199"/>
                    <a:pt x="11" y="199"/>
                    <a:pt x="11" y="199"/>
                  </a:cubicBezTo>
                  <a:cubicBezTo>
                    <a:pt x="11" y="203"/>
                    <a:pt x="11" y="203"/>
                    <a:pt x="11" y="203"/>
                  </a:cubicBezTo>
                  <a:cubicBezTo>
                    <a:pt x="11" y="203"/>
                    <a:pt x="11" y="204"/>
                    <a:pt x="11" y="204"/>
                  </a:cubicBezTo>
                  <a:cubicBezTo>
                    <a:pt x="12" y="205"/>
                    <a:pt x="12" y="205"/>
                    <a:pt x="12" y="205"/>
                  </a:cubicBezTo>
                  <a:cubicBezTo>
                    <a:pt x="12" y="208"/>
                    <a:pt x="12" y="208"/>
                    <a:pt x="12" y="208"/>
                  </a:cubicBezTo>
                  <a:cubicBezTo>
                    <a:pt x="12" y="208"/>
                    <a:pt x="12" y="208"/>
                    <a:pt x="12" y="209"/>
                  </a:cubicBezTo>
                  <a:cubicBezTo>
                    <a:pt x="12" y="209"/>
                    <a:pt x="13" y="209"/>
                    <a:pt x="14" y="210"/>
                  </a:cubicBezTo>
                  <a:cubicBezTo>
                    <a:pt x="16" y="211"/>
                    <a:pt x="16" y="212"/>
                    <a:pt x="16" y="212"/>
                  </a:cubicBezTo>
                  <a:cubicBezTo>
                    <a:pt x="16" y="213"/>
                    <a:pt x="17" y="214"/>
                    <a:pt x="16" y="216"/>
                  </a:cubicBezTo>
                  <a:cubicBezTo>
                    <a:pt x="16" y="217"/>
                    <a:pt x="15" y="218"/>
                    <a:pt x="13" y="219"/>
                  </a:cubicBezTo>
                  <a:cubicBezTo>
                    <a:pt x="13" y="219"/>
                    <a:pt x="13" y="219"/>
                    <a:pt x="13" y="219"/>
                  </a:cubicBezTo>
                  <a:cubicBezTo>
                    <a:pt x="13" y="219"/>
                    <a:pt x="13" y="219"/>
                    <a:pt x="12" y="219"/>
                  </a:cubicBezTo>
                  <a:cubicBezTo>
                    <a:pt x="11" y="219"/>
                    <a:pt x="11" y="218"/>
                    <a:pt x="10" y="218"/>
                  </a:cubicBezTo>
                  <a:cubicBezTo>
                    <a:pt x="10" y="218"/>
                    <a:pt x="8" y="218"/>
                    <a:pt x="7" y="218"/>
                  </a:cubicBezTo>
                  <a:cubicBezTo>
                    <a:pt x="7" y="218"/>
                    <a:pt x="7" y="218"/>
                    <a:pt x="7" y="218"/>
                  </a:cubicBezTo>
                  <a:cubicBezTo>
                    <a:pt x="5" y="219"/>
                    <a:pt x="5" y="219"/>
                    <a:pt x="5" y="219"/>
                  </a:cubicBezTo>
                  <a:cubicBezTo>
                    <a:pt x="5" y="220"/>
                    <a:pt x="5" y="220"/>
                    <a:pt x="5" y="221"/>
                  </a:cubicBezTo>
                  <a:cubicBezTo>
                    <a:pt x="5" y="222"/>
                    <a:pt x="5" y="222"/>
                    <a:pt x="5" y="222"/>
                  </a:cubicBezTo>
                  <a:cubicBezTo>
                    <a:pt x="5" y="222"/>
                    <a:pt x="5" y="222"/>
                    <a:pt x="5" y="222"/>
                  </a:cubicBezTo>
                  <a:cubicBezTo>
                    <a:pt x="5" y="222"/>
                    <a:pt x="5" y="224"/>
                    <a:pt x="5" y="224"/>
                  </a:cubicBezTo>
                  <a:cubicBezTo>
                    <a:pt x="4" y="225"/>
                    <a:pt x="4" y="225"/>
                    <a:pt x="4" y="225"/>
                  </a:cubicBezTo>
                  <a:cubicBezTo>
                    <a:pt x="4" y="225"/>
                    <a:pt x="4" y="226"/>
                    <a:pt x="4" y="226"/>
                  </a:cubicBezTo>
                  <a:cubicBezTo>
                    <a:pt x="5" y="228"/>
                    <a:pt x="5" y="228"/>
                    <a:pt x="5" y="228"/>
                  </a:cubicBezTo>
                  <a:cubicBezTo>
                    <a:pt x="4" y="230"/>
                    <a:pt x="4" y="230"/>
                    <a:pt x="4" y="230"/>
                  </a:cubicBezTo>
                  <a:cubicBezTo>
                    <a:pt x="4" y="230"/>
                    <a:pt x="4" y="230"/>
                    <a:pt x="4" y="230"/>
                  </a:cubicBezTo>
                  <a:cubicBezTo>
                    <a:pt x="4" y="231"/>
                    <a:pt x="4" y="232"/>
                    <a:pt x="3" y="234"/>
                  </a:cubicBezTo>
                  <a:cubicBezTo>
                    <a:pt x="3" y="234"/>
                    <a:pt x="2" y="234"/>
                    <a:pt x="2" y="235"/>
                  </a:cubicBezTo>
                  <a:cubicBezTo>
                    <a:pt x="1" y="236"/>
                    <a:pt x="1" y="236"/>
                    <a:pt x="1" y="236"/>
                  </a:cubicBezTo>
                  <a:cubicBezTo>
                    <a:pt x="1" y="236"/>
                    <a:pt x="1" y="236"/>
                    <a:pt x="1" y="236"/>
                  </a:cubicBezTo>
                  <a:cubicBezTo>
                    <a:pt x="1" y="237"/>
                    <a:pt x="1" y="237"/>
                    <a:pt x="0" y="238"/>
                  </a:cubicBezTo>
                  <a:cubicBezTo>
                    <a:pt x="0" y="238"/>
                    <a:pt x="0" y="238"/>
                    <a:pt x="0" y="238"/>
                  </a:cubicBezTo>
                  <a:cubicBezTo>
                    <a:pt x="0" y="238"/>
                    <a:pt x="0" y="238"/>
                    <a:pt x="0" y="239"/>
                  </a:cubicBezTo>
                  <a:cubicBezTo>
                    <a:pt x="0" y="239"/>
                    <a:pt x="1" y="239"/>
                    <a:pt x="1" y="240"/>
                  </a:cubicBezTo>
                  <a:cubicBezTo>
                    <a:pt x="1" y="240"/>
                    <a:pt x="1" y="240"/>
                    <a:pt x="1" y="240"/>
                  </a:cubicBezTo>
                  <a:cubicBezTo>
                    <a:pt x="1" y="240"/>
                    <a:pt x="1" y="240"/>
                    <a:pt x="1" y="240"/>
                  </a:cubicBezTo>
                  <a:cubicBezTo>
                    <a:pt x="1" y="241"/>
                    <a:pt x="1" y="241"/>
                    <a:pt x="1" y="242"/>
                  </a:cubicBezTo>
                  <a:cubicBezTo>
                    <a:pt x="1" y="242"/>
                    <a:pt x="1" y="242"/>
                    <a:pt x="1" y="242"/>
                  </a:cubicBezTo>
                  <a:cubicBezTo>
                    <a:pt x="1" y="243"/>
                    <a:pt x="1" y="243"/>
                    <a:pt x="1" y="243"/>
                  </a:cubicBezTo>
                  <a:cubicBezTo>
                    <a:pt x="1" y="245"/>
                    <a:pt x="1" y="245"/>
                    <a:pt x="1" y="245"/>
                  </a:cubicBezTo>
                  <a:cubicBezTo>
                    <a:pt x="0" y="247"/>
                    <a:pt x="0" y="247"/>
                    <a:pt x="0" y="247"/>
                  </a:cubicBezTo>
                  <a:cubicBezTo>
                    <a:pt x="0" y="248"/>
                    <a:pt x="0" y="248"/>
                    <a:pt x="0" y="248"/>
                  </a:cubicBezTo>
                  <a:cubicBezTo>
                    <a:pt x="0" y="248"/>
                    <a:pt x="0" y="248"/>
                    <a:pt x="0" y="248"/>
                  </a:cubicBezTo>
                  <a:cubicBezTo>
                    <a:pt x="0" y="248"/>
                    <a:pt x="0" y="248"/>
                    <a:pt x="0" y="248"/>
                  </a:cubicBezTo>
                  <a:cubicBezTo>
                    <a:pt x="4" y="246"/>
                    <a:pt x="4" y="246"/>
                    <a:pt x="4" y="246"/>
                  </a:cubicBezTo>
                  <a:cubicBezTo>
                    <a:pt x="7" y="249"/>
                    <a:pt x="7" y="249"/>
                    <a:pt x="7" y="249"/>
                  </a:cubicBezTo>
                  <a:cubicBezTo>
                    <a:pt x="9" y="251"/>
                    <a:pt x="9" y="251"/>
                    <a:pt x="9" y="251"/>
                  </a:cubicBezTo>
                  <a:cubicBezTo>
                    <a:pt x="13" y="251"/>
                    <a:pt x="13" y="251"/>
                    <a:pt x="13" y="251"/>
                  </a:cubicBezTo>
                  <a:cubicBezTo>
                    <a:pt x="16" y="254"/>
                    <a:pt x="16" y="254"/>
                    <a:pt x="16" y="254"/>
                  </a:cubicBezTo>
                  <a:cubicBezTo>
                    <a:pt x="18" y="257"/>
                    <a:pt x="18" y="257"/>
                    <a:pt x="18" y="257"/>
                  </a:cubicBezTo>
                  <a:cubicBezTo>
                    <a:pt x="22" y="256"/>
                    <a:pt x="22" y="256"/>
                    <a:pt x="22" y="256"/>
                  </a:cubicBezTo>
                  <a:cubicBezTo>
                    <a:pt x="26" y="259"/>
                    <a:pt x="26" y="259"/>
                    <a:pt x="26" y="259"/>
                  </a:cubicBezTo>
                  <a:cubicBezTo>
                    <a:pt x="25" y="261"/>
                    <a:pt x="25" y="261"/>
                    <a:pt x="25" y="261"/>
                  </a:cubicBezTo>
                  <a:cubicBezTo>
                    <a:pt x="25" y="261"/>
                    <a:pt x="25" y="261"/>
                    <a:pt x="25" y="260"/>
                  </a:cubicBezTo>
                  <a:cubicBezTo>
                    <a:pt x="26" y="257"/>
                    <a:pt x="26" y="257"/>
                    <a:pt x="26" y="257"/>
                  </a:cubicBezTo>
                  <a:cubicBezTo>
                    <a:pt x="27" y="256"/>
                    <a:pt x="27" y="256"/>
                    <a:pt x="27" y="256"/>
                  </a:cubicBezTo>
                  <a:cubicBezTo>
                    <a:pt x="27" y="256"/>
                    <a:pt x="28" y="255"/>
                    <a:pt x="28" y="255"/>
                  </a:cubicBezTo>
                  <a:cubicBezTo>
                    <a:pt x="29" y="254"/>
                    <a:pt x="30" y="254"/>
                    <a:pt x="32" y="253"/>
                  </a:cubicBezTo>
                  <a:cubicBezTo>
                    <a:pt x="32" y="250"/>
                    <a:pt x="32" y="250"/>
                    <a:pt x="32" y="250"/>
                  </a:cubicBezTo>
                  <a:cubicBezTo>
                    <a:pt x="35" y="253"/>
                    <a:pt x="35" y="253"/>
                    <a:pt x="35" y="253"/>
                  </a:cubicBezTo>
                  <a:cubicBezTo>
                    <a:pt x="35" y="254"/>
                    <a:pt x="36" y="254"/>
                    <a:pt x="37" y="255"/>
                  </a:cubicBezTo>
                  <a:cubicBezTo>
                    <a:pt x="39" y="255"/>
                    <a:pt x="39" y="255"/>
                    <a:pt x="39" y="255"/>
                  </a:cubicBezTo>
                  <a:cubicBezTo>
                    <a:pt x="40" y="255"/>
                    <a:pt x="42" y="254"/>
                    <a:pt x="45" y="254"/>
                  </a:cubicBezTo>
                  <a:cubicBezTo>
                    <a:pt x="45" y="254"/>
                    <a:pt x="45" y="254"/>
                    <a:pt x="45" y="254"/>
                  </a:cubicBezTo>
                  <a:cubicBezTo>
                    <a:pt x="55" y="255"/>
                    <a:pt x="55" y="255"/>
                    <a:pt x="55" y="255"/>
                  </a:cubicBezTo>
                  <a:cubicBezTo>
                    <a:pt x="60" y="252"/>
                    <a:pt x="60" y="252"/>
                    <a:pt x="60" y="252"/>
                  </a:cubicBezTo>
                  <a:cubicBezTo>
                    <a:pt x="71" y="253"/>
                    <a:pt x="71" y="253"/>
                    <a:pt x="71" y="253"/>
                  </a:cubicBezTo>
                  <a:cubicBezTo>
                    <a:pt x="76" y="252"/>
                    <a:pt x="76" y="252"/>
                    <a:pt x="76" y="252"/>
                  </a:cubicBezTo>
                  <a:cubicBezTo>
                    <a:pt x="80" y="255"/>
                    <a:pt x="80" y="255"/>
                    <a:pt x="80" y="255"/>
                  </a:cubicBezTo>
                  <a:cubicBezTo>
                    <a:pt x="85" y="255"/>
                    <a:pt x="85" y="255"/>
                    <a:pt x="85" y="255"/>
                  </a:cubicBezTo>
                  <a:cubicBezTo>
                    <a:pt x="88" y="250"/>
                    <a:pt x="88" y="250"/>
                    <a:pt x="88" y="250"/>
                  </a:cubicBezTo>
                  <a:cubicBezTo>
                    <a:pt x="89" y="249"/>
                    <a:pt x="92" y="246"/>
                    <a:pt x="95" y="246"/>
                  </a:cubicBezTo>
                  <a:cubicBezTo>
                    <a:pt x="97" y="246"/>
                    <a:pt x="102" y="244"/>
                    <a:pt x="103" y="244"/>
                  </a:cubicBezTo>
                  <a:cubicBezTo>
                    <a:pt x="110" y="240"/>
                    <a:pt x="110" y="240"/>
                    <a:pt x="110" y="240"/>
                  </a:cubicBezTo>
                  <a:cubicBezTo>
                    <a:pt x="110" y="240"/>
                    <a:pt x="110" y="240"/>
                    <a:pt x="110" y="240"/>
                  </a:cubicBezTo>
                  <a:cubicBezTo>
                    <a:pt x="111" y="240"/>
                    <a:pt x="111" y="239"/>
                    <a:pt x="112" y="239"/>
                  </a:cubicBezTo>
                  <a:cubicBezTo>
                    <a:pt x="113" y="237"/>
                    <a:pt x="114" y="236"/>
                    <a:pt x="116" y="235"/>
                  </a:cubicBezTo>
                  <a:cubicBezTo>
                    <a:pt x="116" y="235"/>
                    <a:pt x="116" y="234"/>
                    <a:pt x="116" y="233"/>
                  </a:cubicBezTo>
                  <a:cubicBezTo>
                    <a:pt x="116" y="232"/>
                    <a:pt x="116" y="231"/>
                    <a:pt x="117" y="230"/>
                  </a:cubicBezTo>
                  <a:cubicBezTo>
                    <a:pt x="117" y="229"/>
                    <a:pt x="119" y="227"/>
                    <a:pt x="121" y="226"/>
                  </a:cubicBezTo>
                  <a:cubicBezTo>
                    <a:pt x="122" y="226"/>
                    <a:pt x="122" y="226"/>
                    <a:pt x="122" y="226"/>
                  </a:cubicBezTo>
                  <a:cubicBezTo>
                    <a:pt x="122" y="226"/>
                    <a:pt x="122" y="226"/>
                    <a:pt x="122" y="226"/>
                  </a:cubicBezTo>
                  <a:cubicBezTo>
                    <a:pt x="124" y="224"/>
                    <a:pt x="124" y="224"/>
                    <a:pt x="124" y="224"/>
                  </a:cubicBezTo>
                  <a:cubicBezTo>
                    <a:pt x="125" y="222"/>
                    <a:pt x="125" y="222"/>
                    <a:pt x="125" y="222"/>
                  </a:cubicBezTo>
                  <a:cubicBezTo>
                    <a:pt x="127" y="221"/>
                    <a:pt x="127" y="221"/>
                    <a:pt x="127" y="221"/>
                  </a:cubicBezTo>
                  <a:cubicBezTo>
                    <a:pt x="127" y="221"/>
                    <a:pt x="128" y="220"/>
                    <a:pt x="128" y="220"/>
                  </a:cubicBezTo>
                  <a:cubicBezTo>
                    <a:pt x="128" y="220"/>
                    <a:pt x="128" y="220"/>
                    <a:pt x="128" y="220"/>
                  </a:cubicBezTo>
                  <a:cubicBezTo>
                    <a:pt x="128" y="220"/>
                    <a:pt x="128" y="220"/>
                    <a:pt x="128" y="220"/>
                  </a:cubicBezTo>
                  <a:cubicBezTo>
                    <a:pt x="130" y="218"/>
                    <a:pt x="130" y="218"/>
                    <a:pt x="130" y="218"/>
                  </a:cubicBezTo>
                  <a:cubicBezTo>
                    <a:pt x="130" y="218"/>
                    <a:pt x="130" y="218"/>
                    <a:pt x="130" y="218"/>
                  </a:cubicBezTo>
                  <a:cubicBezTo>
                    <a:pt x="130" y="218"/>
                    <a:pt x="130" y="218"/>
                    <a:pt x="131" y="218"/>
                  </a:cubicBezTo>
                  <a:cubicBezTo>
                    <a:pt x="131" y="217"/>
                    <a:pt x="131" y="217"/>
                    <a:pt x="131" y="217"/>
                  </a:cubicBezTo>
                  <a:cubicBezTo>
                    <a:pt x="132" y="216"/>
                    <a:pt x="132" y="216"/>
                    <a:pt x="132" y="216"/>
                  </a:cubicBezTo>
                  <a:cubicBezTo>
                    <a:pt x="133" y="217"/>
                    <a:pt x="133" y="217"/>
                    <a:pt x="133" y="217"/>
                  </a:cubicBezTo>
                  <a:cubicBezTo>
                    <a:pt x="135" y="217"/>
                    <a:pt x="135" y="217"/>
                    <a:pt x="135" y="217"/>
                  </a:cubicBezTo>
                  <a:cubicBezTo>
                    <a:pt x="135" y="217"/>
                    <a:pt x="135" y="217"/>
                    <a:pt x="135" y="217"/>
                  </a:cubicBezTo>
                  <a:cubicBezTo>
                    <a:pt x="136" y="217"/>
                    <a:pt x="136" y="217"/>
                    <a:pt x="136" y="217"/>
                  </a:cubicBezTo>
                  <a:cubicBezTo>
                    <a:pt x="136" y="217"/>
                    <a:pt x="136" y="216"/>
                    <a:pt x="136" y="216"/>
                  </a:cubicBezTo>
                  <a:cubicBezTo>
                    <a:pt x="137" y="215"/>
                    <a:pt x="138" y="215"/>
                    <a:pt x="138" y="215"/>
                  </a:cubicBezTo>
                  <a:cubicBezTo>
                    <a:pt x="139" y="215"/>
                    <a:pt x="139" y="215"/>
                    <a:pt x="140" y="215"/>
                  </a:cubicBezTo>
                  <a:cubicBezTo>
                    <a:pt x="140" y="215"/>
                    <a:pt x="142" y="215"/>
                    <a:pt x="142" y="215"/>
                  </a:cubicBezTo>
                  <a:cubicBezTo>
                    <a:pt x="142" y="215"/>
                    <a:pt x="142" y="215"/>
                    <a:pt x="142" y="215"/>
                  </a:cubicBezTo>
                  <a:cubicBezTo>
                    <a:pt x="142" y="215"/>
                    <a:pt x="143" y="214"/>
                    <a:pt x="143" y="214"/>
                  </a:cubicBezTo>
                  <a:cubicBezTo>
                    <a:pt x="143" y="214"/>
                    <a:pt x="143" y="214"/>
                    <a:pt x="143" y="214"/>
                  </a:cubicBezTo>
                  <a:cubicBezTo>
                    <a:pt x="143" y="212"/>
                    <a:pt x="144" y="212"/>
                    <a:pt x="145" y="211"/>
                  </a:cubicBezTo>
                  <a:cubicBezTo>
                    <a:pt x="146" y="211"/>
                    <a:pt x="146" y="211"/>
                    <a:pt x="146" y="211"/>
                  </a:cubicBezTo>
                  <a:cubicBezTo>
                    <a:pt x="146" y="211"/>
                    <a:pt x="146" y="211"/>
                    <a:pt x="146" y="211"/>
                  </a:cubicBezTo>
                  <a:cubicBezTo>
                    <a:pt x="146" y="211"/>
                    <a:pt x="147" y="211"/>
                    <a:pt x="147" y="211"/>
                  </a:cubicBezTo>
                  <a:cubicBezTo>
                    <a:pt x="147" y="211"/>
                    <a:pt x="147" y="211"/>
                    <a:pt x="147" y="211"/>
                  </a:cubicBezTo>
                  <a:cubicBezTo>
                    <a:pt x="148" y="210"/>
                    <a:pt x="149" y="210"/>
                    <a:pt x="149" y="209"/>
                  </a:cubicBezTo>
                  <a:cubicBezTo>
                    <a:pt x="149" y="209"/>
                    <a:pt x="149" y="209"/>
                    <a:pt x="149" y="209"/>
                  </a:cubicBezTo>
                  <a:cubicBezTo>
                    <a:pt x="150" y="208"/>
                    <a:pt x="150" y="207"/>
                    <a:pt x="152" y="207"/>
                  </a:cubicBezTo>
                  <a:cubicBezTo>
                    <a:pt x="153" y="207"/>
                    <a:pt x="154" y="208"/>
                    <a:pt x="154" y="209"/>
                  </a:cubicBezTo>
                  <a:cubicBezTo>
                    <a:pt x="154" y="209"/>
                    <a:pt x="154" y="209"/>
                    <a:pt x="154" y="209"/>
                  </a:cubicBezTo>
                  <a:cubicBezTo>
                    <a:pt x="155" y="208"/>
                    <a:pt x="156" y="207"/>
                    <a:pt x="157" y="207"/>
                  </a:cubicBezTo>
                  <a:cubicBezTo>
                    <a:pt x="158" y="207"/>
                    <a:pt x="159" y="208"/>
                    <a:pt x="160" y="208"/>
                  </a:cubicBezTo>
                  <a:cubicBezTo>
                    <a:pt x="160" y="208"/>
                    <a:pt x="160" y="208"/>
                    <a:pt x="160" y="208"/>
                  </a:cubicBezTo>
                  <a:cubicBezTo>
                    <a:pt x="160" y="209"/>
                    <a:pt x="161" y="209"/>
                    <a:pt x="161" y="209"/>
                  </a:cubicBezTo>
                  <a:cubicBezTo>
                    <a:pt x="162" y="209"/>
                    <a:pt x="162" y="209"/>
                    <a:pt x="162" y="209"/>
                  </a:cubicBezTo>
                  <a:cubicBezTo>
                    <a:pt x="162" y="209"/>
                    <a:pt x="163" y="210"/>
                    <a:pt x="164" y="210"/>
                  </a:cubicBezTo>
                  <a:cubicBezTo>
                    <a:pt x="164" y="211"/>
                    <a:pt x="164" y="211"/>
                    <a:pt x="165" y="211"/>
                  </a:cubicBezTo>
                  <a:cubicBezTo>
                    <a:pt x="165" y="211"/>
                    <a:pt x="166" y="211"/>
                    <a:pt x="167" y="211"/>
                  </a:cubicBezTo>
                  <a:cubicBezTo>
                    <a:pt x="168" y="210"/>
                    <a:pt x="168" y="210"/>
                    <a:pt x="168" y="210"/>
                  </a:cubicBezTo>
                  <a:cubicBezTo>
                    <a:pt x="170" y="212"/>
                    <a:pt x="170" y="212"/>
                    <a:pt x="170" y="212"/>
                  </a:cubicBezTo>
                  <a:cubicBezTo>
                    <a:pt x="170" y="212"/>
                    <a:pt x="170" y="212"/>
                    <a:pt x="171" y="212"/>
                  </a:cubicBezTo>
                  <a:cubicBezTo>
                    <a:pt x="171" y="212"/>
                    <a:pt x="172" y="212"/>
                    <a:pt x="172" y="213"/>
                  </a:cubicBezTo>
                  <a:cubicBezTo>
                    <a:pt x="172" y="212"/>
                    <a:pt x="173" y="212"/>
                    <a:pt x="173" y="212"/>
                  </a:cubicBezTo>
                  <a:cubicBezTo>
                    <a:pt x="173" y="212"/>
                    <a:pt x="174" y="211"/>
                    <a:pt x="176" y="211"/>
                  </a:cubicBezTo>
                  <a:cubicBezTo>
                    <a:pt x="176" y="211"/>
                    <a:pt x="177" y="211"/>
                    <a:pt x="177" y="212"/>
                  </a:cubicBezTo>
                  <a:cubicBezTo>
                    <a:pt x="178" y="212"/>
                    <a:pt x="179" y="213"/>
                    <a:pt x="179" y="214"/>
                  </a:cubicBezTo>
                  <a:cubicBezTo>
                    <a:pt x="179" y="214"/>
                    <a:pt x="180" y="214"/>
                    <a:pt x="180" y="214"/>
                  </a:cubicBezTo>
                  <a:cubicBezTo>
                    <a:pt x="180" y="214"/>
                    <a:pt x="180" y="214"/>
                    <a:pt x="180" y="214"/>
                  </a:cubicBezTo>
                  <a:cubicBezTo>
                    <a:pt x="180" y="214"/>
                    <a:pt x="181" y="213"/>
                    <a:pt x="188" y="213"/>
                  </a:cubicBezTo>
                  <a:cubicBezTo>
                    <a:pt x="189" y="213"/>
                    <a:pt x="189" y="213"/>
                    <a:pt x="189" y="213"/>
                  </a:cubicBezTo>
                  <a:cubicBezTo>
                    <a:pt x="192" y="212"/>
                    <a:pt x="192" y="212"/>
                    <a:pt x="192" y="212"/>
                  </a:cubicBezTo>
                  <a:cubicBezTo>
                    <a:pt x="192" y="213"/>
                    <a:pt x="192" y="213"/>
                    <a:pt x="192" y="213"/>
                  </a:cubicBezTo>
                  <a:cubicBezTo>
                    <a:pt x="194" y="217"/>
                    <a:pt x="194" y="217"/>
                    <a:pt x="194" y="217"/>
                  </a:cubicBezTo>
                  <a:cubicBezTo>
                    <a:pt x="195" y="217"/>
                    <a:pt x="195" y="218"/>
                    <a:pt x="196" y="219"/>
                  </a:cubicBezTo>
                  <a:cubicBezTo>
                    <a:pt x="196" y="219"/>
                    <a:pt x="196" y="219"/>
                    <a:pt x="197" y="219"/>
                  </a:cubicBezTo>
                  <a:cubicBezTo>
                    <a:pt x="197" y="219"/>
                    <a:pt x="197" y="218"/>
                    <a:pt x="197" y="218"/>
                  </a:cubicBezTo>
                  <a:cubicBezTo>
                    <a:pt x="198" y="216"/>
                    <a:pt x="199" y="216"/>
                    <a:pt x="200" y="216"/>
                  </a:cubicBezTo>
                  <a:cubicBezTo>
                    <a:pt x="202" y="216"/>
                    <a:pt x="204" y="218"/>
                    <a:pt x="204" y="219"/>
                  </a:cubicBezTo>
                  <a:cubicBezTo>
                    <a:pt x="207" y="220"/>
                    <a:pt x="207" y="220"/>
                    <a:pt x="207" y="220"/>
                  </a:cubicBezTo>
                  <a:cubicBezTo>
                    <a:pt x="208" y="222"/>
                    <a:pt x="208" y="222"/>
                    <a:pt x="208" y="222"/>
                  </a:cubicBezTo>
                  <a:cubicBezTo>
                    <a:pt x="207" y="224"/>
                    <a:pt x="207" y="224"/>
                    <a:pt x="207" y="224"/>
                  </a:cubicBezTo>
                  <a:cubicBezTo>
                    <a:pt x="209" y="225"/>
                    <a:pt x="209" y="225"/>
                    <a:pt x="209" y="225"/>
                  </a:cubicBezTo>
                  <a:cubicBezTo>
                    <a:pt x="208" y="228"/>
                    <a:pt x="208" y="228"/>
                    <a:pt x="208" y="228"/>
                  </a:cubicBezTo>
                  <a:cubicBezTo>
                    <a:pt x="209" y="228"/>
                    <a:pt x="209" y="229"/>
                    <a:pt x="209" y="229"/>
                  </a:cubicBezTo>
                  <a:cubicBezTo>
                    <a:pt x="209" y="230"/>
                    <a:pt x="209" y="231"/>
                    <a:pt x="209" y="231"/>
                  </a:cubicBezTo>
                  <a:cubicBezTo>
                    <a:pt x="210" y="231"/>
                    <a:pt x="210" y="231"/>
                    <a:pt x="210" y="231"/>
                  </a:cubicBezTo>
                  <a:cubicBezTo>
                    <a:pt x="210" y="235"/>
                    <a:pt x="210" y="235"/>
                    <a:pt x="210" y="235"/>
                  </a:cubicBezTo>
                  <a:cubicBezTo>
                    <a:pt x="209" y="236"/>
                    <a:pt x="209" y="236"/>
                    <a:pt x="209" y="236"/>
                  </a:cubicBezTo>
                  <a:cubicBezTo>
                    <a:pt x="210" y="237"/>
                    <a:pt x="210" y="237"/>
                    <a:pt x="210" y="237"/>
                  </a:cubicBezTo>
                  <a:cubicBezTo>
                    <a:pt x="212" y="237"/>
                    <a:pt x="212" y="237"/>
                    <a:pt x="212" y="237"/>
                  </a:cubicBezTo>
                  <a:cubicBezTo>
                    <a:pt x="214" y="239"/>
                    <a:pt x="214" y="239"/>
                    <a:pt x="214" y="239"/>
                  </a:cubicBezTo>
                  <a:cubicBezTo>
                    <a:pt x="217" y="240"/>
                    <a:pt x="217" y="240"/>
                    <a:pt x="217" y="240"/>
                  </a:cubicBezTo>
                  <a:cubicBezTo>
                    <a:pt x="217" y="239"/>
                    <a:pt x="217" y="239"/>
                    <a:pt x="217" y="239"/>
                  </a:cubicBezTo>
                  <a:cubicBezTo>
                    <a:pt x="223" y="240"/>
                    <a:pt x="223" y="240"/>
                    <a:pt x="223" y="240"/>
                  </a:cubicBezTo>
                  <a:cubicBezTo>
                    <a:pt x="225" y="245"/>
                    <a:pt x="225" y="245"/>
                    <a:pt x="225" y="245"/>
                  </a:cubicBezTo>
                  <a:cubicBezTo>
                    <a:pt x="225" y="245"/>
                    <a:pt x="225" y="245"/>
                    <a:pt x="225" y="245"/>
                  </a:cubicBezTo>
                  <a:cubicBezTo>
                    <a:pt x="225" y="245"/>
                    <a:pt x="225" y="245"/>
                    <a:pt x="225" y="245"/>
                  </a:cubicBezTo>
                  <a:cubicBezTo>
                    <a:pt x="225" y="245"/>
                    <a:pt x="225" y="246"/>
                    <a:pt x="225" y="246"/>
                  </a:cubicBezTo>
                  <a:cubicBezTo>
                    <a:pt x="225" y="246"/>
                    <a:pt x="225" y="248"/>
                    <a:pt x="225" y="248"/>
                  </a:cubicBezTo>
                  <a:cubicBezTo>
                    <a:pt x="226" y="250"/>
                    <a:pt x="226" y="250"/>
                    <a:pt x="226" y="250"/>
                  </a:cubicBezTo>
                  <a:cubicBezTo>
                    <a:pt x="226" y="250"/>
                    <a:pt x="226" y="250"/>
                    <a:pt x="226" y="250"/>
                  </a:cubicBezTo>
                  <a:cubicBezTo>
                    <a:pt x="228" y="251"/>
                    <a:pt x="228" y="253"/>
                    <a:pt x="228" y="254"/>
                  </a:cubicBezTo>
                  <a:cubicBezTo>
                    <a:pt x="228" y="254"/>
                    <a:pt x="228" y="254"/>
                    <a:pt x="228" y="254"/>
                  </a:cubicBezTo>
                  <a:cubicBezTo>
                    <a:pt x="228" y="254"/>
                    <a:pt x="228" y="255"/>
                    <a:pt x="228" y="256"/>
                  </a:cubicBezTo>
                  <a:cubicBezTo>
                    <a:pt x="228" y="256"/>
                    <a:pt x="228" y="256"/>
                    <a:pt x="228" y="256"/>
                  </a:cubicBezTo>
                  <a:cubicBezTo>
                    <a:pt x="229" y="256"/>
                    <a:pt x="230" y="256"/>
                    <a:pt x="230" y="256"/>
                  </a:cubicBezTo>
                  <a:cubicBezTo>
                    <a:pt x="230" y="256"/>
                    <a:pt x="230" y="256"/>
                    <a:pt x="230" y="256"/>
                  </a:cubicBezTo>
                  <a:cubicBezTo>
                    <a:pt x="231" y="256"/>
                    <a:pt x="231" y="256"/>
                    <a:pt x="231" y="256"/>
                  </a:cubicBezTo>
                  <a:cubicBezTo>
                    <a:pt x="233" y="256"/>
                    <a:pt x="233" y="256"/>
                    <a:pt x="233" y="256"/>
                  </a:cubicBezTo>
                  <a:cubicBezTo>
                    <a:pt x="235" y="256"/>
                    <a:pt x="235" y="256"/>
                    <a:pt x="235" y="256"/>
                  </a:cubicBezTo>
                  <a:cubicBezTo>
                    <a:pt x="237" y="257"/>
                    <a:pt x="237" y="257"/>
                    <a:pt x="237" y="257"/>
                  </a:cubicBezTo>
                  <a:cubicBezTo>
                    <a:pt x="239" y="256"/>
                    <a:pt x="239" y="256"/>
                    <a:pt x="239" y="256"/>
                  </a:cubicBezTo>
                  <a:cubicBezTo>
                    <a:pt x="241" y="259"/>
                    <a:pt x="241" y="259"/>
                    <a:pt x="241" y="259"/>
                  </a:cubicBezTo>
                  <a:cubicBezTo>
                    <a:pt x="242" y="262"/>
                    <a:pt x="242" y="263"/>
                    <a:pt x="242" y="264"/>
                  </a:cubicBezTo>
                  <a:cubicBezTo>
                    <a:pt x="242" y="264"/>
                    <a:pt x="242" y="265"/>
                    <a:pt x="243" y="265"/>
                  </a:cubicBezTo>
                  <a:cubicBezTo>
                    <a:pt x="243" y="266"/>
                    <a:pt x="243" y="266"/>
                    <a:pt x="243" y="266"/>
                  </a:cubicBezTo>
                  <a:cubicBezTo>
                    <a:pt x="243" y="266"/>
                    <a:pt x="243" y="266"/>
                    <a:pt x="243" y="266"/>
                  </a:cubicBezTo>
                  <a:cubicBezTo>
                    <a:pt x="243" y="267"/>
                    <a:pt x="243" y="268"/>
                    <a:pt x="243" y="268"/>
                  </a:cubicBezTo>
                  <a:cubicBezTo>
                    <a:pt x="244" y="269"/>
                    <a:pt x="244" y="269"/>
                    <a:pt x="244" y="269"/>
                  </a:cubicBezTo>
                  <a:cubicBezTo>
                    <a:pt x="244" y="269"/>
                    <a:pt x="244" y="269"/>
                    <a:pt x="244" y="269"/>
                  </a:cubicBezTo>
                  <a:cubicBezTo>
                    <a:pt x="244" y="270"/>
                    <a:pt x="244" y="270"/>
                    <a:pt x="244" y="270"/>
                  </a:cubicBezTo>
                  <a:cubicBezTo>
                    <a:pt x="243" y="270"/>
                    <a:pt x="243" y="270"/>
                    <a:pt x="243" y="270"/>
                  </a:cubicBezTo>
                  <a:cubicBezTo>
                    <a:pt x="245" y="272"/>
                    <a:pt x="245" y="272"/>
                    <a:pt x="245" y="272"/>
                  </a:cubicBezTo>
                  <a:cubicBezTo>
                    <a:pt x="246" y="272"/>
                    <a:pt x="246" y="272"/>
                    <a:pt x="246" y="272"/>
                  </a:cubicBezTo>
                  <a:cubicBezTo>
                    <a:pt x="247" y="272"/>
                    <a:pt x="247" y="272"/>
                    <a:pt x="247" y="272"/>
                  </a:cubicBezTo>
                  <a:cubicBezTo>
                    <a:pt x="247" y="272"/>
                    <a:pt x="247" y="272"/>
                    <a:pt x="247" y="272"/>
                  </a:cubicBezTo>
                  <a:cubicBezTo>
                    <a:pt x="250" y="272"/>
                    <a:pt x="251" y="273"/>
                    <a:pt x="252" y="275"/>
                  </a:cubicBezTo>
                  <a:cubicBezTo>
                    <a:pt x="252" y="277"/>
                    <a:pt x="249" y="278"/>
                    <a:pt x="247" y="278"/>
                  </a:cubicBezTo>
                  <a:cubicBezTo>
                    <a:pt x="246" y="279"/>
                    <a:pt x="245" y="279"/>
                    <a:pt x="245" y="279"/>
                  </a:cubicBezTo>
                  <a:cubicBezTo>
                    <a:pt x="244" y="281"/>
                    <a:pt x="244" y="281"/>
                    <a:pt x="244" y="281"/>
                  </a:cubicBezTo>
                  <a:cubicBezTo>
                    <a:pt x="239" y="282"/>
                    <a:pt x="239" y="282"/>
                    <a:pt x="239" y="282"/>
                  </a:cubicBezTo>
                  <a:cubicBezTo>
                    <a:pt x="238" y="280"/>
                    <a:pt x="238" y="280"/>
                    <a:pt x="238" y="280"/>
                  </a:cubicBezTo>
                  <a:cubicBezTo>
                    <a:pt x="238" y="280"/>
                    <a:pt x="238" y="280"/>
                    <a:pt x="238" y="280"/>
                  </a:cubicBezTo>
                  <a:cubicBezTo>
                    <a:pt x="238" y="280"/>
                    <a:pt x="238" y="280"/>
                    <a:pt x="238" y="280"/>
                  </a:cubicBezTo>
                  <a:cubicBezTo>
                    <a:pt x="238" y="281"/>
                    <a:pt x="237" y="282"/>
                    <a:pt x="235" y="283"/>
                  </a:cubicBezTo>
                  <a:cubicBezTo>
                    <a:pt x="234" y="283"/>
                    <a:pt x="234" y="283"/>
                    <a:pt x="234" y="283"/>
                  </a:cubicBezTo>
                  <a:cubicBezTo>
                    <a:pt x="233" y="283"/>
                    <a:pt x="233" y="283"/>
                    <a:pt x="233" y="283"/>
                  </a:cubicBezTo>
                  <a:cubicBezTo>
                    <a:pt x="232" y="282"/>
                    <a:pt x="232" y="282"/>
                    <a:pt x="232" y="282"/>
                  </a:cubicBezTo>
                  <a:cubicBezTo>
                    <a:pt x="232" y="282"/>
                    <a:pt x="232" y="282"/>
                    <a:pt x="232" y="282"/>
                  </a:cubicBezTo>
                  <a:cubicBezTo>
                    <a:pt x="231" y="282"/>
                    <a:pt x="231" y="282"/>
                    <a:pt x="231" y="282"/>
                  </a:cubicBezTo>
                  <a:cubicBezTo>
                    <a:pt x="230" y="282"/>
                    <a:pt x="230" y="282"/>
                    <a:pt x="230" y="282"/>
                  </a:cubicBezTo>
                  <a:cubicBezTo>
                    <a:pt x="230" y="282"/>
                    <a:pt x="230" y="282"/>
                    <a:pt x="230" y="282"/>
                  </a:cubicBezTo>
                  <a:cubicBezTo>
                    <a:pt x="230" y="282"/>
                    <a:pt x="230" y="282"/>
                    <a:pt x="230" y="282"/>
                  </a:cubicBezTo>
                  <a:cubicBezTo>
                    <a:pt x="229" y="282"/>
                    <a:pt x="229" y="283"/>
                    <a:pt x="229" y="283"/>
                  </a:cubicBezTo>
                  <a:cubicBezTo>
                    <a:pt x="229" y="283"/>
                    <a:pt x="229" y="283"/>
                    <a:pt x="229" y="283"/>
                  </a:cubicBezTo>
                  <a:cubicBezTo>
                    <a:pt x="228" y="283"/>
                    <a:pt x="228" y="283"/>
                    <a:pt x="228" y="283"/>
                  </a:cubicBezTo>
                  <a:cubicBezTo>
                    <a:pt x="228" y="283"/>
                    <a:pt x="227" y="283"/>
                    <a:pt x="227" y="283"/>
                  </a:cubicBezTo>
                  <a:cubicBezTo>
                    <a:pt x="227" y="283"/>
                    <a:pt x="227" y="283"/>
                    <a:pt x="227" y="283"/>
                  </a:cubicBezTo>
                  <a:cubicBezTo>
                    <a:pt x="226" y="283"/>
                    <a:pt x="226" y="283"/>
                    <a:pt x="226" y="283"/>
                  </a:cubicBezTo>
                  <a:cubicBezTo>
                    <a:pt x="226" y="284"/>
                    <a:pt x="226" y="284"/>
                    <a:pt x="226" y="284"/>
                  </a:cubicBezTo>
                  <a:cubicBezTo>
                    <a:pt x="225" y="285"/>
                    <a:pt x="225" y="286"/>
                    <a:pt x="223" y="287"/>
                  </a:cubicBezTo>
                  <a:cubicBezTo>
                    <a:pt x="223" y="287"/>
                    <a:pt x="223" y="287"/>
                    <a:pt x="223" y="287"/>
                  </a:cubicBezTo>
                  <a:cubicBezTo>
                    <a:pt x="223" y="287"/>
                    <a:pt x="223" y="287"/>
                    <a:pt x="223" y="287"/>
                  </a:cubicBezTo>
                  <a:cubicBezTo>
                    <a:pt x="222" y="287"/>
                    <a:pt x="221" y="287"/>
                    <a:pt x="220" y="286"/>
                  </a:cubicBezTo>
                  <a:cubicBezTo>
                    <a:pt x="220" y="285"/>
                    <a:pt x="220" y="284"/>
                    <a:pt x="220" y="283"/>
                  </a:cubicBezTo>
                  <a:cubicBezTo>
                    <a:pt x="219" y="280"/>
                    <a:pt x="219" y="280"/>
                    <a:pt x="219" y="280"/>
                  </a:cubicBezTo>
                  <a:cubicBezTo>
                    <a:pt x="218" y="281"/>
                    <a:pt x="218" y="281"/>
                    <a:pt x="218" y="281"/>
                  </a:cubicBezTo>
                  <a:cubicBezTo>
                    <a:pt x="218" y="281"/>
                    <a:pt x="218" y="282"/>
                    <a:pt x="218" y="282"/>
                  </a:cubicBezTo>
                  <a:cubicBezTo>
                    <a:pt x="217" y="283"/>
                    <a:pt x="217" y="284"/>
                    <a:pt x="216" y="285"/>
                  </a:cubicBezTo>
                  <a:cubicBezTo>
                    <a:pt x="216" y="285"/>
                    <a:pt x="216" y="285"/>
                    <a:pt x="216" y="285"/>
                  </a:cubicBezTo>
                  <a:cubicBezTo>
                    <a:pt x="218" y="287"/>
                    <a:pt x="218" y="287"/>
                    <a:pt x="218" y="287"/>
                  </a:cubicBezTo>
                  <a:cubicBezTo>
                    <a:pt x="218" y="289"/>
                    <a:pt x="218" y="289"/>
                    <a:pt x="218" y="289"/>
                  </a:cubicBezTo>
                  <a:cubicBezTo>
                    <a:pt x="219" y="290"/>
                    <a:pt x="219" y="290"/>
                    <a:pt x="219" y="290"/>
                  </a:cubicBezTo>
                  <a:cubicBezTo>
                    <a:pt x="219" y="290"/>
                    <a:pt x="219" y="290"/>
                    <a:pt x="219" y="290"/>
                  </a:cubicBezTo>
                  <a:cubicBezTo>
                    <a:pt x="219" y="290"/>
                    <a:pt x="220" y="290"/>
                    <a:pt x="221" y="290"/>
                  </a:cubicBezTo>
                  <a:cubicBezTo>
                    <a:pt x="221" y="291"/>
                    <a:pt x="221" y="291"/>
                    <a:pt x="221" y="291"/>
                  </a:cubicBezTo>
                  <a:cubicBezTo>
                    <a:pt x="221" y="291"/>
                    <a:pt x="221" y="291"/>
                    <a:pt x="221" y="291"/>
                  </a:cubicBezTo>
                  <a:cubicBezTo>
                    <a:pt x="222" y="293"/>
                    <a:pt x="222" y="294"/>
                    <a:pt x="222" y="295"/>
                  </a:cubicBezTo>
                  <a:cubicBezTo>
                    <a:pt x="221" y="297"/>
                    <a:pt x="221" y="297"/>
                    <a:pt x="221" y="297"/>
                  </a:cubicBezTo>
                  <a:cubicBezTo>
                    <a:pt x="222" y="298"/>
                    <a:pt x="222" y="299"/>
                    <a:pt x="222" y="299"/>
                  </a:cubicBezTo>
                  <a:cubicBezTo>
                    <a:pt x="223" y="300"/>
                    <a:pt x="222" y="302"/>
                    <a:pt x="220" y="303"/>
                  </a:cubicBezTo>
                  <a:cubicBezTo>
                    <a:pt x="220" y="304"/>
                    <a:pt x="217" y="306"/>
                    <a:pt x="217" y="306"/>
                  </a:cubicBezTo>
                  <a:cubicBezTo>
                    <a:pt x="217" y="306"/>
                    <a:pt x="217" y="306"/>
                    <a:pt x="217" y="306"/>
                  </a:cubicBezTo>
                  <a:cubicBezTo>
                    <a:pt x="218" y="310"/>
                    <a:pt x="218" y="310"/>
                    <a:pt x="218" y="310"/>
                  </a:cubicBezTo>
                  <a:cubicBezTo>
                    <a:pt x="218" y="311"/>
                    <a:pt x="218" y="311"/>
                    <a:pt x="218" y="311"/>
                  </a:cubicBezTo>
                  <a:cubicBezTo>
                    <a:pt x="218" y="311"/>
                    <a:pt x="217" y="312"/>
                    <a:pt x="216" y="312"/>
                  </a:cubicBezTo>
                  <a:cubicBezTo>
                    <a:pt x="216" y="312"/>
                    <a:pt x="216" y="314"/>
                    <a:pt x="216" y="314"/>
                  </a:cubicBezTo>
                  <a:cubicBezTo>
                    <a:pt x="214" y="315"/>
                    <a:pt x="214" y="315"/>
                    <a:pt x="214" y="315"/>
                  </a:cubicBezTo>
                  <a:cubicBezTo>
                    <a:pt x="214" y="315"/>
                    <a:pt x="214" y="315"/>
                    <a:pt x="214" y="315"/>
                  </a:cubicBezTo>
                  <a:cubicBezTo>
                    <a:pt x="214" y="316"/>
                    <a:pt x="214" y="317"/>
                    <a:pt x="214" y="317"/>
                  </a:cubicBezTo>
                  <a:cubicBezTo>
                    <a:pt x="213" y="318"/>
                    <a:pt x="213" y="318"/>
                    <a:pt x="213" y="318"/>
                  </a:cubicBezTo>
                  <a:cubicBezTo>
                    <a:pt x="213" y="318"/>
                    <a:pt x="213" y="318"/>
                    <a:pt x="213" y="318"/>
                  </a:cubicBezTo>
                  <a:cubicBezTo>
                    <a:pt x="213" y="319"/>
                    <a:pt x="213" y="319"/>
                    <a:pt x="213" y="319"/>
                  </a:cubicBezTo>
                  <a:cubicBezTo>
                    <a:pt x="216" y="320"/>
                    <a:pt x="216" y="320"/>
                    <a:pt x="216" y="320"/>
                  </a:cubicBezTo>
                  <a:cubicBezTo>
                    <a:pt x="215" y="323"/>
                    <a:pt x="215" y="323"/>
                    <a:pt x="215" y="323"/>
                  </a:cubicBezTo>
                  <a:cubicBezTo>
                    <a:pt x="215" y="325"/>
                    <a:pt x="215" y="325"/>
                    <a:pt x="215" y="325"/>
                  </a:cubicBezTo>
                  <a:cubicBezTo>
                    <a:pt x="215" y="326"/>
                    <a:pt x="215" y="326"/>
                    <a:pt x="215" y="326"/>
                  </a:cubicBezTo>
                  <a:cubicBezTo>
                    <a:pt x="214" y="327"/>
                    <a:pt x="212" y="328"/>
                    <a:pt x="212" y="328"/>
                  </a:cubicBezTo>
                  <a:cubicBezTo>
                    <a:pt x="211" y="328"/>
                    <a:pt x="211" y="328"/>
                    <a:pt x="210" y="328"/>
                  </a:cubicBezTo>
                  <a:cubicBezTo>
                    <a:pt x="209" y="328"/>
                    <a:pt x="209" y="328"/>
                    <a:pt x="209" y="328"/>
                  </a:cubicBezTo>
                  <a:cubicBezTo>
                    <a:pt x="207" y="329"/>
                    <a:pt x="207" y="329"/>
                    <a:pt x="207" y="329"/>
                  </a:cubicBezTo>
                  <a:cubicBezTo>
                    <a:pt x="206" y="332"/>
                    <a:pt x="206" y="332"/>
                    <a:pt x="206" y="332"/>
                  </a:cubicBezTo>
                  <a:cubicBezTo>
                    <a:pt x="210" y="335"/>
                    <a:pt x="215" y="336"/>
                    <a:pt x="221" y="337"/>
                  </a:cubicBezTo>
                  <a:cubicBezTo>
                    <a:pt x="223" y="337"/>
                    <a:pt x="223" y="337"/>
                    <a:pt x="223" y="337"/>
                  </a:cubicBezTo>
                  <a:cubicBezTo>
                    <a:pt x="226" y="333"/>
                    <a:pt x="226" y="333"/>
                    <a:pt x="226" y="333"/>
                  </a:cubicBezTo>
                  <a:cubicBezTo>
                    <a:pt x="227" y="331"/>
                    <a:pt x="232" y="322"/>
                    <a:pt x="238" y="320"/>
                  </a:cubicBezTo>
                  <a:cubicBezTo>
                    <a:pt x="238" y="319"/>
                    <a:pt x="238" y="319"/>
                    <a:pt x="238" y="319"/>
                  </a:cubicBezTo>
                  <a:cubicBezTo>
                    <a:pt x="240" y="320"/>
                    <a:pt x="240" y="320"/>
                    <a:pt x="240" y="320"/>
                  </a:cubicBezTo>
                  <a:cubicBezTo>
                    <a:pt x="248" y="322"/>
                    <a:pt x="248" y="322"/>
                    <a:pt x="248" y="322"/>
                  </a:cubicBezTo>
                  <a:cubicBezTo>
                    <a:pt x="250" y="322"/>
                    <a:pt x="250" y="322"/>
                    <a:pt x="250" y="322"/>
                  </a:cubicBezTo>
                  <a:cubicBezTo>
                    <a:pt x="247" y="317"/>
                    <a:pt x="241" y="311"/>
                    <a:pt x="242" y="309"/>
                  </a:cubicBezTo>
                  <a:cubicBezTo>
                    <a:pt x="244" y="307"/>
                    <a:pt x="248" y="302"/>
                    <a:pt x="250" y="298"/>
                  </a:cubicBezTo>
                  <a:cubicBezTo>
                    <a:pt x="252" y="295"/>
                    <a:pt x="260" y="292"/>
                    <a:pt x="260" y="292"/>
                  </a:cubicBezTo>
                  <a:cubicBezTo>
                    <a:pt x="266" y="281"/>
                    <a:pt x="266" y="281"/>
                    <a:pt x="266" y="281"/>
                  </a:cubicBezTo>
                  <a:cubicBezTo>
                    <a:pt x="264" y="262"/>
                    <a:pt x="263" y="257"/>
                    <a:pt x="282" y="255"/>
                  </a:cubicBezTo>
                  <a:cubicBezTo>
                    <a:pt x="286" y="254"/>
                    <a:pt x="289" y="252"/>
                    <a:pt x="289" y="252"/>
                  </a:cubicBezTo>
                  <a:cubicBezTo>
                    <a:pt x="296" y="250"/>
                    <a:pt x="296" y="250"/>
                    <a:pt x="296" y="250"/>
                  </a:cubicBezTo>
                  <a:cubicBezTo>
                    <a:pt x="308" y="248"/>
                    <a:pt x="308" y="248"/>
                    <a:pt x="308" y="248"/>
                  </a:cubicBezTo>
                  <a:cubicBezTo>
                    <a:pt x="298" y="253"/>
                    <a:pt x="298" y="253"/>
                    <a:pt x="298" y="253"/>
                  </a:cubicBezTo>
                  <a:cubicBezTo>
                    <a:pt x="292" y="262"/>
                    <a:pt x="292" y="262"/>
                    <a:pt x="292" y="262"/>
                  </a:cubicBezTo>
                  <a:cubicBezTo>
                    <a:pt x="301" y="264"/>
                    <a:pt x="301" y="264"/>
                    <a:pt x="301" y="264"/>
                  </a:cubicBezTo>
                  <a:cubicBezTo>
                    <a:pt x="301" y="264"/>
                    <a:pt x="301" y="271"/>
                    <a:pt x="306" y="270"/>
                  </a:cubicBezTo>
                  <a:cubicBezTo>
                    <a:pt x="310" y="268"/>
                    <a:pt x="320" y="264"/>
                    <a:pt x="321" y="263"/>
                  </a:cubicBezTo>
                  <a:cubicBezTo>
                    <a:pt x="323" y="263"/>
                    <a:pt x="331" y="260"/>
                    <a:pt x="334" y="261"/>
                  </a:cubicBezTo>
                  <a:cubicBezTo>
                    <a:pt x="336" y="261"/>
                    <a:pt x="349" y="259"/>
                    <a:pt x="349" y="259"/>
                  </a:cubicBezTo>
                  <a:cubicBezTo>
                    <a:pt x="351" y="267"/>
                    <a:pt x="351" y="267"/>
                    <a:pt x="351" y="267"/>
                  </a:cubicBezTo>
                  <a:cubicBezTo>
                    <a:pt x="345" y="274"/>
                    <a:pt x="345" y="274"/>
                    <a:pt x="345" y="274"/>
                  </a:cubicBezTo>
                  <a:cubicBezTo>
                    <a:pt x="338" y="281"/>
                    <a:pt x="338" y="281"/>
                    <a:pt x="338" y="281"/>
                  </a:cubicBezTo>
                  <a:cubicBezTo>
                    <a:pt x="327" y="291"/>
                    <a:pt x="327" y="291"/>
                    <a:pt x="327" y="291"/>
                  </a:cubicBezTo>
                  <a:cubicBezTo>
                    <a:pt x="327" y="291"/>
                    <a:pt x="323" y="297"/>
                    <a:pt x="325" y="298"/>
                  </a:cubicBezTo>
                  <a:cubicBezTo>
                    <a:pt x="326" y="298"/>
                    <a:pt x="338" y="297"/>
                    <a:pt x="338" y="297"/>
                  </a:cubicBezTo>
                  <a:cubicBezTo>
                    <a:pt x="353" y="298"/>
                    <a:pt x="353" y="298"/>
                    <a:pt x="353" y="298"/>
                  </a:cubicBezTo>
                  <a:cubicBezTo>
                    <a:pt x="353" y="298"/>
                    <a:pt x="355" y="298"/>
                    <a:pt x="357" y="304"/>
                  </a:cubicBezTo>
                  <a:cubicBezTo>
                    <a:pt x="358" y="309"/>
                    <a:pt x="361" y="311"/>
                    <a:pt x="362" y="313"/>
                  </a:cubicBezTo>
                  <a:cubicBezTo>
                    <a:pt x="362" y="315"/>
                    <a:pt x="366" y="320"/>
                    <a:pt x="366" y="320"/>
                  </a:cubicBezTo>
                  <a:cubicBezTo>
                    <a:pt x="366" y="320"/>
                    <a:pt x="362" y="323"/>
                    <a:pt x="367" y="323"/>
                  </a:cubicBezTo>
                  <a:cubicBezTo>
                    <a:pt x="371" y="323"/>
                    <a:pt x="375" y="322"/>
                    <a:pt x="375" y="322"/>
                  </a:cubicBezTo>
                  <a:cubicBezTo>
                    <a:pt x="375" y="322"/>
                    <a:pt x="375" y="316"/>
                    <a:pt x="377" y="315"/>
                  </a:cubicBezTo>
                  <a:cubicBezTo>
                    <a:pt x="379" y="314"/>
                    <a:pt x="382" y="312"/>
                    <a:pt x="382" y="312"/>
                  </a:cubicBezTo>
                  <a:cubicBezTo>
                    <a:pt x="382" y="312"/>
                    <a:pt x="382" y="307"/>
                    <a:pt x="384" y="306"/>
                  </a:cubicBezTo>
                  <a:cubicBezTo>
                    <a:pt x="386" y="305"/>
                    <a:pt x="389" y="304"/>
                    <a:pt x="392" y="303"/>
                  </a:cubicBezTo>
                  <a:cubicBezTo>
                    <a:pt x="396" y="302"/>
                    <a:pt x="399" y="296"/>
                    <a:pt x="399" y="296"/>
                  </a:cubicBezTo>
                  <a:cubicBezTo>
                    <a:pt x="403" y="293"/>
                    <a:pt x="403" y="293"/>
                    <a:pt x="403" y="293"/>
                  </a:cubicBezTo>
                  <a:cubicBezTo>
                    <a:pt x="412" y="289"/>
                    <a:pt x="412" y="289"/>
                    <a:pt x="412" y="289"/>
                  </a:cubicBezTo>
                  <a:cubicBezTo>
                    <a:pt x="411" y="282"/>
                    <a:pt x="411" y="282"/>
                    <a:pt x="411" y="282"/>
                  </a:cubicBezTo>
                  <a:cubicBezTo>
                    <a:pt x="411" y="282"/>
                    <a:pt x="413" y="280"/>
                    <a:pt x="415" y="280"/>
                  </a:cubicBezTo>
                  <a:cubicBezTo>
                    <a:pt x="417" y="279"/>
                    <a:pt x="434" y="274"/>
                    <a:pt x="434" y="274"/>
                  </a:cubicBezTo>
                  <a:cubicBezTo>
                    <a:pt x="438" y="266"/>
                    <a:pt x="438" y="266"/>
                    <a:pt x="438" y="266"/>
                  </a:cubicBezTo>
                  <a:cubicBezTo>
                    <a:pt x="438" y="262"/>
                    <a:pt x="438" y="262"/>
                    <a:pt x="438" y="262"/>
                  </a:cubicBezTo>
                  <a:lnTo>
                    <a:pt x="436" y="262"/>
                  </a:lnTo>
                  <a:close/>
                </a:path>
              </a:pathLst>
            </a:custGeom>
            <a:solidFill>
              <a:srgbClr val="BFBFBF"/>
            </a:solid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311" name="Freeform 225"/>
            <p:cNvSpPr>
              <a:spLocks/>
            </p:cNvSpPr>
            <p:nvPr/>
          </p:nvSpPr>
          <p:spPr bwMode="auto">
            <a:xfrm>
              <a:off x="5237976" y="2327958"/>
              <a:ext cx="9525" cy="9525"/>
            </a:xfrm>
            <a:custGeom>
              <a:avLst/>
              <a:gdLst>
                <a:gd name="T0" fmla="*/ 1 w 3"/>
                <a:gd name="T1" fmla="*/ 1 h 3"/>
                <a:gd name="T2" fmla="*/ 1 w 3"/>
                <a:gd name="T3" fmla="*/ 1 h 3"/>
                <a:gd name="T4" fmla="*/ 0 w 3"/>
                <a:gd name="T5" fmla="*/ 2 h 3"/>
                <a:gd name="T6" fmla="*/ 2 w 3"/>
                <a:gd name="T7" fmla="*/ 2 h 3"/>
                <a:gd name="T8" fmla="*/ 3 w 3"/>
                <a:gd name="T9" fmla="*/ 2 h 3"/>
                <a:gd name="T10" fmla="*/ 2 w 3"/>
                <a:gd name="T11" fmla="*/ 1 h 3"/>
                <a:gd name="T12" fmla="*/ 1 w 3"/>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1" y="1"/>
                  </a:moveTo>
                  <a:cubicBezTo>
                    <a:pt x="1" y="1"/>
                    <a:pt x="1" y="1"/>
                    <a:pt x="1" y="1"/>
                  </a:cubicBezTo>
                  <a:cubicBezTo>
                    <a:pt x="1" y="1"/>
                    <a:pt x="0" y="2"/>
                    <a:pt x="0" y="2"/>
                  </a:cubicBezTo>
                  <a:cubicBezTo>
                    <a:pt x="0" y="3"/>
                    <a:pt x="2" y="2"/>
                    <a:pt x="2" y="2"/>
                  </a:cubicBezTo>
                  <a:cubicBezTo>
                    <a:pt x="3" y="2"/>
                    <a:pt x="3" y="2"/>
                    <a:pt x="3" y="2"/>
                  </a:cubicBezTo>
                  <a:cubicBezTo>
                    <a:pt x="3" y="1"/>
                    <a:pt x="2" y="1"/>
                    <a:pt x="2" y="1"/>
                  </a:cubicBezTo>
                  <a:cubicBezTo>
                    <a:pt x="2" y="0"/>
                    <a:pt x="1" y="1"/>
                    <a:pt x="1" y="1"/>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312" name="Freeform 226"/>
            <p:cNvSpPr>
              <a:spLocks/>
            </p:cNvSpPr>
            <p:nvPr/>
          </p:nvSpPr>
          <p:spPr bwMode="auto">
            <a:xfrm>
              <a:off x="5190352" y="2204134"/>
              <a:ext cx="73026" cy="50799"/>
            </a:xfrm>
            <a:custGeom>
              <a:avLst/>
              <a:gdLst>
                <a:gd name="T0" fmla="*/ 4 w 23"/>
                <a:gd name="T1" fmla="*/ 10 h 16"/>
                <a:gd name="T2" fmla="*/ 6 w 23"/>
                <a:gd name="T3" fmla="*/ 10 h 16"/>
                <a:gd name="T4" fmla="*/ 7 w 23"/>
                <a:gd name="T5" fmla="*/ 10 h 16"/>
                <a:gd name="T6" fmla="*/ 8 w 23"/>
                <a:gd name="T7" fmla="*/ 12 h 16"/>
                <a:gd name="T8" fmla="*/ 9 w 23"/>
                <a:gd name="T9" fmla="*/ 14 h 16"/>
                <a:gd name="T10" fmla="*/ 11 w 23"/>
                <a:gd name="T11" fmla="*/ 16 h 16"/>
                <a:gd name="T12" fmla="*/ 13 w 23"/>
                <a:gd name="T13" fmla="*/ 16 h 16"/>
                <a:gd name="T14" fmla="*/ 15 w 23"/>
                <a:gd name="T15" fmla="*/ 15 h 16"/>
                <a:gd name="T16" fmla="*/ 15 w 23"/>
                <a:gd name="T17" fmla="*/ 13 h 16"/>
                <a:gd name="T18" fmla="*/ 15 w 23"/>
                <a:gd name="T19" fmla="*/ 10 h 16"/>
                <a:gd name="T20" fmla="*/ 17 w 23"/>
                <a:gd name="T21" fmla="*/ 12 h 16"/>
                <a:gd name="T22" fmla="*/ 19 w 23"/>
                <a:gd name="T23" fmla="*/ 12 h 16"/>
                <a:gd name="T24" fmla="*/ 18 w 23"/>
                <a:gd name="T25" fmla="*/ 10 h 16"/>
                <a:gd name="T26" fmla="*/ 19 w 23"/>
                <a:gd name="T27" fmla="*/ 9 h 16"/>
                <a:gd name="T28" fmla="*/ 22 w 23"/>
                <a:gd name="T29" fmla="*/ 9 h 16"/>
                <a:gd name="T30" fmla="*/ 22 w 23"/>
                <a:gd name="T31" fmla="*/ 8 h 16"/>
                <a:gd name="T32" fmla="*/ 21 w 23"/>
                <a:gd name="T33" fmla="*/ 7 h 16"/>
                <a:gd name="T34" fmla="*/ 20 w 23"/>
                <a:gd name="T35" fmla="*/ 5 h 16"/>
                <a:gd name="T36" fmla="*/ 19 w 23"/>
                <a:gd name="T37" fmla="*/ 4 h 16"/>
                <a:gd name="T38" fmla="*/ 17 w 23"/>
                <a:gd name="T39" fmla="*/ 2 h 16"/>
                <a:gd name="T40" fmla="*/ 15 w 23"/>
                <a:gd name="T41" fmla="*/ 2 h 16"/>
                <a:gd name="T42" fmla="*/ 14 w 23"/>
                <a:gd name="T43" fmla="*/ 3 h 16"/>
                <a:gd name="T44" fmla="*/ 13 w 23"/>
                <a:gd name="T45" fmla="*/ 2 h 16"/>
                <a:gd name="T46" fmla="*/ 12 w 23"/>
                <a:gd name="T47" fmla="*/ 0 h 16"/>
                <a:gd name="T48" fmla="*/ 10 w 23"/>
                <a:gd name="T49" fmla="*/ 0 h 16"/>
                <a:gd name="T50" fmla="*/ 9 w 23"/>
                <a:gd name="T51" fmla="*/ 3 h 16"/>
                <a:gd name="T52" fmla="*/ 8 w 23"/>
                <a:gd name="T53" fmla="*/ 6 h 16"/>
                <a:gd name="T54" fmla="*/ 5 w 23"/>
                <a:gd name="T55" fmla="*/ 6 h 16"/>
                <a:gd name="T56" fmla="*/ 3 w 23"/>
                <a:gd name="T57" fmla="*/ 7 h 16"/>
                <a:gd name="T58" fmla="*/ 0 w 23"/>
                <a:gd name="T59" fmla="*/ 8 h 16"/>
                <a:gd name="T60" fmla="*/ 2 w 23"/>
                <a:gd name="T61" fmla="*/ 9 h 16"/>
                <a:gd name="T62" fmla="*/ 4 w 23"/>
                <a:gd name="T63"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 h="16">
                  <a:moveTo>
                    <a:pt x="4" y="10"/>
                  </a:moveTo>
                  <a:cubicBezTo>
                    <a:pt x="5" y="11"/>
                    <a:pt x="4" y="10"/>
                    <a:pt x="6" y="10"/>
                  </a:cubicBezTo>
                  <a:cubicBezTo>
                    <a:pt x="7" y="10"/>
                    <a:pt x="7" y="10"/>
                    <a:pt x="7" y="10"/>
                  </a:cubicBezTo>
                  <a:cubicBezTo>
                    <a:pt x="7" y="10"/>
                    <a:pt x="8" y="11"/>
                    <a:pt x="8" y="12"/>
                  </a:cubicBezTo>
                  <a:cubicBezTo>
                    <a:pt x="8" y="12"/>
                    <a:pt x="9" y="13"/>
                    <a:pt x="9" y="14"/>
                  </a:cubicBezTo>
                  <a:cubicBezTo>
                    <a:pt x="9" y="15"/>
                    <a:pt x="11" y="16"/>
                    <a:pt x="11" y="16"/>
                  </a:cubicBezTo>
                  <a:cubicBezTo>
                    <a:pt x="12" y="16"/>
                    <a:pt x="13" y="16"/>
                    <a:pt x="13" y="16"/>
                  </a:cubicBezTo>
                  <a:cubicBezTo>
                    <a:pt x="13" y="16"/>
                    <a:pt x="15" y="16"/>
                    <a:pt x="15" y="15"/>
                  </a:cubicBezTo>
                  <a:cubicBezTo>
                    <a:pt x="15" y="15"/>
                    <a:pt x="15" y="14"/>
                    <a:pt x="15" y="13"/>
                  </a:cubicBezTo>
                  <a:cubicBezTo>
                    <a:pt x="15" y="13"/>
                    <a:pt x="15" y="11"/>
                    <a:pt x="15" y="10"/>
                  </a:cubicBezTo>
                  <a:cubicBezTo>
                    <a:pt x="16" y="10"/>
                    <a:pt x="16" y="11"/>
                    <a:pt x="17" y="12"/>
                  </a:cubicBezTo>
                  <a:cubicBezTo>
                    <a:pt x="18" y="13"/>
                    <a:pt x="18" y="12"/>
                    <a:pt x="19" y="12"/>
                  </a:cubicBezTo>
                  <a:cubicBezTo>
                    <a:pt x="19" y="12"/>
                    <a:pt x="19" y="11"/>
                    <a:pt x="18" y="10"/>
                  </a:cubicBezTo>
                  <a:cubicBezTo>
                    <a:pt x="18" y="10"/>
                    <a:pt x="19" y="9"/>
                    <a:pt x="19" y="9"/>
                  </a:cubicBezTo>
                  <a:cubicBezTo>
                    <a:pt x="19" y="9"/>
                    <a:pt x="22" y="9"/>
                    <a:pt x="22" y="9"/>
                  </a:cubicBezTo>
                  <a:cubicBezTo>
                    <a:pt x="23" y="9"/>
                    <a:pt x="22" y="8"/>
                    <a:pt x="22" y="8"/>
                  </a:cubicBezTo>
                  <a:cubicBezTo>
                    <a:pt x="22" y="8"/>
                    <a:pt x="21" y="7"/>
                    <a:pt x="21" y="7"/>
                  </a:cubicBezTo>
                  <a:cubicBezTo>
                    <a:pt x="21" y="6"/>
                    <a:pt x="20" y="5"/>
                    <a:pt x="20" y="5"/>
                  </a:cubicBezTo>
                  <a:cubicBezTo>
                    <a:pt x="20" y="5"/>
                    <a:pt x="19" y="4"/>
                    <a:pt x="19" y="4"/>
                  </a:cubicBezTo>
                  <a:cubicBezTo>
                    <a:pt x="19" y="4"/>
                    <a:pt x="18" y="3"/>
                    <a:pt x="17" y="2"/>
                  </a:cubicBezTo>
                  <a:cubicBezTo>
                    <a:pt x="17" y="2"/>
                    <a:pt x="15" y="2"/>
                    <a:pt x="15" y="2"/>
                  </a:cubicBezTo>
                  <a:cubicBezTo>
                    <a:pt x="15" y="2"/>
                    <a:pt x="15" y="3"/>
                    <a:pt x="14" y="3"/>
                  </a:cubicBezTo>
                  <a:cubicBezTo>
                    <a:pt x="13" y="3"/>
                    <a:pt x="13" y="2"/>
                    <a:pt x="13" y="2"/>
                  </a:cubicBezTo>
                  <a:cubicBezTo>
                    <a:pt x="12" y="0"/>
                    <a:pt x="12" y="0"/>
                    <a:pt x="12" y="0"/>
                  </a:cubicBezTo>
                  <a:cubicBezTo>
                    <a:pt x="12" y="0"/>
                    <a:pt x="10" y="0"/>
                    <a:pt x="10" y="0"/>
                  </a:cubicBezTo>
                  <a:cubicBezTo>
                    <a:pt x="11" y="0"/>
                    <a:pt x="10" y="2"/>
                    <a:pt x="9" y="3"/>
                  </a:cubicBezTo>
                  <a:cubicBezTo>
                    <a:pt x="9" y="3"/>
                    <a:pt x="8" y="5"/>
                    <a:pt x="8" y="6"/>
                  </a:cubicBezTo>
                  <a:cubicBezTo>
                    <a:pt x="8" y="7"/>
                    <a:pt x="7" y="6"/>
                    <a:pt x="5" y="6"/>
                  </a:cubicBezTo>
                  <a:cubicBezTo>
                    <a:pt x="3" y="7"/>
                    <a:pt x="3" y="7"/>
                    <a:pt x="3" y="7"/>
                  </a:cubicBezTo>
                  <a:cubicBezTo>
                    <a:pt x="2" y="7"/>
                    <a:pt x="0" y="8"/>
                    <a:pt x="0" y="8"/>
                  </a:cubicBezTo>
                  <a:cubicBezTo>
                    <a:pt x="0" y="8"/>
                    <a:pt x="1" y="9"/>
                    <a:pt x="2" y="9"/>
                  </a:cubicBezTo>
                  <a:cubicBezTo>
                    <a:pt x="3" y="9"/>
                    <a:pt x="3" y="10"/>
                    <a:pt x="4" y="10"/>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313" name="Freeform 227"/>
            <p:cNvSpPr>
              <a:spLocks/>
            </p:cNvSpPr>
            <p:nvPr/>
          </p:nvSpPr>
          <p:spPr bwMode="auto">
            <a:xfrm>
              <a:off x="5260202" y="2200959"/>
              <a:ext cx="22225" cy="9525"/>
            </a:xfrm>
            <a:custGeom>
              <a:avLst/>
              <a:gdLst>
                <a:gd name="T0" fmla="*/ 3 w 7"/>
                <a:gd name="T1" fmla="*/ 3 h 3"/>
                <a:gd name="T2" fmla="*/ 6 w 7"/>
                <a:gd name="T3" fmla="*/ 3 h 3"/>
                <a:gd name="T4" fmla="*/ 7 w 7"/>
                <a:gd name="T5" fmla="*/ 2 h 3"/>
                <a:gd name="T6" fmla="*/ 6 w 7"/>
                <a:gd name="T7" fmla="*/ 0 h 3"/>
                <a:gd name="T8" fmla="*/ 4 w 7"/>
                <a:gd name="T9" fmla="*/ 0 h 3"/>
                <a:gd name="T10" fmla="*/ 4 w 7"/>
                <a:gd name="T11" fmla="*/ 0 h 3"/>
                <a:gd name="T12" fmla="*/ 1 w 7"/>
                <a:gd name="T13" fmla="*/ 0 h 3"/>
                <a:gd name="T14" fmla="*/ 0 w 7"/>
                <a:gd name="T15" fmla="*/ 2 h 3"/>
                <a:gd name="T16" fmla="*/ 1 w 7"/>
                <a:gd name="T17" fmla="*/ 3 h 3"/>
                <a:gd name="T18" fmla="*/ 3 w 7"/>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3">
                  <a:moveTo>
                    <a:pt x="3" y="3"/>
                  </a:moveTo>
                  <a:cubicBezTo>
                    <a:pt x="4" y="3"/>
                    <a:pt x="6" y="3"/>
                    <a:pt x="6" y="3"/>
                  </a:cubicBezTo>
                  <a:cubicBezTo>
                    <a:pt x="7" y="2"/>
                    <a:pt x="7" y="2"/>
                    <a:pt x="7" y="2"/>
                  </a:cubicBezTo>
                  <a:cubicBezTo>
                    <a:pt x="6" y="0"/>
                    <a:pt x="6" y="0"/>
                    <a:pt x="6" y="0"/>
                  </a:cubicBezTo>
                  <a:cubicBezTo>
                    <a:pt x="4" y="0"/>
                    <a:pt x="4" y="0"/>
                    <a:pt x="4" y="0"/>
                  </a:cubicBezTo>
                  <a:cubicBezTo>
                    <a:pt x="4" y="0"/>
                    <a:pt x="4" y="0"/>
                    <a:pt x="4" y="0"/>
                  </a:cubicBezTo>
                  <a:cubicBezTo>
                    <a:pt x="1" y="0"/>
                    <a:pt x="1" y="0"/>
                    <a:pt x="1" y="0"/>
                  </a:cubicBezTo>
                  <a:cubicBezTo>
                    <a:pt x="0" y="2"/>
                    <a:pt x="0" y="2"/>
                    <a:pt x="0" y="2"/>
                  </a:cubicBezTo>
                  <a:cubicBezTo>
                    <a:pt x="1" y="3"/>
                    <a:pt x="1" y="3"/>
                    <a:pt x="1" y="3"/>
                  </a:cubicBezTo>
                  <a:cubicBezTo>
                    <a:pt x="1" y="3"/>
                    <a:pt x="3" y="3"/>
                    <a:pt x="3" y="3"/>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314" name="Freeform 228"/>
            <p:cNvSpPr>
              <a:spLocks/>
            </p:cNvSpPr>
            <p:nvPr/>
          </p:nvSpPr>
          <p:spPr bwMode="auto">
            <a:xfrm>
              <a:off x="5342751" y="2308909"/>
              <a:ext cx="9525" cy="9525"/>
            </a:xfrm>
            <a:custGeom>
              <a:avLst/>
              <a:gdLst>
                <a:gd name="T0" fmla="*/ 0 w 3"/>
                <a:gd name="T1" fmla="*/ 1 h 3"/>
                <a:gd name="T2" fmla="*/ 1 w 3"/>
                <a:gd name="T3" fmla="*/ 3 h 3"/>
                <a:gd name="T4" fmla="*/ 2 w 3"/>
                <a:gd name="T5" fmla="*/ 2 h 3"/>
                <a:gd name="T6" fmla="*/ 3 w 3"/>
                <a:gd name="T7" fmla="*/ 2 h 3"/>
                <a:gd name="T8" fmla="*/ 3 w 3"/>
                <a:gd name="T9" fmla="*/ 0 h 3"/>
                <a:gd name="T10" fmla="*/ 0 w 3"/>
                <a:gd name="T11" fmla="*/ 1 h 3"/>
              </a:gdLst>
              <a:ahLst/>
              <a:cxnLst>
                <a:cxn ang="0">
                  <a:pos x="T0" y="T1"/>
                </a:cxn>
                <a:cxn ang="0">
                  <a:pos x="T2" y="T3"/>
                </a:cxn>
                <a:cxn ang="0">
                  <a:pos x="T4" y="T5"/>
                </a:cxn>
                <a:cxn ang="0">
                  <a:pos x="T6" y="T7"/>
                </a:cxn>
                <a:cxn ang="0">
                  <a:pos x="T8" y="T9"/>
                </a:cxn>
                <a:cxn ang="0">
                  <a:pos x="T10" y="T11"/>
                </a:cxn>
              </a:cxnLst>
              <a:rect l="0" t="0" r="r" b="b"/>
              <a:pathLst>
                <a:path w="3" h="3">
                  <a:moveTo>
                    <a:pt x="0" y="1"/>
                  </a:moveTo>
                  <a:cubicBezTo>
                    <a:pt x="0" y="1"/>
                    <a:pt x="0" y="2"/>
                    <a:pt x="1" y="3"/>
                  </a:cubicBezTo>
                  <a:cubicBezTo>
                    <a:pt x="1" y="3"/>
                    <a:pt x="1" y="3"/>
                    <a:pt x="2" y="2"/>
                  </a:cubicBezTo>
                  <a:cubicBezTo>
                    <a:pt x="3" y="2"/>
                    <a:pt x="3" y="2"/>
                    <a:pt x="3" y="2"/>
                  </a:cubicBezTo>
                  <a:cubicBezTo>
                    <a:pt x="3" y="1"/>
                    <a:pt x="3" y="0"/>
                    <a:pt x="3" y="0"/>
                  </a:cubicBezTo>
                  <a:lnTo>
                    <a:pt x="0" y="1"/>
                  </a:ln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315" name="Freeform 229"/>
            <p:cNvSpPr>
              <a:spLocks/>
            </p:cNvSpPr>
            <p:nvPr/>
          </p:nvSpPr>
          <p:spPr bwMode="auto">
            <a:xfrm>
              <a:off x="5279252" y="2072371"/>
              <a:ext cx="344489" cy="280987"/>
            </a:xfrm>
            <a:custGeom>
              <a:avLst/>
              <a:gdLst>
                <a:gd name="T0" fmla="*/ 99 w 108"/>
                <a:gd name="T1" fmla="*/ 77 h 88"/>
                <a:gd name="T2" fmla="*/ 107 w 108"/>
                <a:gd name="T3" fmla="*/ 67 h 88"/>
                <a:gd name="T4" fmla="*/ 105 w 108"/>
                <a:gd name="T5" fmla="*/ 64 h 88"/>
                <a:gd name="T6" fmla="*/ 101 w 108"/>
                <a:gd name="T7" fmla="*/ 58 h 88"/>
                <a:gd name="T8" fmla="*/ 96 w 108"/>
                <a:gd name="T9" fmla="*/ 53 h 88"/>
                <a:gd name="T10" fmla="*/ 91 w 108"/>
                <a:gd name="T11" fmla="*/ 38 h 88"/>
                <a:gd name="T12" fmla="*/ 89 w 108"/>
                <a:gd name="T13" fmla="*/ 26 h 88"/>
                <a:gd name="T14" fmla="*/ 94 w 108"/>
                <a:gd name="T15" fmla="*/ 3 h 88"/>
                <a:gd name="T16" fmla="*/ 95 w 108"/>
                <a:gd name="T17" fmla="*/ 0 h 88"/>
                <a:gd name="T18" fmla="*/ 87 w 108"/>
                <a:gd name="T19" fmla="*/ 1 h 88"/>
                <a:gd name="T20" fmla="*/ 76 w 108"/>
                <a:gd name="T21" fmla="*/ 3 h 88"/>
                <a:gd name="T22" fmla="*/ 65 w 108"/>
                <a:gd name="T23" fmla="*/ 1 h 88"/>
                <a:gd name="T24" fmla="*/ 57 w 108"/>
                <a:gd name="T25" fmla="*/ 1 h 88"/>
                <a:gd name="T26" fmla="*/ 52 w 108"/>
                <a:gd name="T27" fmla="*/ 1 h 88"/>
                <a:gd name="T28" fmla="*/ 45 w 108"/>
                <a:gd name="T29" fmla="*/ 1 h 88"/>
                <a:gd name="T30" fmla="*/ 43 w 108"/>
                <a:gd name="T31" fmla="*/ 5 h 88"/>
                <a:gd name="T32" fmla="*/ 42 w 108"/>
                <a:gd name="T33" fmla="*/ 7 h 88"/>
                <a:gd name="T34" fmla="*/ 34 w 108"/>
                <a:gd name="T35" fmla="*/ 10 h 88"/>
                <a:gd name="T36" fmla="*/ 28 w 108"/>
                <a:gd name="T37" fmla="*/ 13 h 88"/>
                <a:gd name="T38" fmla="*/ 27 w 108"/>
                <a:gd name="T39" fmla="*/ 14 h 88"/>
                <a:gd name="T40" fmla="*/ 19 w 108"/>
                <a:gd name="T41" fmla="*/ 16 h 88"/>
                <a:gd name="T42" fmla="*/ 14 w 108"/>
                <a:gd name="T43" fmla="*/ 20 h 88"/>
                <a:gd name="T44" fmla="*/ 10 w 108"/>
                <a:gd name="T45" fmla="*/ 21 h 88"/>
                <a:gd name="T46" fmla="*/ 11 w 108"/>
                <a:gd name="T47" fmla="*/ 26 h 88"/>
                <a:gd name="T48" fmla="*/ 5 w 108"/>
                <a:gd name="T49" fmla="*/ 29 h 88"/>
                <a:gd name="T50" fmla="*/ 0 w 108"/>
                <a:gd name="T51" fmla="*/ 32 h 88"/>
                <a:gd name="T52" fmla="*/ 2 w 108"/>
                <a:gd name="T53" fmla="*/ 36 h 88"/>
                <a:gd name="T54" fmla="*/ 1 w 108"/>
                <a:gd name="T55" fmla="*/ 41 h 88"/>
                <a:gd name="T56" fmla="*/ 6 w 108"/>
                <a:gd name="T57" fmla="*/ 39 h 88"/>
                <a:gd name="T58" fmla="*/ 3 w 108"/>
                <a:gd name="T59" fmla="*/ 43 h 88"/>
                <a:gd name="T60" fmla="*/ 3 w 108"/>
                <a:gd name="T61" fmla="*/ 47 h 88"/>
                <a:gd name="T62" fmla="*/ 6 w 108"/>
                <a:gd name="T63" fmla="*/ 50 h 88"/>
                <a:gd name="T64" fmla="*/ 12 w 108"/>
                <a:gd name="T65" fmla="*/ 51 h 88"/>
                <a:gd name="T66" fmla="*/ 8 w 108"/>
                <a:gd name="T67" fmla="*/ 52 h 88"/>
                <a:gd name="T68" fmla="*/ 6 w 108"/>
                <a:gd name="T69" fmla="*/ 58 h 88"/>
                <a:gd name="T70" fmla="*/ 9 w 108"/>
                <a:gd name="T71" fmla="*/ 60 h 88"/>
                <a:gd name="T72" fmla="*/ 16 w 108"/>
                <a:gd name="T73" fmla="*/ 67 h 88"/>
                <a:gd name="T74" fmla="*/ 24 w 108"/>
                <a:gd name="T75" fmla="*/ 71 h 88"/>
                <a:gd name="T76" fmla="*/ 26 w 108"/>
                <a:gd name="T77" fmla="*/ 65 h 88"/>
                <a:gd name="T78" fmla="*/ 32 w 108"/>
                <a:gd name="T79" fmla="*/ 63 h 88"/>
                <a:gd name="T80" fmla="*/ 32 w 108"/>
                <a:gd name="T81" fmla="*/ 72 h 88"/>
                <a:gd name="T82" fmla="*/ 31 w 108"/>
                <a:gd name="T83" fmla="*/ 83 h 88"/>
                <a:gd name="T84" fmla="*/ 40 w 108"/>
                <a:gd name="T85" fmla="*/ 77 h 88"/>
                <a:gd name="T86" fmla="*/ 51 w 108"/>
                <a:gd name="T87" fmla="*/ 74 h 88"/>
                <a:gd name="T88" fmla="*/ 62 w 108"/>
                <a:gd name="T89" fmla="*/ 75 h 88"/>
                <a:gd name="T90" fmla="*/ 76 w 108"/>
                <a:gd name="T91" fmla="*/ 82 h 88"/>
                <a:gd name="T92" fmla="*/ 85 w 108"/>
                <a:gd name="T93" fmla="*/ 87 h 88"/>
                <a:gd name="T94" fmla="*/ 90 w 108"/>
                <a:gd name="T95" fmla="*/ 83 h 88"/>
                <a:gd name="T96" fmla="*/ 102 w 108"/>
                <a:gd name="T97" fmla="*/ 8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 h="88">
                  <a:moveTo>
                    <a:pt x="101" y="81"/>
                  </a:moveTo>
                  <a:cubicBezTo>
                    <a:pt x="101" y="81"/>
                    <a:pt x="101" y="79"/>
                    <a:pt x="100" y="78"/>
                  </a:cubicBezTo>
                  <a:cubicBezTo>
                    <a:pt x="99" y="77"/>
                    <a:pt x="99" y="77"/>
                    <a:pt x="99" y="77"/>
                  </a:cubicBezTo>
                  <a:cubicBezTo>
                    <a:pt x="102" y="74"/>
                    <a:pt x="102" y="74"/>
                    <a:pt x="102" y="74"/>
                  </a:cubicBezTo>
                  <a:cubicBezTo>
                    <a:pt x="102" y="72"/>
                    <a:pt x="102" y="69"/>
                    <a:pt x="102" y="69"/>
                  </a:cubicBezTo>
                  <a:cubicBezTo>
                    <a:pt x="103" y="68"/>
                    <a:pt x="104" y="67"/>
                    <a:pt x="107" y="67"/>
                  </a:cubicBezTo>
                  <a:cubicBezTo>
                    <a:pt x="108" y="66"/>
                    <a:pt x="108" y="66"/>
                    <a:pt x="108" y="66"/>
                  </a:cubicBezTo>
                  <a:cubicBezTo>
                    <a:pt x="107" y="66"/>
                    <a:pt x="106" y="65"/>
                    <a:pt x="105" y="65"/>
                  </a:cubicBezTo>
                  <a:cubicBezTo>
                    <a:pt x="105" y="65"/>
                    <a:pt x="105" y="64"/>
                    <a:pt x="105" y="64"/>
                  </a:cubicBezTo>
                  <a:cubicBezTo>
                    <a:pt x="103" y="64"/>
                    <a:pt x="103" y="62"/>
                    <a:pt x="103" y="61"/>
                  </a:cubicBezTo>
                  <a:cubicBezTo>
                    <a:pt x="103" y="60"/>
                    <a:pt x="103" y="59"/>
                    <a:pt x="103" y="59"/>
                  </a:cubicBezTo>
                  <a:cubicBezTo>
                    <a:pt x="102" y="59"/>
                    <a:pt x="102" y="58"/>
                    <a:pt x="101" y="58"/>
                  </a:cubicBezTo>
                  <a:cubicBezTo>
                    <a:pt x="101" y="58"/>
                    <a:pt x="100" y="58"/>
                    <a:pt x="100" y="57"/>
                  </a:cubicBezTo>
                  <a:cubicBezTo>
                    <a:pt x="100" y="57"/>
                    <a:pt x="99" y="56"/>
                    <a:pt x="98" y="55"/>
                  </a:cubicBezTo>
                  <a:cubicBezTo>
                    <a:pt x="97" y="54"/>
                    <a:pt x="97" y="53"/>
                    <a:pt x="96" y="53"/>
                  </a:cubicBezTo>
                  <a:cubicBezTo>
                    <a:pt x="95" y="51"/>
                    <a:pt x="95" y="49"/>
                    <a:pt x="95" y="47"/>
                  </a:cubicBezTo>
                  <a:cubicBezTo>
                    <a:pt x="95" y="47"/>
                    <a:pt x="95" y="46"/>
                    <a:pt x="95" y="46"/>
                  </a:cubicBezTo>
                  <a:cubicBezTo>
                    <a:pt x="92" y="44"/>
                    <a:pt x="91" y="41"/>
                    <a:pt x="91" y="38"/>
                  </a:cubicBezTo>
                  <a:cubicBezTo>
                    <a:pt x="90" y="37"/>
                    <a:pt x="90" y="36"/>
                    <a:pt x="90" y="35"/>
                  </a:cubicBezTo>
                  <a:cubicBezTo>
                    <a:pt x="87" y="32"/>
                    <a:pt x="88" y="29"/>
                    <a:pt x="88" y="27"/>
                  </a:cubicBezTo>
                  <a:cubicBezTo>
                    <a:pt x="89" y="27"/>
                    <a:pt x="89" y="26"/>
                    <a:pt x="89" y="26"/>
                  </a:cubicBezTo>
                  <a:cubicBezTo>
                    <a:pt x="89" y="25"/>
                    <a:pt x="90" y="23"/>
                    <a:pt x="90" y="22"/>
                  </a:cubicBezTo>
                  <a:cubicBezTo>
                    <a:pt x="91" y="19"/>
                    <a:pt x="93" y="15"/>
                    <a:pt x="93" y="10"/>
                  </a:cubicBezTo>
                  <a:cubicBezTo>
                    <a:pt x="94" y="3"/>
                    <a:pt x="94" y="3"/>
                    <a:pt x="94" y="3"/>
                  </a:cubicBezTo>
                  <a:cubicBezTo>
                    <a:pt x="97" y="1"/>
                    <a:pt x="97" y="1"/>
                    <a:pt x="97" y="1"/>
                  </a:cubicBezTo>
                  <a:cubicBezTo>
                    <a:pt x="95" y="0"/>
                    <a:pt x="95" y="0"/>
                    <a:pt x="95" y="0"/>
                  </a:cubicBezTo>
                  <a:cubicBezTo>
                    <a:pt x="95" y="0"/>
                    <a:pt x="95" y="0"/>
                    <a:pt x="95" y="0"/>
                  </a:cubicBezTo>
                  <a:cubicBezTo>
                    <a:pt x="94" y="0"/>
                    <a:pt x="94" y="0"/>
                    <a:pt x="94" y="0"/>
                  </a:cubicBezTo>
                  <a:cubicBezTo>
                    <a:pt x="93" y="1"/>
                    <a:pt x="93" y="1"/>
                    <a:pt x="93" y="1"/>
                  </a:cubicBezTo>
                  <a:cubicBezTo>
                    <a:pt x="93" y="1"/>
                    <a:pt x="89" y="0"/>
                    <a:pt x="87" y="1"/>
                  </a:cubicBezTo>
                  <a:cubicBezTo>
                    <a:pt x="86" y="1"/>
                    <a:pt x="85" y="1"/>
                    <a:pt x="85" y="1"/>
                  </a:cubicBezTo>
                  <a:cubicBezTo>
                    <a:pt x="85" y="1"/>
                    <a:pt x="82" y="1"/>
                    <a:pt x="81" y="2"/>
                  </a:cubicBezTo>
                  <a:cubicBezTo>
                    <a:pt x="79" y="2"/>
                    <a:pt x="76" y="3"/>
                    <a:pt x="76" y="3"/>
                  </a:cubicBezTo>
                  <a:cubicBezTo>
                    <a:pt x="72" y="4"/>
                    <a:pt x="72" y="4"/>
                    <a:pt x="72" y="4"/>
                  </a:cubicBezTo>
                  <a:cubicBezTo>
                    <a:pt x="69" y="2"/>
                    <a:pt x="69" y="2"/>
                    <a:pt x="69" y="2"/>
                  </a:cubicBezTo>
                  <a:cubicBezTo>
                    <a:pt x="65" y="1"/>
                    <a:pt x="65" y="1"/>
                    <a:pt x="65" y="1"/>
                  </a:cubicBezTo>
                  <a:cubicBezTo>
                    <a:pt x="63" y="3"/>
                    <a:pt x="63" y="3"/>
                    <a:pt x="63" y="3"/>
                  </a:cubicBezTo>
                  <a:cubicBezTo>
                    <a:pt x="59" y="2"/>
                    <a:pt x="59" y="2"/>
                    <a:pt x="59" y="2"/>
                  </a:cubicBezTo>
                  <a:cubicBezTo>
                    <a:pt x="59" y="2"/>
                    <a:pt x="58" y="2"/>
                    <a:pt x="57" y="1"/>
                  </a:cubicBezTo>
                  <a:cubicBezTo>
                    <a:pt x="56" y="1"/>
                    <a:pt x="56" y="2"/>
                    <a:pt x="55" y="2"/>
                  </a:cubicBezTo>
                  <a:cubicBezTo>
                    <a:pt x="55" y="2"/>
                    <a:pt x="53" y="2"/>
                    <a:pt x="53" y="2"/>
                  </a:cubicBezTo>
                  <a:cubicBezTo>
                    <a:pt x="52" y="1"/>
                    <a:pt x="52" y="1"/>
                    <a:pt x="52" y="1"/>
                  </a:cubicBezTo>
                  <a:cubicBezTo>
                    <a:pt x="50" y="3"/>
                    <a:pt x="50" y="3"/>
                    <a:pt x="50" y="3"/>
                  </a:cubicBezTo>
                  <a:cubicBezTo>
                    <a:pt x="47" y="4"/>
                    <a:pt x="47" y="4"/>
                    <a:pt x="47" y="4"/>
                  </a:cubicBezTo>
                  <a:cubicBezTo>
                    <a:pt x="47" y="4"/>
                    <a:pt x="45" y="2"/>
                    <a:pt x="45" y="1"/>
                  </a:cubicBezTo>
                  <a:cubicBezTo>
                    <a:pt x="44" y="1"/>
                    <a:pt x="44" y="2"/>
                    <a:pt x="44" y="2"/>
                  </a:cubicBezTo>
                  <a:cubicBezTo>
                    <a:pt x="44" y="2"/>
                    <a:pt x="45" y="4"/>
                    <a:pt x="45" y="5"/>
                  </a:cubicBezTo>
                  <a:cubicBezTo>
                    <a:pt x="44" y="6"/>
                    <a:pt x="43" y="5"/>
                    <a:pt x="43" y="5"/>
                  </a:cubicBezTo>
                  <a:cubicBezTo>
                    <a:pt x="42" y="5"/>
                    <a:pt x="41" y="3"/>
                    <a:pt x="41" y="3"/>
                  </a:cubicBezTo>
                  <a:cubicBezTo>
                    <a:pt x="41" y="2"/>
                    <a:pt x="40" y="4"/>
                    <a:pt x="40" y="4"/>
                  </a:cubicBezTo>
                  <a:cubicBezTo>
                    <a:pt x="42" y="7"/>
                    <a:pt x="42" y="7"/>
                    <a:pt x="42" y="7"/>
                  </a:cubicBezTo>
                  <a:cubicBezTo>
                    <a:pt x="41" y="9"/>
                    <a:pt x="41" y="9"/>
                    <a:pt x="41" y="9"/>
                  </a:cubicBezTo>
                  <a:cubicBezTo>
                    <a:pt x="41" y="9"/>
                    <a:pt x="39" y="10"/>
                    <a:pt x="38" y="10"/>
                  </a:cubicBezTo>
                  <a:cubicBezTo>
                    <a:pt x="37" y="10"/>
                    <a:pt x="34" y="10"/>
                    <a:pt x="34" y="10"/>
                  </a:cubicBezTo>
                  <a:cubicBezTo>
                    <a:pt x="32" y="10"/>
                    <a:pt x="32" y="10"/>
                    <a:pt x="32" y="10"/>
                  </a:cubicBezTo>
                  <a:cubicBezTo>
                    <a:pt x="30" y="12"/>
                    <a:pt x="30" y="12"/>
                    <a:pt x="30" y="12"/>
                  </a:cubicBezTo>
                  <a:cubicBezTo>
                    <a:pt x="28" y="13"/>
                    <a:pt x="28" y="13"/>
                    <a:pt x="28" y="13"/>
                  </a:cubicBezTo>
                  <a:cubicBezTo>
                    <a:pt x="28" y="13"/>
                    <a:pt x="26" y="11"/>
                    <a:pt x="26" y="10"/>
                  </a:cubicBezTo>
                  <a:cubicBezTo>
                    <a:pt x="25" y="9"/>
                    <a:pt x="25" y="12"/>
                    <a:pt x="25" y="12"/>
                  </a:cubicBezTo>
                  <a:cubicBezTo>
                    <a:pt x="25" y="12"/>
                    <a:pt x="27" y="13"/>
                    <a:pt x="27" y="14"/>
                  </a:cubicBezTo>
                  <a:cubicBezTo>
                    <a:pt x="27" y="15"/>
                    <a:pt x="25" y="15"/>
                    <a:pt x="25" y="15"/>
                  </a:cubicBezTo>
                  <a:cubicBezTo>
                    <a:pt x="25" y="15"/>
                    <a:pt x="23" y="16"/>
                    <a:pt x="22" y="16"/>
                  </a:cubicBezTo>
                  <a:cubicBezTo>
                    <a:pt x="21" y="16"/>
                    <a:pt x="22" y="16"/>
                    <a:pt x="19" y="16"/>
                  </a:cubicBezTo>
                  <a:cubicBezTo>
                    <a:pt x="17" y="16"/>
                    <a:pt x="17" y="17"/>
                    <a:pt x="17" y="17"/>
                  </a:cubicBezTo>
                  <a:cubicBezTo>
                    <a:pt x="17" y="17"/>
                    <a:pt x="17" y="18"/>
                    <a:pt x="17" y="19"/>
                  </a:cubicBezTo>
                  <a:cubicBezTo>
                    <a:pt x="17" y="20"/>
                    <a:pt x="14" y="20"/>
                    <a:pt x="14" y="20"/>
                  </a:cubicBezTo>
                  <a:cubicBezTo>
                    <a:pt x="15" y="22"/>
                    <a:pt x="15" y="22"/>
                    <a:pt x="15" y="22"/>
                  </a:cubicBezTo>
                  <a:cubicBezTo>
                    <a:pt x="15" y="22"/>
                    <a:pt x="13" y="21"/>
                    <a:pt x="13" y="21"/>
                  </a:cubicBezTo>
                  <a:cubicBezTo>
                    <a:pt x="12" y="21"/>
                    <a:pt x="11" y="21"/>
                    <a:pt x="10" y="21"/>
                  </a:cubicBezTo>
                  <a:cubicBezTo>
                    <a:pt x="9" y="22"/>
                    <a:pt x="11" y="23"/>
                    <a:pt x="12" y="24"/>
                  </a:cubicBezTo>
                  <a:cubicBezTo>
                    <a:pt x="13" y="25"/>
                    <a:pt x="13" y="26"/>
                    <a:pt x="13" y="26"/>
                  </a:cubicBezTo>
                  <a:cubicBezTo>
                    <a:pt x="13" y="27"/>
                    <a:pt x="12" y="26"/>
                    <a:pt x="11" y="26"/>
                  </a:cubicBezTo>
                  <a:cubicBezTo>
                    <a:pt x="11" y="26"/>
                    <a:pt x="10" y="27"/>
                    <a:pt x="10" y="27"/>
                  </a:cubicBezTo>
                  <a:cubicBezTo>
                    <a:pt x="9" y="27"/>
                    <a:pt x="7" y="27"/>
                    <a:pt x="6" y="27"/>
                  </a:cubicBezTo>
                  <a:cubicBezTo>
                    <a:pt x="5" y="27"/>
                    <a:pt x="5" y="29"/>
                    <a:pt x="5" y="29"/>
                  </a:cubicBezTo>
                  <a:cubicBezTo>
                    <a:pt x="4" y="30"/>
                    <a:pt x="4" y="30"/>
                    <a:pt x="4" y="30"/>
                  </a:cubicBezTo>
                  <a:cubicBezTo>
                    <a:pt x="4" y="30"/>
                    <a:pt x="2" y="30"/>
                    <a:pt x="1" y="31"/>
                  </a:cubicBezTo>
                  <a:cubicBezTo>
                    <a:pt x="0" y="31"/>
                    <a:pt x="0" y="32"/>
                    <a:pt x="0" y="32"/>
                  </a:cubicBezTo>
                  <a:cubicBezTo>
                    <a:pt x="1" y="34"/>
                    <a:pt x="1" y="34"/>
                    <a:pt x="1" y="34"/>
                  </a:cubicBezTo>
                  <a:cubicBezTo>
                    <a:pt x="2" y="34"/>
                    <a:pt x="2" y="34"/>
                    <a:pt x="2" y="34"/>
                  </a:cubicBezTo>
                  <a:cubicBezTo>
                    <a:pt x="2" y="36"/>
                    <a:pt x="2" y="36"/>
                    <a:pt x="2" y="36"/>
                  </a:cubicBezTo>
                  <a:cubicBezTo>
                    <a:pt x="1" y="38"/>
                    <a:pt x="1" y="38"/>
                    <a:pt x="1" y="38"/>
                  </a:cubicBezTo>
                  <a:cubicBezTo>
                    <a:pt x="1" y="40"/>
                    <a:pt x="1" y="40"/>
                    <a:pt x="1" y="40"/>
                  </a:cubicBezTo>
                  <a:cubicBezTo>
                    <a:pt x="1" y="41"/>
                    <a:pt x="1" y="41"/>
                    <a:pt x="1" y="41"/>
                  </a:cubicBezTo>
                  <a:cubicBezTo>
                    <a:pt x="4" y="41"/>
                    <a:pt x="4" y="41"/>
                    <a:pt x="4" y="41"/>
                  </a:cubicBezTo>
                  <a:cubicBezTo>
                    <a:pt x="4" y="40"/>
                    <a:pt x="4" y="40"/>
                    <a:pt x="4" y="40"/>
                  </a:cubicBezTo>
                  <a:cubicBezTo>
                    <a:pt x="6" y="39"/>
                    <a:pt x="6" y="39"/>
                    <a:pt x="6" y="39"/>
                  </a:cubicBezTo>
                  <a:cubicBezTo>
                    <a:pt x="6" y="42"/>
                    <a:pt x="6" y="42"/>
                    <a:pt x="6" y="42"/>
                  </a:cubicBezTo>
                  <a:cubicBezTo>
                    <a:pt x="4" y="43"/>
                    <a:pt x="4" y="43"/>
                    <a:pt x="4" y="43"/>
                  </a:cubicBezTo>
                  <a:cubicBezTo>
                    <a:pt x="3" y="43"/>
                    <a:pt x="3" y="43"/>
                    <a:pt x="3" y="43"/>
                  </a:cubicBezTo>
                  <a:cubicBezTo>
                    <a:pt x="2" y="44"/>
                    <a:pt x="2" y="44"/>
                    <a:pt x="2" y="44"/>
                  </a:cubicBezTo>
                  <a:cubicBezTo>
                    <a:pt x="3" y="46"/>
                    <a:pt x="3" y="46"/>
                    <a:pt x="3" y="46"/>
                  </a:cubicBezTo>
                  <a:cubicBezTo>
                    <a:pt x="3" y="47"/>
                    <a:pt x="3" y="47"/>
                    <a:pt x="3" y="47"/>
                  </a:cubicBezTo>
                  <a:cubicBezTo>
                    <a:pt x="4" y="48"/>
                    <a:pt x="4" y="48"/>
                    <a:pt x="4" y="48"/>
                  </a:cubicBezTo>
                  <a:cubicBezTo>
                    <a:pt x="3" y="51"/>
                    <a:pt x="3" y="51"/>
                    <a:pt x="3" y="51"/>
                  </a:cubicBezTo>
                  <a:cubicBezTo>
                    <a:pt x="6" y="50"/>
                    <a:pt x="6" y="50"/>
                    <a:pt x="6" y="50"/>
                  </a:cubicBezTo>
                  <a:cubicBezTo>
                    <a:pt x="6" y="50"/>
                    <a:pt x="11" y="48"/>
                    <a:pt x="12" y="48"/>
                  </a:cubicBezTo>
                  <a:cubicBezTo>
                    <a:pt x="12" y="48"/>
                    <a:pt x="12" y="49"/>
                    <a:pt x="12" y="49"/>
                  </a:cubicBezTo>
                  <a:cubicBezTo>
                    <a:pt x="13" y="50"/>
                    <a:pt x="12" y="51"/>
                    <a:pt x="12" y="51"/>
                  </a:cubicBezTo>
                  <a:cubicBezTo>
                    <a:pt x="12" y="51"/>
                    <a:pt x="11" y="51"/>
                    <a:pt x="11" y="51"/>
                  </a:cubicBezTo>
                  <a:cubicBezTo>
                    <a:pt x="10" y="51"/>
                    <a:pt x="10" y="50"/>
                    <a:pt x="9" y="50"/>
                  </a:cubicBezTo>
                  <a:cubicBezTo>
                    <a:pt x="8" y="50"/>
                    <a:pt x="8" y="52"/>
                    <a:pt x="8" y="52"/>
                  </a:cubicBezTo>
                  <a:cubicBezTo>
                    <a:pt x="7" y="52"/>
                    <a:pt x="6" y="51"/>
                    <a:pt x="6" y="51"/>
                  </a:cubicBezTo>
                  <a:cubicBezTo>
                    <a:pt x="5" y="51"/>
                    <a:pt x="6" y="52"/>
                    <a:pt x="6" y="54"/>
                  </a:cubicBezTo>
                  <a:cubicBezTo>
                    <a:pt x="6" y="55"/>
                    <a:pt x="6" y="57"/>
                    <a:pt x="6" y="58"/>
                  </a:cubicBezTo>
                  <a:cubicBezTo>
                    <a:pt x="7" y="58"/>
                    <a:pt x="7" y="59"/>
                    <a:pt x="7" y="60"/>
                  </a:cubicBezTo>
                  <a:cubicBezTo>
                    <a:pt x="7" y="60"/>
                    <a:pt x="8" y="58"/>
                    <a:pt x="8" y="58"/>
                  </a:cubicBezTo>
                  <a:cubicBezTo>
                    <a:pt x="9" y="58"/>
                    <a:pt x="9" y="60"/>
                    <a:pt x="9" y="60"/>
                  </a:cubicBezTo>
                  <a:cubicBezTo>
                    <a:pt x="9" y="60"/>
                    <a:pt x="12" y="64"/>
                    <a:pt x="13" y="65"/>
                  </a:cubicBezTo>
                  <a:cubicBezTo>
                    <a:pt x="14" y="67"/>
                    <a:pt x="14" y="67"/>
                    <a:pt x="15" y="67"/>
                  </a:cubicBezTo>
                  <a:cubicBezTo>
                    <a:pt x="16" y="67"/>
                    <a:pt x="16" y="67"/>
                    <a:pt x="16" y="67"/>
                  </a:cubicBezTo>
                  <a:cubicBezTo>
                    <a:pt x="16" y="67"/>
                    <a:pt x="18" y="67"/>
                    <a:pt x="18" y="67"/>
                  </a:cubicBezTo>
                  <a:cubicBezTo>
                    <a:pt x="19" y="67"/>
                    <a:pt x="21" y="68"/>
                    <a:pt x="21" y="68"/>
                  </a:cubicBezTo>
                  <a:cubicBezTo>
                    <a:pt x="24" y="71"/>
                    <a:pt x="24" y="71"/>
                    <a:pt x="24" y="71"/>
                  </a:cubicBezTo>
                  <a:cubicBezTo>
                    <a:pt x="24" y="71"/>
                    <a:pt x="24" y="68"/>
                    <a:pt x="25" y="68"/>
                  </a:cubicBezTo>
                  <a:cubicBezTo>
                    <a:pt x="25" y="68"/>
                    <a:pt x="26" y="68"/>
                    <a:pt x="27" y="67"/>
                  </a:cubicBezTo>
                  <a:cubicBezTo>
                    <a:pt x="27" y="66"/>
                    <a:pt x="26" y="65"/>
                    <a:pt x="26" y="65"/>
                  </a:cubicBezTo>
                  <a:cubicBezTo>
                    <a:pt x="28" y="62"/>
                    <a:pt x="28" y="62"/>
                    <a:pt x="28" y="62"/>
                  </a:cubicBezTo>
                  <a:cubicBezTo>
                    <a:pt x="30" y="62"/>
                    <a:pt x="30" y="62"/>
                    <a:pt x="30" y="62"/>
                  </a:cubicBezTo>
                  <a:cubicBezTo>
                    <a:pt x="32" y="63"/>
                    <a:pt x="32" y="63"/>
                    <a:pt x="32" y="63"/>
                  </a:cubicBezTo>
                  <a:cubicBezTo>
                    <a:pt x="33" y="66"/>
                    <a:pt x="33" y="66"/>
                    <a:pt x="33" y="66"/>
                  </a:cubicBezTo>
                  <a:cubicBezTo>
                    <a:pt x="31" y="68"/>
                    <a:pt x="31" y="68"/>
                    <a:pt x="31" y="68"/>
                  </a:cubicBezTo>
                  <a:cubicBezTo>
                    <a:pt x="31" y="68"/>
                    <a:pt x="32" y="70"/>
                    <a:pt x="32" y="72"/>
                  </a:cubicBezTo>
                  <a:cubicBezTo>
                    <a:pt x="33" y="74"/>
                    <a:pt x="33" y="75"/>
                    <a:pt x="33" y="76"/>
                  </a:cubicBezTo>
                  <a:cubicBezTo>
                    <a:pt x="33" y="76"/>
                    <a:pt x="32" y="78"/>
                    <a:pt x="32" y="79"/>
                  </a:cubicBezTo>
                  <a:cubicBezTo>
                    <a:pt x="31" y="81"/>
                    <a:pt x="31" y="83"/>
                    <a:pt x="31" y="83"/>
                  </a:cubicBezTo>
                  <a:cubicBezTo>
                    <a:pt x="32" y="84"/>
                    <a:pt x="32" y="84"/>
                    <a:pt x="32" y="84"/>
                  </a:cubicBezTo>
                  <a:cubicBezTo>
                    <a:pt x="33" y="83"/>
                    <a:pt x="36" y="81"/>
                    <a:pt x="36" y="81"/>
                  </a:cubicBezTo>
                  <a:cubicBezTo>
                    <a:pt x="40" y="77"/>
                    <a:pt x="40" y="77"/>
                    <a:pt x="40" y="77"/>
                  </a:cubicBezTo>
                  <a:cubicBezTo>
                    <a:pt x="44" y="74"/>
                    <a:pt x="44" y="74"/>
                    <a:pt x="44" y="74"/>
                  </a:cubicBezTo>
                  <a:cubicBezTo>
                    <a:pt x="47" y="72"/>
                    <a:pt x="47" y="72"/>
                    <a:pt x="47" y="72"/>
                  </a:cubicBezTo>
                  <a:cubicBezTo>
                    <a:pt x="51" y="74"/>
                    <a:pt x="51" y="74"/>
                    <a:pt x="51" y="74"/>
                  </a:cubicBezTo>
                  <a:cubicBezTo>
                    <a:pt x="54" y="73"/>
                    <a:pt x="54" y="73"/>
                    <a:pt x="54" y="73"/>
                  </a:cubicBezTo>
                  <a:cubicBezTo>
                    <a:pt x="57" y="75"/>
                    <a:pt x="57" y="75"/>
                    <a:pt x="57" y="75"/>
                  </a:cubicBezTo>
                  <a:cubicBezTo>
                    <a:pt x="62" y="75"/>
                    <a:pt x="62" y="75"/>
                    <a:pt x="62" y="75"/>
                  </a:cubicBezTo>
                  <a:cubicBezTo>
                    <a:pt x="65" y="76"/>
                    <a:pt x="65" y="76"/>
                    <a:pt x="65" y="76"/>
                  </a:cubicBezTo>
                  <a:cubicBezTo>
                    <a:pt x="69" y="77"/>
                    <a:pt x="69" y="77"/>
                    <a:pt x="69" y="77"/>
                  </a:cubicBezTo>
                  <a:cubicBezTo>
                    <a:pt x="76" y="82"/>
                    <a:pt x="76" y="82"/>
                    <a:pt x="76" y="82"/>
                  </a:cubicBezTo>
                  <a:cubicBezTo>
                    <a:pt x="78" y="85"/>
                    <a:pt x="78" y="85"/>
                    <a:pt x="78" y="85"/>
                  </a:cubicBezTo>
                  <a:cubicBezTo>
                    <a:pt x="81" y="86"/>
                    <a:pt x="81" y="86"/>
                    <a:pt x="81" y="86"/>
                  </a:cubicBezTo>
                  <a:cubicBezTo>
                    <a:pt x="81" y="86"/>
                    <a:pt x="83" y="88"/>
                    <a:pt x="85" y="87"/>
                  </a:cubicBezTo>
                  <a:cubicBezTo>
                    <a:pt x="85" y="87"/>
                    <a:pt x="86" y="86"/>
                    <a:pt x="87" y="86"/>
                  </a:cubicBezTo>
                  <a:cubicBezTo>
                    <a:pt x="88" y="84"/>
                    <a:pt x="89" y="83"/>
                    <a:pt x="89" y="83"/>
                  </a:cubicBezTo>
                  <a:cubicBezTo>
                    <a:pt x="90" y="83"/>
                    <a:pt x="90" y="83"/>
                    <a:pt x="90" y="83"/>
                  </a:cubicBezTo>
                  <a:cubicBezTo>
                    <a:pt x="93" y="81"/>
                    <a:pt x="93" y="81"/>
                    <a:pt x="93" y="81"/>
                  </a:cubicBezTo>
                  <a:cubicBezTo>
                    <a:pt x="98" y="82"/>
                    <a:pt x="98" y="82"/>
                    <a:pt x="98" y="82"/>
                  </a:cubicBezTo>
                  <a:cubicBezTo>
                    <a:pt x="102" y="82"/>
                    <a:pt x="102" y="82"/>
                    <a:pt x="102" y="82"/>
                  </a:cubicBezTo>
                  <a:cubicBezTo>
                    <a:pt x="102" y="82"/>
                    <a:pt x="102" y="82"/>
                    <a:pt x="102" y="82"/>
                  </a:cubicBezTo>
                  <a:cubicBezTo>
                    <a:pt x="101" y="82"/>
                    <a:pt x="101" y="81"/>
                    <a:pt x="101" y="81"/>
                  </a:cubicBezTo>
                  <a:close/>
                </a:path>
              </a:pathLst>
            </a:custGeom>
            <a:solidFill>
              <a:srgbClr val="0181C7"/>
            </a:solid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316" name="Freeform 230"/>
            <p:cNvSpPr>
              <a:spLocks/>
            </p:cNvSpPr>
            <p:nvPr/>
          </p:nvSpPr>
          <p:spPr bwMode="auto">
            <a:xfrm>
              <a:off x="5184002" y="2264458"/>
              <a:ext cx="107950" cy="107950"/>
            </a:xfrm>
            <a:custGeom>
              <a:avLst/>
              <a:gdLst>
                <a:gd name="T0" fmla="*/ 32 w 34"/>
                <a:gd name="T1" fmla="*/ 3 h 34"/>
                <a:gd name="T2" fmla="*/ 27 w 34"/>
                <a:gd name="T3" fmla="*/ 1 h 34"/>
                <a:gd name="T4" fmla="*/ 23 w 34"/>
                <a:gd name="T5" fmla="*/ 0 h 34"/>
                <a:gd name="T6" fmla="*/ 20 w 34"/>
                <a:gd name="T7" fmla="*/ 1 h 34"/>
                <a:gd name="T8" fmla="*/ 17 w 34"/>
                <a:gd name="T9" fmla="*/ 1 h 34"/>
                <a:gd name="T10" fmla="*/ 15 w 34"/>
                <a:gd name="T11" fmla="*/ 3 h 34"/>
                <a:gd name="T12" fmla="*/ 10 w 34"/>
                <a:gd name="T13" fmla="*/ 4 h 34"/>
                <a:gd name="T14" fmla="*/ 10 w 34"/>
                <a:gd name="T15" fmla="*/ 7 h 34"/>
                <a:gd name="T16" fmla="*/ 8 w 34"/>
                <a:gd name="T17" fmla="*/ 6 h 34"/>
                <a:gd name="T18" fmla="*/ 6 w 34"/>
                <a:gd name="T19" fmla="*/ 9 h 34"/>
                <a:gd name="T20" fmla="*/ 6 w 34"/>
                <a:gd name="T21" fmla="*/ 12 h 34"/>
                <a:gd name="T22" fmla="*/ 3 w 34"/>
                <a:gd name="T23" fmla="*/ 8 h 34"/>
                <a:gd name="T24" fmla="*/ 1 w 34"/>
                <a:gd name="T25" fmla="*/ 9 h 34"/>
                <a:gd name="T26" fmla="*/ 0 w 34"/>
                <a:gd name="T27" fmla="*/ 9 h 34"/>
                <a:gd name="T28" fmla="*/ 2 w 34"/>
                <a:gd name="T29" fmla="*/ 11 h 34"/>
                <a:gd name="T30" fmla="*/ 5 w 34"/>
                <a:gd name="T31" fmla="*/ 13 h 34"/>
                <a:gd name="T32" fmla="*/ 3 w 34"/>
                <a:gd name="T33" fmla="*/ 16 h 34"/>
                <a:gd name="T34" fmla="*/ 2 w 34"/>
                <a:gd name="T35" fmla="*/ 17 h 34"/>
                <a:gd name="T36" fmla="*/ 5 w 34"/>
                <a:gd name="T37" fmla="*/ 20 h 34"/>
                <a:gd name="T38" fmla="*/ 7 w 34"/>
                <a:gd name="T39" fmla="*/ 21 h 34"/>
                <a:gd name="T40" fmla="*/ 8 w 34"/>
                <a:gd name="T41" fmla="*/ 22 h 34"/>
                <a:gd name="T42" fmla="*/ 10 w 34"/>
                <a:gd name="T43" fmla="*/ 24 h 34"/>
                <a:gd name="T44" fmla="*/ 9 w 34"/>
                <a:gd name="T45" fmla="*/ 27 h 34"/>
                <a:gd name="T46" fmla="*/ 8 w 34"/>
                <a:gd name="T47" fmla="*/ 30 h 34"/>
                <a:gd name="T48" fmla="*/ 9 w 34"/>
                <a:gd name="T49" fmla="*/ 34 h 34"/>
                <a:gd name="T50" fmla="*/ 13 w 34"/>
                <a:gd name="T51" fmla="*/ 30 h 34"/>
                <a:gd name="T52" fmla="*/ 13 w 34"/>
                <a:gd name="T53" fmla="*/ 27 h 34"/>
                <a:gd name="T54" fmla="*/ 12 w 34"/>
                <a:gd name="T55" fmla="*/ 22 h 34"/>
                <a:gd name="T56" fmla="*/ 15 w 34"/>
                <a:gd name="T57" fmla="*/ 19 h 34"/>
                <a:gd name="T58" fmla="*/ 18 w 34"/>
                <a:gd name="T59" fmla="*/ 17 h 34"/>
                <a:gd name="T60" fmla="*/ 21 w 34"/>
                <a:gd name="T61" fmla="*/ 18 h 34"/>
                <a:gd name="T62" fmla="*/ 23 w 34"/>
                <a:gd name="T63" fmla="*/ 17 h 34"/>
                <a:gd name="T64" fmla="*/ 22 w 34"/>
                <a:gd name="T65" fmla="*/ 15 h 34"/>
                <a:gd name="T66" fmla="*/ 25 w 34"/>
                <a:gd name="T67" fmla="*/ 12 h 34"/>
                <a:gd name="T68" fmla="*/ 26 w 34"/>
                <a:gd name="T69" fmla="*/ 10 h 34"/>
                <a:gd name="T70" fmla="*/ 28 w 34"/>
                <a:gd name="T71" fmla="*/ 8 h 34"/>
                <a:gd name="T72" fmla="*/ 30 w 34"/>
                <a:gd name="T73" fmla="*/ 7 h 34"/>
                <a:gd name="T74" fmla="*/ 30 w 34"/>
                <a:gd name="T75" fmla="*/ 4 h 34"/>
                <a:gd name="T76" fmla="*/ 34 w 34"/>
                <a:gd name="T77"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4" h="34">
                  <a:moveTo>
                    <a:pt x="33" y="4"/>
                  </a:moveTo>
                  <a:cubicBezTo>
                    <a:pt x="32" y="3"/>
                    <a:pt x="32" y="3"/>
                    <a:pt x="32" y="3"/>
                  </a:cubicBezTo>
                  <a:cubicBezTo>
                    <a:pt x="30" y="2"/>
                    <a:pt x="30" y="2"/>
                    <a:pt x="30" y="2"/>
                  </a:cubicBezTo>
                  <a:cubicBezTo>
                    <a:pt x="27" y="1"/>
                    <a:pt x="27" y="1"/>
                    <a:pt x="27" y="1"/>
                  </a:cubicBezTo>
                  <a:cubicBezTo>
                    <a:pt x="27" y="1"/>
                    <a:pt x="24" y="0"/>
                    <a:pt x="24" y="0"/>
                  </a:cubicBezTo>
                  <a:cubicBezTo>
                    <a:pt x="24" y="0"/>
                    <a:pt x="23" y="0"/>
                    <a:pt x="23" y="0"/>
                  </a:cubicBezTo>
                  <a:cubicBezTo>
                    <a:pt x="23" y="0"/>
                    <a:pt x="22" y="0"/>
                    <a:pt x="22" y="0"/>
                  </a:cubicBezTo>
                  <a:cubicBezTo>
                    <a:pt x="21" y="0"/>
                    <a:pt x="20" y="1"/>
                    <a:pt x="20" y="1"/>
                  </a:cubicBezTo>
                  <a:cubicBezTo>
                    <a:pt x="19" y="2"/>
                    <a:pt x="19" y="2"/>
                    <a:pt x="18" y="2"/>
                  </a:cubicBezTo>
                  <a:cubicBezTo>
                    <a:pt x="18" y="2"/>
                    <a:pt x="17" y="1"/>
                    <a:pt x="17" y="1"/>
                  </a:cubicBezTo>
                  <a:cubicBezTo>
                    <a:pt x="16" y="1"/>
                    <a:pt x="16" y="1"/>
                    <a:pt x="16" y="1"/>
                  </a:cubicBezTo>
                  <a:cubicBezTo>
                    <a:pt x="16" y="1"/>
                    <a:pt x="15" y="2"/>
                    <a:pt x="15" y="3"/>
                  </a:cubicBezTo>
                  <a:cubicBezTo>
                    <a:pt x="15" y="3"/>
                    <a:pt x="13" y="3"/>
                    <a:pt x="12" y="3"/>
                  </a:cubicBezTo>
                  <a:cubicBezTo>
                    <a:pt x="12" y="4"/>
                    <a:pt x="11" y="4"/>
                    <a:pt x="10" y="4"/>
                  </a:cubicBezTo>
                  <a:cubicBezTo>
                    <a:pt x="9" y="4"/>
                    <a:pt x="10" y="5"/>
                    <a:pt x="10" y="5"/>
                  </a:cubicBezTo>
                  <a:cubicBezTo>
                    <a:pt x="10" y="7"/>
                    <a:pt x="10" y="7"/>
                    <a:pt x="10" y="7"/>
                  </a:cubicBezTo>
                  <a:cubicBezTo>
                    <a:pt x="9" y="7"/>
                    <a:pt x="9" y="7"/>
                    <a:pt x="9" y="7"/>
                  </a:cubicBezTo>
                  <a:cubicBezTo>
                    <a:pt x="8" y="6"/>
                    <a:pt x="8" y="6"/>
                    <a:pt x="8" y="6"/>
                  </a:cubicBezTo>
                  <a:cubicBezTo>
                    <a:pt x="7" y="8"/>
                    <a:pt x="7" y="8"/>
                    <a:pt x="7" y="8"/>
                  </a:cubicBezTo>
                  <a:cubicBezTo>
                    <a:pt x="6" y="9"/>
                    <a:pt x="6" y="9"/>
                    <a:pt x="6" y="9"/>
                  </a:cubicBezTo>
                  <a:cubicBezTo>
                    <a:pt x="6" y="9"/>
                    <a:pt x="6" y="11"/>
                    <a:pt x="6" y="11"/>
                  </a:cubicBezTo>
                  <a:cubicBezTo>
                    <a:pt x="6" y="12"/>
                    <a:pt x="6" y="12"/>
                    <a:pt x="6" y="12"/>
                  </a:cubicBezTo>
                  <a:cubicBezTo>
                    <a:pt x="6" y="12"/>
                    <a:pt x="5" y="10"/>
                    <a:pt x="5" y="9"/>
                  </a:cubicBezTo>
                  <a:cubicBezTo>
                    <a:pt x="5" y="8"/>
                    <a:pt x="3" y="8"/>
                    <a:pt x="3" y="8"/>
                  </a:cubicBezTo>
                  <a:cubicBezTo>
                    <a:pt x="3" y="8"/>
                    <a:pt x="2" y="8"/>
                    <a:pt x="2" y="8"/>
                  </a:cubicBezTo>
                  <a:cubicBezTo>
                    <a:pt x="2" y="8"/>
                    <a:pt x="2" y="9"/>
                    <a:pt x="1" y="9"/>
                  </a:cubicBezTo>
                  <a:cubicBezTo>
                    <a:pt x="1" y="9"/>
                    <a:pt x="1" y="8"/>
                    <a:pt x="1" y="8"/>
                  </a:cubicBezTo>
                  <a:cubicBezTo>
                    <a:pt x="1" y="8"/>
                    <a:pt x="0" y="9"/>
                    <a:pt x="0" y="9"/>
                  </a:cubicBezTo>
                  <a:cubicBezTo>
                    <a:pt x="0" y="9"/>
                    <a:pt x="0" y="10"/>
                    <a:pt x="0" y="10"/>
                  </a:cubicBezTo>
                  <a:cubicBezTo>
                    <a:pt x="0" y="10"/>
                    <a:pt x="1" y="11"/>
                    <a:pt x="2" y="11"/>
                  </a:cubicBezTo>
                  <a:cubicBezTo>
                    <a:pt x="3" y="11"/>
                    <a:pt x="2" y="11"/>
                    <a:pt x="2" y="11"/>
                  </a:cubicBezTo>
                  <a:cubicBezTo>
                    <a:pt x="2" y="11"/>
                    <a:pt x="4" y="13"/>
                    <a:pt x="5" y="13"/>
                  </a:cubicBezTo>
                  <a:cubicBezTo>
                    <a:pt x="5" y="14"/>
                    <a:pt x="5" y="15"/>
                    <a:pt x="5" y="15"/>
                  </a:cubicBezTo>
                  <a:cubicBezTo>
                    <a:pt x="3" y="16"/>
                    <a:pt x="3" y="16"/>
                    <a:pt x="3" y="16"/>
                  </a:cubicBezTo>
                  <a:cubicBezTo>
                    <a:pt x="3" y="16"/>
                    <a:pt x="3" y="16"/>
                    <a:pt x="3" y="17"/>
                  </a:cubicBezTo>
                  <a:cubicBezTo>
                    <a:pt x="4" y="17"/>
                    <a:pt x="3" y="17"/>
                    <a:pt x="2" y="17"/>
                  </a:cubicBezTo>
                  <a:cubicBezTo>
                    <a:pt x="2" y="18"/>
                    <a:pt x="3" y="19"/>
                    <a:pt x="3" y="19"/>
                  </a:cubicBezTo>
                  <a:cubicBezTo>
                    <a:pt x="3" y="19"/>
                    <a:pt x="4" y="20"/>
                    <a:pt x="5" y="20"/>
                  </a:cubicBezTo>
                  <a:cubicBezTo>
                    <a:pt x="6" y="20"/>
                    <a:pt x="6" y="20"/>
                    <a:pt x="6" y="20"/>
                  </a:cubicBezTo>
                  <a:cubicBezTo>
                    <a:pt x="7" y="21"/>
                    <a:pt x="7" y="21"/>
                    <a:pt x="7" y="21"/>
                  </a:cubicBezTo>
                  <a:cubicBezTo>
                    <a:pt x="8" y="22"/>
                    <a:pt x="8" y="22"/>
                    <a:pt x="8" y="22"/>
                  </a:cubicBezTo>
                  <a:cubicBezTo>
                    <a:pt x="8" y="22"/>
                    <a:pt x="8" y="22"/>
                    <a:pt x="8" y="22"/>
                  </a:cubicBezTo>
                  <a:cubicBezTo>
                    <a:pt x="10" y="23"/>
                    <a:pt x="10" y="23"/>
                    <a:pt x="10" y="23"/>
                  </a:cubicBezTo>
                  <a:cubicBezTo>
                    <a:pt x="10" y="24"/>
                    <a:pt x="10" y="24"/>
                    <a:pt x="10" y="24"/>
                  </a:cubicBezTo>
                  <a:cubicBezTo>
                    <a:pt x="11" y="26"/>
                    <a:pt x="11" y="26"/>
                    <a:pt x="11" y="26"/>
                  </a:cubicBezTo>
                  <a:cubicBezTo>
                    <a:pt x="11" y="26"/>
                    <a:pt x="10" y="26"/>
                    <a:pt x="9" y="27"/>
                  </a:cubicBezTo>
                  <a:cubicBezTo>
                    <a:pt x="9" y="27"/>
                    <a:pt x="9" y="28"/>
                    <a:pt x="8" y="28"/>
                  </a:cubicBezTo>
                  <a:cubicBezTo>
                    <a:pt x="8" y="28"/>
                    <a:pt x="8" y="29"/>
                    <a:pt x="8" y="30"/>
                  </a:cubicBezTo>
                  <a:cubicBezTo>
                    <a:pt x="7" y="31"/>
                    <a:pt x="8" y="32"/>
                    <a:pt x="8" y="33"/>
                  </a:cubicBezTo>
                  <a:cubicBezTo>
                    <a:pt x="9" y="34"/>
                    <a:pt x="9" y="34"/>
                    <a:pt x="9" y="34"/>
                  </a:cubicBezTo>
                  <a:cubicBezTo>
                    <a:pt x="10" y="34"/>
                    <a:pt x="11" y="33"/>
                    <a:pt x="11" y="33"/>
                  </a:cubicBezTo>
                  <a:cubicBezTo>
                    <a:pt x="11" y="32"/>
                    <a:pt x="12" y="31"/>
                    <a:pt x="13" y="30"/>
                  </a:cubicBezTo>
                  <a:cubicBezTo>
                    <a:pt x="13" y="30"/>
                    <a:pt x="13" y="29"/>
                    <a:pt x="13" y="28"/>
                  </a:cubicBezTo>
                  <a:cubicBezTo>
                    <a:pt x="12" y="28"/>
                    <a:pt x="13" y="27"/>
                    <a:pt x="13" y="27"/>
                  </a:cubicBezTo>
                  <a:cubicBezTo>
                    <a:pt x="13" y="25"/>
                    <a:pt x="13" y="25"/>
                    <a:pt x="13" y="25"/>
                  </a:cubicBezTo>
                  <a:cubicBezTo>
                    <a:pt x="12" y="22"/>
                    <a:pt x="12" y="22"/>
                    <a:pt x="12" y="22"/>
                  </a:cubicBezTo>
                  <a:cubicBezTo>
                    <a:pt x="14" y="19"/>
                    <a:pt x="14" y="19"/>
                    <a:pt x="14" y="19"/>
                  </a:cubicBezTo>
                  <a:cubicBezTo>
                    <a:pt x="15" y="19"/>
                    <a:pt x="15" y="19"/>
                    <a:pt x="15" y="19"/>
                  </a:cubicBezTo>
                  <a:cubicBezTo>
                    <a:pt x="17" y="17"/>
                    <a:pt x="17" y="17"/>
                    <a:pt x="17" y="17"/>
                  </a:cubicBezTo>
                  <a:cubicBezTo>
                    <a:pt x="18" y="17"/>
                    <a:pt x="18" y="17"/>
                    <a:pt x="18" y="17"/>
                  </a:cubicBezTo>
                  <a:cubicBezTo>
                    <a:pt x="18" y="17"/>
                    <a:pt x="18" y="17"/>
                    <a:pt x="20" y="17"/>
                  </a:cubicBezTo>
                  <a:cubicBezTo>
                    <a:pt x="21" y="17"/>
                    <a:pt x="21" y="17"/>
                    <a:pt x="21" y="18"/>
                  </a:cubicBezTo>
                  <a:cubicBezTo>
                    <a:pt x="21" y="18"/>
                    <a:pt x="22" y="18"/>
                    <a:pt x="23" y="18"/>
                  </a:cubicBezTo>
                  <a:cubicBezTo>
                    <a:pt x="23" y="18"/>
                    <a:pt x="23" y="17"/>
                    <a:pt x="23" y="17"/>
                  </a:cubicBezTo>
                  <a:cubicBezTo>
                    <a:pt x="23" y="16"/>
                    <a:pt x="22" y="16"/>
                    <a:pt x="22" y="16"/>
                  </a:cubicBezTo>
                  <a:cubicBezTo>
                    <a:pt x="22" y="15"/>
                    <a:pt x="22" y="15"/>
                    <a:pt x="22" y="15"/>
                  </a:cubicBezTo>
                  <a:cubicBezTo>
                    <a:pt x="24" y="14"/>
                    <a:pt x="24" y="14"/>
                    <a:pt x="24" y="14"/>
                  </a:cubicBezTo>
                  <a:cubicBezTo>
                    <a:pt x="25" y="12"/>
                    <a:pt x="25" y="12"/>
                    <a:pt x="25" y="12"/>
                  </a:cubicBezTo>
                  <a:cubicBezTo>
                    <a:pt x="26" y="11"/>
                    <a:pt x="26" y="11"/>
                    <a:pt x="26" y="11"/>
                  </a:cubicBezTo>
                  <a:cubicBezTo>
                    <a:pt x="26" y="10"/>
                    <a:pt x="26" y="10"/>
                    <a:pt x="26" y="10"/>
                  </a:cubicBezTo>
                  <a:cubicBezTo>
                    <a:pt x="26" y="10"/>
                    <a:pt x="27" y="10"/>
                    <a:pt x="28" y="9"/>
                  </a:cubicBezTo>
                  <a:cubicBezTo>
                    <a:pt x="29" y="9"/>
                    <a:pt x="28" y="8"/>
                    <a:pt x="28" y="8"/>
                  </a:cubicBezTo>
                  <a:cubicBezTo>
                    <a:pt x="28" y="7"/>
                    <a:pt x="28" y="7"/>
                    <a:pt x="28" y="7"/>
                  </a:cubicBezTo>
                  <a:cubicBezTo>
                    <a:pt x="28" y="7"/>
                    <a:pt x="29" y="7"/>
                    <a:pt x="30" y="7"/>
                  </a:cubicBezTo>
                  <a:cubicBezTo>
                    <a:pt x="30" y="6"/>
                    <a:pt x="29" y="6"/>
                    <a:pt x="29" y="5"/>
                  </a:cubicBezTo>
                  <a:cubicBezTo>
                    <a:pt x="29" y="5"/>
                    <a:pt x="30" y="4"/>
                    <a:pt x="30" y="4"/>
                  </a:cubicBezTo>
                  <a:cubicBezTo>
                    <a:pt x="30" y="4"/>
                    <a:pt x="32" y="6"/>
                    <a:pt x="32" y="6"/>
                  </a:cubicBezTo>
                  <a:cubicBezTo>
                    <a:pt x="33" y="6"/>
                    <a:pt x="33" y="5"/>
                    <a:pt x="34" y="5"/>
                  </a:cubicBezTo>
                  <a:cubicBezTo>
                    <a:pt x="34" y="5"/>
                    <a:pt x="33" y="4"/>
                    <a:pt x="33" y="4"/>
                  </a:cubicBezTo>
                  <a:close/>
                </a:path>
              </a:pathLst>
            </a:custGeom>
            <a:solidFill>
              <a:srgbClr val="0181C7"/>
            </a:solid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317" name="Freeform 231"/>
            <p:cNvSpPr>
              <a:spLocks/>
            </p:cNvSpPr>
            <p:nvPr/>
          </p:nvSpPr>
          <p:spPr bwMode="auto">
            <a:xfrm>
              <a:off x="5269727" y="2248583"/>
              <a:ext cx="25400" cy="22225"/>
            </a:xfrm>
            <a:custGeom>
              <a:avLst/>
              <a:gdLst>
                <a:gd name="T0" fmla="*/ 6 w 8"/>
                <a:gd name="T1" fmla="*/ 3 h 7"/>
                <a:gd name="T2" fmla="*/ 5 w 8"/>
                <a:gd name="T3" fmla="*/ 1 h 7"/>
                <a:gd name="T4" fmla="*/ 3 w 8"/>
                <a:gd name="T5" fmla="*/ 0 h 7"/>
                <a:gd name="T6" fmla="*/ 1 w 8"/>
                <a:gd name="T7" fmla="*/ 1 h 7"/>
                <a:gd name="T8" fmla="*/ 1 w 8"/>
                <a:gd name="T9" fmla="*/ 3 h 7"/>
                <a:gd name="T10" fmla="*/ 0 w 8"/>
                <a:gd name="T11" fmla="*/ 4 h 7"/>
                <a:gd name="T12" fmla="*/ 1 w 8"/>
                <a:gd name="T13" fmla="*/ 5 h 7"/>
                <a:gd name="T14" fmla="*/ 3 w 8"/>
                <a:gd name="T15" fmla="*/ 5 h 7"/>
                <a:gd name="T16" fmla="*/ 7 w 8"/>
                <a:gd name="T17" fmla="*/ 5 h 7"/>
                <a:gd name="T18" fmla="*/ 7 w 8"/>
                <a:gd name="T19" fmla="*/ 4 h 7"/>
                <a:gd name="T20" fmla="*/ 6 w 8"/>
                <a:gd name="T21"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7">
                  <a:moveTo>
                    <a:pt x="6" y="3"/>
                  </a:moveTo>
                  <a:cubicBezTo>
                    <a:pt x="6" y="2"/>
                    <a:pt x="6" y="2"/>
                    <a:pt x="5" y="1"/>
                  </a:cubicBezTo>
                  <a:cubicBezTo>
                    <a:pt x="4" y="0"/>
                    <a:pt x="4" y="1"/>
                    <a:pt x="3" y="0"/>
                  </a:cubicBezTo>
                  <a:cubicBezTo>
                    <a:pt x="2" y="0"/>
                    <a:pt x="1" y="1"/>
                    <a:pt x="1" y="1"/>
                  </a:cubicBezTo>
                  <a:cubicBezTo>
                    <a:pt x="0" y="1"/>
                    <a:pt x="1" y="3"/>
                    <a:pt x="1" y="3"/>
                  </a:cubicBezTo>
                  <a:cubicBezTo>
                    <a:pt x="1" y="3"/>
                    <a:pt x="0" y="4"/>
                    <a:pt x="0" y="4"/>
                  </a:cubicBezTo>
                  <a:cubicBezTo>
                    <a:pt x="1" y="5"/>
                    <a:pt x="1" y="5"/>
                    <a:pt x="1" y="5"/>
                  </a:cubicBezTo>
                  <a:cubicBezTo>
                    <a:pt x="1" y="5"/>
                    <a:pt x="2" y="5"/>
                    <a:pt x="3" y="5"/>
                  </a:cubicBezTo>
                  <a:cubicBezTo>
                    <a:pt x="6" y="6"/>
                    <a:pt x="6" y="7"/>
                    <a:pt x="7" y="5"/>
                  </a:cubicBezTo>
                  <a:cubicBezTo>
                    <a:pt x="8" y="5"/>
                    <a:pt x="7" y="5"/>
                    <a:pt x="7" y="4"/>
                  </a:cubicBezTo>
                  <a:cubicBezTo>
                    <a:pt x="7" y="4"/>
                    <a:pt x="6" y="3"/>
                    <a:pt x="6" y="3"/>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318" name="Freeform 232"/>
            <p:cNvSpPr>
              <a:spLocks/>
            </p:cNvSpPr>
            <p:nvPr/>
          </p:nvSpPr>
          <p:spPr bwMode="auto">
            <a:xfrm>
              <a:off x="5168127" y="2308909"/>
              <a:ext cx="544512" cy="322262"/>
            </a:xfrm>
            <a:custGeom>
              <a:avLst/>
              <a:gdLst>
                <a:gd name="T0" fmla="*/ 168 w 171"/>
                <a:gd name="T1" fmla="*/ 52 h 101"/>
                <a:gd name="T2" fmla="*/ 166 w 171"/>
                <a:gd name="T3" fmla="*/ 48 h 101"/>
                <a:gd name="T4" fmla="*/ 163 w 171"/>
                <a:gd name="T5" fmla="*/ 43 h 101"/>
                <a:gd name="T6" fmla="*/ 157 w 171"/>
                <a:gd name="T7" fmla="*/ 35 h 101"/>
                <a:gd name="T8" fmla="*/ 152 w 171"/>
                <a:gd name="T9" fmla="*/ 31 h 101"/>
                <a:gd name="T10" fmla="*/ 151 w 171"/>
                <a:gd name="T11" fmla="*/ 16 h 101"/>
                <a:gd name="T12" fmla="*/ 143 w 171"/>
                <a:gd name="T13" fmla="*/ 13 h 101"/>
                <a:gd name="T14" fmla="*/ 140 w 171"/>
                <a:gd name="T15" fmla="*/ 10 h 101"/>
                <a:gd name="T16" fmla="*/ 137 w 171"/>
                <a:gd name="T17" fmla="*/ 10 h 101"/>
                <a:gd name="T18" fmla="*/ 128 w 171"/>
                <a:gd name="T19" fmla="*/ 9 h 101"/>
                <a:gd name="T20" fmla="*/ 123 w 171"/>
                <a:gd name="T21" fmla="*/ 13 h 101"/>
                <a:gd name="T22" fmla="*/ 115 w 171"/>
                <a:gd name="T23" fmla="*/ 14 h 101"/>
                <a:gd name="T24" fmla="*/ 103 w 171"/>
                <a:gd name="T25" fmla="*/ 5 h 101"/>
                <a:gd name="T26" fmla="*/ 92 w 171"/>
                <a:gd name="T27" fmla="*/ 3 h 101"/>
                <a:gd name="T28" fmla="*/ 83 w 171"/>
                <a:gd name="T29" fmla="*/ 0 h 101"/>
                <a:gd name="T30" fmla="*/ 72 w 171"/>
                <a:gd name="T31" fmla="*/ 8 h 101"/>
                <a:gd name="T32" fmla="*/ 66 w 171"/>
                <a:gd name="T33" fmla="*/ 12 h 101"/>
                <a:gd name="T34" fmla="*/ 70 w 171"/>
                <a:gd name="T35" fmla="*/ 28 h 101"/>
                <a:gd name="T36" fmla="*/ 70 w 171"/>
                <a:gd name="T37" fmla="*/ 45 h 101"/>
                <a:gd name="T38" fmla="*/ 65 w 171"/>
                <a:gd name="T39" fmla="*/ 51 h 101"/>
                <a:gd name="T40" fmla="*/ 53 w 171"/>
                <a:gd name="T41" fmla="*/ 53 h 101"/>
                <a:gd name="T42" fmla="*/ 45 w 171"/>
                <a:gd name="T43" fmla="*/ 45 h 101"/>
                <a:gd name="T44" fmla="*/ 36 w 171"/>
                <a:gd name="T45" fmla="*/ 35 h 101"/>
                <a:gd name="T46" fmla="*/ 28 w 171"/>
                <a:gd name="T47" fmla="*/ 24 h 101"/>
                <a:gd name="T48" fmla="*/ 19 w 171"/>
                <a:gd name="T49" fmla="*/ 31 h 101"/>
                <a:gd name="T50" fmla="*/ 8 w 171"/>
                <a:gd name="T51" fmla="*/ 39 h 101"/>
                <a:gd name="T52" fmla="*/ 5 w 171"/>
                <a:gd name="T53" fmla="*/ 64 h 101"/>
                <a:gd name="T54" fmla="*/ 0 w 171"/>
                <a:gd name="T55" fmla="*/ 75 h 101"/>
                <a:gd name="T56" fmla="*/ 1 w 171"/>
                <a:gd name="T57" fmla="*/ 92 h 101"/>
                <a:gd name="T58" fmla="*/ 6 w 171"/>
                <a:gd name="T59" fmla="*/ 99 h 101"/>
                <a:gd name="T60" fmla="*/ 10 w 171"/>
                <a:gd name="T61" fmla="*/ 92 h 101"/>
                <a:gd name="T62" fmla="*/ 19 w 171"/>
                <a:gd name="T63" fmla="*/ 87 h 101"/>
                <a:gd name="T64" fmla="*/ 32 w 171"/>
                <a:gd name="T65" fmla="*/ 81 h 101"/>
                <a:gd name="T66" fmla="*/ 46 w 171"/>
                <a:gd name="T67" fmla="*/ 76 h 101"/>
                <a:gd name="T68" fmla="*/ 52 w 171"/>
                <a:gd name="T69" fmla="*/ 80 h 101"/>
                <a:gd name="T70" fmla="*/ 62 w 171"/>
                <a:gd name="T71" fmla="*/ 76 h 101"/>
                <a:gd name="T72" fmla="*/ 65 w 171"/>
                <a:gd name="T73" fmla="*/ 75 h 101"/>
                <a:gd name="T74" fmla="*/ 75 w 171"/>
                <a:gd name="T75" fmla="*/ 76 h 101"/>
                <a:gd name="T76" fmla="*/ 80 w 171"/>
                <a:gd name="T77" fmla="*/ 73 h 101"/>
                <a:gd name="T78" fmla="*/ 89 w 171"/>
                <a:gd name="T79" fmla="*/ 68 h 101"/>
                <a:gd name="T80" fmla="*/ 97 w 171"/>
                <a:gd name="T81" fmla="*/ 71 h 101"/>
                <a:gd name="T82" fmla="*/ 107 w 171"/>
                <a:gd name="T83" fmla="*/ 74 h 101"/>
                <a:gd name="T84" fmla="*/ 118 w 171"/>
                <a:gd name="T85" fmla="*/ 76 h 101"/>
                <a:gd name="T86" fmla="*/ 127 w 171"/>
                <a:gd name="T87" fmla="*/ 80 h 101"/>
                <a:gd name="T88" fmla="*/ 133 w 171"/>
                <a:gd name="T89" fmla="*/ 87 h 101"/>
                <a:gd name="T90" fmla="*/ 146 w 171"/>
                <a:gd name="T91" fmla="*/ 86 h 101"/>
                <a:gd name="T92" fmla="*/ 153 w 171"/>
                <a:gd name="T93" fmla="*/ 78 h 101"/>
                <a:gd name="T94" fmla="*/ 158 w 171"/>
                <a:gd name="T95" fmla="*/ 78 h 101"/>
                <a:gd name="T96" fmla="*/ 162 w 171"/>
                <a:gd name="T97" fmla="*/ 74 h 101"/>
                <a:gd name="T98" fmla="*/ 171 w 171"/>
                <a:gd name="T99" fmla="*/ 6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1" h="101">
                  <a:moveTo>
                    <a:pt x="171" y="58"/>
                  </a:moveTo>
                  <a:cubicBezTo>
                    <a:pt x="171" y="55"/>
                    <a:pt x="171" y="55"/>
                    <a:pt x="171" y="55"/>
                  </a:cubicBezTo>
                  <a:cubicBezTo>
                    <a:pt x="170" y="54"/>
                    <a:pt x="168" y="52"/>
                    <a:pt x="168" y="52"/>
                  </a:cubicBezTo>
                  <a:cubicBezTo>
                    <a:pt x="168" y="51"/>
                    <a:pt x="168" y="50"/>
                    <a:pt x="167" y="48"/>
                  </a:cubicBezTo>
                  <a:cubicBezTo>
                    <a:pt x="167" y="48"/>
                    <a:pt x="167" y="48"/>
                    <a:pt x="167" y="48"/>
                  </a:cubicBezTo>
                  <a:cubicBezTo>
                    <a:pt x="167" y="48"/>
                    <a:pt x="166" y="48"/>
                    <a:pt x="166" y="48"/>
                  </a:cubicBezTo>
                  <a:cubicBezTo>
                    <a:pt x="165" y="47"/>
                    <a:pt x="164" y="46"/>
                    <a:pt x="164" y="46"/>
                  </a:cubicBezTo>
                  <a:cubicBezTo>
                    <a:pt x="163" y="45"/>
                    <a:pt x="163" y="45"/>
                    <a:pt x="163" y="45"/>
                  </a:cubicBezTo>
                  <a:cubicBezTo>
                    <a:pt x="163" y="43"/>
                    <a:pt x="163" y="43"/>
                    <a:pt x="163" y="43"/>
                  </a:cubicBezTo>
                  <a:cubicBezTo>
                    <a:pt x="162" y="43"/>
                    <a:pt x="162" y="43"/>
                    <a:pt x="162" y="43"/>
                  </a:cubicBezTo>
                  <a:cubicBezTo>
                    <a:pt x="156" y="38"/>
                    <a:pt x="156" y="38"/>
                    <a:pt x="156" y="38"/>
                  </a:cubicBezTo>
                  <a:cubicBezTo>
                    <a:pt x="157" y="35"/>
                    <a:pt x="157" y="35"/>
                    <a:pt x="157" y="35"/>
                  </a:cubicBezTo>
                  <a:cubicBezTo>
                    <a:pt x="157" y="35"/>
                    <a:pt x="157" y="35"/>
                    <a:pt x="157" y="35"/>
                  </a:cubicBezTo>
                  <a:cubicBezTo>
                    <a:pt x="152" y="38"/>
                    <a:pt x="152" y="38"/>
                    <a:pt x="152" y="38"/>
                  </a:cubicBezTo>
                  <a:cubicBezTo>
                    <a:pt x="152" y="31"/>
                    <a:pt x="152" y="31"/>
                    <a:pt x="152" y="31"/>
                  </a:cubicBezTo>
                  <a:cubicBezTo>
                    <a:pt x="150" y="25"/>
                    <a:pt x="150" y="25"/>
                    <a:pt x="150" y="25"/>
                  </a:cubicBezTo>
                  <a:cubicBezTo>
                    <a:pt x="152" y="22"/>
                    <a:pt x="152" y="22"/>
                    <a:pt x="152" y="22"/>
                  </a:cubicBezTo>
                  <a:cubicBezTo>
                    <a:pt x="151" y="16"/>
                    <a:pt x="151" y="16"/>
                    <a:pt x="151" y="16"/>
                  </a:cubicBezTo>
                  <a:cubicBezTo>
                    <a:pt x="151" y="16"/>
                    <a:pt x="150" y="16"/>
                    <a:pt x="150" y="16"/>
                  </a:cubicBezTo>
                  <a:cubicBezTo>
                    <a:pt x="149" y="16"/>
                    <a:pt x="148" y="16"/>
                    <a:pt x="146" y="14"/>
                  </a:cubicBezTo>
                  <a:cubicBezTo>
                    <a:pt x="143" y="13"/>
                    <a:pt x="143" y="13"/>
                    <a:pt x="143" y="13"/>
                  </a:cubicBezTo>
                  <a:cubicBezTo>
                    <a:pt x="142" y="10"/>
                    <a:pt x="142" y="10"/>
                    <a:pt x="142" y="10"/>
                  </a:cubicBezTo>
                  <a:cubicBezTo>
                    <a:pt x="141" y="9"/>
                    <a:pt x="141" y="9"/>
                    <a:pt x="141" y="9"/>
                  </a:cubicBezTo>
                  <a:cubicBezTo>
                    <a:pt x="140" y="10"/>
                    <a:pt x="140" y="10"/>
                    <a:pt x="140" y="10"/>
                  </a:cubicBezTo>
                  <a:cubicBezTo>
                    <a:pt x="139" y="10"/>
                    <a:pt x="139" y="10"/>
                    <a:pt x="139" y="10"/>
                  </a:cubicBezTo>
                  <a:cubicBezTo>
                    <a:pt x="139" y="10"/>
                    <a:pt x="139" y="10"/>
                    <a:pt x="139" y="10"/>
                  </a:cubicBezTo>
                  <a:cubicBezTo>
                    <a:pt x="137" y="10"/>
                    <a:pt x="137" y="10"/>
                    <a:pt x="137" y="10"/>
                  </a:cubicBezTo>
                  <a:cubicBezTo>
                    <a:pt x="137" y="10"/>
                    <a:pt x="137" y="10"/>
                    <a:pt x="137" y="10"/>
                  </a:cubicBezTo>
                  <a:cubicBezTo>
                    <a:pt x="133" y="10"/>
                    <a:pt x="133" y="10"/>
                    <a:pt x="133" y="10"/>
                  </a:cubicBezTo>
                  <a:cubicBezTo>
                    <a:pt x="128" y="9"/>
                    <a:pt x="128" y="9"/>
                    <a:pt x="128" y="9"/>
                  </a:cubicBezTo>
                  <a:cubicBezTo>
                    <a:pt x="126" y="11"/>
                    <a:pt x="126" y="11"/>
                    <a:pt x="126" y="11"/>
                  </a:cubicBezTo>
                  <a:cubicBezTo>
                    <a:pt x="125" y="11"/>
                    <a:pt x="125" y="11"/>
                    <a:pt x="125" y="11"/>
                  </a:cubicBezTo>
                  <a:cubicBezTo>
                    <a:pt x="124" y="12"/>
                    <a:pt x="124" y="12"/>
                    <a:pt x="123" y="13"/>
                  </a:cubicBezTo>
                  <a:cubicBezTo>
                    <a:pt x="123" y="14"/>
                    <a:pt x="121" y="14"/>
                    <a:pt x="121" y="15"/>
                  </a:cubicBezTo>
                  <a:cubicBezTo>
                    <a:pt x="120" y="15"/>
                    <a:pt x="119" y="15"/>
                    <a:pt x="118" y="15"/>
                  </a:cubicBezTo>
                  <a:cubicBezTo>
                    <a:pt x="117" y="15"/>
                    <a:pt x="116" y="15"/>
                    <a:pt x="115" y="14"/>
                  </a:cubicBezTo>
                  <a:cubicBezTo>
                    <a:pt x="112" y="13"/>
                    <a:pt x="112" y="13"/>
                    <a:pt x="112" y="13"/>
                  </a:cubicBezTo>
                  <a:cubicBezTo>
                    <a:pt x="110" y="9"/>
                    <a:pt x="110" y="9"/>
                    <a:pt x="110" y="9"/>
                  </a:cubicBezTo>
                  <a:cubicBezTo>
                    <a:pt x="103" y="5"/>
                    <a:pt x="103" y="5"/>
                    <a:pt x="103" y="5"/>
                  </a:cubicBezTo>
                  <a:cubicBezTo>
                    <a:pt x="100" y="4"/>
                    <a:pt x="100" y="4"/>
                    <a:pt x="100" y="4"/>
                  </a:cubicBezTo>
                  <a:cubicBezTo>
                    <a:pt x="96" y="3"/>
                    <a:pt x="96" y="3"/>
                    <a:pt x="96" y="3"/>
                  </a:cubicBezTo>
                  <a:cubicBezTo>
                    <a:pt x="92" y="3"/>
                    <a:pt x="92" y="3"/>
                    <a:pt x="92" y="3"/>
                  </a:cubicBezTo>
                  <a:cubicBezTo>
                    <a:pt x="89" y="1"/>
                    <a:pt x="89" y="1"/>
                    <a:pt x="89" y="1"/>
                  </a:cubicBezTo>
                  <a:cubicBezTo>
                    <a:pt x="86" y="2"/>
                    <a:pt x="86" y="2"/>
                    <a:pt x="86" y="2"/>
                  </a:cubicBezTo>
                  <a:cubicBezTo>
                    <a:pt x="83" y="0"/>
                    <a:pt x="83" y="0"/>
                    <a:pt x="83" y="0"/>
                  </a:cubicBezTo>
                  <a:cubicBezTo>
                    <a:pt x="80" y="2"/>
                    <a:pt x="80" y="2"/>
                    <a:pt x="80" y="2"/>
                  </a:cubicBezTo>
                  <a:cubicBezTo>
                    <a:pt x="77" y="5"/>
                    <a:pt x="77" y="5"/>
                    <a:pt x="77" y="5"/>
                  </a:cubicBezTo>
                  <a:cubicBezTo>
                    <a:pt x="72" y="8"/>
                    <a:pt x="72" y="8"/>
                    <a:pt x="72" y="8"/>
                  </a:cubicBezTo>
                  <a:cubicBezTo>
                    <a:pt x="72" y="9"/>
                    <a:pt x="70" y="11"/>
                    <a:pt x="68" y="12"/>
                  </a:cubicBezTo>
                  <a:cubicBezTo>
                    <a:pt x="66" y="13"/>
                    <a:pt x="66" y="13"/>
                    <a:pt x="66" y="13"/>
                  </a:cubicBezTo>
                  <a:cubicBezTo>
                    <a:pt x="66" y="12"/>
                    <a:pt x="66" y="12"/>
                    <a:pt x="66" y="12"/>
                  </a:cubicBezTo>
                  <a:cubicBezTo>
                    <a:pt x="66" y="13"/>
                    <a:pt x="66" y="14"/>
                    <a:pt x="66" y="15"/>
                  </a:cubicBezTo>
                  <a:cubicBezTo>
                    <a:pt x="69" y="21"/>
                    <a:pt x="69" y="21"/>
                    <a:pt x="69" y="21"/>
                  </a:cubicBezTo>
                  <a:cubicBezTo>
                    <a:pt x="69" y="21"/>
                    <a:pt x="70" y="26"/>
                    <a:pt x="70" y="28"/>
                  </a:cubicBezTo>
                  <a:cubicBezTo>
                    <a:pt x="70" y="29"/>
                    <a:pt x="71" y="30"/>
                    <a:pt x="72" y="32"/>
                  </a:cubicBezTo>
                  <a:cubicBezTo>
                    <a:pt x="73" y="35"/>
                    <a:pt x="74" y="36"/>
                    <a:pt x="74" y="37"/>
                  </a:cubicBezTo>
                  <a:cubicBezTo>
                    <a:pt x="74" y="38"/>
                    <a:pt x="71" y="44"/>
                    <a:pt x="70" y="45"/>
                  </a:cubicBezTo>
                  <a:cubicBezTo>
                    <a:pt x="70" y="45"/>
                    <a:pt x="69" y="46"/>
                    <a:pt x="68" y="48"/>
                  </a:cubicBezTo>
                  <a:cubicBezTo>
                    <a:pt x="67" y="49"/>
                    <a:pt x="67" y="49"/>
                    <a:pt x="67" y="49"/>
                  </a:cubicBezTo>
                  <a:cubicBezTo>
                    <a:pt x="67" y="50"/>
                    <a:pt x="66" y="50"/>
                    <a:pt x="65" y="51"/>
                  </a:cubicBezTo>
                  <a:cubicBezTo>
                    <a:pt x="64" y="52"/>
                    <a:pt x="62" y="54"/>
                    <a:pt x="62" y="54"/>
                  </a:cubicBezTo>
                  <a:cubicBezTo>
                    <a:pt x="61" y="55"/>
                    <a:pt x="57" y="54"/>
                    <a:pt x="56" y="54"/>
                  </a:cubicBezTo>
                  <a:cubicBezTo>
                    <a:pt x="53" y="53"/>
                    <a:pt x="53" y="53"/>
                    <a:pt x="53" y="53"/>
                  </a:cubicBezTo>
                  <a:cubicBezTo>
                    <a:pt x="53" y="53"/>
                    <a:pt x="49" y="51"/>
                    <a:pt x="48" y="49"/>
                  </a:cubicBezTo>
                  <a:cubicBezTo>
                    <a:pt x="48" y="48"/>
                    <a:pt x="47" y="47"/>
                    <a:pt x="46" y="47"/>
                  </a:cubicBezTo>
                  <a:cubicBezTo>
                    <a:pt x="46" y="46"/>
                    <a:pt x="45" y="45"/>
                    <a:pt x="45" y="45"/>
                  </a:cubicBezTo>
                  <a:cubicBezTo>
                    <a:pt x="43" y="42"/>
                    <a:pt x="44" y="41"/>
                    <a:pt x="44" y="41"/>
                  </a:cubicBezTo>
                  <a:cubicBezTo>
                    <a:pt x="42" y="38"/>
                    <a:pt x="42" y="38"/>
                    <a:pt x="42" y="38"/>
                  </a:cubicBezTo>
                  <a:cubicBezTo>
                    <a:pt x="36" y="35"/>
                    <a:pt x="36" y="35"/>
                    <a:pt x="36" y="35"/>
                  </a:cubicBezTo>
                  <a:cubicBezTo>
                    <a:pt x="33" y="33"/>
                    <a:pt x="33" y="33"/>
                    <a:pt x="33" y="33"/>
                  </a:cubicBezTo>
                  <a:cubicBezTo>
                    <a:pt x="29" y="31"/>
                    <a:pt x="29" y="31"/>
                    <a:pt x="29" y="31"/>
                  </a:cubicBezTo>
                  <a:cubicBezTo>
                    <a:pt x="29" y="29"/>
                    <a:pt x="28" y="25"/>
                    <a:pt x="28" y="24"/>
                  </a:cubicBezTo>
                  <a:cubicBezTo>
                    <a:pt x="28" y="24"/>
                    <a:pt x="27" y="25"/>
                    <a:pt x="27" y="25"/>
                  </a:cubicBezTo>
                  <a:cubicBezTo>
                    <a:pt x="26" y="26"/>
                    <a:pt x="25" y="26"/>
                    <a:pt x="25" y="26"/>
                  </a:cubicBezTo>
                  <a:cubicBezTo>
                    <a:pt x="24" y="26"/>
                    <a:pt x="21" y="29"/>
                    <a:pt x="19" y="31"/>
                  </a:cubicBezTo>
                  <a:cubicBezTo>
                    <a:pt x="15" y="35"/>
                    <a:pt x="15" y="35"/>
                    <a:pt x="15" y="35"/>
                  </a:cubicBezTo>
                  <a:cubicBezTo>
                    <a:pt x="15" y="35"/>
                    <a:pt x="10" y="35"/>
                    <a:pt x="9" y="36"/>
                  </a:cubicBezTo>
                  <a:cubicBezTo>
                    <a:pt x="9" y="36"/>
                    <a:pt x="8" y="37"/>
                    <a:pt x="8" y="39"/>
                  </a:cubicBezTo>
                  <a:cubicBezTo>
                    <a:pt x="5" y="53"/>
                    <a:pt x="5" y="53"/>
                    <a:pt x="5" y="53"/>
                  </a:cubicBezTo>
                  <a:cubicBezTo>
                    <a:pt x="6" y="58"/>
                    <a:pt x="6" y="58"/>
                    <a:pt x="6" y="58"/>
                  </a:cubicBezTo>
                  <a:cubicBezTo>
                    <a:pt x="6" y="58"/>
                    <a:pt x="5" y="64"/>
                    <a:pt x="5" y="64"/>
                  </a:cubicBezTo>
                  <a:cubicBezTo>
                    <a:pt x="5" y="65"/>
                    <a:pt x="5" y="65"/>
                    <a:pt x="3" y="67"/>
                  </a:cubicBezTo>
                  <a:cubicBezTo>
                    <a:pt x="2" y="69"/>
                    <a:pt x="0" y="71"/>
                    <a:pt x="0" y="71"/>
                  </a:cubicBezTo>
                  <a:cubicBezTo>
                    <a:pt x="0" y="72"/>
                    <a:pt x="0" y="75"/>
                    <a:pt x="0" y="75"/>
                  </a:cubicBezTo>
                  <a:cubicBezTo>
                    <a:pt x="0" y="75"/>
                    <a:pt x="1" y="83"/>
                    <a:pt x="2" y="84"/>
                  </a:cubicBezTo>
                  <a:cubicBezTo>
                    <a:pt x="3" y="86"/>
                    <a:pt x="3" y="89"/>
                    <a:pt x="3" y="89"/>
                  </a:cubicBezTo>
                  <a:cubicBezTo>
                    <a:pt x="1" y="92"/>
                    <a:pt x="1" y="92"/>
                    <a:pt x="1" y="92"/>
                  </a:cubicBezTo>
                  <a:cubicBezTo>
                    <a:pt x="1" y="95"/>
                    <a:pt x="3" y="100"/>
                    <a:pt x="3" y="101"/>
                  </a:cubicBezTo>
                  <a:cubicBezTo>
                    <a:pt x="4" y="101"/>
                    <a:pt x="4" y="101"/>
                    <a:pt x="4" y="101"/>
                  </a:cubicBezTo>
                  <a:cubicBezTo>
                    <a:pt x="4" y="100"/>
                    <a:pt x="6" y="100"/>
                    <a:pt x="6" y="99"/>
                  </a:cubicBezTo>
                  <a:cubicBezTo>
                    <a:pt x="6" y="99"/>
                    <a:pt x="7" y="99"/>
                    <a:pt x="8" y="99"/>
                  </a:cubicBezTo>
                  <a:cubicBezTo>
                    <a:pt x="8" y="95"/>
                    <a:pt x="8" y="95"/>
                    <a:pt x="8" y="95"/>
                  </a:cubicBezTo>
                  <a:cubicBezTo>
                    <a:pt x="10" y="92"/>
                    <a:pt x="10" y="92"/>
                    <a:pt x="10" y="92"/>
                  </a:cubicBezTo>
                  <a:cubicBezTo>
                    <a:pt x="13" y="91"/>
                    <a:pt x="13" y="91"/>
                    <a:pt x="13" y="91"/>
                  </a:cubicBezTo>
                  <a:cubicBezTo>
                    <a:pt x="15" y="87"/>
                    <a:pt x="15" y="87"/>
                    <a:pt x="15" y="87"/>
                  </a:cubicBezTo>
                  <a:cubicBezTo>
                    <a:pt x="19" y="87"/>
                    <a:pt x="19" y="87"/>
                    <a:pt x="19" y="87"/>
                  </a:cubicBezTo>
                  <a:cubicBezTo>
                    <a:pt x="23" y="84"/>
                    <a:pt x="23" y="84"/>
                    <a:pt x="23" y="84"/>
                  </a:cubicBezTo>
                  <a:cubicBezTo>
                    <a:pt x="26" y="81"/>
                    <a:pt x="26" y="81"/>
                    <a:pt x="26" y="81"/>
                  </a:cubicBezTo>
                  <a:cubicBezTo>
                    <a:pt x="32" y="81"/>
                    <a:pt x="32" y="81"/>
                    <a:pt x="32" y="81"/>
                  </a:cubicBezTo>
                  <a:cubicBezTo>
                    <a:pt x="33" y="81"/>
                    <a:pt x="34" y="81"/>
                    <a:pt x="37" y="80"/>
                  </a:cubicBezTo>
                  <a:cubicBezTo>
                    <a:pt x="37" y="80"/>
                    <a:pt x="41" y="79"/>
                    <a:pt x="43" y="79"/>
                  </a:cubicBezTo>
                  <a:cubicBezTo>
                    <a:pt x="46" y="76"/>
                    <a:pt x="46" y="76"/>
                    <a:pt x="46" y="76"/>
                  </a:cubicBezTo>
                  <a:cubicBezTo>
                    <a:pt x="47" y="77"/>
                    <a:pt x="47" y="77"/>
                    <a:pt x="47" y="77"/>
                  </a:cubicBezTo>
                  <a:cubicBezTo>
                    <a:pt x="48" y="77"/>
                    <a:pt x="51" y="78"/>
                    <a:pt x="51" y="79"/>
                  </a:cubicBezTo>
                  <a:cubicBezTo>
                    <a:pt x="52" y="80"/>
                    <a:pt x="52" y="80"/>
                    <a:pt x="52" y="80"/>
                  </a:cubicBezTo>
                  <a:cubicBezTo>
                    <a:pt x="52" y="80"/>
                    <a:pt x="53" y="79"/>
                    <a:pt x="53" y="79"/>
                  </a:cubicBezTo>
                  <a:cubicBezTo>
                    <a:pt x="53" y="78"/>
                    <a:pt x="53" y="78"/>
                    <a:pt x="53" y="78"/>
                  </a:cubicBezTo>
                  <a:cubicBezTo>
                    <a:pt x="62" y="76"/>
                    <a:pt x="62" y="76"/>
                    <a:pt x="62" y="76"/>
                  </a:cubicBezTo>
                  <a:cubicBezTo>
                    <a:pt x="63" y="76"/>
                    <a:pt x="64" y="75"/>
                    <a:pt x="65" y="75"/>
                  </a:cubicBezTo>
                  <a:cubicBezTo>
                    <a:pt x="65" y="75"/>
                    <a:pt x="65" y="75"/>
                    <a:pt x="65" y="75"/>
                  </a:cubicBezTo>
                  <a:cubicBezTo>
                    <a:pt x="65" y="75"/>
                    <a:pt x="65" y="75"/>
                    <a:pt x="65" y="75"/>
                  </a:cubicBezTo>
                  <a:cubicBezTo>
                    <a:pt x="66" y="75"/>
                    <a:pt x="68" y="76"/>
                    <a:pt x="71" y="76"/>
                  </a:cubicBezTo>
                  <a:cubicBezTo>
                    <a:pt x="75" y="76"/>
                    <a:pt x="75" y="76"/>
                    <a:pt x="75" y="76"/>
                  </a:cubicBezTo>
                  <a:cubicBezTo>
                    <a:pt x="75" y="76"/>
                    <a:pt x="75" y="76"/>
                    <a:pt x="75" y="76"/>
                  </a:cubicBezTo>
                  <a:cubicBezTo>
                    <a:pt x="77" y="77"/>
                    <a:pt x="77" y="77"/>
                    <a:pt x="78" y="77"/>
                  </a:cubicBezTo>
                  <a:cubicBezTo>
                    <a:pt x="78" y="76"/>
                    <a:pt x="79" y="75"/>
                    <a:pt x="80" y="74"/>
                  </a:cubicBezTo>
                  <a:cubicBezTo>
                    <a:pt x="80" y="73"/>
                    <a:pt x="80" y="73"/>
                    <a:pt x="80" y="73"/>
                  </a:cubicBezTo>
                  <a:cubicBezTo>
                    <a:pt x="85" y="74"/>
                    <a:pt x="85" y="74"/>
                    <a:pt x="85" y="74"/>
                  </a:cubicBezTo>
                  <a:cubicBezTo>
                    <a:pt x="85" y="74"/>
                    <a:pt x="85" y="74"/>
                    <a:pt x="85" y="74"/>
                  </a:cubicBezTo>
                  <a:cubicBezTo>
                    <a:pt x="88" y="69"/>
                    <a:pt x="88" y="68"/>
                    <a:pt x="89" y="68"/>
                  </a:cubicBezTo>
                  <a:cubicBezTo>
                    <a:pt x="89" y="68"/>
                    <a:pt x="92" y="66"/>
                    <a:pt x="92" y="66"/>
                  </a:cubicBezTo>
                  <a:cubicBezTo>
                    <a:pt x="94" y="65"/>
                    <a:pt x="94" y="65"/>
                    <a:pt x="94" y="65"/>
                  </a:cubicBezTo>
                  <a:cubicBezTo>
                    <a:pt x="97" y="71"/>
                    <a:pt x="97" y="71"/>
                    <a:pt x="97" y="71"/>
                  </a:cubicBezTo>
                  <a:cubicBezTo>
                    <a:pt x="101" y="74"/>
                    <a:pt x="101" y="74"/>
                    <a:pt x="101" y="74"/>
                  </a:cubicBezTo>
                  <a:cubicBezTo>
                    <a:pt x="103" y="76"/>
                    <a:pt x="103" y="76"/>
                    <a:pt x="103" y="76"/>
                  </a:cubicBezTo>
                  <a:cubicBezTo>
                    <a:pt x="107" y="74"/>
                    <a:pt x="107" y="74"/>
                    <a:pt x="107" y="74"/>
                  </a:cubicBezTo>
                  <a:cubicBezTo>
                    <a:pt x="114" y="74"/>
                    <a:pt x="114" y="74"/>
                    <a:pt x="114" y="74"/>
                  </a:cubicBezTo>
                  <a:cubicBezTo>
                    <a:pt x="116" y="76"/>
                    <a:pt x="116" y="76"/>
                    <a:pt x="116" y="76"/>
                  </a:cubicBezTo>
                  <a:cubicBezTo>
                    <a:pt x="118" y="76"/>
                    <a:pt x="118" y="76"/>
                    <a:pt x="118" y="76"/>
                  </a:cubicBezTo>
                  <a:cubicBezTo>
                    <a:pt x="122" y="77"/>
                    <a:pt x="122" y="77"/>
                    <a:pt x="122" y="77"/>
                  </a:cubicBezTo>
                  <a:cubicBezTo>
                    <a:pt x="124" y="80"/>
                    <a:pt x="124" y="80"/>
                    <a:pt x="124" y="80"/>
                  </a:cubicBezTo>
                  <a:cubicBezTo>
                    <a:pt x="127" y="80"/>
                    <a:pt x="127" y="80"/>
                    <a:pt x="127" y="80"/>
                  </a:cubicBezTo>
                  <a:cubicBezTo>
                    <a:pt x="130" y="84"/>
                    <a:pt x="130" y="84"/>
                    <a:pt x="130" y="84"/>
                  </a:cubicBezTo>
                  <a:cubicBezTo>
                    <a:pt x="132" y="84"/>
                    <a:pt x="132" y="84"/>
                    <a:pt x="132" y="84"/>
                  </a:cubicBezTo>
                  <a:cubicBezTo>
                    <a:pt x="133" y="87"/>
                    <a:pt x="133" y="87"/>
                    <a:pt x="133" y="87"/>
                  </a:cubicBezTo>
                  <a:cubicBezTo>
                    <a:pt x="141" y="88"/>
                    <a:pt x="141" y="88"/>
                    <a:pt x="141" y="88"/>
                  </a:cubicBezTo>
                  <a:cubicBezTo>
                    <a:pt x="141" y="88"/>
                    <a:pt x="142" y="87"/>
                    <a:pt x="143" y="87"/>
                  </a:cubicBezTo>
                  <a:cubicBezTo>
                    <a:pt x="144" y="86"/>
                    <a:pt x="145" y="86"/>
                    <a:pt x="146" y="86"/>
                  </a:cubicBezTo>
                  <a:cubicBezTo>
                    <a:pt x="147" y="82"/>
                    <a:pt x="147" y="82"/>
                    <a:pt x="147" y="82"/>
                  </a:cubicBezTo>
                  <a:cubicBezTo>
                    <a:pt x="149" y="80"/>
                    <a:pt x="149" y="80"/>
                    <a:pt x="149" y="80"/>
                  </a:cubicBezTo>
                  <a:cubicBezTo>
                    <a:pt x="149" y="79"/>
                    <a:pt x="151" y="78"/>
                    <a:pt x="153" y="78"/>
                  </a:cubicBezTo>
                  <a:cubicBezTo>
                    <a:pt x="155" y="78"/>
                    <a:pt x="155" y="78"/>
                    <a:pt x="155" y="78"/>
                  </a:cubicBezTo>
                  <a:cubicBezTo>
                    <a:pt x="157" y="78"/>
                    <a:pt x="157" y="78"/>
                    <a:pt x="157" y="78"/>
                  </a:cubicBezTo>
                  <a:cubicBezTo>
                    <a:pt x="158" y="78"/>
                    <a:pt x="158" y="78"/>
                    <a:pt x="158" y="78"/>
                  </a:cubicBezTo>
                  <a:cubicBezTo>
                    <a:pt x="163" y="78"/>
                    <a:pt x="163" y="78"/>
                    <a:pt x="163" y="78"/>
                  </a:cubicBezTo>
                  <a:cubicBezTo>
                    <a:pt x="163" y="78"/>
                    <a:pt x="163" y="78"/>
                    <a:pt x="163" y="78"/>
                  </a:cubicBezTo>
                  <a:cubicBezTo>
                    <a:pt x="162" y="74"/>
                    <a:pt x="162" y="74"/>
                    <a:pt x="162" y="74"/>
                  </a:cubicBezTo>
                  <a:cubicBezTo>
                    <a:pt x="166" y="69"/>
                    <a:pt x="166" y="69"/>
                    <a:pt x="166" y="69"/>
                  </a:cubicBezTo>
                  <a:cubicBezTo>
                    <a:pt x="167" y="63"/>
                    <a:pt x="167" y="63"/>
                    <a:pt x="167" y="63"/>
                  </a:cubicBezTo>
                  <a:cubicBezTo>
                    <a:pt x="171" y="61"/>
                    <a:pt x="171" y="61"/>
                    <a:pt x="171" y="61"/>
                  </a:cubicBezTo>
                  <a:cubicBezTo>
                    <a:pt x="171" y="60"/>
                    <a:pt x="171" y="59"/>
                    <a:pt x="171" y="58"/>
                  </a:cubicBezTo>
                  <a:close/>
                </a:path>
              </a:pathLst>
            </a:custGeom>
            <a:solidFill>
              <a:srgbClr val="0181C7"/>
            </a:solid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319" name="Freeform 235"/>
            <p:cNvSpPr>
              <a:spLocks/>
            </p:cNvSpPr>
            <p:nvPr/>
          </p:nvSpPr>
          <p:spPr bwMode="auto">
            <a:xfrm>
              <a:off x="5439590" y="2508932"/>
              <a:ext cx="722313" cy="676274"/>
            </a:xfrm>
            <a:custGeom>
              <a:avLst/>
              <a:gdLst>
                <a:gd name="T0" fmla="*/ 21 w 227"/>
                <a:gd name="T1" fmla="*/ 158 h 212"/>
                <a:gd name="T2" fmla="*/ 20 w 227"/>
                <a:gd name="T3" fmla="*/ 168 h 212"/>
                <a:gd name="T4" fmla="*/ 10 w 227"/>
                <a:gd name="T5" fmla="*/ 180 h 212"/>
                <a:gd name="T6" fmla="*/ 14 w 227"/>
                <a:gd name="T7" fmla="*/ 190 h 212"/>
                <a:gd name="T8" fmla="*/ 21 w 227"/>
                <a:gd name="T9" fmla="*/ 199 h 212"/>
                <a:gd name="T10" fmla="*/ 21 w 227"/>
                <a:gd name="T11" fmla="*/ 212 h 212"/>
                <a:gd name="T12" fmla="*/ 32 w 227"/>
                <a:gd name="T13" fmla="*/ 209 h 212"/>
                <a:gd name="T14" fmla="*/ 37 w 227"/>
                <a:gd name="T15" fmla="*/ 201 h 212"/>
                <a:gd name="T16" fmla="*/ 60 w 227"/>
                <a:gd name="T17" fmla="*/ 190 h 212"/>
                <a:gd name="T18" fmla="*/ 95 w 227"/>
                <a:gd name="T19" fmla="*/ 188 h 212"/>
                <a:gd name="T20" fmla="*/ 112 w 227"/>
                <a:gd name="T21" fmla="*/ 188 h 212"/>
                <a:gd name="T22" fmla="*/ 121 w 227"/>
                <a:gd name="T23" fmla="*/ 190 h 212"/>
                <a:gd name="T24" fmla="*/ 130 w 227"/>
                <a:gd name="T25" fmla="*/ 189 h 212"/>
                <a:gd name="T26" fmla="*/ 145 w 227"/>
                <a:gd name="T27" fmla="*/ 187 h 212"/>
                <a:gd name="T28" fmla="*/ 164 w 227"/>
                <a:gd name="T29" fmla="*/ 180 h 212"/>
                <a:gd name="T30" fmla="*/ 175 w 227"/>
                <a:gd name="T31" fmla="*/ 184 h 212"/>
                <a:gd name="T32" fmla="*/ 191 w 227"/>
                <a:gd name="T33" fmla="*/ 177 h 212"/>
                <a:gd name="T34" fmla="*/ 203 w 227"/>
                <a:gd name="T35" fmla="*/ 182 h 212"/>
                <a:gd name="T36" fmla="*/ 202 w 227"/>
                <a:gd name="T37" fmla="*/ 143 h 212"/>
                <a:gd name="T38" fmla="*/ 218 w 227"/>
                <a:gd name="T39" fmla="*/ 137 h 212"/>
                <a:gd name="T40" fmla="*/ 213 w 227"/>
                <a:gd name="T41" fmla="*/ 130 h 212"/>
                <a:gd name="T42" fmla="*/ 206 w 227"/>
                <a:gd name="T43" fmla="*/ 118 h 212"/>
                <a:gd name="T44" fmla="*/ 201 w 227"/>
                <a:gd name="T45" fmla="*/ 111 h 212"/>
                <a:gd name="T46" fmla="*/ 203 w 227"/>
                <a:gd name="T47" fmla="*/ 94 h 212"/>
                <a:gd name="T48" fmla="*/ 217 w 227"/>
                <a:gd name="T49" fmla="*/ 93 h 212"/>
                <a:gd name="T50" fmla="*/ 227 w 227"/>
                <a:gd name="T51" fmla="*/ 82 h 212"/>
                <a:gd name="T52" fmla="*/ 216 w 227"/>
                <a:gd name="T53" fmla="*/ 73 h 212"/>
                <a:gd name="T54" fmla="*/ 208 w 227"/>
                <a:gd name="T55" fmla="*/ 70 h 212"/>
                <a:gd name="T56" fmla="*/ 196 w 227"/>
                <a:gd name="T57" fmla="*/ 61 h 212"/>
                <a:gd name="T58" fmla="*/ 179 w 227"/>
                <a:gd name="T59" fmla="*/ 50 h 212"/>
                <a:gd name="T60" fmla="*/ 174 w 227"/>
                <a:gd name="T61" fmla="*/ 43 h 212"/>
                <a:gd name="T62" fmla="*/ 164 w 227"/>
                <a:gd name="T63" fmla="*/ 29 h 212"/>
                <a:gd name="T64" fmla="*/ 158 w 227"/>
                <a:gd name="T65" fmla="*/ 15 h 212"/>
                <a:gd name="T66" fmla="*/ 154 w 227"/>
                <a:gd name="T67" fmla="*/ 6 h 212"/>
                <a:gd name="T68" fmla="*/ 136 w 227"/>
                <a:gd name="T69" fmla="*/ 2 h 212"/>
                <a:gd name="T70" fmla="*/ 124 w 227"/>
                <a:gd name="T71" fmla="*/ 11 h 212"/>
                <a:gd name="T72" fmla="*/ 119 w 227"/>
                <a:gd name="T73" fmla="*/ 7 h 212"/>
                <a:gd name="T74" fmla="*/ 108 w 227"/>
                <a:gd name="T75" fmla="*/ 5 h 212"/>
                <a:gd name="T76" fmla="*/ 97 w 227"/>
                <a:gd name="T77" fmla="*/ 2 h 212"/>
                <a:gd name="T78" fmla="*/ 92 w 227"/>
                <a:gd name="T79" fmla="*/ 4 h 212"/>
                <a:gd name="T80" fmla="*/ 86 w 227"/>
                <a:gd name="T81" fmla="*/ 1 h 212"/>
                <a:gd name="T82" fmla="*/ 79 w 227"/>
                <a:gd name="T83" fmla="*/ 11 h 212"/>
                <a:gd name="T84" fmla="*/ 69 w 227"/>
                <a:gd name="T85" fmla="*/ 18 h 212"/>
                <a:gd name="T86" fmla="*/ 59 w 227"/>
                <a:gd name="T87" fmla="*/ 26 h 212"/>
                <a:gd name="T88" fmla="*/ 57 w 227"/>
                <a:gd name="T89" fmla="*/ 42 h 212"/>
                <a:gd name="T90" fmla="*/ 63 w 227"/>
                <a:gd name="T91" fmla="*/ 47 h 212"/>
                <a:gd name="T92" fmla="*/ 54 w 227"/>
                <a:gd name="T93" fmla="*/ 59 h 212"/>
                <a:gd name="T94" fmla="*/ 45 w 227"/>
                <a:gd name="T95" fmla="*/ 70 h 212"/>
                <a:gd name="T96" fmla="*/ 47 w 227"/>
                <a:gd name="T97" fmla="*/ 89 h 212"/>
                <a:gd name="T98" fmla="*/ 46 w 227"/>
                <a:gd name="T99" fmla="*/ 96 h 212"/>
                <a:gd name="T100" fmla="*/ 37 w 227"/>
                <a:gd name="T101" fmla="*/ 96 h 212"/>
                <a:gd name="T102" fmla="*/ 29 w 227"/>
                <a:gd name="T103" fmla="*/ 102 h 212"/>
                <a:gd name="T104" fmla="*/ 18 w 227"/>
                <a:gd name="T105" fmla="*/ 113 h 212"/>
                <a:gd name="T106" fmla="*/ 1 w 227"/>
                <a:gd name="T107" fmla="*/ 118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7" h="212">
                  <a:moveTo>
                    <a:pt x="11" y="138"/>
                  </a:moveTo>
                  <a:cubicBezTo>
                    <a:pt x="17" y="147"/>
                    <a:pt x="17" y="147"/>
                    <a:pt x="17" y="147"/>
                  </a:cubicBezTo>
                  <a:cubicBezTo>
                    <a:pt x="18" y="153"/>
                    <a:pt x="18" y="153"/>
                    <a:pt x="18" y="153"/>
                  </a:cubicBezTo>
                  <a:cubicBezTo>
                    <a:pt x="19" y="155"/>
                    <a:pt x="20" y="157"/>
                    <a:pt x="21" y="158"/>
                  </a:cubicBezTo>
                  <a:cubicBezTo>
                    <a:pt x="21" y="158"/>
                    <a:pt x="21" y="159"/>
                    <a:pt x="21" y="160"/>
                  </a:cubicBezTo>
                  <a:cubicBezTo>
                    <a:pt x="21" y="161"/>
                    <a:pt x="21" y="161"/>
                    <a:pt x="21" y="162"/>
                  </a:cubicBezTo>
                  <a:cubicBezTo>
                    <a:pt x="21" y="162"/>
                    <a:pt x="21" y="162"/>
                    <a:pt x="21" y="162"/>
                  </a:cubicBezTo>
                  <a:cubicBezTo>
                    <a:pt x="22" y="165"/>
                    <a:pt x="22" y="167"/>
                    <a:pt x="20" y="168"/>
                  </a:cubicBezTo>
                  <a:cubicBezTo>
                    <a:pt x="20" y="169"/>
                    <a:pt x="19" y="171"/>
                    <a:pt x="17" y="173"/>
                  </a:cubicBezTo>
                  <a:cubicBezTo>
                    <a:pt x="17" y="173"/>
                    <a:pt x="17" y="173"/>
                    <a:pt x="17" y="173"/>
                  </a:cubicBezTo>
                  <a:cubicBezTo>
                    <a:pt x="13" y="175"/>
                    <a:pt x="13" y="175"/>
                    <a:pt x="13" y="175"/>
                  </a:cubicBezTo>
                  <a:cubicBezTo>
                    <a:pt x="10" y="180"/>
                    <a:pt x="10" y="180"/>
                    <a:pt x="10" y="180"/>
                  </a:cubicBezTo>
                  <a:cubicBezTo>
                    <a:pt x="7" y="187"/>
                    <a:pt x="7" y="187"/>
                    <a:pt x="7" y="187"/>
                  </a:cubicBezTo>
                  <a:cubicBezTo>
                    <a:pt x="7" y="189"/>
                    <a:pt x="7" y="189"/>
                    <a:pt x="7" y="189"/>
                  </a:cubicBezTo>
                  <a:cubicBezTo>
                    <a:pt x="7" y="189"/>
                    <a:pt x="7" y="189"/>
                    <a:pt x="7" y="189"/>
                  </a:cubicBezTo>
                  <a:cubicBezTo>
                    <a:pt x="8" y="189"/>
                    <a:pt x="14" y="190"/>
                    <a:pt x="14" y="190"/>
                  </a:cubicBezTo>
                  <a:cubicBezTo>
                    <a:pt x="14" y="190"/>
                    <a:pt x="14" y="190"/>
                    <a:pt x="14" y="190"/>
                  </a:cubicBezTo>
                  <a:cubicBezTo>
                    <a:pt x="20" y="193"/>
                    <a:pt x="20" y="193"/>
                    <a:pt x="20" y="193"/>
                  </a:cubicBezTo>
                  <a:cubicBezTo>
                    <a:pt x="21" y="198"/>
                    <a:pt x="21" y="198"/>
                    <a:pt x="21" y="198"/>
                  </a:cubicBezTo>
                  <a:cubicBezTo>
                    <a:pt x="21" y="199"/>
                    <a:pt x="21" y="199"/>
                    <a:pt x="21" y="199"/>
                  </a:cubicBezTo>
                  <a:cubicBezTo>
                    <a:pt x="21" y="205"/>
                    <a:pt x="21" y="205"/>
                    <a:pt x="21" y="206"/>
                  </a:cubicBezTo>
                  <a:cubicBezTo>
                    <a:pt x="21" y="206"/>
                    <a:pt x="21" y="210"/>
                    <a:pt x="21" y="211"/>
                  </a:cubicBezTo>
                  <a:cubicBezTo>
                    <a:pt x="21" y="211"/>
                    <a:pt x="21" y="211"/>
                    <a:pt x="21" y="211"/>
                  </a:cubicBezTo>
                  <a:cubicBezTo>
                    <a:pt x="21" y="211"/>
                    <a:pt x="21" y="212"/>
                    <a:pt x="21" y="212"/>
                  </a:cubicBezTo>
                  <a:cubicBezTo>
                    <a:pt x="24" y="210"/>
                    <a:pt x="24" y="210"/>
                    <a:pt x="24" y="210"/>
                  </a:cubicBezTo>
                  <a:cubicBezTo>
                    <a:pt x="25" y="211"/>
                    <a:pt x="25" y="211"/>
                    <a:pt x="25" y="211"/>
                  </a:cubicBezTo>
                  <a:cubicBezTo>
                    <a:pt x="25" y="211"/>
                    <a:pt x="27" y="211"/>
                    <a:pt x="29" y="212"/>
                  </a:cubicBezTo>
                  <a:cubicBezTo>
                    <a:pt x="30" y="210"/>
                    <a:pt x="31" y="209"/>
                    <a:pt x="32" y="209"/>
                  </a:cubicBezTo>
                  <a:cubicBezTo>
                    <a:pt x="32" y="209"/>
                    <a:pt x="32" y="209"/>
                    <a:pt x="32" y="210"/>
                  </a:cubicBezTo>
                  <a:cubicBezTo>
                    <a:pt x="33" y="209"/>
                    <a:pt x="34" y="206"/>
                    <a:pt x="34" y="206"/>
                  </a:cubicBezTo>
                  <a:cubicBezTo>
                    <a:pt x="35" y="203"/>
                    <a:pt x="35" y="203"/>
                    <a:pt x="35" y="203"/>
                  </a:cubicBezTo>
                  <a:cubicBezTo>
                    <a:pt x="37" y="201"/>
                    <a:pt x="37" y="201"/>
                    <a:pt x="37" y="201"/>
                  </a:cubicBezTo>
                  <a:cubicBezTo>
                    <a:pt x="37" y="199"/>
                    <a:pt x="37" y="199"/>
                    <a:pt x="37" y="199"/>
                  </a:cubicBezTo>
                  <a:cubicBezTo>
                    <a:pt x="42" y="196"/>
                    <a:pt x="42" y="196"/>
                    <a:pt x="42" y="196"/>
                  </a:cubicBezTo>
                  <a:cubicBezTo>
                    <a:pt x="54" y="194"/>
                    <a:pt x="54" y="194"/>
                    <a:pt x="54" y="194"/>
                  </a:cubicBezTo>
                  <a:cubicBezTo>
                    <a:pt x="60" y="190"/>
                    <a:pt x="60" y="190"/>
                    <a:pt x="60" y="190"/>
                  </a:cubicBezTo>
                  <a:cubicBezTo>
                    <a:pt x="68" y="191"/>
                    <a:pt x="68" y="191"/>
                    <a:pt x="68" y="191"/>
                  </a:cubicBezTo>
                  <a:cubicBezTo>
                    <a:pt x="88" y="190"/>
                    <a:pt x="88" y="190"/>
                    <a:pt x="88" y="190"/>
                  </a:cubicBezTo>
                  <a:cubicBezTo>
                    <a:pt x="95" y="188"/>
                    <a:pt x="95" y="188"/>
                    <a:pt x="95" y="188"/>
                  </a:cubicBezTo>
                  <a:cubicBezTo>
                    <a:pt x="95" y="188"/>
                    <a:pt x="95" y="188"/>
                    <a:pt x="95" y="188"/>
                  </a:cubicBezTo>
                  <a:cubicBezTo>
                    <a:pt x="95" y="188"/>
                    <a:pt x="96" y="188"/>
                    <a:pt x="96" y="188"/>
                  </a:cubicBezTo>
                  <a:cubicBezTo>
                    <a:pt x="97" y="189"/>
                    <a:pt x="100" y="189"/>
                    <a:pt x="101" y="189"/>
                  </a:cubicBezTo>
                  <a:cubicBezTo>
                    <a:pt x="103" y="189"/>
                    <a:pt x="111" y="188"/>
                    <a:pt x="112" y="188"/>
                  </a:cubicBezTo>
                  <a:cubicBezTo>
                    <a:pt x="112" y="188"/>
                    <a:pt x="112" y="188"/>
                    <a:pt x="112" y="188"/>
                  </a:cubicBezTo>
                  <a:cubicBezTo>
                    <a:pt x="116" y="191"/>
                    <a:pt x="116" y="191"/>
                    <a:pt x="116" y="191"/>
                  </a:cubicBezTo>
                  <a:cubicBezTo>
                    <a:pt x="118" y="193"/>
                    <a:pt x="118" y="193"/>
                    <a:pt x="118" y="193"/>
                  </a:cubicBezTo>
                  <a:cubicBezTo>
                    <a:pt x="119" y="192"/>
                    <a:pt x="120" y="191"/>
                    <a:pt x="121" y="190"/>
                  </a:cubicBezTo>
                  <a:cubicBezTo>
                    <a:pt x="121" y="190"/>
                    <a:pt x="121" y="190"/>
                    <a:pt x="121" y="190"/>
                  </a:cubicBezTo>
                  <a:cubicBezTo>
                    <a:pt x="122" y="190"/>
                    <a:pt x="122" y="190"/>
                    <a:pt x="122" y="190"/>
                  </a:cubicBezTo>
                  <a:cubicBezTo>
                    <a:pt x="124" y="190"/>
                    <a:pt x="127" y="192"/>
                    <a:pt x="127" y="192"/>
                  </a:cubicBezTo>
                  <a:cubicBezTo>
                    <a:pt x="129" y="193"/>
                    <a:pt x="129" y="193"/>
                    <a:pt x="129" y="193"/>
                  </a:cubicBezTo>
                  <a:cubicBezTo>
                    <a:pt x="130" y="189"/>
                    <a:pt x="130" y="189"/>
                    <a:pt x="130" y="189"/>
                  </a:cubicBezTo>
                  <a:cubicBezTo>
                    <a:pt x="135" y="190"/>
                    <a:pt x="135" y="190"/>
                    <a:pt x="135" y="190"/>
                  </a:cubicBezTo>
                  <a:cubicBezTo>
                    <a:pt x="140" y="185"/>
                    <a:pt x="140" y="185"/>
                    <a:pt x="140" y="185"/>
                  </a:cubicBezTo>
                  <a:cubicBezTo>
                    <a:pt x="143" y="186"/>
                    <a:pt x="143" y="186"/>
                    <a:pt x="143" y="186"/>
                  </a:cubicBezTo>
                  <a:cubicBezTo>
                    <a:pt x="145" y="187"/>
                    <a:pt x="145" y="187"/>
                    <a:pt x="145" y="187"/>
                  </a:cubicBezTo>
                  <a:cubicBezTo>
                    <a:pt x="149" y="184"/>
                    <a:pt x="149" y="184"/>
                    <a:pt x="149" y="184"/>
                  </a:cubicBezTo>
                  <a:cubicBezTo>
                    <a:pt x="153" y="187"/>
                    <a:pt x="153" y="187"/>
                    <a:pt x="153" y="187"/>
                  </a:cubicBezTo>
                  <a:cubicBezTo>
                    <a:pt x="153" y="185"/>
                    <a:pt x="155" y="184"/>
                    <a:pt x="158" y="183"/>
                  </a:cubicBezTo>
                  <a:cubicBezTo>
                    <a:pt x="159" y="182"/>
                    <a:pt x="162" y="180"/>
                    <a:pt x="164" y="180"/>
                  </a:cubicBezTo>
                  <a:cubicBezTo>
                    <a:pt x="166" y="180"/>
                    <a:pt x="168" y="181"/>
                    <a:pt x="168" y="182"/>
                  </a:cubicBezTo>
                  <a:cubicBezTo>
                    <a:pt x="169" y="183"/>
                    <a:pt x="170" y="183"/>
                    <a:pt x="171" y="185"/>
                  </a:cubicBezTo>
                  <a:cubicBezTo>
                    <a:pt x="172" y="186"/>
                    <a:pt x="172" y="186"/>
                    <a:pt x="172" y="186"/>
                  </a:cubicBezTo>
                  <a:cubicBezTo>
                    <a:pt x="175" y="184"/>
                    <a:pt x="175" y="184"/>
                    <a:pt x="175" y="184"/>
                  </a:cubicBezTo>
                  <a:cubicBezTo>
                    <a:pt x="177" y="181"/>
                    <a:pt x="177" y="181"/>
                    <a:pt x="177" y="181"/>
                  </a:cubicBezTo>
                  <a:cubicBezTo>
                    <a:pt x="180" y="181"/>
                    <a:pt x="180" y="181"/>
                    <a:pt x="180" y="181"/>
                  </a:cubicBezTo>
                  <a:cubicBezTo>
                    <a:pt x="184" y="179"/>
                    <a:pt x="184" y="179"/>
                    <a:pt x="184" y="179"/>
                  </a:cubicBezTo>
                  <a:cubicBezTo>
                    <a:pt x="191" y="177"/>
                    <a:pt x="191" y="177"/>
                    <a:pt x="191" y="177"/>
                  </a:cubicBezTo>
                  <a:cubicBezTo>
                    <a:pt x="197" y="179"/>
                    <a:pt x="197" y="179"/>
                    <a:pt x="197" y="179"/>
                  </a:cubicBezTo>
                  <a:cubicBezTo>
                    <a:pt x="200" y="183"/>
                    <a:pt x="200" y="183"/>
                    <a:pt x="200" y="183"/>
                  </a:cubicBezTo>
                  <a:cubicBezTo>
                    <a:pt x="202" y="183"/>
                    <a:pt x="202" y="183"/>
                    <a:pt x="202" y="183"/>
                  </a:cubicBezTo>
                  <a:cubicBezTo>
                    <a:pt x="203" y="182"/>
                    <a:pt x="203" y="182"/>
                    <a:pt x="203" y="182"/>
                  </a:cubicBezTo>
                  <a:cubicBezTo>
                    <a:pt x="201" y="179"/>
                    <a:pt x="201" y="179"/>
                    <a:pt x="201" y="179"/>
                  </a:cubicBezTo>
                  <a:cubicBezTo>
                    <a:pt x="196" y="168"/>
                    <a:pt x="196" y="168"/>
                    <a:pt x="196" y="168"/>
                  </a:cubicBezTo>
                  <a:cubicBezTo>
                    <a:pt x="201" y="153"/>
                    <a:pt x="201" y="153"/>
                    <a:pt x="201" y="153"/>
                  </a:cubicBezTo>
                  <a:cubicBezTo>
                    <a:pt x="202" y="143"/>
                    <a:pt x="202" y="143"/>
                    <a:pt x="202" y="143"/>
                  </a:cubicBezTo>
                  <a:cubicBezTo>
                    <a:pt x="213" y="142"/>
                    <a:pt x="213" y="142"/>
                    <a:pt x="213" y="142"/>
                  </a:cubicBezTo>
                  <a:cubicBezTo>
                    <a:pt x="216" y="138"/>
                    <a:pt x="216" y="138"/>
                    <a:pt x="216" y="138"/>
                  </a:cubicBezTo>
                  <a:cubicBezTo>
                    <a:pt x="219" y="137"/>
                    <a:pt x="219" y="137"/>
                    <a:pt x="219" y="137"/>
                  </a:cubicBezTo>
                  <a:cubicBezTo>
                    <a:pt x="218" y="137"/>
                    <a:pt x="218" y="137"/>
                    <a:pt x="218" y="137"/>
                  </a:cubicBezTo>
                  <a:cubicBezTo>
                    <a:pt x="218" y="135"/>
                    <a:pt x="218" y="135"/>
                    <a:pt x="218" y="135"/>
                  </a:cubicBezTo>
                  <a:cubicBezTo>
                    <a:pt x="216" y="135"/>
                    <a:pt x="216" y="135"/>
                    <a:pt x="216" y="135"/>
                  </a:cubicBezTo>
                  <a:cubicBezTo>
                    <a:pt x="212" y="133"/>
                    <a:pt x="212" y="133"/>
                    <a:pt x="212" y="133"/>
                  </a:cubicBezTo>
                  <a:cubicBezTo>
                    <a:pt x="213" y="130"/>
                    <a:pt x="213" y="130"/>
                    <a:pt x="213" y="130"/>
                  </a:cubicBezTo>
                  <a:cubicBezTo>
                    <a:pt x="210" y="123"/>
                    <a:pt x="210" y="123"/>
                    <a:pt x="210" y="123"/>
                  </a:cubicBezTo>
                  <a:cubicBezTo>
                    <a:pt x="210" y="122"/>
                    <a:pt x="210" y="122"/>
                    <a:pt x="210" y="122"/>
                  </a:cubicBezTo>
                  <a:cubicBezTo>
                    <a:pt x="209" y="122"/>
                    <a:pt x="209" y="122"/>
                    <a:pt x="209" y="122"/>
                  </a:cubicBezTo>
                  <a:cubicBezTo>
                    <a:pt x="206" y="118"/>
                    <a:pt x="206" y="118"/>
                    <a:pt x="206" y="118"/>
                  </a:cubicBezTo>
                  <a:cubicBezTo>
                    <a:pt x="208" y="115"/>
                    <a:pt x="208" y="115"/>
                    <a:pt x="208" y="115"/>
                  </a:cubicBezTo>
                  <a:cubicBezTo>
                    <a:pt x="207" y="114"/>
                    <a:pt x="207" y="114"/>
                    <a:pt x="207" y="114"/>
                  </a:cubicBezTo>
                  <a:cubicBezTo>
                    <a:pt x="205" y="112"/>
                    <a:pt x="205" y="112"/>
                    <a:pt x="205" y="112"/>
                  </a:cubicBezTo>
                  <a:cubicBezTo>
                    <a:pt x="201" y="111"/>
                    <a:pt x="201" y="111"/>
                    <a:pt x="201" y="111"/>
                  </a:cubicBezTo>
                  <a:cubicBezTo>
                    <a:pt x="197" y="107"/>
                    <a:pt x="197" y="107"/>
                    <a:pt x="197" y="107"/>
                  </a:cubicBezTo>
                  <a:cubicBezTo>
                    <a:pt x="196" y="104"/>
                    <a:pt x="196" y="104"/>
                    <a:pt x="196" y="104"/>
                  </a:cubicBezTo>
                  <a:cubicBezTo>
                    <a:pt x="198" y="97"/>
                    <a:pt x="198" y="97"/>
                    <a:pt x="198" y="97"/>
                  </a:cubicBezTo>
                  <a:cubicBezTo>
                    <a:pt x="199" y="96"/>
                    <a:pt x="200" y="95"/>
                    <a:pt x="203" y="94"/>
                  </a:cubicBezTo>
                  <a:cubicBezTo>
                    <a:pt x="204" y="93"/>
                    <a:pt x="205" y="93"/>
                    <a:pt x="206" y="93"/>
                  </a:cubicBezTo>
                  <a:cubicBezTo>
                    <a:pt x="207" y="93"/>
                    <a:pt x="208" y="93"/>
                    <a:pt x="209" y="94"/>
                  </a:cubicBezTo>
                  <a:cubicBezTo>
                    <a:pt x="213" y="95"/>
                    <a:pt x="213" y="95"/>
                    <a:pt x="213" y="95"/>
                  </a:cubicBezTo>
                  <a:cubicBezTo>
                    <a:pt x="217" y="93"/>
                    <a:pt x="217" y="93"/>
                    <a:pt x="217" y="93"/>
                  </a:cubicBezTo>
                  <a:cubicBezTo>
                    <a:pt x="219" y="92"/>
                    <a:pt x="222" y="90"/>
                    <a:pt x="223" y="89"/>
                  </a:cubicBezTo>
                  <a:cubicBezTo>
                    <a:pt x="223" y="88"/>
                    <a:pt x="223" y="87"/>
                    <a:pt x="222" y="86"/>
                  </a:cubicBezTo>
                  <a:cubicBezTo>
                    <a:pt x="221" y="84"/>
                    <a:pt x="221" y="84"/>
                    <a:pt x="221" y="84"/>
                  </a:cubicBezTo>
                  <a:cubicBezTo>
                    <a:pt x="227" y="82"/>
                    <a:pt x="227" y="82"/>
                    <a:pt x="227" y="82"/>
                  </a:cubicBezTo>
                  <a:cubicBezTo>
                    <a:pt x="227" y="81"/>
                    <a:pt x="227" y="81"/>
                    <a:pt x="227" y="81"/>
                  </a:cubicBezTo>
                  <a:cubicBezTo>
                    <a:pt x="227" y="79"/>
                    <a:pt x="227" y="79"/>
                    <a:pt x="227" y="79"/>
                  </a:cubicBezTo>
                  <a:cubicBezTo>
                    <a:pt x="222" y="77"/>
                    <a:pt x="222" y="77"/>
                    <a:pt x="222" y="77"/>
                  </a:cubicBezTo>
                  <a:cubicBezTo>
                    <a:pt x="216" y="73"/>
                    <a:pt x="216" y="73"/>
                    <a:pt x="216" y="73"/>
                  </a:cubicBezTo>
                  <a:cubicBezTo>
                    <a:pt x="217" y="71"/>
                    <a:pt x="217" y="71"/>
                    <a:pt x="217" y="71"/>
                  </a:cubicBezTo>
                  <a:cubicBezTo>
                    <a:pt x="217" y="71"/>
                    <a:pt x="217" y="71"/>
                    <a:pt x="217" y="71"/>
                  </a:cubicBezTo>
                  <a:cubicBezTo>
                    <a:pt x="209" y="69"/>
                    <a:pt x="209" y="69"/>
                    <a:pt x="209" y="69"/>
                  </a:cubicBezTo>
                  <a:cubicBezTo>
                    <a:pt x="208" y="70"/>
                    <a:pt x="208" y="70"/>
                    <a:pt x="208" y="70"/>
                  </a:cubicBezTo>
                  <a:cubicBezTo>
                    <a:pt x="206" y="72"/>
                    <a:pt x="206" y="72"/>
                    <a:pt x="206" y="72"/>
                  </a:cubicBezTo>
                  <a:cubicBezTo>
                    <a:pt x="199" y="72"/>
                    <a:pt x="199" y="72"/>
                    <a:pt x="199" y="72"/>
                  </a:cubicBezTo>
                  <a:cubicBezTo>
                    <a:pt x="198" y="64"/>
                    <a:pt x="198" y="64"/>
                    <a:pt x="198" y="64"/>
                  </a:cubicBezTo>
                  <a:cubicBezTo>
                    <a:pt x="196" y="61"/>
                    <a:pt x="196" y="61"/>
                    <a:pt x="196" y="61"/>
                  </a:cubicBezTo>
                  <a:cubicBezTo>
                    <a:pt x="193" y="60"/>
                    <a:pt x="193" y="60"/>
                    <a:pt x="193" y="60"/>
                  </a:cubicBezTo>
                  <a:cubicBezTo>
                    <a:pt x="184" y="58"/>
                    <a:pt x="184" y="58"/>
                    <a:pt x="184" y="58"/>
                  </a:cubicBezTo>
                  <a:cubicBezTo>
                    <a:pt x="179" y="52"/>
                    <a:pt x="179" y="52"/>
                    <a:pt x="179" y="52"/>
                  </a:cubicBezTo>
                  <a:cubicBezTo>
                    <a:pt x="179" y="50"/>
                    <a:pt x="179" y="50"/>
                    <a:pt x="179" y="50"/>
                  </a:cubicBezTo>
                  <a:cubicBezTo>
                    <a:pt x="179" y="50"/>
                    <a:pt x="177" y="50"/>
                    <a:pt x="177" y="50"/>
                  </a:cubicBezTo>
                  <a:cubicBezTo>
                    <a:pt x="175" y="49"/>
                    <a:pt x="174" y="48"/>
                    <a:pt x="174" y="48"/>
                  </a:cubicBezTo>
                  <a:cubicBezTo>
                    <a:pt x="173" y="46"/>
                    <a:pt x="174" y="45"/>
                    <a:pt x="174" y="44"/>
                  </a:cubicBezTo>
                  <a:cubicBezTo>
                    <a:pt x="174" y="43"/>
                    <a:pt x="174" y="43"/>
                    <a:pt x="174" y="43"/>
                  </a:cubicBezTo>
                  <a:cubicBezTo>
                    <a:pt x="173" y="43"/>
                    <a:pt x="173" y="43"/>
                    <a:pt x="173" y="43"/>
                  </a:cubicBezTo>
                  <a:cubicBezTo>
                    <a:pt x="168" y="40"/>
                    <a:pt x="168" y="40"/>
                    <a:pt x="168" y="40"/>
                  </a:cubicBezTo>
                  <a:cubicBezTo>
                    <a:pt x="162" y="38"/>
                    <a:pt x="162" y="38"/>
                    <a:pt x="162" y="38"/>
                  </a:cubicBezTo>
                  <a:cubicBezTo>
                    <a:pt x="164" y="29"/>
                    <a:pt x="164" y="29"/>
                    <a:pt x="164" y="29"/>
                  </a:cubicBezTo>
                  <a:cubicBezTo>
                    <a:pt x="165" y="24"/>
                    <a:pt x="165" y="24"/>
                    <a:pt x="165" y="24"/>
                  </a:cubicBezTo>
                  <a:cubicBezTo>
                    <a:pt x="163" y="22"/>
                    <a:pt x="163" y="22"/>
                    <a:pt x="163" y="22"/>
                  </a:cubicBezTo>
                  <a:cubicBezTo>
                    <a:pt x="159" y="19"/>
                    <a:pt x="159" y="19"/>
                    <a:pt x="159" y="19"/>
                  </a:cubicBezTo>
                  <a:cubicBezTo>
                    <a:pt x="158" y="15"/>
                    <a:pt x="158" y="15"/>
                    <a:pt x="158" y="15"/>
                  </a:cubicBezTo>
                  <a:cubicBezTo>
                    <a:pt x="158" y="6"/>
                    <a:pt x="158" y="6"/>
                    <a:pt x="158" y="6"/>
                  </a:cubicBezTo>
                  <a:cubicBezTo>
                    <a:pt x="158" y="6"/>
                    <a:pt x="158" y="6"/>
                    <a:pt x="158" y="6"/>
                  </a:cubicBezTo>
                  <a:cubicBezTo>
                    <a:pt x="155" y="8"/>
                    <a:pt x="155" y="8"/>
                    <a:pt x="155" y="8"/>
                  </a:cubicBezTo>
                  <a:cubicBezTo>
                    <a:pt x="154" y="6"/>
                    <a:pt x="154" y="6"/>
                    <a:pt x="154" y="6"/>
                  </a:cubicBezTo>
                  <a:cubicBezTo>
                    <a:pt x="152" y="6"/>
                    <a:pt x="152" y="6"/>
                    <a:pt x="152" y="6"/>
                  </a:cubicBezTo>
                  <a:cubicBezTo>
                    <a:pt x="146" y="2"/>
                    <a:pt x="146" y="2"/>
                    <a:pt x="146" y="2"/>
                  </a:cubicBezTo>
                  <a:cubicBezTo>
                    <a:pt x="141" y="0"/>
                    <a:pt x="141" y="0"/>
                    <a:pt x="141" y="0"/>
                  </a:cubicBezTo>
                  <a:cubicBezTo>
                    <a:pt x="140" y="1"/>
                    <a:pt x="138" y="2"/>
                    <a:pt x="136" y="2"/>
                  </a:cubicBezTo>
                  <a:cubicBezTo>
                    <a:pt x="135" y="2"/>
                    <a:pt x="135" y="3"/>
                    <a:pt x="135" y="3"/>
                  </a:cubicBezTo>
                  <a:cubicBezTo>
                    <a:pt x="134" y="3"/>
                    <a:pt x="133" y="4"/>
                    <a:pt x="132" y="4"/>
                  </a:cubicBezTo>
                  <a:cubicBezTo>
                    <a:pt x="132" y="4"/>
                    <a:pt x="131" y="5"/>
                    <a:pt x="131" y="6"/>
                  </a:cubicBezTo>
                  <a:cubicBezTo>
                    <a:pt x="130" y="9"/>
                    <a:pt x="126" y="11"/>
                    <a:pt x="124" y="11"/>
                  </a:cubicBezTo>
                  <a:cubicBezTo>
                    <a:pt x="124" y="11"/>
                    <a:pt x="124" y="11"/>
                    <a:pt x="124" y="11"/>
                  </a:cubicBezTo>
                  <a:cubicBezTo>
                    <a:pt x="122" y="11"/>
                    <a:pt x="120" y="9"/>
                    <a:pt x="119" y="7"/>
                  </a:cubicBezTo>
                  <a:cubicBezTo>
                    <a:pt x="119" y="7"/>
                    <a:pt x="119" y="7"/>
                    <a:pt x="119" y="7"/>
                  </a:cubicBezTo>
                  <a:cubicBezTo>
                    <a:pt x="119" y="7"/>
                    <a:pt x="119" y="7"/>
                    <a:pt x="119" y="7"/>
                  </a:cubicBezTo>
                  <a:cubicBezTo>
                    <a:pt x="118" y="1"/>
                    <a:pt x="118" y="1"/>
                    <a:pt x="118" y="1"/>
                  </a:cubicBezTo>
                  <a:cubicBezTo>
                    <a:pt x="114" y="1"/>
                    <a:pt x="114" y="1"/>
                    <a:pt x="114" y="1"/>
                  </a:cubicBezTo>
                  <a:cubicBezTo>
                    <a:pt x="110" y="3"/>
                    <a:pt x="110" y="3"/>
                    <a:pt x="110" y="3"/>
                  </a:cubicBezTo>
                  <a:cubicBezTo>
                    <a:pt x="108" y="5"/>
                    <a:pt x="108" y="5"/>
                    <a:pt x="108" y="5"/>
                  </a:cubicBezTo>
                  <a:cubicBezTo>
                    <a:pt x="102" y="4"/>
                    <a:pt x="102" y="4"/>
                    <a:pt x="102" y="4"/>
                  </a:cubicBezTo>
                  <a:cubicBezTo>
                    <a:pt x="100" y="1"/>
                    <a:pt x="100" y="1"/>
                    <a:pt x="100" y="1"/>
                  </a:cubicBezTo>
                  <a:cubicBezTo>
                    <a:pt x="99" y="1"/>
                    <a:pt x="99" y="1"/>
                    <a:pt x="99" y="1"/>
                  </a:cubicBezTo>
                  <a:cubicBezTo>
                    <a:pt x="97" y="2"/>
                    <a:pt x="97" y="2"/>
                    <a:pt x="97" y="2"/>
                  </a:cubicBezTo>
                  <a:cubicBezTo>
                    <a:pt x="96" y="3"/>
                    <a:pt x="95" y="4"/>
                    <a:pt x="94" y="4"/>
                  </a:cubicBezTo>
                  <a:cubicBezTo>
                    <a:pt x="94" y="4"/>
                    <a:pt x="94" y="4"/>
                    <a:pt x="94" y="4"/>
                  </a:cubicBezTo>
                  <a:cubicBezTo>
                    <a:pt x="93" y="4"/>
                    <a:pt x="93" y="4"/>
                    <a:pt x="93" y="4"/>
                  </a:cubicBezTo>
                  <a:cubicBezTo>
                    <a:pt x="93" y="4"/>
                    <a:pt x="92" y="4"/>
                    <a:pt x="92" y="4"/>
                  </a:cubicBezTo>
                  <a:cubicBezTo>
                    <a:pt x="92" y="4"/>
                    <a:pt x="91" y="4"/>
                    <a:pt x="91" y="4"/>
                  </a:cubicBezTo>
                  <a:cubicBezTo>
                    <a:pt x="91" y="4"/>
                    <a:pt x="91" y="4"/>
                    <a:pt x="91" y="4"/>
                  </a:cubicBezTo>
                  <a:cubicBezTo>
                    <a:pt x="90" y="4"/>
                    <a:pt x="89" y="3"/>
                    <a:pt x="87" y="1"/>
                  </a:cubicBezTo>
                  <a:cubicBezTo>
                    <a:pt x="86" y="1"/>
                    <a:pt x="86" y="1"/>
                    <a:pt x="86" y="1"/>
                  </a:cubicBezTo>
                  <a:cubicBezTo>
                    <a:pt x="86" y="0"/>
                    <a:pt x="86" y="0"/>
                    <a:pt x="86" y="0"/>
                  </a:cubicBezTo>
                  <a:cubicBezTo>
                    <a:pt x="84" y="2"/>
                    <a:pt x="84" y="2"/>
                    <a:pt x="84" y="2"/>
                  </a:cubicBezTo>
                  <a:cubicBezTo>
                    <a:pt x="83" y="7"/>
                    <a:pt x="83" y="7"/>
                    <a:pt x="83" y="7"/>
                  </a:cubicBezTo>
                  <a:cubicBezTo>
                    <a:pt x="79" y="11"/>
                    <a:pt x="79" y="11"/>
                    <a:pt x="79" y="11"/>
                  </a:cubicBezTo>
                  <a:cubicBezTo>
                    <a:pt x="80" y="15"/>
                    <a:pt x="80" y="15"/>
                    <a:pt x="80" y="15"/>
                  </a:cubicBezTo>
                  <a:cubicBezTo>
                    <a:pt x="79" y="17"/>
                    <a:pt x="79" y="17"/>
                    <a:pt x="79" y="17"/>
                  </a:cubicBezTo>
                  <a:cubicBezTo>
                    <a:pt x="73" y="17"/>
                    <a:pt x="73" y="17"/>
                    <a:pt x="73" y="17"/>
                  </a:cubicBezTo>
                  <a:cubicBezTo>
                    <a:pt x="73" y="17"/>
                    <a:pt x="72" y="18"/>
                    <a:pt x="69" y="18"/>
                  </a:cubicBezTo>
                  <a:cubicBezTo>
                    <a:pt x="65" y="17"/>
                    <a:pt x="66" y="18"/>
                    <a:pt x="66" y="18"/>
                  </a:cubicBezTo>
                  <a:cubicBezTo>
                    <a:pt x="64" y="20"/>
                    <a:pt x="64" y="20"/>
                    <a:pt x="64" y="20"/>
                  </a:cubicBezTo>
                  <a:cubicBezTo>
                    <a:pt x="63" y="25"/>
                    <a:pt x="63" y="25"/>
                    <a:pt x="63" y="25"/>
                  </a:cubicBezTo>
                  <a:cubicBezTo>
                    <a:pt x="63" y="25"/>
                    <a:pt x="61" y="25"/>
                    <a:pt x="59" y="26"/>
                  </a:cubicBezTo>
                  <a:cubicBezTo>
                    <a:pt x="56" y="27"/>
                    <a:pt x="57" y="28"/>
                    <a:pt x="57" y="28"/>
                  </a:cubicBezTo>
                  <a:cubicBezTo>
                    <a:pt x="58" y="35"/>
                    <a:pt x="58" y="35"/>
                    <a:pt x="58" y="35"/>
                  </a:cubicBezTo>
                  <a:cubicBezTo>
                    <a:pt x="57" y="39"/>
                    <a:pt x="57" y="39"/>
                    <a:pt x="57" y="39"/>
                  </a:cubicBezTo>
                  <a:cubicBezTo>
                    <a:pt x="57" y="42"/>
                    <a:pt x="57" y="42"/>
                    <a:pt x="57" y="42"/>
                  </a:cubicBezTo>
                  <a:cubicBezTo>
                    <a:pt x="59" y="43"/>
                    <a:pt x="59" y="43"/>
                    <a:pt x="59" y="43"/>
                  </a:cubicBezTo>
                  <a:cubicBezTo>
                    <a:pt x="64" y="42"/>
                    <a:pt x="64" y="42"/>
                    <a:pt x="64" y="42"/>
                  </a:cubicBezTo>
                  <a:cubicBezTo>
                    <a:pt x="65" y="46"/>
                    <a:pt x="65" y="46"/>
                    <a:pt x="65" y="46"/>
                  </a:cubicBezTo>
                  <a:cubicBezTo>
                    <a:pt x="63" y="47"/>
                    <a:pt x="63" y="47"/>
                    <a:pt x="63" y="47"/>
                  </a:cubicBezTo>
                  <a:cubicBezTo>
                    <a:pt x="63" y="51"/>
                    <a:pt x="63" y="51"/>
                    <a:pt x="63" y="51"/>
                  </a:cubicBezTo>
                  <a:cubicBezTo>
                    <a:pt x="57" y="50"/>
                    <a:pt x="57" y="50"/>
                    <a:pt x="57" y="50"/>
                  </a:cubicBezTo>
                  <a:cubicBezTo>
                    <a:pt x="54" y="53"/>
                    <a:pt x="54" y="53"/>
                    <a:pt x="54" y="53"/>
                  </a:cubicBezTo>
                  <a:cubicBezTo>
                    <a:pt x="54" y="59"/>
                    <a:pt x="54" y="59"/>
                    <a:pt x="54" y="59"/>
                  </a:cubicBezTo>
                  <a:cubicBezTo>
                    <a:pt x="48" y="61"/>
                    <a:pt x="48" y="61"/>
                    <a:pt x="48" y="61"/>
                  </a:cubicBezTo>
                  <a:cubicBezTo>
                    <a:pt x="47" y="64"/>
                    <a:pt x="47" y="64"/>
                    <a:pt x="47" y="64"/>
                  </a:cubicBezTo>
                  <a:cubicBezTo>
                    <a:pt x="46" y="67"/>
                    <a:pt x="46" y="67"/>
                    <a:pt x="46" y="67"/>
                  </a:cubicBezTo>
                  <a:cubicBezTo>
                    <a:pt x="45" y="70"/>
                    <a:pt x="45" y="70"/>
                    <a:pt x="45" y="70"/>
                  </a:cubicBezTo>
                  <a:cubicBezTo>
                    <a:pt x="47" y="77"/>
                    <a:pt x="47" y="77"/>
                    <a:pt x="47" y="77"/>
                  </a:cubicBezTo>
                  <a:cubicBezTo>
                    <a:pt x="47" y="81"/>
                    <a:pt x="47" y="81"/>
                    <a:pt x="47" y="81"/>
                  </a:cubicBezTo>
                  <a:cubicBezTo>
                    <a:pt x="47" y="81"/>
                    <a:pt x="46" y="85"/>
                    <a:pt x="45" y="87"/>
                  </a:cubicBezTo>
                  <a:cubicBezTo>
                    <a:pt x="44" y="89"/>
                    <a:pt x="47" y="89"/>
                    <a:pt x="47" y="89"/>
                  </a:cubicBezTo>
                  <a:cubicBezTo>
                    <a:pt x="50" y="90"/>
                    <a:pt x="50" y="90"/>
                    <a:pt x="50" y="90"/>
                  </a:cubicBezTo>
                  <a:cubicBezTo>
                    <a:pt x="52" y="91"/>
                    <a:pt x="52" y="91"/>
                    <a:pt x="52" y="91"/>
                  </a:cubicBezTo>
                  <a:cubicBezTo>
                    <a:pt x="51" y="96"/>
                    <a:pt x="51" y="96"/>
                    <a:pt x="51" y="96"/>
                  </a:cubicBezTo>
                  <a:cubicBezTo>
                    <a:pt x="46" y="96"/>
                    <a:pt x="46" y="96"/>
                    <a:pt x="46" y="96"/>
                  </a:cubicBezTo>
                  <a:cubicBezTo>
                    <a:pt x="47" y="93"/>
                    <a:pt x="47" y="93"/>
                    <a:pt x="47" y="93"/>
                  </a:cubicBezTo>
                  <a:cubicBezTo>
                    <a:pt x="45" y="91"/>
                    <a:pt x="45" y="91"/>
                    <a:pt x="45" y="91"/>
                  </a:cubicBezTo>
                  <a:cubicBezTo>
                    <a:pt x="43" y="94"/>
                    <a:pt x="43" y="94"/>
                    <a:pt x="43" y="94"/>
                  </a:cubicBezTo>
                  <a:cubicBezTo>
                    <a:pt x="37" y="96"/>
                    <a:pt x="37" y="96"/>
                    <a:pt x="37" y="96"/>
                  </a:cubicBezTo>
                  <a:cubicBezTo>
                    <a:pt x="37" y="97"/>
                    <a:pt x="37" y="97"/>
                    <a:pt x="37" y="97"/>
                  </a:cubicBezTo>
                  <a:cubicBezTo>
                    <a:pt x="36" y="100"/>
                    <a:pt x="36" y="100"/>
                    <a:pt x="36" y="100"/>
                  </a:cubicBezTo>
                  <a:cubicBezTo>
                    <a:pt x="36" y="100"/>
                    <a:pt x="32" y="100"/>
                    <a:pt x="31" y="100"/>
                  </a:cubicBezTo>
                  <a:cubicBezTo>
                    <a:pt x="30" y="100"/>
                    <a:pt x="29" y="102"/>
                    <a:pt x="29" y="102"/>
                  </a:cubicBezTo>
                  <a:cubicBezTo>
                    <a:pt x="31" y="108"/>
                    <a:pt x="31" y="108"/>
                    <a:pt x="31" y="108"/>
                  </a:cubicBezTo>
                  <a:cubicBezTo>
                    <a:pt x="27" y="108"/>
                    <a:pt x="27" y="108"/>
                    <a:pt x="27" y="108"/>
                  </a:cubicBezTo>
                  <a:cubicBezTo>
                    <a:pt x="24" y="111"/>
                    <a:pt x="24" y="111"/>
                    <a:pt x="24" y="111"/>
                  </a:cubicBezTo>
                  <a:cubicBezTo>
                    <a:pt x="18" y="113"/>
                    <a:pt x="18" y="113"/>
                    <a:pt x="18" y="113"/>
                  </a:cubicBezTo>
                  <a:cubicBezTo>
                    <a:pt x="13" y="112"/>
                    <a:pt x="13" y="112"/>
                    <a:pt x="13" y="112"/>
                  </a:cubicBezTo>
                  <a:cubicBezTo>
                    <a:pt x="5" y="115"/>
                    <a:pt x="5" y="115"/>
                    <a:pt x="5" y="115"/>
                  </a:cubicBezTo>
                  <a:cubicBezTo>
                    <a:pt x="0" y="116"/>
                    <a:pt x="0" y="116"/>
                    <a:pt x="0" y="116"/>
                  </a:cubicBezTo>
                  <a:cubicBezTo>
                    <a:pt x="1" y="118"/>
                    <a:pt x="1" y="118"/>
                    <a:pt x="1" y="118"/>
                  </a:cubicBezTo>
                  <a:cubicBezTo>
                    <a:pt x="1" y="119"/>
                    <a:pt x="3" y="124"/>
                    <a:pt x="6" y="129"/>
                  </a:cubicBezTo>
                  <a:lnTo>
                    <a:pt x="11" y="138"/>
                  </a:lnTo>
                  <a:close/>
                </a:path>
              </a:pathLst>
            </a:custGeom>
            <a:solidFill>
              <a:srgbClr val="BFBFBF"/>
            </a:solid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320" name="Freeform 236"/>
            <p:cNvSpPr>
              <a:spLocks/>
            </p:cNvSpPr>
            <p:nvPr/>
          </p:nvSpPr>
          <p:spPr bwMode="auto">
            <a:xfrm>
              <a:off x="4936352" y="610286"/>
              <a:ext cx="38099" cy="38099"/>
            </a:xfrm>
            <a:custGeom>
              <a:avLst/>
              <a:gdLst>
                <a:gd name="T0" fmla="*/ 9 w 12"/>
                <a:gd name="T1" fmla="*/ 0 h 12"/>
                <a:gd name="T2" fmla="*/ 5 w 12"/>
                <a:gd name="T3" fmla="*/ 2 h 12"/>
                <a:gd name="T4" fmla="*/ 5 w 12"/>
                <a:gd name="T5" fmla="*/ 4 h 12"/>
                <a:gd name="T6" fmla="*/ 2 w 12"/>
                <a:gd name="T7" fmla="*/ 7 h 12"/>
                <a:gd name="T8" fmla="*/ 1 w 12"/>
                <a:gd name="T9" fmla="*/ 10 h 12"/>
                <a:gd name="T10" fmla="*/ 4 w 12"/>
                <a:gd name="T11" fmla="*/ 12 h 12"/>
                <a:gd name="T12" fmla="*/ 7 w 12"/>
                <a:gd name="T13" fmla="*/ 12 h 12"/>
                <a:gd name="T14" fmla="*/ 8 w 12"/>
                <a:gd name="T15" fmla="*/ 8 h 12"/>
                <a:gd name="T16" fmla="*/ 11 w 12"/>
                <a:gd name="T17" fmla="*/ 4 h 12"/>
                <a:gd name="T18" fmla="*/ 11 w 12"/>
                <a:gd name="T19" fmla="*/ 2 h 12"/>
                <a:gd name="T20" fmla="*/ 9 w 12"/>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12">
                  <a:moveTo>
                    <a:pt x="9" y="0"/>
                  </a:moveTo>
                  <a:cubicBezTo>
                    <a:pt x="7" y="0"/>
                    <a:pt x="6" y="1"/>
                    <a:pt x="5" y="2"/>
                  </a:cubicBezTo>
                  <a:cubicBezTo>
                    <a:pt x="4" y="2"/>
                    <a:pt x="5" y="4"/>
                    <a:pt x="5" y="4"/>
                  </a:cubicBezTo>
                  <a:cubicBezTo>
                    <a:pt x="5" y="5"/>
                    <a:pt x="3" y="6"/>
                    <a:pt x="2" y="7"/>
                  </a:cubicBezTo>
                  <a:cubicBezTo>
                    <a:pt x="0" y="8"/>
                    <a:pt x="1" y="10"/>
                    <a:pt x="1" y="10"/>
                  </a:cubicBezTo>
                  <a:cubicBezTo>
                    <a:pt x="4" y="12"/>
                    <a:pt x="4" y="12"/>
                    <a:pt x="4" y="12"/>
                  </a:cubicBezTo>
                  <a:cubicBezTo>
                    <a:pt x="4" y="12"/>
                    <a:pt x="6" y="12"/>
                    <a:pt x="7" y="12"/>
                  </a:cubicBezTo>
                  <a:cubicBezTo>
                    <a:pt x="7" y="12"/>
                    <a:pt x="7" y="10"/>
                    <a:pt x="8" y="8"/>
                  </a:cubicBezTo>
                  <a:cubicBezTo>
                    <a:pt x="8" y="6"/>
                    <a:pt x="10" y="5"/>
                    <a:pt x="11" y="4"/>
                  </a:cubicBezTo>
                  <a:cubicBezTo>
                    <a:pt x="12" y="4"/>
                    <a:pt x="11" y="4"/>
                    <a:pt x="11" y="2"/>
                  </a:cubicBezTo>
                  <a:cubicBezTo>
                    <a:pt x="11" y="1"/>
                    <a:pt x="11" y="0"/>
                    <a:pt x="9" y="0"/>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321" name="Freeform 237"/>
            <p:cNvSpPr>
              <a:spLocks/>
            </p:cNvSpPr>
            <p:nvPr/>
          </p:nvSpPr>
          <p:spPr bwMode="auto">
            <a:xfrm>
              <a:off x="4890314" y="584886"/>
              <a:ext cx="87314" cy="53974"/>
            </a:xfrm>
            <a:custGeom>
              <a:avLst/>
              <a:gdLst>
                <a:gd name="T0" fmla="*/ 4 w 27"/>
                <a:gd name="T1" fmla="*/ 16 h 17"/>
                <a:gd name="T2" fmla="*/ 7 w 27"/>
                <a:gd name="T3" fmla="*/ 16 h 17"/>
                <a:gd name="T4" fmla="*/ 15 w 27"/>
                <a:gd name="T5" fmla="*/ 13 h 17"/>
                <a:gd name="T6" fmla="*/ 16 w 27"/>
                <a:gd name="T7" fmla="*/ 10 h 17"/>
                <a:gd name="T8" fmla="*/ 21 w 27"/>
                <a:gd name="T9" fmla="*/ 5 h 17"/>
                <a:gd name="T10" fmla="*/ 24 w 27"/>
                <a:gd name="T11" fmla="*/ 2 h 17"/>
                <a:gd name="T12" fmla="*/ 21 w 27"/>
                <a:gd name="T13" fmla="*/ 2 h 17"/>
                <a:gd name="T14" fmla="*/ 19 w 27"/>
                <a:gd name="T15" fmla="*/ 0 h 17"/>
                <a:gd name="T16" fmla="*/ 13 w 27"/>
                <a:gd name="T17" fmla="*/ 1 h 17"/>
                <a:gd name="T18" fmla="*/ 10 w 27"/>
                <a:gd name="T19" fmla="*/ 5 h 17"/>
                <a:gd name="T20" fmla="*/ 2 w 27"/>
                <a:gd name="T21" fmla="*/ 9 h 17"/>
                <a:gd name="T22" fmla="*/ 2 w 27"/>
                <a:gd name="T23" fmla="*/ 12 h 17"/>
                <a:gd name="T24" fmla="*/ 4 w 27"/>
                <a:gd name="T25"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17">
                  <a:moveTo>
                    <a:pt x="4" y="16"/>
                  </a:moveTo>
                  <a:cubicBezTo>
                    <a:pt x="4" y="17"/>
                    <a:pt x="6" y="16"/>
                    <a:pt x="7" y="16"/>
                  </a:cubicBezTo>
                  <a:cubicBezTo>
                    <a:pt x="9" y="16"/>
                    <a:pt x="14" y="13"/>
                    <a:pt x="15" y="13"/>
                  </a:cubicBezTo>
                  <a:cubicBezTo>
                    <a:pt x="16" y="12"/>
                    <a:pt x="15" y="11"/>
                    <a:pt x="16" y="10"/>
                  </a:cubicBezTo>
                  <a:cubicBezTo>
                    <a:pt x="16" y="8"/>
                    <a:pt x="20" y="5"/>
                    <a:pt x="21" y="5"/>
                  </a:cubicBezTo>
                  <a:cubicBezTo>
                    <a:pt x="21" y="4"/>
                    <a:pt x="22" y="4"/>
                    <a:pt x="24" y="2"/>
                  </a:cubicBezTo>
                  <a:cubicBezTo>
                    <a:pt x="27" y="0"/>
                    <a:pt x="23" y="2"/>
                    <a:pt x="21" y="2"/>
                  </a:cubicBezTo>
                  <a:cubicBezTo>
                    <a:pt x="19" y="1"/>
                    <a:pt x="19" y="0"/>
                    <a:pt x="19" y="0"/>
                  </a:cubicBezTo>
                  <a:cubicBezTo>
                    <a:pt x="19" y="0"/>
                    <a:pt x="14" y="0"/>
                    <a:pt x="13" y="1"/>
                  </a:cubicBezTo>
                  <a:cubicBezTo>
                    <a:pt x="12" y="1"/>
                    <a:pt x="10" y="5"/>
                    <a:pt x="10" y="5"/>
                  </a:cubicBezTo>
                  <a:cubicBezTo>
                    <a:pt x="10" y="5"/>
                    <a:pt x="4" y="8"/>
                    <a:pt x="2" y="9"/>
                  </a:cubicBezTo>
                  <a:cubicBezTo>
                    <a:pt x="0" y="10"/>
                    <a:pt x="2" y="12"/>
                    <a:pt x="2" y="12"/>
                  </a:cubicBezTo>
                  <a:cubicBezTo>
                    <a:pt x="2" y="13"/>
                    <a:pt x="3" y="15"/>
                    <a:pt x="4" y="16"/>
                  </a:cubicBezTo>
                  <a:close/>
                </a:path>
              </a:pathLst>
            </a:custGeom>
            <a:grp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sp>
          <p:nvSpPr>
            <p:cNvPr id="322" name="Freeform 238"/>
            <p:cNvSpPr>
              <a:spLocks/>
            </p:cNvSpPr>
            <p:nvPr/>
          </p:nvSpPr>
          <p:spPr bwMode="auto">
            <a:xfrm>
              <a:off x="3967977" y="489636"/>
              <a:ext cx="1365249" cy="1946271"/>
            </a:xfrm>
            <a:custGeom>
              <a:avLst/>
              <a:gdLst>
                <a:gd name="T0" fmla="*/ 413 w 429"/>
                <a:gd name="T1" fmla="*/ 45 h 611"/>
                <a:gd name="T2" fmla="*/ 410 w 429"/>
                <a:gd name="T3" fmla="*/ 10 h 611"/>
                <a:gd name="T4" fmla="*/ 367 w 429"/>
                <a:gd name="T5" fmla="*/ 4 h 611"/>
                <a:gd name="T6" fmla="*/ 357 w 429"/>
                <a:gd name="T7" fmla="*/ 18 h 611"/>
                <a:gd name="T8" fmla="*/ 336 w 429"/>
                <a:gd name="T9" fmla="*/ 41 h 611"/>
                <a:gd name="T10" fmla="*/ 333 w 429"/>
                <a:gd name="T11" fmla="*/ 15 h 611"/>
                <a:gd name="T12" fmla="*/ 326 w 429"/>
                <a:gd name="T13" fmla="*/ 32 h 611"/>
                <a:gd name="T14" fmla="*/ 303 w 429"/>
                <a:gd name="T15" fmla="*/ 51 h 611"/>
                <a:gd name="T16" fmla="*/ 291 w 429"/>
                <a:gd name="T17" fmla="*/ 61 h 611"/>
                <a:gd name="T18" fmla="*/ 282 w 429"/>
                <a:gd name="T19" fmla="*/ 71 h 611"/>
                <a:gd name="T20" fmla="*/ 264 w 429"/>
                <a:gd name="T21" fmla="*/ 78 h 611"/>
                <a:gd name="T22" fmla="*/ 250 w 429"/>
                <a:gd name="T23" fmla="*/ 83 h 611"/>
                <a:gd name="T24" fmla="*/ 223 w 429"/>
                <a:gd name="T25" fmla="*/ 115 h 611"/>
                <a:gd name="T26" fmla="*/ 221 w 429"/>
                <a:gd name="T27" fmla="*/ 133 h 611"/>
                <a:gd name="T28" fmla="*/ 189 w 429"/>
                <a:gd name="T29" fmla="*/ 146 h 611"/>
                <a:gd name="T30" fmla="*/ 161 w 429"/>
                <a:gd name="T31" fmla="*/ 179 h 611"/>
                <a:gd name="T32" fmla="*/ 206 w 429"/>
                <a:gd name="T33" fmla="*/ 171 h 611"/>
                <a:gd name="T34" fmla="*/ 194 w 429"/>
                <a:gd name="T35" fmla="*/ 180 h 611"/>
                <a:gd name="T36" fmla="*/ 192 w 429"/>
                <a:gd name="T37" fmla="*/ 196 h 611"/>
                <a:gd name="T38" fmla="*/ 177 w 429"/>
                <a:gd name="T39" fmla="*/ 221 h 611"/>
                <a:gd name="T40" fmla="*/ 179 w 429"/>
                <a:gd name="T41" fmla="*/ 253 h 611"/>
                <a:gd name="T42" fmla="*/ 159 w 429"/>
                <a:gd name="T43" fmla="*/ 284 h 611"/>
                <a:gd name="T44" fmla="*/ 138 w 429"/>
                <a:gd name="T45" fmla="*/ 306 h 611"/>
                <a:gd name="T46" fmla="*/ 143 w 429"/>
                <a:gd name="T47" fmla="*/ 322 h 611"/>
                <a:gd name="T48" fmla="*/ 117 w 429"/>
                <a:gd name="T49" fmla="*/ 351 h 611"/>
                <a:gd name="T50" fmla="*/ 126 w 429"/>
                <a:gd name="T51" fmla="*/ 368 h 611"/>
                <a:gd name="T52" fmla="*/ 91 w 429"/>
                <a:gd name="T53" fmla="*/ 365 h 611"/>
                <a:gd name="T54" fmla="*/ 77 w 429"/>
                <a:gd name="T55" fmla="*/ 388 h 611"/>
                <a:gd name="T56" fmla="*/ 59 w 429"/>
                <a:gd name="T57" fmla="*/ 404 h 611"/>
                <a:gd name="T58" fmla="*/ 29 w 429"/>
                <a:gd name="T59" fmla="*/ 419 h 611"/>
                <a:gd name="T60" fmla="*/ 16 w 429"/>
                <a:gd name="T61" fmla="*/ 428 h 611"/>
                <a:gd name="T62" fmla="*/ 12 w 429"/>
                <a:gd name="T63" fmla="*/ 443 h 611"/>
                <a:gd name="T64" fmla="*/ 13 w 429"/>
                <a:gd name="T65" fmla="*/ 469 h 611"/>
                <a:gd name="T66" fmla="*/ 2 w 429"/>
                <a:gd name="T67" fmla="*/ 507 h 611"/>
                <a:gd name="T68" fmla="*/ 6 w 429"/>
                <a:gd name="T69" fmla="*/ 528 h 611"/>
                <a:gd name="T70" fmla="*/ 11 w 429"/>
                <a:gd name="T71" fmla="*/ 555 h 611"/>
                <a:gd name="T72" fmla="*/ 11 w 429"/>
                <a:gd name="T73" fmla="*/ 574 h 611"/>
                <a:gd name="T74" fmla="*/ 32 w 429"/>
                <a:gd name="T75" fmla="*/ 606 h 611"/>
                <a:gd name="T76" fmla="*/ 77 w 429"/>
                <a:gd name="T77" fmla="*/ 601 h 611"/>
                <a:gd name="T78" fmla="*/ 128 w 429"/>
                <a:gd name="T79" fmla="*/ 557 h 611"/>
                <a:gd name="T80" fmla="*/ 148 w 429"/>
                <a:gd name="T81" fmla="*/ 570 h 611"/>
                <a:gd name="T82" fmla="*/ 151 w 429"/>
                <a:gd name="T83" fmla="*/ 532 h 611"/>
                <a:gd name="T84" fmla="*/ 165 w 429"/>
                <a:gd name="T85" fmla="*/ 515 h 611"/>
                <a:gd name="T86" fmla="*/ 167 w 429"/>
                <a:gd name="T87" fmla="*/ 473 h 611"/>
                <a:gd name="T88" fmla="*/ 151 w 429"/>
                <a:gd name="T89" fmla="*/ 405 h 611"/>
                <a:gd name="T90" fmla="*/ 154 w 429"/>
                <a:gd name="T91" fmla="*/ 359 h 611"/>
                <a:gd name="T92" fmla="*/ 191 w 429"/>
                <a:gd name="T93" fmla="*/ 291 h 611"/>
                <a:gd name="T94" fmla="*/ 205 w 429"/>
                <a:gd name="T95" fmla="*/ 235 h 611"/>
                <a:gd name="T96" fmla="*/ 220 w 429"/>
                <a:gd name="T97" fmla="*/ 183 h 611"/>
                <a:gd name="T98" fmla="*/ 243 w 429"/>
                <a:gd name="T99" fmla="*/ 138 h 611"/>
                <a:gd name="T100" fmla="*/ 271 w 429"/>
                <a:gd name="T101" fmla="*/ 136 h 611"/>
                <a:gd name="T102" fmla="*/ 283 w 429"/>
                <a:gd name="T103" fmla="*/ 109 h 611"/>
                <a:gd name="T104" fmla="*/ 325 w 429"/>
                <a:gd name="T105" fmla="*/ 122 h 611"/>
                <a:gd name="T106" fmla="*/ 349 w 429"/>
                <a:gd name="T107" fmla="*/ 112 h 611"/>
                <a:gd name="T108" fmla="*/ 357 w 429"/>
                <a:gd name="T109" fmla="*/ 64 h 611"/>
                <a:gd name="T110" fmla="*/ 386 w 429"/>
                <a:gd name="T111" fmla="*/ 49 h 611"/>
                <a:gd name="T112" fmla="*/ 408 w 429"/>
                <a:gd name="T113" fmla="*/ 69 h 611"/>
                <a:gd name="T114" fmla="*/ 420 w 429"/>
                <a:gd name="T115" fmla="*/ 63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29" h="611">
                  <a:moveTo>
                    <a:pt x="429" y="54"/>
                  </a:moveTo>
                  <a:cubicBezTo>
                    <a:pt x="429" y="53"/>
                    <a:pt x="428" y="52"/>
                    <a:pt x="428" y="51"/>
                  </a:cubicBezTo>
                  <a:cubicBezTo>
                    <a:pt x="428" y="50"/>
                    <a:pt x="427" y="49"/>
                    <a:pt x="427" y="48"/>
                  </a:cubicBezTo>
                  <a:cubicBezTo>
                    <a:pt x="426" y="47"/>
                    <a:pt x="426" y="47"/>
                    <a:pt x="426" y="47"/>
                  </a:cubicBezTo>
                  <a:cubicBezTo>
                    <a:pt x="427" y="46"/>
                    <a:pt x="427" y="46"/>
                    <a:pt x="427" y="46"/>
                  </a:cubicBezTo>
                  <a:cubicBezTo>
                    <a:pt x="427" y="46"/>
                    <a:pt x="427" y="45"/>
                    <a:pt x="428" y="45"/>
                  </a:cubicBezTo>
                  <a:cubicBezTo>
                    <a:pt x="427" y="44"/>
                    <a:pt x="427" y="44"/>
                    <a:pt x="426" y="44"/>
                  </a:cubicBezTo>
                  <a:cubicBezTo>
                    <a:pt x="424" y="45"/>
                    <a:pt x="420" y="50"/>
                    <a:pt x="420" y="50"/>
                  </a:cubicBezTo>
                  <a:cubicBezTo>
                    <a:pt x="419" y="42"/>
                    <a:pt x="419" y="42"/>
                    <a:pt x="419" y="42"/>
                  </a:cubicBezTo>
                  <a:cubicBezTo>
                    <a:pt x="413" y="45"/>
                    <a:pt x="413" y="45"/>
                    <a:pt x="413" y="45"/>
                  </a:cubicBezTo>
                  <a:cubicBezTo>
                    <a:pt x="406" y="43"/>
                    <a:pt x="406" y="43"/>
                    <a:pt x="406" y="43"/>
                  </a:cubicBezTo>
                  <a:cubicBezTo>
                    <a:pt x="406" y="43"/>
                    <a:pt x="404" y="40"/>
                    <a:pt x="402" y="41"/>
                  </a:cubicBezTo>
                  <a:cubicBezTo>
                    <a:pt x="399" y="41"/>
                    <a:pt x="395" y="41"/>
                    <a:pt x="395" y="41"/>
                  </a:cubicBezTo>
                  <a:cubicBezTo>
                    <a:pt x="395" y="41"/>
                    <a:pt x="391" y="38"/>
                    <a:pt x="394" y="38"/>
                  </a:cubicBezTo>
                  <a:cubicBezTo>
                    <a:pt x="396" y="38"/>
                    <a:pt x="401" y="38"/>
                    <a:pt x="403" y="38"/>
                  </a:cubicBezTo>
                  <a:cubicBezTo>
                    <a:pt x="405" y="38"/>
                    <a:pt x="417" y="34"/>
                    <a:pt x="417" y="34"/>
                  </a:cubicBezTo>
                  <a:cubicBezTo>
                    <a:pt x="418" y="29"/>
                    <a:pt x="418" y="29"/>
                    <a:pt x="418" y="29"/>
                  </a:cubicBezTo>
                  <a:cubicBezTo>
                    <a:pt x="424" y="24"/>
                    <a:pt x="424" y="24"/>
                    <a:pt x="424" y="24"/>
                  </a:cubicBezTo>
                  <a:cubicBezTo>
                    <a:pt x="414" y="17"/>
                    <a:pt x="414" y="17"/>
                    <a:pt x="414" y="17"/>
                  </a:cubicBezTo>
                  <a:cubicBezTo>
                    <a:pt x="410" y="10"/>
                    <a:pt x="410" y="10"/>
                    <a:pt x="410" y="10"/>
                  </a:cubicBezTo>
                  <a:cubicBezTo>
                    <a:pt x="410" y="10"/>
                    <a:pt x="410" y="8"/>
                    <a:pt x="407" y="8"/>
                  </a:cubicBezTo>
                  <a:cubicBezTo>
                    <a:pt x="405" y="8"/>
                    <a:pt x="399" y="11"/>
                    <a:pt x="399" y="11"/>
                  </a:cubicBezTo>
                  <a:cubicBezTo>
                    <a:pt x="394" y="8"/>
                    <a:pt x="394" y="8"/>
                    <a:pt x="394" y="8"/>
                  </a:cubicBezTo>
                  <a:cubicBezTo>
                    <a:pt x="387" y="9"/>
                    <a:pt x="387" y="9"/>
                    <a:pt x="387" y="9"/>
                  </a:cubicBezTo>
                  <a:cubicBezTo>
                    <a:pt x="377" y="6"/>
                    <a:pt x="377" y="6"/>
                    <a:pt x="377" y="6"/>
                  </a:cubicBezTo>
                  <a:cubicBezTo>
                    <a:pt x="376" y="8"/>
                    <a:pt x="376" y="8"/>
                    <a:pt x="376" y="8"/>
                  </a:cubicBezTo>
                  <a:cubicBezTo>
                    <a:pt x="376" y="8"/>
                    <a:pt x="373" y="7"/>
                    <a:pt x="373" y="5"/>
                  </a:cubicBezTo>
                  <a:cubicBezTo>
                    <a:pt x="373" y="4"/>
                    <a:pt x="373" y="2"/>
                    <a:pt x="373" y="2"/>
                  </a:cubicBezTo>
                  <a:cubicBezTo>
                    <a:pt x="369" y="3"/>
                    <a:pt x="369" y="3"/>
                    <a:pt x="369" y="3"/>
                  </a:cubicBezTo>
                  <a:cubicBezTo>
                    <a:pt x="367" y="4"/>
                    <a:pt x="367" y="4"/>
                    <a:pt x="367" y="4"/>
                  </a:cubicBezTo>
                  <a:cubicBezTo>
                    <a:pt x="362" y="0"/>
                    <a:pt x="362" y="0"/>
                    <a:pt x="362" y="0"/>
                  </a:cubicBezTo>
                  <a:cubicBezTo>
                    <a:pt x="360" y="6"/>
                    <a:pt x="360" y="6"/>
                    <a:pt x="360" y="6"/>
                  </a:cubicBezTo>
                  <a:cubicBezTo>
                    <a:pt x="363" y="11"/>
                    <a:pt x="363" y="11"/>
                    <a:pt x="363" y="11"/>
                  </a:cubicBezTo>
                  <a:cubicBezTo>
                    <a:pt x="360" y="17"/>
                    <a:pt x="360" y="17"/>
                    <a:pt x="360" y="17"/>
                  </a:cubicBezTo>
                  <a:cubicBezTo>
                    <a:pt x="362" y="22"/>
                    <a:pt x="362" y="22"/>
                    <a:pt x="362" y="22"/>
                  </a:cubicBezTo>
                  <a:cubicBezTo>
                    <a:pt x="362" y="28"/>
                    <a:pt x="362" y="28"/>
                    <a:pt x="362" y="28"/>
                  </a:cubicBezTo>
                  <a:cubicBezTo>
                    <a:pt x="359" y="34"/>
                    <a:pt x="359" y="34"/>
                    <a:pt x="359" y="34"/>
                  </a:cubicBezTo>
                  <a:cubicBezTo>
                    <a:pt x="354" y="30"/>
                    <a:pt x="354" y="30"/>
                    <a:pt x="354" y="30"/>
                  </a:cubicBezTo>
                  <a:cubicBezTo>
                    <a:pt x="355" y="24"/>
                    <a:pt x="355" y="24"/>
                    <a:pt x="355" y="24"/>
                  </a:cubicBezTo>
                  <a:cubicBezTo>
                    <a:pt x="357" y="18"/>
                    <a:pt x="357" y="18"/>
                    <a:pt x="357" y="18"/>
                  </a:cubicBezTo>
                  <a:cubicBezTo>
                    <a:pt x="354" y="11"/>
                    <a:pt x="354" y="11"/>
                    <a:pt x="354" y="11"/>
                  </a:cubicBezTo>
                  <a:cubicBezTo>
                    <a:pt x="347" y="17"/>
                    <a:pt x="347" y="17"/>
                    <a:pt x="347" y="17"/>
                  </a:cubicBezTo>
                  <a:cubicBezTo>
                    <a:pt x="348" y="25"/>
                    <a:pt x="348" y="25"/>
                    <a:pt x="348" y="25"/>
                  </a:cubicBezTo>
                  <a:cubicBezTo>
                    <a:pt x="345" y="30"/>
                    <a:pt x="345" y="30"/>
                    <a:pt x="345" y="30"/>
                  </a:cubicBezTo>
                  <a:cubicBezTo>
                    <a:pt x="345" y="37"/>
                    <a:pt x="345" y="37"/>
                    <a:pt x="345" y="37"/>
                  </a:cubicBezTo>
                  <a:cubicBezTo>
                    <a:pt x="343" y="43"/>
                    <a:pt x="343" y="43"/>
                    <a:pt x="343" y="43"/>
                  </a:cubicBezTo>
                  <a:cubicBezTo>
                    <a:pt x="342" y="51"/>
                    <a:pt x="342" y="51"/>
                    <a:pt x="342" y="51"/>
                  </a:cubicBezTo>
                  <a:cubicBezTo>
                    <a:pt x="342" y="51"/>
                    <a:pt x="342" y="52"/>
                    <a:pt x="340" y="52"/>
                  </a:cubicBezTo>
                  <a:cubicBezTo>
                    <a:pt x="339" y="53"/>
                    <a:pt x="336" y="52"/>
                    <a:pt x="336" y="52"/>
                  </a:cubicBezTo>
                  <a:cubicBezTo>
                    <a:pt x="336" y="41"/>
                    <a:pt x="336" y="41"/>
                    <a:pt x="336" y="41"/>
                  </a:cubicBezTo>
                  <a:cubicBezTo>
                    <a:pt x="337" y="35"/>
                    <a:pt x="337" y="35"/>
                    <a:pt x="337" y="35"/>
                  </a:cubicBezTo>
                  <a:cubicBezTo>
                    <a:pt x="339" y="30"/>
                    <a:pt x="339" y="30"/>
                    <a:pt x="339" y="30"/>
                  </a:cubicBezTo>
                  <a:cubicBezTo>
                    <a:pt x="343" y="24"/>
                    <a:pt x="343" y="24"/>
                    <a:pt x="343" y="24"/>
                  </a:cubicBezTo>
                  <a:cubicBezTo>
                    <a:pt x="343" y="24"/>
                    <a:pt x="343" y="20"/>
                    <a:pt x="342" y="20"/>
                  </a:cubicBezTo>
                  <a:cubicBezTo>
                    <a:pt x="342" y="19"/>
                    <a:pt x="341" y="18"/>
                    <a:pt x="341" y="18"/>
                  </a:cubicBezTo>
                  <a:cubicBezTo>
                    <a:pt x="341" y="18"/>
                    <a:pt x="345" y="15"/>
                    <a:pt x="345" y="15"/>
                  </a:cubicBezTo>
                  <a:cubicBezTo>
                    <a:pt x="345" y="15"/>
                    <a:pt x="344" y="12"/>
                    <a:pt x="342" y="11"/>
                  </a:cubicBezTo>
                  <a:cubicBezTo>
                    <a:pt x="340" y="9"/>
                    <a:pt x="339" y="8"/>
                    <a:pt x="338" y="9"/>
                  </a:cubicBezTo>
                  <a:cubicBezTo>
                    <a:pt x="336" y="10"/>
                    <a:pt x="332" y="11"/>
                    <a:pt x="332" y="12"/>
                  </a:cubicBezTo>
                  <a:cubicBezTo>
                    <a:pt x="332" y="12"/>
                    <a:pt x="332" y="14"/>
                    <a:pt x="333" y="15"/>
                  </a:cubicBezTo>
                  <a:cubicBezTo>
                    <a:pt x="334" y="16"/>
                    <a:pt x="335" y="16"/>
                    <a:pt x="335" y="16"/>
                  </a:cubicBezTo>
                  <a:cubicBezTo>
                    <a:pt x="335" y="17"/>
                    <a:pt x="336" y="19"/>
                    <a:pt x="335" y="20"/>
                  </a:cubicBezTo>
                  <a:cubicBezTo>
                    <a:pt x="335" y="21"/>
                    <a:pt x="335" y="23"/>
                    <a:pt x="333" y="22"/>
                  </a:cubicBezTo>
                  <a:cubicBezTo>
                    <a:pt x="331" y="21"/>
                    <a:pt x="327" y="19"/>
                    <a:pt x="326" y="19"/>
                  </a:cubicBezTo>
                  <a:cubicBezTo>
                    <a:pt x="326" y="18"/>
                    <a:pt x="326" y="15"/>
                    <a:pt x="325" y="18"/>
                  </a:cubicBezTo>
                  <a:cubicBezTo>
                    <a:pt x="323" y="21"/>
                    <a:pt x="323" y="22"/>
                    <a:pt x="323" y="23"/>
                  </a:cubicBezTo>
                  <a:cubicBezTo>
                    <a:pt x="324" y="25"/>
                    <a:pt x="325" y="25"/>
                    <a:pt x="325" y="25"/>
                  </a:cubicBezTo>
                  <a:cubicBezTo>
                    <a:pt x="325" y="26"/>
                    <a:pt x="322" y="27"/>
                    <a:pt x="322" y="27"/>
                  </a:cubicBezTo>
                  <a:cubicBezTo>
                    <a:pt x="322" y="28"/>
                    <a:pt x="321" y="29"/>
                    <a:pt x="323" y="30"/>
                  </a:cubicBezTo>
                  <a:cubicBezTo>
                    <a:pt x="324" y="31"/>
                    <a:pt x="326" y="32"/>
                    <a:pt x="326" y="32"/>
                  </a:cubicBezTo>
                  <a:cubicBezTo>
                    <a:pt x="326" y="32"/>
                    <a:pt x="327" y="35"/>
                    <a:pt x="327" y="35"/>
                  </a:cubicBezTo>
                  <a:cubicBezTo>
                    <a:pt x="327" y="35"/>
                    <a:pt x="322" y="34"/>
                    <a:pt x="322" y="35"/>
                  </a:cubicBezTo>
                  <a:cubicBezTo>
                    <a:pt x="322" y="36"/>
                    <a:pt x="322" y="38"/>
                    <a:pt x="322" y="39"/>
                  </a:cubicBezTo>
                  <a:cubicBezTo>
                    <a:pt x="322" y="39"/>
                    <a:pt x="322" y="41"/>
                    <a:pt x="322" y="41"/>
                  </a:cubicBezTo>
                  <a:cubicBezTo>
                    <a:pt x="322" y="42"/>
                    <a:pt x="318" y="42"/>
                    <a:pt x="317" y="43"/>
                  </a:cubicBezTo>
                  <a:cubicBezTo>
                    <a:pt x="316" y="43"/>
                    <a:pt x="316" y="46"/>
                    <a:pt x="315" y="48"/>
                  </a:cubicBezTo>
                  <a:cubicBezTo>
                    <a:pt x="315" y="49"/>
                    <a:pt x="315" y="50"/>
                    <a:pt x="314" y="51"/>
                  </a:cubicBezTo>
                  <a:cubicBezTo>
                    <a:pt x="314" y="52"/>
                    <a:pt x="313" y="54"/>
                    <a:pt x="313" y="54"/>
                  </a:cubicBezTo>
                  <a:cubicBezTo>
                    <a:pt x="313" y="54"/>
                    <a:pt x="313" y="54"/>
                    <a:pt x="311" y="54"/>
                  </a:cubicBezTo>
                  <a:cubicBezTo>
                    <a:pt x="310" y="54"/>
                    <a:pt x="305" y="50"/>
                    <a:pt x="303" y="51"/>
                  </a:cubicBezTo>
                  <a:cubicBezTo>
                    <a:pt x="302" y="51"/>
                    <a:pt x="300" y="52"/>
                    <a:pt x="300" y="53"/>
                  </a:cubicBezTo>
                  <a:cubicBezTo>
                    <a:pt x="300" y="54"/>
                    <a:pt x="303" y="56"/>
                    <a:pt x="303" y="56"/>
                  </a:cubicBezTo>
                  <a:cubicBezTo>
                    <a:pt x="304" y="56"/>
                    <a:pt x="308" y="57"/>
                    <a:pt x="308" y="58"/>
                  </a:cubicBezTo>
                  <a:cubicBezTo>
                    <a:pt x="308" y="59"/>
                    <a:pt x="308" y="64"/>
                    <a:pt x="308" y="64"/>
                  </a:cubicBezTo>
                  <a:cubicBezTo>
                    <a:pt x="308" y="64"/>
                    <a:pt x="312" y="71"/>
                    <a:pt x="306" y="65"/>
                  </a:cubicBezTo>
                  <a:cubicBezTo>
                    <a:pt x="300" y="59"/>
                    <a:pt x="300" y="58"/>
                    <a:pt x="299" y="58"/>
                  </a:cubicBezTo>
                  <a:cubicBezTo>
                    <a:pt x="298" y="58"/>
                    <a:pt x="292" y="56"/>
                    <a:pt x="292" y="56"/>
                  </a:cubicBezTo>
                  <a:cubicBezTo>
                    <a:pt x="292" y="56"/>
                    <a:pt x="291" y="54"/>
                    <a:pt x="291" y="56"/>
                  </a:cubicBezTo>
                  <a:cubicBezTo>
                    <a:pt x="290" y="58"/>
                    <a:pt x="292" y="61"/>
                    <a:pt x="292" y="61"/>
                  </a:cubicBezTo>
                  <a:cubicBezTo>
                    <a:pt x="291" y="61"/>
                    <a:pt x="291" y="61"/>
                    <a:pt x="291" y="61"/>
                  </a:cubicBezTo>
                  <a:cubicBezTo>
                    <a:pt x="291" y="61"/>
                    <a:pt x="289" y="59"/>
                    <a:pt x="288" y="58"/>
                  </a:cubicBezTo>
                  <a:cubicBezTo>
                    <a:pt x="287" y="57"/>
                    <a:pt x="284" y="58"/>
                    <a:pt x="284" y="58"/>
                  </a:cubicBezTo>
                  <a:cubicBezTo>
                    <a:pt x="284" y="58"/>
                    <a:pt x="283" y="60"/>
                    <a:pt x="282" y="61"/>
                  </a:cubicBezTo>
                  <a:cubicBezTo>
                    <a:pt x="281" y="62"/>
                    <a:pt x="278" y="59"/>
                    <a:pt x="281" y="62"/>
                  </a:cubicBezTo>
                  <a:cubicBezTo>
                    <a:pt x="283" y="66"/>
                    <a:pt x="285" y="66"/>
                    <a:pt x="286" y="67"/>
                  </a:cubicBezTo>
                  <a:cubicBezTo>
                    <a:pt x="287" y="68"/>
                    <a:pt x="290" y="68"/>
                    <a:pt x="291" y="69"/>
                  </a:cubicBezTo>
                  <a:cubicBezTo>
                    <a:pt x="291" y="70"/>
                    <a:pt x="292" y="73"/>
                    <a:pt x="292" y="73"/>
                  </a:cubicBezTo>
                  <a:cubicBezTo>
                    <a:pt x="292" y="73"/>
                    <a:pt x="294" y="76"/>
                    <a:pt x="290" y="73"/>
                  </a:cubicBezTo>
                  <a:cubicBezTo>
                    <a:pt x="286" y="71"/>
                    <a:pt x="285" y="70"/>
                    <a:pt x="284" y="70"/>
                  </a:cubicBezTo>
                  <a:cubicBezTo>
                    <a:pt x="283" y="70"/>
                    <a:pt x="282" y="71"/>
                    <a:pt x="282" y="71"/>
                  </a:cubicBezTo>
                  <a:cubicBezTo>
                    <a:pt x="282" y="71"/>
                    <a:pt x="277" y="70"/>
                    <a:pt x="277" y="68"/>
                  </a:cubicBezTo>
                  <a:cubicBezTo>
                    <a:pt x="276" y="66"/>
                    <a:pt x="278" y="62"/>
                    <a:pt x="274" y="62"/>
                  </a:cubicBezTo>
                  <a:cubicBezTo>
                    <a:pt x="271" y="63"/>
                    <a:pt x="269" y="64"/>
                    <a:pt x="269" y="65"/>
                  </a:cubicBezTo>
                  <a:cubicBezTo>
                    <a:pt x="269" y="66"/>
                    <a:pt x="267" y="66"/>
                    <a:pt x="270" y="69"/>
                  </a:cubicBezTo>
                  <a:cubicBezTo>
                    <a:pt x="272" y="72"/>
                    <a:pt x="274" y="73"/>
                    <a:pt x="274" y="73"/>
                  </a:cubicBezTo>
                  <a:cubicBezTo>
                    <a:pt x="275" y="73"/>
                    <a:pt x="279" y="73"/>
                    <a:pt x="277" y="74"/>
                  </a:cubicBezTo>
                  <a:cubicBezTo>
                    <a:pt x="275" y="76"/>
                    <a:pt x="272" y="76"/>
                    <a:pt x="271" y="76"/>
                  </a:cubicBezTo>
                  <a:cubicBezTo>
                    <a:pt x="271" y="76"/>
                    <a:pt x="272" y="75"/>
                    <a:pt x="270" y="75"/>
                  </a:cubicBezTo>
                  <a:cubicBezTo>
                    <a:pt x="269" y="76"/>
                    <a:pt x="265" y="80"/>
                    <a:pt x="265" y="80"/>
                  </a:cubicBezTo>
                  <a:cubicBezTo>
                    <a:pt x="265" y="80"/>
                    <a:pt x="264" y="79"/>
                    <a:pt x="264" y="78"/>
                  </a:cubicBezTo>
                  <a:cubicBezTo>
                    <a:pt x="264" y="77"/>
                    <a:pt x="267" y="76"/>
                    <a:pt x="267" y="74"/>
                  </a:cubicBezTo>
                  <a:cubicBezTo>
                    <a:pt x="268" y="72"/>
                    <a:pt x="265" y="67"/>
                    <a:pt x="265" y="67"/>
                  </a:cubicBezTo>
                  <a:cubicBezTo>
                    <a:pt x="265" y="67"/>
                    <a:pt x="263" y="65"/>
                    <a:pt x="262" y="65"/>
                  </a:cubicBezTo>
                  <a:cubicBezTo>
                    <a:pt x="261" y="64"/>
                    <a:pt x="259" y="63"/>
                    <a:pt x="258" y="63"/>
                  </a:cubicBezTo>
                  <a:cubicBezTo>
                    <a:pt x="257" y="64"/>
                    <a:pt x="256" y="67"/>
                    <a:pt x="258" y="68"/>
                  </a:cubicBezTo>
                  <a:cubicBezTo>
                    <a:pt x="259" y="70"/>
                    <a:pt x="261" y="72"/>
                    <a:pt x="260" y="73"/>
                  </a:cubicBezTo>
                  <a:cubicBezTo>
                    <a:pt x="259" y="73"/>
                    <a:pt x="258" y="74"/>
                    <a:pt x="257" y="73"/>
                  </a:cubicBezTo>
                  <a:cubicBezTo>
                    <a:pt x="256" y="73"/>
                    <a:pt x="254" y="71"/>
                    <a:pt x="252" y="72"/>
                  </a:cubicBezTo>
                  <a:cubicBezTo>
                    <a:pt x="250" y="73"/>
                    <a:pt x="247" y="78"/>
                    <a:pt x="247" y="78"/>
                  </a:cubicBezTo>
                  <a:cubicBezTo>
                    <a:pt x="247" y="78"/>
                    <a:pt x="250" y="83"/>
                    <a:pt x="250" y="83"/>
                  </a:cubicBezTo>
                  <a:cubicBezTo>
                    <a:pt x="251" y="84"/>
                    <a:pt x="252" y="85"/>
                    <a:pt x="252" y="87"/>
                  </a:cubicBezTo>
                  <a:cubicBezTo>
                    <a:pt x="251" y="88"/>
                    <a:pt x="252" y="86"/>
                    <a:pt x="250" y="87"/>
                  </a:cubicBezTo>
                  <a:cubicBezTo>
                    <a:pt x="248" y="88"/>
                    <a:pt x="247" y="88"/>
                    <a:pt x="246" y="89"/>
                  </a:cubicBezTo>
                  <a:cubicBezTo>
                    <a:pt x="244" y="89"/>
                    <a:pt x="240" y="93"/>
                    <a:pt x="240" y="93"/>
                  </a:cubicBezTo>
                  <a:cubicBezTo>
                    <a:pt x="242" y="96"/>
                    <a:pt x="242" y="96"/>
                    <a:pt x="242" y="96"/>
                  </a:cubicBezTo>
                  <a:cubicBezTo>
                    <a:pt x="242" y="96"/>
                    <a:pt x="236" y="99"/>
                    <a:pt x="235" y="99"/>
                  </a:cubicBezTo>
                  <a:cubicBezTo>
                    <a:pt x="233" y="100"/>
                    <a:pt x="237" y="99"/>
                    <a:pt x="233" y="100"/>
                  </a:cubicBezTo>
                  <a:cubicBezTo>
                    <a:pt x="229" y="101"/>
                    <a:pt x="227" y="105"/>
                    <a:pt x="227" y="106"/>
                  </a:cubicBezTo>
                  <a:cubicBezTo>
                    <a:pt x="226" y="107"/>
                    <a:pt x="223" y="107"/>
                    <a:pt x="223" y="109"/>
                  </a:cubicBezTo>
                  <a:cubicBezTo>
                    <a:pt x="223" y="111"/>
                    <a:pt x="224" y="114"/>
                    <a:pt x="223" y="115"/>
                  </a:cubicBezTo>
                  <a:cubicBezTo>
                    <a:pt x="223" y="116"/>
                    <a:pt x="223" y="116"/>
                    <a:pt x="223" y="117"/>
                  </a:cubicBezTo>
                  <a:cubicBezTo>
                    <a:pt x="223" y="119"/>
                    <a:pt x="222" y="120"/>
                    <a:pt x="225" y="120"/>
                  </a:cubicBezTo>
                  <a:cubicBezTo>
                    <a:pt x="227" y="120"/>
                    <a:pt x="230" y="119"/>
                    <a:pt x="231" y="118"/>
                  </a:cubicBezTo>
                  <a:cubicBezTo>
                    <a:pt x="231" y="117"/>
                    <a:pt x="232" y="114"/>
                    <a:pt x="233" y="115"/>
                  </a:cubicBezTo>
                  <a:cubicBezTo>
                    <a:pt x="234" y="117"/>
                    <a:pt x="234" y="120"/>
                    <a:pt x="234" y="120"/>
                  </a:cubicBezTo>
                  <a:cubicBezTo>
                    <a:pt x="234" y="120"/>
                    <a:pt x="234" y="123"/>
                    <a:pt x="234" y="124"/>
                  </a:cubicBezTo>
                  <a:cubicBezTo>
                    <a:pt x="234" y="125"/>
                    <a:pt x="239" y="123"/>
                    <a:pt x="233" y="126"/>
                  </a:cubicBezTo>
                  <a:cubicBezTo>
                    <a:pt x="228" y="129"/>
                    <a:pt x="226" y="129"/>
                    <a:pt x="226" y="130"/>
                  </a:cubicBezTo>
                  <a:cubicBezTo>
                    <a:pt x="226" y="131"/>
                    <a:pt x="229" y="136"/>
                    <a:pt x="225" y="134"/>
                  </a:cubicBezTo>
                  <a:cubicBezTo>
                    <a:pt x="221" y="133"/>
                    <a:pt x="222" y="134"/>
                    <a:pt x="221" y="133"/>
                  </a:cubicBezTo>
                  <a:cubicBezTo>
                    <a:pt x="220" y="132"/>
                    <a:pt x="222" y="138"/>
                    <a:pt x="217" y="130"/>
                  </a:cubicBezTo>
                  <a:cubicBezTo>
                    <a:pt x="213" y="123"/>
                    <a:pt x="213" y="124"/>
                    <a:pt x="212" y="122"/>
                  </a:cubicBezTo>
                  <a:cubicBezTo>
                    <a:pt x="212" y="121"/>
                    <a:pt x="212" y="115"/>
                    <a:pt x="212" y="115"/>
                  </a:cubicBezTo>
                  <a:cubicBezTo>
                    <a:pt x="212" y="115"/>
                    <a:pt x="211" y="109"/>
                    <a:pt x="208" y="112"/>
                  </a:cubicBezTo>
                  <a:cubicBezTo>
                    <a:pt x="206" y="114"/>
                    <a:pt x="205" y="118"/>
                    <a:pt x="205" y="118"/>
                  </a:cubicBezTo>
                  <a:cubicBezTo>
                    <a:pt x="205" y="118"/>
                    <a:pt x="201" y="122"/>
                    <a:pt x="201" y="123"/>
                  </a:cubicBezTo>
                  <a:cubicBezTo>
                    <a:pt x="200" y="123"/>
                    <a:pt x="198" y="123"/>
                    <a:pt x="196" y="125"/>
                  </a:cubicBezTo>
                  <a:cubicBezTo>
                    <a:pt x="194" y="127"/>
                    <a:pt x="189" y="135"/>
                    <a:pt x="189" y="135"/>
                  </a:cubicBezTo>
                  <a:cubicBezTo>
                    <a:pt x="189" y="135"/>
                    <a:pt x="185" y="141"/>
                    <a:pt x="186" y="142"/>
                  </a:cubicBezTo>
                  <a:cubicBezTo>
                    <a:pt x="187" y="144"/>
                    <a:pt x="189" y="146"/>
                    <a:pt x="189" y="146"/>
                  </a:cubicBezTo>
                  <a:cubicBezTo>
                    <a:pt x="189" y="146"/>
                    <a:pt x="190" y="145"/>
                    <a:pt x="190" y="148"/>
                  </a:cubicBezTo>
                  <a:cubicBezTo>
                    <a:pt x="190" y="150"/>
                    <a:pt x="194" y="151"/>
                    <a:pt x="194" y="151"/>
                  </a:cubicBezTo>
                  <a:cubicBezTo>
                    <a:pt x="194" y="151"/>
                    <a:pt x="196" y="152"/>
                    <a:pt x="194" y="153"/>
                  </a:cubicBezTo>
                  <a:cubicBezTo>
                    <a:pt x="192" y="155"/>
                    <a:pt x="185" y="156"/>
                    <a:pt x="185" y="156"/>
                  </a:cubicBezTo>
                  <a:cubicBezTo>
                    <a:pt x="179" y="156"/>
                    <a:pt x="179" y="156"/>
                    <a:pt x="179" y="156"/>
                  </a:cubicBezTo>
                  <a:cubicBezTo>
                    <a:pt x="179" y="156"/>
                    <a:pt x="176" y="160"/>
                    <a:pt x="175" y="160"/>
                  </a:cubicBezTo>
                  <a:cubicBezTo>
                    <a:pt x="173" y="161"/>
                    <a:pt x="171" y="163"/>
                    <a:pt x="170" y="164"/>
                  </a:cubicBezTo>
                  <a:cubicBezTo>
                    <a:pt x="170" y="166"/>
                    <a:pt x="162" y="172"/>
                    <a:pt x="162" y="172"/>
                  </a:cubicBezTo>
                  <a:cubicBezTo>
                    <a:pt x="162" y="172"/>
                    <a:pt x="163" y="175"/>
                    <a:pt x="163" y="176"/>
                  </a:cubicBezTo>
                  <a:cubicBezTo>
                    <a:pt x="163" y="177"/>
                    <a:pt x="159" y="179"/>
                    <a:pt x="161" y="179"/>
                  </a:cubicBezTo>
                  <a:cubicBezTo>
                    <a:pt x="163" y="180"/>
                    <a:pt x="165" y="181"/>
                    <a:pt x="167" y="178"/>
                  </a:cubicBezTo>
                  <a:cubicBezTo>
                    <a:pt x="168" y="175"/>
                    <a:pt x="169" y="171"/>
                    <a:pt x="169" y="171"/>
                  </a:cubicBezTo>
                  <a:cubicBezTo>
                    <a:pt x="169" y="171"/>
                    <a:pt x="170" y="169"/>
                    <a:pt x="172" y="169"/>
                  </a:cubicBezTo>
                  <a:cubicBezTo>
                    <a:pt x="174" y="169"/>
                    <a:pt x="177" y="167"/>
                    <a:pt x="179" y="167"/>
                  </a:cubicBezTo>
                  <a:cubicBezTo>
                    <a:pt x="181" y="166"/>
                    <a:pt x="184" y="162"/>
                    <a:pt x="185" y="162"/>
                  </a:cubicBezTo>
                  <a:cubicBezTo>
                    <a:pt x="186" y="162"/>
                    <a:pt x="186" y="163"/>
                    <a:pt x="189" y="163"/>
                  </a:cubicBezTo>
                  <a:cubicBezTo>
                    <a:pt x="193" y="162"/>
                    <a:pt x="196" y="162"/>
                    <a:pt x="197" y="161"/>
                  </a:cubicBezTo>
                  <a:cubicBezTo>
                    <a:pt x="198" y="160"/>
                    <a:pt x="205" y="164"/>
                    <a:pt x="205" y="165"/>
                  </a:cubicBezTo>
                  <a:cubicBezTo>
                    <a:pt x="206" y="166"/>
                    <a:pt x="199" y="167"/>
                    <a:pt x="202" y="169"/>
                  </a:cubicBezTo>
                  <a:cubicBezTo>
                    <a:pt x="205" y="170"/>
                    <a:pt x="205" y="171"/>
                    <a:pt x="206" y="171"/>
                  </a:cubicBezTo>
                  <a:cubicBezTo>
                    <a:pt x="207" y="171"/>
                    <a:pt x="208" y="171"/>
                    <a:pt x="211" y="169"/>
                  </a:cubicBezTo>
                  <a:cubicBezTo>
                    <a:pt x="213" y="168"/>
                    <a:pt x="209" y="165"/>
                    <a:pt x="214" y="167"/>
                  </a:cubicBezTo>
                  <a:cubicBezTo>
                    <a:pt x="219" y="169"/>
                    <a:pt x="218" y="170"/>
                    <a:pt x="218" y="170"/>
                  </a:cubicBezTo>
                  <a:cubicBezTo>
                    <a:pt x="218" y="172"/>
                    <a:pt x="218" y="172"/>
                    <a:pt x="218" y="172"/>
                  </a:cubicBezTo>
                  <a:cubicBezTo>
                    <a:pt x="214" y="173"/>
                    <a:pt x="214" y="173"/>
                    <a:pt x="214" y="173"/>
                  </a:cubicBezTo>
                  <a:cubicBezTo>
                    <a:pt x="209" y="172"/>
                    <a:pt x="209" y="172"/>
                    <a:pt x="209" y="172"/>
                  </a:cubicBezTo>
                  <a:cubicBezTo>
                    <a:pt x="206" y="173"/>
                    <a:pt x="206" y="173"/>
                    <a:pt x="206" y="173"/>
                  </a:cubicBezTo>
                  <a:cubicBezTo>
                    <a:pt x="206" y="173"/>
                    <a:pt x="205" y="174"/>
                    <a:pt x="205" y="174"/>
                  </a:cubicBezTo>
                  <a:cubicBezTo>
                    <a:pt x="204" y="174"/>
                    <a:pt x="197" y="175"/>
                    <a:pt x="197" y="175"/>
                  </a:cubicBezTo>
                  <a:cubicBezTo>
                    <a:pt x="194" y="180"/>
                    <a:pt x="194" y="180"/>
                    <a:pt x="194" y="180"/>
                  </a:cubicBezTo>
                  <a:cubicBezTo>
                    <a:pt x="194" y="180"/>
                    <a:pt x="196" y="184"/>
                    <a:pt x="197" y="183"/>
                  </a:cubicBezTo>
                  <a:cubicBezTo>
                    <a:pt x="198" y="183"/>
                    <a:pt x="202" y="182"/>
                    <a:pt x="202" y="182"/>
                  </a:cubicBezTo>
                  <a:cubicBezTo>
                    <a:pt x="203" y="182"/>
                    <a:pt x="204" y="184"/>
                    <a:pt x="203" y="185"/>
                  </a:cubicBezTo>
                  <a:cubicBezTo>
                    <a:pt x="203" y="186"/>
                    <a:pt x="200" y="188"/>
                    <a:pt x="200" y="188"/>
                  </a:cubicBezTo>
                  <a:cubicBezTo>
                    <a:pt x="198" y="191"/>
                    <a:pt x="198" y="191"/>
                    <a:pt x="198" y="191"/>
                  </a:cubicBezTo>
                  <a:cubicBezTo>
                    <a:pt x="198" y="191"/>
                    <a:pt x="201" y="192"/>
                    <a:pt x="202" y="192"/>
                  </a:cubicBezTo>
                  <a:cubicBezTo>
                    <a:pt x="202" y="192"/>
                    <a:pt x="207" y="192"/>
                    <a:pt x="206" y="193"/>
                  </a:cubicBezTo>
                  <a:cubicBezTo>
                    <a:pt x="206" y="193"/>
                    <a:pt x="199" y="194"/>
                    <a:pt x="199" y="194"/>
                  </a:cubicBezTo>
                  <a:cubicBezTo>
                    <a:pt x="199" y="194"/>
                    <a:pt x="193" y="193"/>
                    <a:pt x="193" y="193"/>
                  </a:cubicBezTo>
                  <a:cubicBezTo>
                    <a:pt x="193" y="194"/>
                    <a:pt x="192" y="195"/>
                    <a:pt x="192" y="196"/>
                  </a:cubicBezTo>
                  <a:cubicBezTo>
                    <a:pt x="192" y="196"/>
                    <a:pt x="191" y="198"/>
                    <a:pt x="191" y="198"/>
                  </a:cubicBezTo>
                  <a:cubicBezTo>
                    <a:pt x="190" y="198"/>
                    <a:pt x="188" y="199"/>
                    <a:pt x="188" y="199"/>
                  </a:cubicBezTo>
                  <a:cubicBezTo>
                    <a:pt x="188" y="200"/>
                    <a:pt x="187" y="202"/>
                    <a:pt x="187" y="203"/>
                  </a:cubicBezTo>
                  <a:cubicBezTo>
                    <a:pt x="187" y="204"/>
                    <a:pt x="190" y="206"/>
                    <a:pt x="190" y="206"/>
                  </a:cubicBezTo>
                  <a:cubicBezTo>
                    <a:pt x="189" y="208"/>
                    <a:pt x="189" y="208"/>
                    <a:pt x="189" y="208"/>
                  </a:cubicBezTo>
                  <a:cubicBezTo>
                    <a:pt x="186" y="211"/>
                    <a:pt x="186" y="211"/>
                    <a:pt x="186" y="211"/>
                  </a:cubicBezTo>
                  <a:cubicBezTo>
                    <a:pt x="186" y="211"/>
                    <a:pt x="184" y="212"/>
                    <a:pt x="184" y="213"/>
                  </a:cubicBezTo>
                  <a:cubicBezTo>
                    <a:pt x="184" y="213"/>
                    <a:pt x="181" y="215"/>
                    <a:pt x="181" y="215"/>
                  </a:cubicBezTo>
                  <a:cubicBezTo>
                    <a:pt x="175" y="218"/>
                    <a:pt x="175" y="218"/>
                    <a:pt x="175" y="218"/>
                  </a:cubicBezTo>
                  <a:cubicBezTo>
                    <a:pt x="175" y="218"/>
                    <a:pt x="176" y="220"/>
                    <a:pt x="177" y="221"/>
                  </a:cubicBezTo>
                  <a:cubicBezTo>
                    <a:pt x="177" y="221"/>
                    <a:pt x="179" y="223"/>
                    <a:pt x="177" y="224"/>
                  </a:cubicBezTo>
                  <a:cubicBezTo>
                    <a:pt x="176" y="225"/>
                    <a:pt x="174" y="226"/>
                    <a:pt x="173" y="226"/>
                  </a:cubicBezTo>
                  <a:cubicBezTo>
                    <a:pt x="173" y="227"/>
                    <a:pt x="171" y="228"/>
                    <a:pt x="172" y="229"/>
                  </a:cubicBezTo>
                  <a:cubicBezTo>
                    <a:pt x="172" y="231"/>
                    <a:pt x="170" y="233"/>
                    <a:pt x="170" y="234"/>
                  </a:cubicBezTo>
                  <a:cubicBezTo>
                    <a:pt x="170" y="234"/>
                    <a:pt x="168" y="235"/>
                    <a:pt x="169" y="237"/>
                  </a:cubicBezTo>
                  <a:cubicBezTo>
                    <a:pt x="169" y="239"/>
                    <a:pt x="168" y="244"/>
                    <a:pt x="168" y="244"/>
                  </a:cubicBezTo>
                  <a:cubicBezTo>
                    <a:pt x="168" y="244"/>
                    <a:pt x="171" y="248"/>
                    <a:pt x="171" y="248"/>
                  </a:cubicBezTo>
                  <a:cubicBezTo>
                    <a:pt x="172" y="248"/>
                    <a:pt x="175" y="246"/>
                    <a:pt x="177" y="246"/>
                  </a:cubicBezTo>
                  <a:cubicBezTo>
                    <a:pt x="178" y="247"/>
                    <a:pt x="180" y="248"/>
                    <a:pt x="180" y="248"/>
                  </a:cubicBezTo>
                  <a:cubicBezTo>
                    <a:pt x="180" y="248"/>
                    <a:pt x="180" y="252"/>
                    <a:pt x="179" y="253"/>
                  </a:cubicBezTo>
                  <a:cubicBezTo>
                    <a:pt x="178" y="253"/>
                    <a:pt x="173" y="254"/>
                    <a:pt x="173" y="254"/>
                  </a:cubicBezTo>
                  <a:cubicBezTo>
                    <a:pt x="173" y="254"/>
                    <a:pt x="171" y="252"/>
                    <a:pt x="170" y="253"/>
                  </a:cubicBezTo>
                  <a:cubicBezTo>
                    <a:pt x="169" y="253"/>
                    <a:pt x="165" y="257"/>
                    <a:pt x="165" y="257"/>
                  </a:cubicBezTo>
                  <a:cubicBezTo>
                    <a:pt x="165" y="257"/>
                    <a:pt x="165" y="259"/>
                    <a:pt x="164" y="260"/>
                  </a:cubicBezTo>
                  <a:cubicBezTo>
                    <a:pt x="163" y="260"/>
                    <a:pt x="162" y="259"/>
                    <a:pt x="162" y="260"/>
                  </a:cubicBezTo>
                  <a:cubicBezTo>
                    <a:pt x="162" y="261"/>
                    <a:pt x="162" y="264"/>
                    <a:pt x="162" y="265"/>
                  </a:cubicBezTo>
                  <a:cubicBezTo>
                    <a:pt x="162" y="266"/>
                    <a:pt x="162" y="268"/>
                    <a:pt x="162" y="268"/>
                  </a:cubicBezTo>
                  <a:cubicBezTo>
                    <a:pt x="162" y="268"/>
                    <a:pt x="160" y="271"/>
                    <a:pt x="159" y="273"/>
                  </a:cubicBezTo>
                  <a:cubicBezTo>
                    <a:pt x="159" y="275"/>
                    <a:pt x="157" y="279"/>
                    <a:pt x="157" y="279"/>
                  </a:cubicBezTo>
                  <a:cubicBezTo>
                    <a:pt x="158" y="280"/>
                    <a:pt x="159" y="284"/>
                    <a:pt x="159" y="284"/>
                  </a:cubicBezTo>
                  <a:cubicBezTo>
                    <a:pt x="154" y="287"/>
                    <a:pt x="154" y="287"/>
                    <a:pt x="154" y="287"/>
                  </a:cubicBezTo>
                  <a:cubicBezTo>
                    <a:pt x="155" y="291"/>
                    <a:pt x="155" y="291"/>
                    <a:pt x="155" y="291"/>
                  </a:cubicBezTo>
                  <a:cubicBezTo>
                    <a:pt x="155" y="291"/>
                    <a:pt x="156" y="292"/>
                    <a:pt x="156" y="293"/>
                  </a:cubicBezTo>
                  <a:cubicBezTo>
                    <a:pt x="156" y="294"/>
                    <a:pt x="153" y="296"/>
                    <a:pt x="153" y="296"/>
                  </a:cubicBezTo>
                  <a:cubicBezTo>
                    <a:pt x="153" y="296"/>
                    <a:pt x="153" y="300"/>
                    <a:pt x="152" y="301"/>
                  </a:cubicBezTo>
                  <a:cubicBezTo>
                    <a:pt x="152" y="302"/>
                    <a:pt x="148" y="299"/>
                    <a:pt x="148" y="299"/>
                  </a:cubicBezTo>
                  <a:cubicBezTo>
                    <a:pt x="145" y="300"/>
                    <a:pt x="145" y="300"/>
                    <a:pt x="145" y="300"/>
                  </a:cubicBezTo>
                  <a:cubicBezTo>
                    <a:pt x="145" y="303"/>
                    <a:pt x="145" y="303"/>
                    <a:pt x="145" y="303"/>
                  </a:cubicBezTo>
                  <a:cubicBezTo>
                    <a:pt x="143" y="306"/>
                    <a:pt x="143" y="306"/>
                    <a:pt x="143" y="306"/>
                  </a:cubicBezTo>
                  <a:cubicBezTo>
                    <a:pt x="138" y="306"/>
                    <a:pt x="138" y="306"/>
                    <a:pt x="138" y="306"/>
                  </a:cubicBezTo>
                  <a:cubicBezTo>
                    <a:pt x="138" y="306"/>
                    <a:pt x="133" y="309"/>
                    <a:pt x="133" y="310"/>
                  </a:cubicBezTo>
                  <a:cubicBezTo>
                    <a:pt x="133" y="310"/>
                    <a:pt x="132" y="312"/>
                    <a:pt x="133" y="312"/>
                  </a:cubicBezTo>
                  <a:cubicBezTo>
                    <a:pt x="135" y="313"/>
                    <a:pt x="136" y="313"/>
                    <a:pt x="137" y="312"/>
                  </a:cubicBezTo>
                  <a:cubicBezTo>
                    <a:pt x="138" y="312"/>
                    <a:pt x="142" y="310"/>
                    <a:pt x="142" y="310"/>
                  </a:cubicBezTo>
                  <a:cubicBezTo>
                    <a:pt x="143" y="310"/>
                    <a:pt x="146" y="310"/>
                    <a:pt x="144" y="312"/>
                  </a:cubicBezTo>
                  <a:cubicBezTo>
                    <a:pt x="143" y="313"/>
                    <a:pt x="141" y="314"/>
                    <a:pt x="140" y="314"/>
                  </a:cubicBezTo>
                  <a:cubicBezTo>
                    <a:pt x="139" y="315"/>
                    <a:pt x="137" y="315"/>
                    <a:pt x="136" y="317"/>
                  </a:cubicBezTo>
                  <a:cubicBezTo>
                    <a:pt x="136" y="320"/>
                    <a:pt x="136" y="322"/>
                    <a:pt x="136" y="322"/>
                  </a:cubicBezTo>
                  <a:cubicBezTo>
                    <a:pt x="141" y="320"/>
                    <a:pt x="141" y="320"/>
                    <a:pt x="141" y="320"/>
                  </a:cubicBezTo>
                  <a:cubicBezTo>
                    <a:pt x="141" y="320"/>
                    <a:pt x="142" y="320"/>
                    <a:pt x="143" y="322"/>
                  </a:cubicBezTo>
                  <a:cubicBezTo>
                    <a:pt x="144" y="325"/>
                    <a:pt x="141" y="326"/>
                    <a:pt x="140" y="326"/>
                  </a:cubicBezTo>
                  <a:cubicBezTo>
                    <a:pt x="139" y="326"/>
                    <a:pt x="135" y="323"/>
                    <a:pt x="135" y="323"/>
                  </a:cubicBezTo>
                  <a:cubicBezTo>
                    <a:pt x="131" y="325"/>
                    <a:pt x="131" y="325"/>
                    <a:pt x="131" y="325"/>
                  </a:cubicBezTo>
                  <a:cubicBezTo>
                    <a:pt x="131" y="325"/>
                    <a:pt x="131" y="324"/>
                    <a:pt x="128" y="327"/>
                  </a:cubicBezTo>
                  <a:cubicBezTo>
                    <a:pt x="124" y="330"/>
                    <a:pt x="123" y="334"/>
                    <a:pt x="123" y="335"/>
                  </a:cubicBezTo>
                  <a:cubicBezTo>
                    <a:pt x="123" y="336"/>
                    <a:pt x="122" y="338"/>
                    <a:pt x="121" y="339"/>
                  </a:cubicBezTo>
                  <a:cubicBezTo>
                    <a:pt x="119" y="340"/>
                    <a:pt x="116" y="343"/>
                    <a:pt x="116" y="343"/>
                  </a:cubicBezTo>
                  <a:cubicBezTo>
                    <a:pt x="116" y="343"/>
                    <a:pt x="115" y="344"/>
                    <a:pt x="115" y="346"/>
                  </a:cubicBezTo>
                  <a:cubicBezTo>
                    <a:pt x="114" y="348"/>
                    <a:pt x="114" y="348"/>
                    <a:pt x="114" y="348"/>
                  </a:cubicBezTo>
                  <a:cubicBezTo>
                    <a:pt x="117" y="351"/>
                    <a:pt x="117" y="351"/>
                    <a:pt x="117" y="351"/>
                  </a:cubicBezTo>
                  <a:cubicBezTo>
                    <a:pt x="111" y="354"/>
                    <a:pt x="111" y="354"/>
                    <a:pt x="111" y="354"/>
                  </a:cubicBezTo>
                  <a:cubicBezTo>
                    <a:pt x="109" y="356"/>
                    <a:pt x="109" y="356"/>
                    <a:pt x="109" y="356"/>
                  </a:cubicBezTo>
                  <a:cubicBezTo>
                    <a:pt x="109" y="356"/>
                    <a:pt x="104" y="361"/>
                    <a:pt x="108" y="362"/>
                  </a:cubicBezTo>
                  <a:cubicBezTo>
                    <a:pt x="111" y="362"/>
                    <a:pt x="113" y="362"/>
                    <a:pt x="113" y="362"/>
                  </a:cubicBezTo>
                  <a:cubicBezTo>
                    <a:pt x="113" y="362"/>
                    <a:pt x="113" y="367"/>
                    <a:pt x="114" y="367"/>
                  </a:cubicBezTo>
                  <a:cubicBezTo>
                    <a:pt x="115" y="367"/>
                    <a:pt x="122" y="368"/>
                    <a:pt x="122" y="368"/>
                  </a:cubicBezTo>
                  <a:cubicBezTo>
                    <a:pt x="126" y="364"/>
                    <a:pt x="126" y="364"/>
                    <a:pt x="126" y="364"/>
                  </a:cubicBezTo>
                  <a:cubicBezTo>
                    <a:pt x="128" y="363"/>
                    <a:pt x="128" y="363"/>
                    <a:pt x="128" y="363"/>
                  </a:cubicBezTo>
                  <a:cubicBezTo>
                    <a:pt x="130" y="366"/>
                    <a:pt x="130" y="366"/>
                    <a:pt x="130" y="366"/>
                  </a:cubicBezTo>
                  <a:cubicBezTo>
                    <a:pt x="130" y="366"/>
                    <a:pt x="129" y="368"/>
                    <a:pt x="126" y="368"/>
                  </a:cubicBezTo>
                  <a:cubicBezTo>
                    <a:pt x="124" y="368"/>
                    <a:pt x="125" y="368"/>
                    <a:pt x="123" y="370"/>
                  </a:cubicBezTo>
                  <a:cubicBezTo>
                    <a:pt x="121" y="372"/>
                    <a:pt x="120" y="373"/>
                    <a:pt x="119" y="373"/>
                  </a:cubicBezTo>
                  <a:cubicBezTo>
                    <a:pt x="118" y="373"/>
                    <a:pt x="116" y="375"/>
                    <a:pt x="115" y="372"/>
                  </a:cubicBezTo>
                  <a:cubicBezTo>
                    <a:pt x="114" y="370"/>
                    <a:pt x="112" y="367"/>
                    <a:pt x="112" y="367"/>
                  </a:cubicBezTo>
                  <a:cubicBezTo>
                    <a:pt x="105" y="364"/>
                    <a:pt x="105" y="364"/>
                    <a:pt x="105" y="364"/>
                  </a:cubicBezTo>
                  <a:cubicBezTo>
                    <a:pt x="103" y="365"/>
                    <a:pt x="103" y="365"/>
                    <a:pt x="103" y="365"/>
                  </a:cubicBezTo>
                  <a:cubicBezTo>
                    <a:pt x="103" y="365"/>
                    <a:pt x="103" y="368"/>
                    <a:pt x="102" y="368"/>
                  </a:cubicBezTo>
                  <a:cubicBezTo>
                    <a:pt x="101" y="368"/>
                    <a:pt x="96" y="368"/>
                    <a:pt x="95" y="368"/>
                  </a:cubicBezTo>
                  <a:cubicBezTo>
                    <a:pt x="93" y="368"/>
                    <a:pt x="92" y="368"/>
                    <a:pt x="92" y="367"/>
                  </a:cubicBezTo>
                  <a:cubicBezTo>
                    <a:pt x="92" y="366"/>
                    <a:pt x="92" y="365"/>
                    <a:pt x="91" y="365"/>
                  </a:cubicBezTo>
                  <a:cubicBezTo>
                    <a:pt x="91" y="364"/>
                    <a:pt x="89" y="361"/>
                    <a:pt x="88" y="361"/>
                  </a:cubicBezTo>
                  <a:cubicBezTo>
                    <a:pt x="86" y="361"/>
                    <a:pt x="83" y="363"/>
                    <a:pt x="83" y="363"/>
                  </a:cubicBezTo>
                  <a:cubicBezTo>
                    <a:pt x="82" y="370"/>
                    <a:pt x="82" y="370"/>
                    <a:pt x="82" y="370"/>
                  </a:cubicBezTo>
                  <a:cubicBezTo>
                    <a:pt x="82" y="370"/>
                    <a:pt x="80" y="369"/>
                    <a:pt x="80" y="371"/>
                  </a:cubicBezTo>
                  <a:cubicBezTo>
                    <a:pt x="80" y="372"/>
                    <a:pt x="83" y="375"/>
                    <a:pt x="83" y="375"/>
                  </a:cubicBezTo>
                  <a:cubicBezTo>
                    <a:pt x="83" y="375"/>
                    <a:pt x="85" y="376"/>
                    <a:pt x="85" y="377"/>
                  </a:cubicBezTo>
                  <a:cubicBezTo>
                    <a:pt x="85" y="378"/>
                    <a:pt x="83" y="380"/>
                    <a:pt x="83" y="380"/>
                  </a:cubicBezTo>
                  <a:cubicBezTo>
                    <a:pt x="83" y="380"/>
                    <a:pt x="79" y="380"/>
                    <a:pt x="79" y="381"/>
                  </a:cubicBezTo>
                  <a:cubicBezTo>
                    <a:pt x="78" y="382"/>
                    <a:pt x="79" y="385"/>
                    <a:pt x="79" y="385"/>
                  </a:cubicBezTo>
                  <a:cubicBezTo>
                    <a:pt x="78" y="385"/>
                    <a:pt x="76" y="387"/>
                    <a:pt x="77" y="388"/>
                  </a:cubicBezTo>
                  <a:cubicBezTo>
                    <a:pt x="77" y="388"/>
                    <a:pt x="78" y="392"/>
                    <a:pt x="78" y="392"/>
                  </a:cubicBezTo>
                  <a:cubicBezTo>
                    <a:pt x="78" y="392"/>
                    <a:pt x="78" y="396"/>
                    <a:pt x="77" y="394"/>
                  </a:cubicBezTo>
                  <a:cubicBezTo>
                    <a:pt x="75" y="392"/>
                    <a:pt x="70" y="390"/>
                    <a:pt x="70" y="390"/>
                  </a:cubicBezTo>
                  <a:cubicBezTo>
                    <a:pt x="67" y="388"/>
                    <a:pt x="67" y="388"/>
                    <a:pt x="67" y="388"/>
                  </a:cubicBezTo>
                  <a:cubicBezTo>
                    <a:pt x="67" y="388"/>
                    <a:pt x="64" y="390"/>
                    <a:pt x="63" y="390"/>
                  </a:cubicBezTo>
                  <a:cubicBezTo>
                    <a:pt x="63" y="390"/>
                    <a:pt x="57" y="389"/>
                    <a:pt x="56" y="390"/>
                  </a:cubicBezTo>
                  <a:cubicBezTo>
                    <a:pt x="55" y="391"/>
                    <a:pt x="55" y="392"/>
                    <a:pt x="54" y="394"/>
                  </a:cubicBezTo>
                  <a:cubicBezTo>
                    <a:pt x="53" y="395"/>
                    <a:pt x="50" y="395"/>
                    <a:pt x="52" y="398"/>
                  </a:cubicBezTo>
                  <a:cubicBezTo>
                    <a:pt x="55" y="400"/>
                    <a:pt x="58" y="401"/>
                    <a:pt x="58" y="401"/>
                  </a:cubicBezTo>
                  <a:cubicBezTo>
                    <a:pt x="58" y="401"/>
                    <a:pt x="60" y="401"/>
                    <a:pt x="59" y="404"/>
                  </a:cubicBezTo>
                  <a:cubicBezTo>
                    <a:pt x="57" y="407"/>
                    <a:pt x="53" y="405"/>
                    <a:pt x="53" y="405"/>
                  </a:cubicBezTo>
                  <a:cubicBezTo>
                    <a:pt x="52" y="404"/>
                    <a:pt x="48" y="402"/>
                    <a:pt x="48" y="402"/>
                  </a:cubicBezTo>
                  <a:cubicBezTo>
                    <a:pt x="47" y="403"/>
                    <a:pt x="44" y="407"/>
                    <a:pt x="44" y="407"/>
                  </a:cubicBezTo>
                  <a:cubicBezTo>
                    <a:pt x="44" y="407"/>
                    <a:pt x="43" y="408"/>
                    <a:pt x="42" y="408"/>
                  </a:cubicBezTo>
                  <a:cubicBezTo>
                    <a:pt x="41" y="407"/>
                    <a:pt x="39" y="404"/>
                    <a:pt x="38" y="404"/>
                  </a:cubicBezTo>
                  <a:cubicBezTo>
                    <a:pt x="37" y="405"/>
                    <a:pt x="36" y="407"/>
                    <a:pt x="36" y="407"/>
                  </a:cubicBezTo>
                  <a:cubicBezTo>
                    <a:pt x="36" y="408"/>
                    <a:pt x="37" y="410"/>
                    <a:pt x="37" y="411"/>
                  </a:cubicBezTo>
                  <a:cubicBezTo>
                    <a:pt x="36" y="411"/>
                    <a:pt x="32" y="412"/>
                    <a:pt x="32" y="413"/>
                  </a:cubicBezTo>
                  <a:cubicBezTo>
                    <a:pt x="32" y="414"/>
                    <a:pt x="31" y="412"/>
                    <a:pt x="30" y="416"/>
                  </a:cubicBezTo>
                  <a:cubicBezTo>
                    <a:pt x="29" y="419"/>
                    <a:pt x="31" y="419"/>
                    <a:pt x="29" y="419"/>
                  </a:cubicBezTo>
                  <a:cubicBezTo>
                    <a:pt x="28" y="419"/>
                    <a:pt x="25" y="417"/>
                    <a:pt x="25" y="417"/>
                  </a:cubicBezTo>
                  <a:cubicBezTo>
                    <a:pt x="25" y="417"/>
                    <a:pt x="22" y="414"/>
                    <a:pt x="22" y="417"/>
                  </a:cubicBezTo>
                  <a:cubicBezTo>
                    <a:pt x="22" y="420"/>
                    <a:pt x="22" y="424"/>
                    <a:pt x="22" y="424"/>
                  </a:cubicBezTo>
                  <a:cubicBezTo>
                    <a:pt x="23" y="425"/>
                    <a:pt x="23" y="425"/>
                    <a:pt x="23" y="425"/>
                  </a:cubicBezTo>
                  <a:cubicBezTo>
                    <a:pt x="23" y="425"/>
                    <a:pt x="23" y="426"/>
                    <a:pt x="22" y="427"/>
                  </a:cubicBezTo>
                  <a:cubicBezTo>
                    <a:pt x="22" y="427"/>
                    <a:pt x="20" y="426"/>
                    <a:pt x="20" y="425"/>
                  </a:cubicBezTo>
                  <a:cubicBezTo>
                    <a:pt x="19" y="424"/>
                    <a:pt x="20" y="423"/>
                    <a:pt x="18" y="422"/>
                  </a:cubicBezTo>
                  <a:cubicBezTo>
                    <a:pt x="15" y="421"/>
                    <a:pt x="13" y="420"/>
                    <a:pt x="13" y="421"/>
                  </a:cubicBezTo>
                  <a:cubicBezTo>
                    <a:pt x="13" y="423"/>
                    <a:pt x="13" y="424"/>
                    <a:pt x="13" y="425"/>
                  </a:cubicBezTo>
                  <a:cubicBezTo>
                    <a:pt x="14" y="427"/>
                    <a:pt x="16" y="428"/>
                    <a:pt x="16" y="428"/>
                  </a:cubicBezTo>
                  <a:cubicBezTo>
                    <a:pt x="17" y="428"/>
                    <a:pt x="17" y="428"/>
                    <a:pt x="17" y="428"/>
                  </a:cubicBezTo>
                  <a:cubicBezTo>
                    <a:pt x="17" y="428"/>
                    <a:pt x="16" y="431"/>
                    <a:pt x="15" y="431"/>
                  </a:cubicBezTo>
                  <a:cubicBezTo>
                    <a:pt x="14" y="431"/>
                    <a:pt x="13" y="429"/>
                    <a:pt x="13" y="430"/>
                  </a:cubicBezTo>
                  <a:cubicBezTo>
                    <a:pt x="12" y="430"/>
                    <a:pt x="10" y="432"/>
                    <a:pt x="10" y="432"/>
                  </a:cubicBezTo>
                  <a:cubicBezTo>
                    <a:pt x="10" y="432"/>
                    <a:pt x="11" y="433"/>
                    <a:pt x="11" y="434"/>
                  </a:cubicBezTo>
                  <a:cubicBezTo>
                    <a:pt x="11" y="434"/>
                    <a:pt x="9" y="436"/>
                    <a:pt x="8" y="436"/>
                  </a:cubicBezTo>
                  <a:cubicBezTo>
                    <a:pt x="8" y="437"/>
                    <a:pt x="7" y="437"/>
                    <a:pt x="7" y="438"/>
                  </a:cubicBezTo>
                  <a:cubicBezTo>
                    <a:pt x="7" y="439"/>
                    <a:pt x="8" y="441"/>
                    <a:pt x="8" y="441"/>
                  </a:cubicBezTo>
                  <a:cubicBezTo>
                    <a:pt x="9" y="441"/>
                    <a:pt x="13" y="441"/>
                    <a:pt x="13" y="441"/>
                  </a:cubicBezTo>
                  <a:cubicBezTo>
                    <a:pt x="13" y="441"/>
                    <a:pt x="13" y="443"/>
                    <a:pt x="12" y="443"/>
                  </a:cubicBezTo>
                  <a:cubicBezTo>
                    <a:pt x="11" y="444"/>
                    <a:pt x="10" y="445"/>
                    <a:pt x="9" y="446"/>
                  </a:cubicBezTo>
                  <a:cubicBezTo>
                    <a:pt x="9" y="448"/>
                    <a:pt x="10" y="451"/>
                    <a:pt x="12" y="452"/>
                  </a:cubicBezTo>
                  <a:cubicBezTo>
                    <a:pt x="14" y="452"/>
                    <a:pt x="17" y="453"/>
                    <a:pt x="16" y="454"/>
                  </a:cubicBezTo>
                  <a:cubicBezTo>
                    <a:pt x="16" y="455"/>
                    <a:pt x="12" y="458"/>
                    <a:pt x="11" y="458"/>
                  </a:cubicBezTo>
                  <a:cubicBezTo>
                    <a:pt x="10" y="459"/>
                    <a:pt x="9" y="459"/>
                    <a:pt x="9" y="461"/>
                  </a:cubicBezTo>
                  <a:cubicBezTo>
                    <a:pt x="8" y="462"/>
                    <a:pt x="9" y="463"/>
                    <a:pt x="7" y="464"/>
                  </a:cubicBezTo>
                  <a:cubicBezTo>
                    <a:pt x="6" y="465"/>
                    <a:pt x="4" y="464"/>
                    <a:pt x="5" y="466"/>
                  </a:cubicBezTo>
                  <a:cubicBezTo>
                    <a:pt x="5" y="469"/>
                    <a:pt x="5" y="470"/>
                    <a:pt x="6" y="469"/>
                  </a:cubicBezTo>
                  <a:cubicBezTo>
                    <a:pt x="6" y="469"/>
                    <a:pt x="7" y="469"/>
                    <a:pt x="7" y="469"/>
                  </a:cubicBezTo>
                  <a:cubicBezTo>
                    <a:pt x="13" y="469"/>
                    <a:pt x="13" y="469"/>
                    <a:pt x="13" y="469"/>
                  </a:cubicBezTo>
                  <a:cubicBezTo>
                    <a:pt x="13" y="469"/>
                    <a:pt x="13" y="470"/>
                    <a:pt x="13" y="471"/>
                  </a:cubicBezTo>
                  <a:cubicBezTo>
                    <a:pt x="12" y="472"/>
                    <a:pt x="8" y="477"/>
                    <a:pt x="8" y="477"/>
                  </a:cubicBezTo>
                  <a:cubicBezTo>
                    <a:pt x="8" y="477"/>
                    <a:pt x="8" y="479"/>
                    <a:pt x="7" y="480"/>
                  </a:cubicBezTo>
                  <a:cubicBezTo>
                    <a:pt x="6" y="481"/>
                    <a:pt x="4" y="481"/>
                    <a:pt x="4" y="482"/>
                  </a:cubicBezTo>
                  <a:cubicBezTo>
                    <a:pt x="4" y="483"/>
                    <a:pt x="4" y="484"/>
                    <a:pt x="4" y="486"/>
                  </a:cubicBezTo>
                  <a:cubicBezTo>
                    <a:pt x="4" y="487"/>
                    <a:pt x="6" y="489"/>
                    <a:pt x="6" y="490"/>
                  </a:cubicBezTo>
                  <a:cubicBezTo>
                    <a:pt x="7" y="491"/>
                    <a:pt x="6" y="492"/>
                    <a:pt x="6" y="492"/>
                  </a:cubicBezTo>
                  <a:cubicBezTo>
                    <a:pt x="4" y="499"/>
                    <a:pt x="4" y="499"/>
                    <a:pt x="4" y="499"/>
                  </a:cubicBezTo>
                  <a:cubicBezTo>
                    <a:pt x="4" y="499"/>
                    <a:pt x="4" y="502"/>
                    <a:pt x="4" y="503"/>
                  </a:cubicBezTo>
                  <a:cubicBezTo>
                    <a:pt x="4" y="503"/>
                    <a:pt x="0" y="505"/>
                    <a:pt x="2" y="507"/>
                  </a:cubicBezTo>
                  <a:cubicBezTo>
                    <a:pt x="4" y="509"/>
                    <a:pt x="5" y="510"/>
                    <a:pt x="6" y="510"/>
                  </a:cubicBezTo>
                  <a:cubicBezTo>
                    <a:pt x="7" y="511"/>
                    <a:pt x="11" y="510"/>
                    <a:pt x="11" y="511"/>
                  </a:cubicBezTo>
                  <a:cubicBezTo>
                    <a:pt x="11" y="511"/>
                    <a:pt x="11" y="512"/>
                    <a:pt x="9" y="512"/>
                  </a:cubicBezTo>
                  <a:cubicBezTo>
                    <a:pt x="7" y="513"/>
                    <a:pt x="5" y="512"/>
                    <a:pt x="5" y="513"/>
                  </a:cubicBezTo>
                  <a:cubicBezTo>
                    <a:pt x="5" y="514"/>
                    <a:pt x="1" y="519"/>
                    <a:pt x="1" y="519"/>
                  </a:cubicBezTo>
                  <a:cubicBezTo>
                    <a:pt x="5" y="524"/>
                    <a:pt x="5" y="524"/>
                    <a:pt x="5" y="524"/>
                  </a:cubicBezTo>
                  <a:cubicBezTo>
                    <a:pt x="5" y="524"/>
                    <a:pt x="7" y="522"/>
                    <a:pt x="8" y="522"/>
                  </a:cubicBezTo>
                  <a:cubicBezTo>
                    <a:pt x="8" y="522"/>
                    <a:pt x="11" y="522"/>
                    <a:pt x="11" y="523"/>
                  </a:cubicBezTo>
                  <a:cubicBezTo>
                    <a:pt x="11" y="523"/>
                    <a:pt x="9" y="525"/>
                    <a:pt x="9" y="526"/>
                  </a:cubicBezTo>
                  <a:cubicBezTo>
                    <a:pt x="8" y="526"/>
                    <a:pt x="6" y="527"/>
                    <a:pt x="6" y="528"/>
                  </a:cubicBezTo>
                  <a:cubicBezTo>
                    <a:pt x="6" y="528"/>
                    <a:pt x="8" y="531"/>
                    <a:pt x="8" y="531"/>
                  </a:cubicBezTo>
                  <a:cubicBezTo>
                    <a:pt x="8" y="531"/>
                    <a:pt x="10" y="531"/>
                    <a:pt x="10" y="532"/>
                  </a:cubicBezTo>
                  <a:cubicBezTo>
                    <a:pt x="10" y="533"/>
                    <a:pt x="7" y="535"/>
                    <a:pt x="7" y="535"/>
                  </a:cubicBezTo>
                  <a:cubicBezTo>
                    <a:pt x="7" y="537"/>
                    <a:pt x="7" y="537"/>
                    <a:pt x="7" y="537"/>
                  </a:cubicBezTo>
                  <a:cubicBezTo>
                    <a:pt x="6" y="542"/>
                    <a:pt x="6" y="542"/>
                    <a:pt x="6" y="542"/>
                  </a:cubicBezTo>
                  <a:cubicBezTo>
                    <a:pt x="9" y="545"/>
                    <a:pt x="9" y="545"/>
                    <a:pt x="9" y="545"/>
                  </a:cubicBezTo>
                  <a:cubicBezTo>
                    <a:pt x="9" y="545"/>
                    <a:pt x="13" y="545"/>
                    <a:pt x="11" y="547"/>
                  </a:cubicBezTo>
                  <a:cubicBezTo>
                    <a:pt x="10" y="549"/>
                    <a:pt x="8" y="550"/>
                    <a:pt x="8" y="551"/>
                  </a:cubicBezTo>
                  <a:cubicBezTo>
                    <a:pt x="8" y="553"/>
                    <a:pt x="7" y="555"/>
                    <a:pt x="9" y="555"/>
                  </a:cubicBezTo>
                  <a:cubicBezTo>
                    <a:pt x="10" y="555"/>
                    <a:pt x="10" y="556"/>
                    <a:pt x="11" y="555"/>
                  </a:cubicBezTo>
                  <a:cubicBezTo>
                    <a:pt x="12" y="555"/>
                    <a:pt x="14" y="554"/>
                    <a:pt x="14" y="554"/>
                  </a:cubicBezTo>
                  <a:cubicBezTo>
                    <a:pt x="14" y="554"/>
                    <a:pt x="17" y="552"/>
                    <a:pt x="18" y="552"/>
                  </a:cubicBezTo>
                  <a:cubicBezTo>
                    <a:pt x="19" y="552"/>
                    <a:pt x="21" y="553"/>
                    <a:pt x="21" y="554"/>
                  </a:cubicBezTo>
                  <a:cubicBezTo>
                    <a:pt x="21" y="555"/>
                    <a:pt x="22" y="555"/>
                    <a:pt x="22" y="556"/>
                  </a:cubicBezTo>
                  <a:cubicBezTo>
                    <a:pt x="23" y="556"/>
                    <a:pt x="21" y="560"/>
                    <a:pt x="21" y="560"/>
                  </a:cubicBezTo>
                  <a:cubicBezTo>
                    <a:pt x="19" y="564"/>
                    <a:pt x="19" y="564"/>
                    <a:pt x="19" y="564"/>
                  </a:cubicBezTo>
                  <a:cubicBezTo>
                    <a:pt x="19" y="564"/>
                    <a:pt x="21" y="566"/>
                    <a:pt x="21" y="566"/>
                  </a:cubicBezTo>
                  <a:cubicBezTo>
                    <a:pt x="20" y="566"/>
                    <a:pt x="17" y="567"/>
                    <a:pt x="16" y="567"/>
                  </a:cubicBezTo>
                  <a:cubicBezTo>
                    <a:pt x="15" y="567"/>
                    <a:pt x="14" y="567"/>
                    <a:pt x="14" y="568"/>
                  </a:cubicBezTo>
                  <a:cubicBezTo>
                    <a:pt x="13" y="570"/>
                    <a:pt x="11" y="574"/>
                    <a:pt x="11" y="574"/>
                  </a:cubicBezTo>
                  <a:cubicBezTo>
                    <a:pt x="11" y="574"/>
                    <a:pt x="10" y="575"/>
                    <a:pt x="11" y="577"/>
                  </a:cubicBezTo>
                  <a:cubicBezTo>
                    <a:pt x="12" y="579"/>
                    <a:pt x="15" y="584"/>
                    <a:pt x="15" y="584"/>
                  </a:cubicBezTo>
                  <a:cubicBezTo>
                    <a:pt x="15" y="585"/>
                    <a:pt x="17" y="587"/>
                    <a:pt x="19" y="589"/>
                  </a:cubicBezTo>
                  <a:cubicBezTo>
                    <a:pt x="21" y="590"/>
                    <a:pt x="23" y="591"/>
                    <a:pt x="23" y="592"/>
                  </a:cubicBezTo>
                  <a:cubicBezTo>
                    <a:pt x="23" y="594"/>
                    <a:pt x="23" y="594"/>
                    <a:pt x="23" y="594"/>
                  </a:cubicBezTo>
                  <a:cubicBezTo>
                    <a:pt x="27" y="597"/>
                    <a:pt x="27" y="597"/>
                    <a:pt x="27" y="597"/>
                  </a:cubicBezTo>
                  <a:cubicBezTo>
                    <a:pt x="27" y="597"/>
                    <a:pt x="28" y="597"/>
                    <a:pt x="31" y="598"/>
                  </a:cubicBezTo>
                  <a:cubicBezTo>
                    <a:pt x="34" y="598"/>
                    <a:pt x="36" y="599"/>
                    <a:pt x="37" y="599"/>
                  </a:cubicBezTo>
                  <a:cubicBezTo>
                    <a:pt x="37" y="600"/>
                    <a:pt x="34" y="602"/>
                    <a:pt x="34" y="602"/>
                  </a:cubicBezTo>
                  <a:cubicBezTo>
                    <a:pt x="34" y="602"/>
                    <a:pt x="30" y="605"/>
                    <a:pt x="32" y="606"/>
                  </a:cubicBezTo>
                  <a:cubicBezTo>
                    <a:pt x="34" y="607"/>
                    <a:pt x="44" y="609"/>
                    <a:pt x="44" y="609"/>
                  </a:cubicBezTo>
                  <a:cubicBezTo>
                    <a:pt x="44" y="609"/>
                    <a:pt x="46" y="610"/>
                    <a:pt x="46" y="611"/>
                  </a:cubicBezTo>
                  <a:cubicBezTo>
                    <a:pt x="47" y="611"/>
                    <a:pt x="49" y="610"/>
                    <a:pt x="49" y="610"/>
                  </a:cubicBezTo>
                  <a:cubicBezTo>
                    <a:pt x="49" y="609"/>
                    <a:pt x="53" y="611"/>
                    <a:pt x="53" y="611"/>
                  </a:cubicBezTo>
                  <a:cubicBezTo>
                    <a:pt x="54" y="610"/>
                    <a:pt x="58" y="610"/>
                    <a:pt x="58" y="610"/>
                  </a:cubicBezTo>
                  <a:cubicBezTo>
                    <a:pt x="62" y="608"/>
                    <a:pt x="62" y="608"/>
                    <a:pt x="62" y="608"/>
                  </a:cubicBezTo>
                  <a:cubicBezTo>
                    <a:pt x="62" y="608"/>
                    <a:pt x="65" y="604"/>
                    <a:pt x="67" y="605"/>
                  </a:cubicBezTo>
                  <a:cubicBezTo>
                    <a:pt x="69" y="606"/>
                    <a:pt x="68" y="607"/>
                    <a:pt x="69" y="607"/>
                  </a:cubicBezTo>
                  <a:cubicBezTo>
                    <a:pt x="71" y="607"/>
                    <a:pt x="72" y="607"/>
                    <a:pt x="74" y="605"/>
                  </a:cubicBezTo>
                  <a:cubicBezTo>
                    <a:pt x="75" y="603"/>
                    <a:pt x="77" y="602"/>
                    <a:pt x="77" y="601"/>
                  </a:cubicBezTo>
                  <a:cubicBezTo>
                    <a:pt x="78" y="601"/>
                    <a:pt x="88" y="595"/>
                    <a:pt x="88" y="595"/>
                  </a:cubicBezTo>
                  <a:cubicBezTo>
                    <a:pt x="95" y="584"/>
                    <a:pt x="95" y="584"/>
                    <a:pt x="95" y="584"/>
                  </a:cubicBezTo>
                  <a:cubicBezTo>
                    <a:pt x="97" y="576"/>
                    <a:pt x="97" y="576"/>
                    <a:pt x="97" y="576"/>
                  </a:cubicBezTo>
                  <a:cubicBezTo>
                    <a:pt x="97" y="576"/>
                    <a:pt x="100" y="572"/>
                    <a:pt x="102" y="572"/>
                  </a:cubicBezTo>
                  <a:cubicBezTo>
                    <a:pt x="104" y="572"/>
                    <a:pt x="110" y="569"/>
                    <a:pt x="109" y="568"/>
                  </a:cubicBezTo>
                  <a:cubicBezTo>
                    <a:pt x="109" y="566"/>
                    <a:pt x="111" y="565"/>
                    <a:pt x="112" y="568"/>
                  </a:cubicBezTo>
                  <a:cubicBezTo>
                    <a:pt x="112" y="571"/>
                    <a:pt x="111" y="574"/>
                    <a:pt x="113" y="573"/>
                  </a:cubicBezTo>
                  <a:cubicBezTo>
                    <a:pt x="115" y="572"/>
                    <a:pt x="119" y="566"/>
                    <a:pt x="119" y="566"/>
                  </a:cubicBezTo>
                  <a:cubicBezTo>
                    <a:pt x="119" y="566"/>
                    <a:pt x="122" y="564"/>
                    <a:pt x="123" y="563"/>
                  </a:cubicBezTo>
                  <a:cubicBezTo>
                    <a:pt x="125" y="563"/>
                    <a:pt x="128" y="557"/>
                    <a:pt x="128" y="557"/>
                  </a:cubicBezTo>
                  <a:cubicBezTo>
                    <a:pt x="128" y="557"/>
                    <a:pt x="131" y="555"/>
                    <a:pt x="132" y="558"/>
                  </a:cubicBezTo>
                  <a:cubicBezTo>
                    <a:pt x="133" y="560"/>
                    <a:pt x="136" y="565"/>
                    <a:pt x="136" y="566"/>
                  </a:cubicBezTo>
                  <a:cubicBezTo>
                    <a:pt x="136" y="566"/>
                    <a:pt x="137" y="567"/>
                    <a:pt x="137" y="567"/>
                  </a:cubicBezTo>
                  <a:cubicBezTo>
                    <a:pt x="137" y="566"/>
                    <a:pt x="137" y="566"/>
                    <a:pt x="137" y="566"/>
                  </a:cubicBezTo>
                  <a:cubicBezTo>
                    <a:pt x="138" y="558"/>
                    <a:pt x="138" y="558"/>
                    <a:pt x="138" y="558"/>
                  </a:cubicBezTo>
                  <a:cubicBezTo>
                    <a:pt x="141" y="560"/>
                    <a:pt x="141" y="560"/>
                    <a:pt x="141" y="560"/>
                  </a:cubicBezTo>
                  <a:cubicBezTo>
                    <a:pt x="147" y="565"/>
                    <a:pt x="147" y="565"/>
                    <a:pt x="147" y="566"/>
                  </a:cubicBezTo>
                  <a:cubicBezTo>
                    <a:pt x="147" y="566"/>
                    <a:pt x="147" y="566"/>
                    <a:pt x="148" y="570"/>
                  </a:cubicBezTo>
                  <a:cubicBezTo>
                    <a:pt x="148" y="570"/>
                    <a:pt x="148" y="570"/>
                    <a:pt x="148" y="570"/>
                  </a:cubicBezTo>
                  <a:cubicBezTo>
                    <a:pt x="148" y="570"/>
                    <a:pt x="148" y="570"/>
                    <a:pt x="148" y="570"/>
                  </a:cubicBezTo>
                  <a:cubicBezTo>
                    <a:pt x="149" y="566"/>
                    <a:pt x="149" y="566"/>
                    <a:pt x="149" y="566"/>
                  </a:cubicBezTo>
                  <a:cubicBezTo>
                    <a:pt x="149" y="561"/>
                    <a:pt x="149" y="561"/>
                    <a:pt x="149" y="561"/>
                  </a:cubicBezTo>
                  <a:cubicBezTo>
                    <a:pt x="152" y="556"/>
                    <a:pt x="152" y="556"/>
                    <a:pt x="152" y="556"/>
                  </a:cubicBezTo>
                  <a:cubicBezTo>
                    <a:pt x="152" y="551"/>
                    <a:pt x="152" y="551"/>
                    <a:pt x="152" y="551"/>
                  </a:cubicBezTo>
                  <a:cubicBezTo>
                    <a:pt x="149" y="546"/>
                    <a:pt x="149" y="546"/>
                    <a:pt x="149" y="546"/>
                  </a:cubicBezTo>
                  <a:cubicBezTo>
                    <a:pt x="147" y="540"/>
                    <a:pt x="147" y="540"/>
                    <a:pt x="147" y="540"/>
                  </a:cubicBezTo>
                  <a:cubicBezTo>
                    <a:pt x="151" y="538"/>
                    <a:pt x="151" y="538"/>
                    <a:pt x="151" y="538"/>
                  </a:cubicBezTo>
                  <a:cubicBezTo>
                    <a:pt x="152" y="537"/>
                    <a:pt x="152" y="537"/>
                    <a:pt x="152" y="537"/>
                  </a:cubicBezTo>
                  <a:cubicBezTo>
                    <a:pt x="152" y="534"/>
                    <a:pt x="152" y="534"/>
                    <a:pt x="152" y="534"/>
                  </a:cubicBezTo>
                  <a:cubicBezTo>
                    <a:pt x="151" y="532"/>
                    <a:pt x="151" y="532"/>
                    <a:pt x="151" y="532"/>
                  </a:cubicBezTo>
                  <a:cubicBezTo>
                    <a:pt x="152" y="529"/>
                    <a:pt x="152" y="529"/>
                    <a:pt x="152" y="529"/>
                  </a:cubicBezTo>
                  <a:cubicBezTo>
                    <a:pt x="152" y="528"/>
                    <a:pt x="152" y="528"/>
                    <a:pt x="152" y="528"/>
                  </a:cubicBezTo>
                  <a:cubicBezTo>
                    <a:pt x="152" y="527"/>
                    <a:pt x="153" y="526"/>
                    <a:pt x="154" y="526"/>
                  </a:cubicBezTo>
                  <a:cubicBezTo>
                    <a:pt x="154" y="526"/>
                    <a:pt x="155" y="525"/>
                    <a:pt x="156" y="525"/>
                  </a:cubicBezTo>
                  <a:cubicBezTo>
                    <a:pt x="156" y="525"/>
                    <a:pt x="157" y="526"/>
                    <a:pt x="157" y="526"/>
                  </a:cubicBezTo>
                  <a:cubicBezTo>
                    <a:pt x="159" y="525"/>
                    <a:pt x="159" y="525"/>
                    <a:pt x="159" y="525"/>
                  </a:cubicBezTo>
                  <a:cubicBezTo>
                    <a:pt x="161" y="523"/>
                    <a:pt x="161" y="523"/>
                    <a:pt x="161" y="523"/>
                  </a:cubicBezTo>
                  <a:cubicBezTo>
                    <a:pt x="162" y="522"/>
                    <a:pt x="163" y="521"/>
                    <a:pt x="163" y="520"/>
                  </a:cubicBezTo>
                  <a:cubicBezTo>
                    <a:pt x="163" y="520"/>
                    <a:pt x="164" y="519"/>
                    <a:pt x="165" y="518"/>
                  </a:cubicBezTo>
                  <a:cubicBezTo>
                    <a:pt x="165" y="515"/>
                    <a:pt x="165" y="515"/>
                    <a:pt x="165" y="515"/>
                  </a:cubicBezTo>
                  <a:cubicBezTo>
                    <a:pt x="163" y="510"/>
                    <a:pt x="163" y="510"/>
                    <a:pt x="163" y="510"/>
                  </a:cubicBezTo>
                  <a:cubicBezTo>
                    <a:pt x="165" y="507"/>
                    <a:pt x="165" y="507"/>
                    <a:pt x="165" y="507"/>
                  </a:cubicBezTo>
                  <a:cubicBezTo>
                    <a:pt x="167" y="503"/>
                    <a:pt x="167" y="503"/>
                    <a:pt x="167" y="503"/>
                  </a:cubicBezTo>
                  <a:cubicBezTo>
                    <a:pt x="166" y="499"/>
                    <a:pt x="166" y="499"/>
                    <a:pt x="166" y="499"/>
                  </a:cubicBezTo>
                  <a:cubicBezTo>
                    <a:pt x="161" y="493"/>
                    <a:pt x="161" y="493"/>
                    <a:pt x="161" y="493"/>
                  </a:cubicBezTo>
                  <a:cubicBezTo>
                    <a:pt x="158" y="486"/>
                    <a:pt x="158" y="486"/>
                    <a:pt x="158" y="486"/>
                  </a:cubicBezTo>
                  <a:cubicBezTo>
                    <a:pt x="157" y="480"/>
                    <a:pt x="157" y="480"/>
                    <a:pt x="157" y="480"/>
                  </a:cubicBezTo>
                  <a:cubicBezTo>
                    <a:pt x="162" y="474"/>
                    <a:pt x="162" y="474"/>
                    <a:pt x="162" y="474"/>
                  </a:cubicBezTo>
                  <a:cubicBezTo>
                    <a:pt x="167" y="473"/>
                    <a:pt x="167" y="473"/>
                    <a:pt x="167" y="473"/>
                  </a:cubicBezTo>
                  <a:cubicBezTo>
                    <a:pt x="167" y="473"/>
                    <a:pt x="167" y="473"/>
                    <a:pt x="167" y="473"/>
                  </a:cubicBezTo>
                  <a:cubicBezTo>
                    <a:pt x="167" y="473"/>
                    <a:pt x="167" y="473"/>
                    <a:pt x="168" y="473"/>
                  </a:cubicBezTo>
                  <a:cubicBezTo>
                    <a:pt x="168" y="473"/>
                    <a:pt x="169" y="473"/>
                    <a:pt x="169" y="473"/>
                  </a:cubicBezTo>
                  <a:cubicBezTo>
                    <a:pt x="169" y="472"/>
                    <a:pt x="170" y="470"/>
                    <a:pt x="170" y="468"/>
                  </a:cubicBezTo>
                  <a:cubicBezTo>
                    <a:pt x="170" y="462"/>
                    <a:pt x="170" y="462"/>
                    <a:pt x="170" y="462"/>
                  </a:cubicBezTo>
                  <a:cubicBezTo>
                    <a:pt x="165" y="458"/>
                    <a:pt x="165" y="458"/>
                    <a:pt x="165" y="458"/>
                  </a:cubicBezTo>
                  <a:cubicBezTo>
                    <a:pt x="159" y="454"/>
                    <a:pt x="159" y="454"/>
                    <a:pt x="159" y="454"/>
                  </a:cubicBezTo>
                  <a:cubicBezTo>
                    <a:pt x="157" y="447"/>
                    <a:pt x="157" y="447"/>
                    <a:pt x="157" y="447"/>
                  </a:cubicBezTo>
                  <a:cubicBezTo>
                    <a:pt x="156" y="422"/>
                    <a:pt x="156" y="422"/>
                    <a:pt x="156" y="422"/>
                  </a:cubicBezTo>
                  <a:cubicBezTo>
                    <a:pt x="150" y="412"/>
                    <a:pt x="150" y="411"/>
                    <a:pt x="150" y="410"/>
                  </a:cubicBezTo>
                  <a:cubicBezTo>
                    <a:pt x="150" y="410"/>
                    <a:pt x="150" y="407"/>
                    <a:pt x="151" y="405"/>
                  </a:cubicBezTo>
                  <a:cubicBezTo>
                    <a:pt x="151" y="405"/>
                    <a:pt x="151" y="404"/>
                    <a:pt x="151" y="404"/>
                  </a:cubicBezTo>
                  <a:cubicBezTo>
                    <a:pt x="150" y="398"/>
                    <a:pt x="150" y="398"/>
                    <a:pt x="150" y="398"/>
                  </a:cubicBezTo>
                  <a:cubicBezTo>
                    <a:pt x="152" y="395"/>
                    <a:pt x="152" y="395"/>
                    <a:pt x="152" y="395"/>
                  </a:cubicBezTo>
                  <a:cubicBezTo>
                    <a:pt x="152" y="391"/>
                    <a:pt x="152" y="391"/>
                    <a:pt x="152" y="391"/>
                  </a:cubicBezTo>
                  <a:cubicBezTo>
                    <a:pt x="148" y="384"/>
                    <a:pt x="148" y="384"/>
                    <a:pt x="148" y="384"/>
                  </a:cubicBezTo>
                  <a:cubicBezTo>
                    <a:pt x="148" y="384"/>
                    <a:pt x="148" y="384"/>
                    <a:pt x="148" y="384"/>
                  </a:cubicBezTo>
                  <a:cubicBezTo>
                    <a:pt x="148" y="384"/>
                    <a:pt x="148" y="379"/>
                    <a:pt x="148" y="378"/>
                  </a:cubicBezTo>
                  <a:cubicBezTo>
                    <a:pt x="149" y="377"/>
                    <a:pt x="149" y="376"/>
                    <a:pt x="152" y="373"/>
                  </a:cubicBezTo>
                  <a:cubicBezTo>
                    <a:pt x="152" y="368"/>
                    <a:pt x="152" y="368"/>
                    <a:pt x="152" y="368"/>
                  </a:cubicBezTo>
                  <a:cubicBezTo>
                    <a:pt x="154" y="359"/>
                    <a:pt x="154" y="359"/>
                    <a:pt x="154" y="359"/>
                  </a:cubicBezTo>
                  <a:cubicBezTo>
                    <a:pt x="165" y="345"/>
                    <a:pt x="165" y="345"/>
                    <a:pt x="165" y="345"/>
                  </a:cubicBezTo>
                  <a:cubicBezTo>
                    <a:pt x="184" y="343"/>
                    <a:pt x="184" y="343"/>
                    <a:pt x="184" y="343"/>
                  </a:cubicBezTo>
                  <a:cubicBezTo>
                    <a:pt x="185" y="343"/>
                    <a:pt x="185" y="343"/>
                    <a:pt x="185" y="343"/>
                  </a:cubicBezTo>
                  <a:cubicBezTo>
                    <a:pt x="187" y="338"/>
                    <a:pt x="187" y="338"/>
                    <a:pt x="187" y="338"/>
                  </a:cubicBezTo>
                  <a:cubicBezTo>
                    <a:pt x="186" y="327"/>
                    <a:pt x="186" y="327"/>
                    <a:pt x="186" y="327"/>
                  </a:cubicBezTo>
                  <a:cubicBezTo>
                    <a:pt x="179" y="326"/>
                    <a:pt x="179" y="326"/>
                    <a:pt x="179" y="326"/>
                  </a:cubicBezTo>
                  <a:cubicBezTo>
                    <a:pt x="176" y="319"/>
                    <a:pt x="176" y="319"/>
                    <a:pt x="176" y="319"/>
                  </a:cubicBezTo>
                  <a:cubicBezTo>
                    <a:pt x="189" y="299"/>
                    <a:pt x="189" y="299"/>
                    <a:pt x="189" y="299"/>
                  </a:cubicBezTo>
                  <a:cubicBezTo>
                    <a:pt x="188" y="293"/>
                    <a:pt x="188" y="293"/>
                    <a:pt x="188" y="293"/>
                  </a:cubicBezTo>
                  <a:cubicBezTo>
                    <a:pt x="191" y="291"/>
                    <a:pt x="191" y="291"/>
                    <a:pt x="191" y="291"/>
                  </a:cubicBezTo>
                  <a:cubicBezTo>
                    <a:pt x="191" y="290"/>
                    <a:pt x="190" y="289"/>
                    <a:pt x="190" y="288"/>
                  </a:cubicBezTo>
                  <a:cubicBezTo>
                    <a:pt x="190" y="288"/>
                    <a:pt x="189" y="287"/>
                    <a:pt x="190" y="281"/>
                  </a:cubicBezTo>
                  <a:cubicBezTo>
                    <a:pt x="191" y="275"/>
                    <a:pt x="191" y="275"/>
                    <a:pt x="191" y="275"/>
                  </a:cubicBezTo>
                  <a:cubicBezTo>
                    <a:pt x="193" y="269"/>
                    <a:pt x="193" y="269"/>
                    <a:pt x="193" y="269"/>
                  </a:cubicBezTo>
                  <a:cubicBezTo>
                    <a:pt x="189" y="255"/>
                    <a:pt x="189" y="255"/>
                    <a:pt x="189" y="255"/>
                  </a:cubicBezTo>
                  <a:cubicBezTo>
                    <a:pt x="193" y="251"/>
                    <a:pt x="193" y="251"/>
                    <a:pt x="193" y="251"/>
                  </a:cubicBezTo>
                  <a:cubicBezTo>
                    <a:pt x="200" y="250"/>
                    <a:pt x="200" y="250"/>
                    <a:pt x="200" y="250"/>
                  </a:cubicBezTo>
                  <a:cubicBezTo>
                    <a:pt x="204" y="246"/>
                    <a:pt x="204" y="246"/>
                    <a:pt x="204" y="246"/>
                  </a:cubicBezTo>
                  <a:cubicBezTo>
                    <a:pt x="205" y="243"/>
                    <a:pt x="205" y="243"/>
                    <a:pt x="205" y="243"/>
                  </a:cubicBezTo>
                  <a:cubicBezTo>
                    <a:pt x="205" y="235"/>
                    <a:pt x="205" y="235"/>
                    <a:pt x="205" y="235"/>
                  </a:cubicBezTo>
                  <a:cubicBezTo>
                    <a:pt x="209" y="224"/>
                    <a:pt x="209" y="224"/>
                    <a:pt x="209" y="224"/>
                  </a:cubicBezTo>
                  <a:cubicBezTo>
                    <a:pt x="209" y="223"/>
                    <a:pt x="209" y="223"/>
                    <a:pt x="209" y="223"/>
                  </a:cubicBezTo>
                  <a:cubicBezTo>
                    <a:pt x="212" y="220"/>
                    <a:pt x="216" y="215"/>
                    <a:pt x="216" y="214"/>
                  </a:cubicBezTo>
                  <a:cubicBezTo>
                    <a:pt x="217" y="213"/>
                    <a:pt x="218" y="209"/>
                    <a:pt x="219" y="208"/>
                  </a:cubicBezTo>
                  <a:cubicBezTo>
                    <a:pt x="218" y="205"/>
                    <a:pt x="218" y="202"/>
                    <a:pt x="217" y="202"/>
                  </a:cubicBezTo>
                  <a:cubicBezTo>
                    <a:pt x="216" y="201"/>
                    <a:pt x="214" y="197"/>
                    <a:pt x="213" y="195"/>
                  </a:cubicBezTo>
                  <a:cubicBezTo>
                    <a:pt x="213" y="195"/>
                    <a:pt x="213" y="195"/>
                    <a:pt x="213" y="195"/>
                  </a:cubicBezTo>
                  <a:cubicBezTo>
                    <a:pt x="213" y="189"/>
                    <a:pt x="213" y="189"/>
                    <a:pt x="213" y="189"/>
                  </a:cubicBezTo>
                  <a:cubicBezTo>
                    <a:pt x="218" y="186"/>
                    <a:pt x="218" y="186"/>
                    <a:pt x="218" y="186"/>
                  </a:cubicBezTo>
                  <a:cubicBezTo>
                    <a:pt x="220" y="183"/>
                    <a:pt x="220" y="183"/>
                    <a:pt x="220" y="183"/>
                  </a:cubicBezTo>
                  <a:cubicBezTo>
                    <a:pt x="220" y="182"/>
                    <a:pt x="219" y="179"/>
                    <a:pt x="219" y="178"/>
                  </a:cubicBezTo>
                  <a:cubicBezTo>
                    <a:pt x="219" y="177"/>
                    <a:pt x="219" y="177"/>
                    <a:pt x="220" y="174"/>
                  </a:cubicBezTo>
                  <a:cubicBezTo>
                    <a:pt x="221" y="173"/>
                    <a:pt x="221" y="173"/>
                    <a:pt x="221" y="173"/>
                  </a:cubicBezTo>
                  <a:cubicBezTo>
                    <a:pt x="221" y="172"/>
                    <a:pt x="221" y="171"/>
                    <a:pt x="225" y="167"/>
                  </a:cubicBezTo>
                  <a:cubicBezTo>
                    <a:pt x="229" y="159"/>
                    <a:pt x="229" y="159"/>
                    <a:pt x="229" y="159"/>
                  </a:cubicBezTo>
                  <a:cubicBezTo>
                    <a:pt x="238" y="164"/>
                    <a:pt x="238" y="164"/>
                    <a:pt x="238" y="164"/>
                  </a:cubicBezTo>
                  <a:cubicBezTo>
                    <a:pt x="240" y="164"/>
                    <a:pt x="240" y="164"/>
                    <a:pt x="240" y="164"/>
                  </a:cubicBezTo>
                  <a:cubicBezTo>
                    <a:pt x="241" y="163"/>
                    <a:pt x="241" y="163"/>
                    <a:pt x="241" y="163"/>
                  </a:cubicBezTo>
                  <a:cubicBezTo>
                    <a:pt x="240" y="159"/>
                    <a:pt x="239" y="144"/>
                    <a:pt x="242" y="139"/>
                  </a:cubicBezTo>
                  <a:cubicBezTo>
                    <a:pt x="243" y="138"/>
                    <a:pt x="243" y="138"/>
                    <a:pt x="243" y="138"/>
                  </a:cubicBezTo>
                  <a:cubicBezTo>
                    <a:pt x="244" y="139"/>
                    <a:pt x="244" y="139"/>
                    <a:pt x="244" y="139"/>
                  </a:cubicBezTo>
                  <a:cubicBezTo>
                    <a:pt x="244" y="139"/>
                    <a:pt x="250" y="139"/>
                    <a:pt x="254" y="139"/>
                  </a:cubicBezTo>
                  <a:cubicBezTo>
                    <a:pt x="255" y="139"/>
                    <a:pt x="256" y="139"/>
                    <a:pt x="256" y="139"/>
                  </a:cubicBezTo>
                  <a:cubicBezTo>
                    <a:pt x="256" y="139"/>
                    <a:pt x="256" y="139"/>
                    <a:pt x="257" y="139"/>
                  </a:cubicBezTo>
                  <a:cubicBezTo>
                    <a:pt x="259" y="139"/>
                    <a:pt x="263" y="141"/>
                    <a:pt x="264" y="141"/>
                  </a:cubicBezTo>
                  <a:cubicBezTo>
                    <a:pt x="264" y="142"/>
                    <a:pt x="266" y="142"/>
                    <a:pt x="268" y="143"/>
                  </a:cubicBezTo>
                  <a:cubicBezTo>
                    <a:pt x="272" y="142"/>
                    <a:pt x="272" y="142"/>
                    <a:pt x="272" y="142"/>
                  </a:cubicBezTo>
                  <a:cubicBezTo>
                    <a:pt x="273" y="140"/>
                    <a:pt x="273" y="140"/>
                    <a:pt x="273" y="140"/>
                  </a:cubicBezTo>
                  <a:cubicBezTo>
                    <a:pt x="270" y="137"/>
                    <a:pt x="270" y="137"/>
                    <a:pt x="270" y="137"/>
                  </a:cubicBezTo>
                  <a:cubicBezTo>
                    <a:pt x="271" y="136"/>
                    <a:pt x="271" y="136"/>
                    <a:pt x="271" y="136"/>
                  </a:cubicBezTo>
                  <a:cubicBezTo>
                    <a:pt x="274" y="132"/>
                    <a:pt x="274" y="127"/>
                    <a:pt x="273" y="127"/>
                  </a:cubicBezTo>
                  <a:cubicBezTo>
                    <a:pt x="273" y="126"/>
                    <a:pt x="272" y="124"/>
                    <a:pt x="272" y="121"/>
                  </a:cubicBezTo>
                  <a:cubicBezTo>
                    <a:pt x="271" y="119"/>
                    <a:pt x="271" y="118"/>
                    <a:pt x="270" y="117"/>
                  </a:cubicBezTo>
                  <a:cubicBezTo>
                    <a:pt x="270" y="117"/>
                    <a:pt x="270" y="115"/>
                    <a:pt x="272" y="113"/>
                  </a:cubicBezTo>
                  <a:cubicBezTo>
                    <a:pt x="273" y="113"/>
                    <a:pt x="273" y="113"/>
                    <a:pt x="273" y="113"/>
                  </a:cubicBezTo>
                  <a:cubicBezTo>
                    <a:pt x="276" y="113"/>
                    <a:pt x="276" y="113"/>
                    <a:pt x="276" y="113"/>
                  </a:cubicBezTo>
                  <a:cubicBezTo>
                    <a:pt x="279" y="110"/>
                    <a:pt x="279" y="110"/>
                    <a:pt x="279" y="110"/>
                  </a:cubicBezTo>
                  <a:cubicBezTo>
                    <a:pt x="279" y="110"/>
                    <a:pt x="279" y="110"/>
                    <a:pt x="279" y="110"/>
                  </a:cubicBezTo>
                  <a:cubicBezTo>
                    <a:pt x="279" y="110"/>
                    <a:pt x="279" y="110"/>
                    <a:pt x="280" y="110"/>
                  </a:cubicBezTo>
                  <a:cubicBezTo>
                    <a:pt x="280" y="110"/>
                    <a:pt x="281" y="109"/>
                    <a:pt x="283" y="109"/>
                  </a:cubicBezTo>
                  <a:cubicBezTo>
                    <a:pt x="283" y="109"/>
                    <a:pt x="283" y="109"/>
                    <a:pt x="284" y="109"/>
                  </a:cubicBezTo>
                  <a:cubicBezTo>
                    <a:pt x="283" y="109"/>
                    <a:pt x="283" y="108"/>
                    <a:pt x="283" y="108"/>
                  </a:cubicBezTo>
                  <a:cubicBezTo>
                    <a:pt x="282" y="105"/>
                    <a:pt x="283" y="103"/>
                    <a:pt x="284" y="101"/>
                  </a:cubicBezTo>
                  <a:cubicBezTo>
                    <a:pt x="285" y="99"/>
                    <a:pt x="287" y="98"/>
                    <a:pt x="289" y="98"/>
                  </a:cubicBezTo>
                  <a:cubicBezTo>
                    <a:pt x="291" y="98"/>
                    <a:pt x="292" y="99"/>
                    <a:pt x="293" y="100"/>
                  </a:cubicBezTo>
                  <a:cubicBezTo>
                    <a:pt x="297" y="100"/>
                    <a:pt x="297" y="100"/>
                    <a:pt x="297" y="100"/>
                  </a:cubicBezTo>
                  <a:cubicBezTo>
                    <a:pt x="302" y="108"/>
                    <a:pt x="302" y="108"/>
                    <a:pt x="302" y="108"/>
                  </a:cubicBezTo>
                  <a:cubicBezTo>
                    <a:pt x="308" y="113"/>
                    <a:pt x="308" y="113"/>
                    <a:pt x="308" y="113"/>
                  </a:cubicBezTo>
                  <a:cubicBezTo>
                    <a:pt x="311" y="116"/>
                    <a:pt x="315" y="119"/>
                    <a:pt x="316" y="119"/>
                  </a:cubicBezTo>
                  <a:cubicBezTo>
                    <a:pt x="317" y="119"/>
                    <a:pt x="323" y="121"/>
                    <a:pt x="325" y="122"/>
                  </a:cubicBezTo>
                  <a:cubicBezTo>
                    <a:pt x="327" y="120"/>
                    <a:pt x="327" y="120"/>
                    <a:pt x="327" y="120"/>
                  </a:cubicBezTo>
                  <a:cubicBezTo>
                    <a:pt x="329" y="118"/>
                    <a:pt x="329" y="118"/>
                    <a:pt x="329" y="118"/>
                  </a:cubicBezTo>
                  <a:cubicBezTo>
                    <a:pt x="328" y="116"/>
                    <a:pt x="328" y="116"/>
                    <a:pt x="328" y="116"/>
                  </a:cubicBezTo>
                  <a:cubicBezTo>
                    <a:pt x="335" y="112"/>
                    <a:pt x="335" y="112"/>
                    <a:pt x="335" y="112"/>
                  </a:cubicBezTo>
                  <a:cubicBezTo>
                    <a:pt x="339" y="115"/>
                    <a:pt x="339" y="115"/>
                    <a:pt x="339" y="115"/>
                  </a:cubicBezTo>
                  <a:cubicBezTo>
                    <a:pt x="347" y="117"/>
                    <a:pt x="347" y="117"/>
                    <a:pt x="347" y="117"/>
                  </a:cubicBezTo>
                  <a:cubicBezTo>
                    <a:pt x="350" y="119"/>
                    <a:pt x="350" y="119"/>
                    <a:pt x="350" y="119"/>
                  </a:cubicBezTo>
                  <a:cubicBezTo>
                    <a:pt x="350" y="119"/>
                    <a:pt x="350" y="119"/>
                    <a:pt x="350" y="119"/>
                  </a:cubicBezTo>
                  <a:cubicBezTo>
                    <a:pt x="350" y="118"/>
                    <a:pt x="350" y="116"/>
                    <a:pt x="350" y="114"/>
                  </a:cubicBezTo>
                  <a:cubicBezTo>
                    <a:pt x="349" y="114"/>
                    <a:pt x="349" y="113"/>
                    <a:pt x="349" y="112"/>
                  </a:cubicBezTo>
                  <a:cubicBezTo>
                    <a:pt x="349" y="111"/>
                    <a:pt x="349" y="110"/>
                    <a:pt x="351" y="108"/>
                  </a:cubicBezTo>
                  <a:cubicBezTo>
                    <a:pt x="356" y="104"/>
                    <a:pt x="356" y="104"/>
                    <a:pt x="356" y="104"/>
                  </a:cubicBezTo>
                  <a:cubicBezTo>
                    <a:pt x="357" y="103"/>
                    <a:pt x="357" y="103"/>
                    <a:pt x="357" y="103"/>
                  </a:cubicBezTo>
                  <a:cubicBezTo>
                    <a:pt x="357" y="103"/>
                    <a:pt x="358" y="103"/>
                    <a:pt x="358" y="102"/>
                  </a:cubicBezTo>
                  <a:cubicBezTo>
                    <a:pt x="358" y="100"/>
                    <a:pt x="356" y="96"/>
                    <a:pt x="356" y="94"/>
                  </a:cubicBezTo>
                  <a:cubicBezTo>
                    <a:pt x="355" y="93"/>
                    <a:pt x="354" y="89"/>
                    <a:pt x="354" y="87"/>
                  </a:cubicBezTo>
                  <a:cubicBezTo>
                    <a:pt x="355" y="83"/>
                    <a:pt x="354" y="79"/>
                    <a:pt x="354" y="76"/>
                  </a:cubicBezTo>
                  <a:cubicBezTo>
                    <a:pt x="353" y="72"/>
                    <a:pt x="352" y="69"/>
                    <a:pt x="356" y="68"/>
                  </a:cubicBezTo>
                  <a:cubicBezTo>
                    <a:pt x="358" y="66"/>
                    <a:pt x="358" y="66"/>
                    <a:pt x="358" y="66"/>
                  </a:cubicBezTo>
                  <a:cubicBezTo>
                    <a:pt x="358" y="66"/>
                    <a:pt x="358" y="65"/>
                    <a:pt x="357" y="64"/>
                  </a:cubicBezTo>
                  <a:cubicBezTo>
                    <a:pt x="356" y="62"/>
                    <a:pt x="355" y="60"/>
                    <a:pt x="356" y="58"/>
                  </a:cubicBezTo>
                  <a:cubicBezTo>
                    <a:pt x="357" y="57"/>
                    <a:pt x="358" y="56"/>
                    <a:pt x="361" y="56"/>
                  </a:cubicBezTo>
                  <a:cubicBezTo>
                    <a:pt x="363" y="54"/>
                    <a:pt x="363" y="54"/>
                    <a:pt x="363" y="54"/>
                  </a:cubicBezTo>
                  <a:cubicBezTo>
                    <a:pt x="369" y="54"/>
                    <a:pt x="369" y="54"/>
                    <a:pt x="369" y="54"/>
                  </a:cubicBezTo>
                  <a:cubicBezTo>
                    <a:pt x="370" y="51"/>
                    <a:pt x="370" y="51"/>
                    <a:pt x="370" y="51"/>
                  </a:cubicBezTo>
                  <a:cubicBezTo>
                    <a:pt x="375" y="46"/>
                    <a:pt x="375" y="46"/>
                    <a:pt x="375" y="46"/>
                  </a:cubicBezTo>
                  <a:cubicBezTo>
                    <a:pt x="376" y="46"/>
                    <a:pt x="376" y="46"/>
                    <a:pt x="376" y="46"/>
                  </a:cubicBezTo>
                  <a:cubicBezTo>
                    <a:pt x="377" y="46"/>
                    <a:pt x="378" y="45"/>
                    <a:pt x="380" y="45"/>
                  </a:cubicBezTo>
                  <a:cubicBezTo>
                    <a:pt x="382" y="45"/>
                    <a:pt x="383" y="46"/>
                    <a:pt x="384" y="47"/>
                  </a:cubicBezTo>
                  <a:cubicBezTo>
                    <a:pt x="385" y="48"/>
                    <a:pt x="386" y="48"/>
                    <a:pt x="386" y="49"/>
                  </a:cubicBezTo>
                  <a:cubicBezTo>
                    <a:pt x="387" y="50"/>
                    <a:pt x="387" y="50"/>
                    <a:pt x="388" y="51"/>
                  </a:cubicBezTo>
                  <a:cubicBezTo>
                    <a:pt x="398" y="54"/>
                    <a:pt x="398" y="54"/>
                    <a:pt x="398" y="54"/>
                  </a:cubicBezTo>
                  <a:cubicBezTo>
                    <a:pt x="404" y="55"/>
                    <a:pt x="404" y="55"/>
                    <a:pt x="404" y="55"/>
                  </a:cubicBezTo>
                  <a:cubicBezTo>
                    <a:pt x="407" y="57"/>
                    <a:pt x="407" y="57"/>
                    <a:pt x="407" y="57"/>
                  </a:cubicBezTo>
                  <a:cubicBezTo>
                    <a:pt x="407" y="58"/>
                    <a:pt x="407" y="58"/>
                    <a:pt x="407" y="58"/>
                  </a:cubicBezTo>
                  <a:cubicBezTo>
                    <a:pt x="407" y="60"/>
                    <a:pt x="407" y="61"/>
                    <a:pt x="407" y="62"/>
                  </a:cubicBezTo>
                  <a:cubicBezTo>
                    <a:pt x="407" y="63"/>
                    <a:pt x="408" y="65"/>
                    <a:pt x="409" y="65"/>
                  </a:cubicBezTo>
                  <a:cubicBezTo>
                    <a:pt x="409" y="66"/>
                    <a:pt x="409" y="66"/>
                    <a:pt x="409" y="66"/>
                  </a:cubicBezTo>
                  <a:cubicBezTo>
                    <a:pt x="409" y="66"/>
                    <a:pt x="409" y="66"/>
                    <a:pt x="409" y="66"/>
                  </a:cubicBezTo>
                  <a:cubicBezTo>
                    <a:pt x="409" y="67"/>
                    <a:pt x="409" y="67"/>
                    <a:pt x="408" y="69"/>
                  </a:cubicBezTo>
                  <a:cubicBezTo>
                    <a:pt x="408" y="70"/>
                    <a:pt x="407" y="71"/>
                    <a:pt x="407" y="71"/>
                  </a:cubicBezTo>
                  <a:cubicBezTo>
                    <a:pt x="407" y="72"/>
                    <a:pt x="407" y="73"/>
                    <a:pt x="407" y="74"/>
                  </a:cubicBezTo>
                  <a:cubicBezTo>
                    <a:pt x="407" y="75"/>
                    <a:pt x="407" y="75"/>
                    <a:pt x="407" y="75"/>
                  </a:cubicBezTo>
                  <a:cubicBezTo>
                    <a:pt x="407" y="75"/>
                    <a:pt x="407" y="76"/>
                    <a:pt x="407" y="76"/>
                  </a:cubicBezTo>
                  <a:cubicBezTo>
                    <a:pt x="407" y="76"/>
                    <a:pt x="407" y="77"/>
                    <a:pt x="407" y="77"/>
                  </a:cubicBezTo>
                  <a:cubicBezTo>
                    <a:pt x="407" y="78"/>
                    <a:pt x="407" y="80"/>
                    <a:pt x="408" y="81"/>
                  </a:cubicBezTo>
                  <a:cubicBezTo>
                    <a:pt x="408" y="81"/>
                    <a:pt x="410" y="82"/>
                    <a:pt x="411" y="83"/>
                  </a:cubicBezTo>
                  <a:cubicBezTo>
                    <a:pt x="411" y="81"/>
                    <a:pt x="412" y="78"/>
                    <a:pt x="412" y="77"/>
                  </a:cubicBezTo>
                  <a:cubicBezTo>
                    <a:pt x="410" y="73"/>
                    <a:pt x="414" y="69"/>
                    <a:pt x="415" y="68"/>
                  </a:cubicBezTo>
                  <a:cubicBezTo>
                    <a:pt x="420" y="63"/>
                    <a:pt x="420" y="63"/>
                    <a:pt x="420" y="63"/>
                  </a:cubicBezTo>
                  <a:cubicBezTo>
                    <a:pt x="418" y="56"/>
                    <a:pt x="418" y="56"/>
                    <a:pt x="418" y="56"/>
                  </a:cubicBezTo>
                  <a:cubicBezTo>
                    <a:pt x="427" y="56"/>
                    <a:pt x="427" y="56"/>
                    <a:pt x="427" y="56"/>
                  </a:cubicBezTo>
                  <a:cubicBezTo>
                    <a:pt x="428" y="55"/>
                    <a:pt x="429" y="54"/>
                    <a:pt x="429" y="54"/>
                  </a:cubicBezTo>
                  <a:close/>
                </a:path>
              </a:pathLst>
            </a:custGeom>
            <a:solidFill>
              <a:srgbClr val="0181C7"/>
            </a:solidFill>
            <a:ln w="6350" cap="flat">
              <a:solidFill>
                <a:schemeClr val="bg1">
                  <a:alpha val="25000"/>
                </a:schemeClr>
              </a:solidFill>
              <a:prstDash val="solid"/>
              <a:round/>
              <a:headEnd/>
              <a:tailEnd/>
            </a:ln>
          </p:spPr>
          <p:txBody>
            <a:bodyPr vert="horz" wrap="square" lIns="91440" tIns="45720" rIns="91440" bIns="45720" numCol="1" anchor="t" anchorCtr="0" compatLnSpc="1">
              <a:prstTxWarp prst="textNoShape">
                <a:avLst/>
              </a:prstTxWarp>
            </a:bodyPr>
            <a:lstStyle/>
            <a:p>
              <a:pPr algn="l"/>
              <a:endParaRPr lang="id-ID" sz="5400"/>
            </a:p>
          </p:txBody>
        </p:sp>
      </p:grpSp>
    </p:spTree>
    <p:extLst>
      <p:ext uri="{BB962C8B-B14F-4D97-AF65-F5344CB8AC3E}">
        <p14:creationId xmlns:p14="http://schemas.microsoft.com/office/powerpoint/2010/main" val="1328110756"/>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Oval 55"/>
          <p:cNvSpPr/>
          <p:nvPr/>
        </p:nvSpPr>
        <p:spPr bwMode="auto">
          <a:xfrm>
            <a:off x="2182888" y="3382907"/>
            <a:ext cx="20090232" cy="10115485"/>
          </a:xfrm>
          <a:prstGeom prst="ellipse">
            <a:avLst/>
          </a:prstGeom>
          <a:solidFill>
            <a:schemeClr val="bg1"/>
          </a:solidFill>
          <a:ln w="25400" cap="flat" cmpd="sng" algn="ctr">
            <a:solidFill>
              <a:srgbClr val="000000"/>
            </a:solidFill>
            <a:prstDash val="dash"/>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5600" b="0" i="0" u="none" strike="noStrike" cap="none" normalizeH="0" baseline="0" smtClean="0">
              <a:ln>
                <a:noFill/>
              </a:ln>
              <a:solidFill>
                <a:srgbClr val="000000"/>
              </a:solidFill>
              <a:effectLst/>
              <a:latin typeface="Gill Sans" charset="0"/>
              <a:ea typeface="Heiti SC Light" charset="0"/>
              <a:cs typeface="Heiti SC Light" charset="0"/>
              <a:sym typeface="Gill Sans" charset="0"/>
            </a:endParaRPr>
          </a:p>
        </p:txBody>
      </p:sp>
      <p:sp>
        <p:nvSpPr>
          <p:cNvPr id="2" name="Slide Number Placeholder 1"/>
          <p:cNvSpPr>
            <a:spLocks noGrp="1"/>
          </p:cNvSpPr>
          <p:nvPr>
            <p:ph type="sldNum" sz="quarter" idx="10"/>
          </p:nvPr>
        </p:nvSpPr>
        <p:spPr/>
        <p:txBody>
          <a:bodyPr/>
          <a:lstStyle/>
          <a:p>
            <a:fld id="{CD1E7C23-2AAD-0D45-B01B-5A673730BB06}" type="slidenum">
              <a:rPr lang="en-US" smtClean="0"/>
              <a:pPr/>
              <a:t>5</a:t>
            </a:fld>
            <a:endParaRPr lang="en-US" dirty="0"/>
          </a:p>
        </p:txBody>
      </p:sp>
      <p:sp>
        <p:nvSpPr>
          <p:cNvPr id="3" name="Content Placeholder 2"/>
          <p:cNvSpPr>
            <a:spLocks noGrp="1"/>
          </p:cNvSpPr>
          <p:nvPr>
            <p:ph sz="quarter" idx="20"/>
          </p:nvPr>
        </p:nvSpPr>
        <p:spPr>
          <a:xfrm>
            <a:off x="1102768" y="1169368"/>
            <a:ext cx="20234248" cy="830997"/>
          </a:xfrm>
        </p:spPr>
        <p:txBody>
          <a:bodyPr/>
          <a:lstStyle/>
          <a:p>
            <a:r>
              <a:rPr lang="en-GB" dirty="0"/>
              <a:t>Over 50 FCH industry players at present</a:t>
            </a:r>
          </a:p>
        </p:txBody>
      </p:sp>
      <p:pic>
        <p:nvPicPr>
          <p:cNvPr id="6" name="Picture 43" descr="Bildergebnis für toyota"/>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3023952" y="9069637"/>
            <a:ext cx="2299768" cy="120738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843784" y="6827184"/>
            <a:ext cx="2093340" cy="425648"/>
          </a:xfrm>
          <a:prstGeom prst="rect">
            <a:avLst/>
          </a:prstGeom>
        </p:spPr>
      </p:pic>
      <p:pic>
        <p:nvPicPr>
          <p:cNvPr id="9" name="Picture 8"/>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1027830" y="3571306"/>
            <a:ext cx="3082520" cy="699922"/>
          </a:xfrm>
          <a:prstGeom prst="rect">
            <a:avLst/>
          </a:prstGeom>
        </p:spPr>
      </p:pic>
      <p:pic>
        <p:nvPicPr>
          <p:cNvPr id="10" name="Picture 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7501373" y="6410584"/>
            <a:ext cx="2136942" cy="299172"/>
          </a:xfrm>
          <a:prstGeom prst="rect">
            <a:avLst/>
          </a:prstGeom>
        </p:spPr>
      </p:pic>
      <p:pic>
        <p:nvPicPr>
          <p:cNvPr id="11" name="Picture 10"/>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463794" y="4967555"/>
            <a:ext cx="2446428" cy="811770"/>
          </a:xfrm>
          <a:prstGeom prst="rect">
            <a:avLst/>
          </a:prstGeom>
        </p:spPr>
      </p:pic>
      <p:pic>
        <p:nvPicPr>
          <p:cNvPr id="12" name="Picture 11"/>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12587687" y="11256481"/>
            <a:ext cx="1224416" cy="999420"/>
          </a:xfrm>
          <a:prstGeom prst="rect">
            <a:avLst/>
          </a:prstGeom>
        </p:spPr>
      </p:pic>
      <p:pic>
        <p:nvPicPr>
          <p:cNvPr id="13" name="Picture 12"/>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5994753" y="11028863"/>
            <a:ext cx="2357292" cy="827958"/>
          </a:xfrm>
          <a:prstGeom prst="rect">
            <a:avLst/>
          </a:prstGeom>
        </p:spPr>
      </p:pic>
      <p:pic>
        <p:nvPicPr>
          <p:cNvPr id="14" name="Picture 13"/>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6086126" y="9459736"/>
            <a:ext cx="1637032" cy="1004048"/>
          </a:xfrm>
          <a:prstGeom prst="rect">
            <a:avLst/>
          </a:prstGeom>
        </p:spPr>
      </p:pic>
      <p:pic>
        <p:nvPicPr>
          <p:cNvPr id="15" name="Picture 14"/>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8583262" y="3916086"/>
            <a:ext cx="1915286" cy="957644"/>
          </a:xfrm>
          <a:prstGeom prst="rect">
            <a:avLst/>
          </a:prstGeom>
        </p:spPr>
      </p:pic>
      <p:pic>
        <p:nvPicPr>
          <p:cNvPr id="16" name="Picture 15"/>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8265185" y="7152951"/>
            <a:ext cx="1667022" cy="700150"/>
          </a:xfrm>
          <a:prstGeom prst="rect">
            <a:avLst/>
          </a:prstGeom>
        </p:spPr>
      </p:pic>
      <p:pic>
        <p:nvPicPr>
          <p:cNvPr id="17" name="Picture 16"/>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4792718" y="7307446"/>
            <a:ext cx="1962732" cy="543024"/>
          </a:xfrm>
          <a:prstGeom prst="rect">
            <a:avLst/>
          </a:prstGeom>
        </p:spPr>
      </p:pic>
      <p:pic>
        <p:nvPicPr>
          <p:cNvPr id="18" name="Picture 17"/>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19957329" y="8265178"/>
            <a:ext cx="2178684" cy="541788"/>
          </a:xfrm>
          <a:prstGeom prst="rect">
            <a:avLst/>
          </a:prstGeom>
        </p:spPr>
      </p:pic>
      <p:pic>
        <p:nvPicPr>
          <p:cNvPr id="19" name="Picture 18"/>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12845047" y="4487700"/>
            <a:ext cx="2725480" cy="481500"/>
          </a:xfrm>
          <a:prstGeom prst="rect">
            <a:avLst/>
          </a:prstGeom>
        </p:spPr>
      </p:pic>
      <p:pic>
        <p:nvPicPr>
          <p:cNvPr id="20" name="Picture 19"/>
          <p:cNvPicPr>
            <a:picLocks noChangeAspect="1"/>
          </p:cNvPicPr>
          <p:nvPr/>
        </p:nvPicPr>
        <p:blipFill rotWithShape="1">
          <a:blip r:embed="rId15" cstate="email">
            <a:extLst>
              <a:ext uri="{28A0092B-C50C-407E-A947-70E740481C1C}">
                <a14:useLocalDpi xmlns:a14="http://schemas.microsoft.com/office/drawing/2010/main"/>
              </a:ext>
            </a:extLst>
          </a:blip>
          <a:srcRect/>
          <a:stretch/>
        </p:blipFill>
        <p:spPr>
          <a:xfrm>
            <a:off x="17428906" y="5227290"/>
            <a:ext cx="2025950" cy="490790"/>
          </a:xfrm>
          <a:prstGeom prst="rect">
            <a:avLst/>
          </a:prstGeom>
        </p:spPr>
      </p:pic>
      <p:pic>
        <p:nvPicPr>
          <p:cNvPr id="21" name="Picture 20"/>
          <p:cNvPicPr>
            <a:picLocks noChangeAspect="1"/>
          </p:cNvPicPr>
          <p:nvPr/>
        </p:nvPicPr>
        <p:blipFill rotWithShape="1">
          <a:blip r:embed="rId16" cstate="email">
            <a:extLst>
              <a:ext uri="{28A0092B-C50C-407E-A947-70E740481C1C}">
                <a14:useLocalDpi xmlns:a14="http://schemas.microsoft.com/office/drawing/2010/main"/>
              </a:ext>
            </a:extLst>
          </a:blip>
          <a:srcRect/>
          <a:stretch/>
        </p:blipFill>
        <p:spPr>
          <a:xfrm>
            <a:off x="15338508" y="10723741"/>
            <a:ext cx="2232008" cy="685326"/>
          </a:xfrm>
          <a:prstGeom prst="rect">
            <a:avLst/>
          </a:prstGeom>
        </p:spPr>
      </p:pic>
      <p:pic>
        <p:nvPicPr>
          <p:cNvPr id="22" name="Picture 21"/>
          <p:cNvPicPr>
            <a:picLocks noChangeAspect="1"/>
          </p:cNvPicPr>
          <p:nvPr/>
        </p:nvPicPr>
        <p:blipFill rotWithShape="1">
          <a:blip r:embed="rId17" cstate="email">
            <a:extLst>
              <a:ext uri="{28A0092B-C50C-407E-A947-70E740481C1C}">
                <a14:useLocalDpi xmlns:a14="http://schemas.microsoft.com/office/drawing/2010/main"/>
              </a:ext>
            </a:extLst>
          </a:blip>
          <a:srcRect l="7347" r="11313" b="3828"/>
          <a:stretch/>
        </p:blipFill>
        <p:spPr>
          <a:xfrm>
            <a:off x="13589638" y="10228265"/>
            <a:ext cx="1370666" cy="990360"/>
          </a:xfrm>
          <a:prstGeom prst="rect">
            <a:avLst/>
          </a:prstGeom>
        </p:spPr>
      </p:pic>
      <p:pic>
        <p:nvPicPr>
          <p:cNvPr id="23" name="Picture 22"/>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15431612" y="5250311"/>
            <a:ext cx="1002696" cy="910576"/>
          </a:xfrm>
          <a:prstGeom prst="rect">
            <a:avLst/>
          </a:prstGeom>
        </p:spPr>
      </p:pic>
      <p:pic>
        <p:nvPicPr>
          <p:cNvPr id="24" name="Picture 23"/>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4860836" y="10517434"/>
            <a:ext cx="740388" cy="1052684"/>
          </a:xfrm>
          <a:prstGeom prst="rect">
            <a:avLst/>
          </a:prstGeom>
        </p:spPr>
      </p:pic>
      <p:pic>
        <p:nvPicPr>
          <p:cNvPr id="25" name="Picture 13" descr="image009"/>
          <p:cNvPicPr>
            <a:picLocks noChangeAspect="1" noChangeArrowheads="1"/>
          </p:cNvPicPr>
          <p:nvPr/>
        </p:nvPicPr>
        <p:blipFill>
          <a:blip r:embed="rId20" cstate="print">
            <a:extLst>
              <a:ext uri="{28A0092B-C50C-407E-A947-70E740481C1C}">
                <a14:useLocalDpi xmlns:a14="http://schemas.microsoft.com/office/drawing/2010/main"/>
              </a:ext>
            </a:extLst>
          </a:blip>
          <a:srcRect/>
          <a:stretch>
            <a:fillRect/>
          </a:stretch>
        </p:blipFill>
        <p:spPr bwMode="auto">
          <a:xfrm>
            <a:off x="4809346" y="7380856"/>
            <a:ext cx="2644860" cy="829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2"/>
          <p:cNvPicPr>
            <a:picLocks noChangeAspect="1" noChangeArrowheads="1"/>
          </p:cNvPicPr>
          <p:nvPr/>
        </p:nvPicPr>
        <p:blipFill>
          <a:blip r:embed="rId21" cstate="email">
            <a:extLst>
              <a:ext uri="{28A0092B-C50C-407E-A947-70E740481C1C}">
                <a14:useLocalDpi xmlns:a14="http://schemas.microsoft.com/office/drawing/2010/main"/>
              </a:ext>
            </a:extLst>
          </a:blip>
          <a:srcRect/>
          <a:stretch>
            <a:fillRect/>
          </a:stretch>
        </p:blipFill>
        <p:spPr bwMode="auto">
          <a:xfrm>
            <a:off x="14294676" y="6109175"/>
            <a:ext cx="2261904" cy="8083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7" name="Picture 18"/>
          <p:cNvPicPr>
            <a:picLocks noChangeAspect="1" noChangeArrowheads="1"/>
          </p:cNvPicPr>
          <p:nvPr/>
        </p:nvPicPr>
        <p:blipFill>
          <a:blip r:embed="rId22" cstate="email">
            <a:extLst>
              <a:ext uri="{28A0092B-C50C-407E-A947-70E740481C1C}">
                <a14:useLocalDpi xmlns:a14="http://schemas.microsoft.com/office/drawing/2010/main"/>
              </a:ext>
            </a:extLst>
          </a:blip>
          <a:srcRect/>
          <a:stretch>
            <a:fillRect/>
          </a:stretch>
        </p:blipFill>
        <p:spPr bwMode="auto">
          <a:xfrm>
            <a:off x="9883653" y="11371045"/>
            <a:ext cx="1769712" cy="17697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8" name="Picture 20"/>
          <p:cNvPicPr>
            <a:picLocks noChangeAspect="1" noChangeArrowheads="1"/>
          </p:cNvPicPr>
          <p:nvPr/>
        </p:nvPicPr>
        <p:blipFill>
          <a:blip r:embed="rId23" cstate="print">
            <a:extLst>
              <a:ext uri="{28A0092B-C50C-407E-A947-70E740481C1C}">
                <a14:useLocalDpi xmlns:a14="http://schemas.microsoft.com/office/drawing/2010/main"/>
              </a:ext>
            </a:extLst>
          </a:blip>
          <a:srcRect/>
          <a:stretch>
            <a:fillRect/>
          </a:stretch>
        </p:blipFill>
        <p:spPr bwMode="auto">
          <a:xfrm>
            <a:off x="17512325" y="8684665"/>
            <a:ext cx="2066256" cy="7881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9" name="Picture 21"/>
          <p:cNvPicPr>
            <a:picLocks noChangeAspect="1" noChangeArrowheads="1"/>
          </p:cNvPicPr>
          <p:nvPr/>
        </p:nvPicPr>
        <p:blipFill>
          <a:blip r:embed="rId24" cstate="email">
            <a:extLst>
              <a:ext uri="{28A0092B-C50C-407E-A947-70E740481C1C}">
                <a14:useLocalDpi xmlns:a14="http://schemas.microsoft.com/office/drawing/2010/main"/>
              </a:ext>
            </a:extLst>
          </a:blip>
          <a:srcRect/>
          <a:stretch>
            <a:fillRect/>
          </a:stretch>
        </p:blipFill>
        <p:spPr bwMode="auto">
          <a:xfrm>
            <a:off x="5674616" y="4720508"/>
            <a:ext cx="2556944" cy="4813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 name="Picture 22"/>
          <p:cNvPicPr>
            <a:picLocks noChangeAspect="1" noChangeArrowheads="1"/>
          </p:cNvPicPr>
          <p:nvPr/>
        </p:nvPicPr>
        <p:blipFill>
          <a:blip r:embed="rId25" cstate="email">
            <a:extLst>
              <a:ext uri="{28A0092B-C50C-407E-A947-70E740481C1C}">
                <a14:useLocalDpi xmlns:a14="http://schemas.microsoft.com/office/drawing/2010/main"/>
              </a:ext>
            </a:extLst>
          </a:blip>
          <a:srcRect/>
          <a:stretch>
            <a:fillRect/>
          </a:stretch>
        </p:blipFill>
        <p:spPr bwMode="auto">
          <a:xfrm>
            <a:off x="8482629" y="6395312"/>
            <a:ext cx="1910070" cy="448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1" name="Picture 25"/>
          <p:cNvPicPr>
            <a:picLocks noChangeAspect="1" noChangeArrowheads="1"/>
          </p:cNvPicPr>
          <p:nvPr/>
        </p:nvPicPr>
        <p:blipFill rotWithShape="1">
          <a:blip r:embed="rId26" cstate="email">
            <a:extLst>
              <a:ext uri="{28A0092B-C50C-407E-A947-70E740481C1C}">
                <a14:useLocalDpi xmlns:a14="http://schemas.microsoft.com/office/drawing/2010/main"/>
              </a:ext>
            </a:extLst>
          </a:blip>
          <a:srcRect/>
          <a:stretch/>
        </p:blipFill>
        <p:spPr bwMode="auto">
          <a:xfrm>
            <a:off x="18894343" y="9516142"/>
            <a:ext cx="2125972" cy="12748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 name="Picture 27"/>
          <p:cNvPicPr>
            <a:picLocks noChangeAspect="1" noChangeArrowheads="1"/>
          </p:cNvPicPr>
          <p:nvPr/>
        </p:nvPicPr>
        <p:blipFill rotWithShape="1">
          <a:blip r:embed="rId27" cstate="email">
            <a:extLst>
              <a:ext uri="{28A0092B-C50C-407E-A947-70E740481C1C}">
                <a14:useLocalDpi xmlns:a14="http://schemas.microsoft.com/office/drawing/2010/main"/>
              </a:ext>
            </a:extLst>
          </a:blip>
          <a:srcRect/>
          <a:stretch/>
        </p:blipFill>
        <p:spPr bwMode="auto">
          <a:xfrm>
            <a:off x="2744651" y="7997135"/>
            <a:ext cx="2189284" cy="7100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3" name="Immagine 1" descr="cid:image001.png@01D2B2CC.80213C60"/>
          <p:cNvPicPr>
            <a:picLocks noChangeAspect="1" noChangeArrowheads="1"/>
          </p:cNvPicPr>
          <p:nvPr/>
        </p:nvPicPr>
        <p:blipFill>
          <a:blip r:embed="rId28" cstate="print">
            <a:extLst>
              <a:ext uri="{28A0092B-C50C-407E-A947-70E740481C1C}">
                <a14:useLocalDpi xmlns:a14="http://schemas.microsoft.com/office/drawing/2010/main"/>
              </a:ext>
            </a:extLst>
          </a:blip>
          <a:srcRect/>
          <a:stretch>
            <a:fillRect/>
          </a:stretch>
        </p:blipFill>
        <p:spPr bwMode="auto">
          <a:xfrm>
            <a:off x="8087943" y="9238643"/>
            <a:ext cx="1371174" cy="532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147" descr="https://www.naval-group.com/wp-content/uploads/2017/06/logo-1.png"/>
          <p:cNvPicPr>
            <a:picLocks noChangeAspect="1" noChangeArrowheads="1"/>
          </p:cNvPicPr>
          <p:nvPr/>
        </p:nvPicPr>
        <p:blipFill>
          <a:blip r:embed="rId29" cstate="print">
            <a:extLst>
              <a:ext uri="{28A0092B-C50C-407E-A947-70E740481C1C}">
                <a14:useLocalDpi xmlns:a14="http://schemas.microsoft.com/office/drawing/2010/main"/>
              </a:ext>
            </a:extLst>
          </a:blip>
          <a:srcRect/>
          <a:stretch>
            <a:fillRect/>
          </a:stretch>
        </p:blipFill>
        <p:spPr bwMode="auto">
          <a:xfrm>
            <a:off x="6684772" y="5436132"/>
            <a:ext cx="1381716" cy="84580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97" descr="ITM Power"/>
          <p:cNvPicPr>
            <a:picLocks noChangeAspect="1" noChangeArrowheads="1"/>
          </p:cNvPicPr>
          <p:nvPr/>
        </p:nvPicPr>
        <p:blipFill>
          <a:blip r:embed="rId30" cstate="print">
            <a:extLst>
              <a:ext uri="{28A0092B-C50C-407E-A947-70E740481C1C}">
                <a14:useLocalDpi xmlns:a14="http://schemas.microsoft.com/office/drawing/2010/main"/>
              </a:ext>
            </a:extLst>
          </a:blip>
          <a:srcRect/>
          <a:stretch>
            <a:fillRect/>
          </a:stretch>
        </p:blipFill>
        <p:spPr bwMode="auto">
          <a:xfrm>
            <a:off x="6449846" y="9771668"/>
            <a:ext cx="1717928" cy="1193950"/>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147" descr="https://media.licdn.com/mpr/mpr/shrink_200_200/AAEAAQAAAAAAAAzFAAAAJGU0ZmY5MzQ1LTJlMmUtNDMwNi1hYTVlLWNmOTg0OWYyMzBiMg.png"/>
          <p:cNvPicPr>
            <a:picLocks noChangeAspect="1" noChangeArrowheads="1"/>
          </p:cNvPicPr>
          <p:nvPr/>
        </p:nvPicPr>
        <p:blipFill rotWithShape="1">
          <a:blip r:embed="rId31" cstate="email">
            <a:extLst>
              <a:ext uri="{28A0092B-C50C-407E-A947-70E740481C1C}">
                <a14:useLocalDpi xmlns:a14="http://schemas.microsoft.com/office/drawing/2010/main"/>
              </a:ext>
            </a:extLst>
          </a:blip>
          <a:srcRect t="37422" b="36996"/>
          <a:stretch/>
        </p:blipFill>
        <p:spPr bwMode="auto">
          <a:xfrm>
            <a:off x="7527790" y="8210308"/>
            <a:ext cx="2125124" cy="535868"/>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39" descr="Bildergebnis für proton motor fuel cell"/>
          <p:cNvPicPr>
            <a:picLocks noChangeAspect="1" noChangeArrowheads="1"/>
          </p:cNvPicPr>
          <p:nvPr/>
        </p:nvPicPr>
        <p:blipFill>
          <a:blip r:embed="rId32" cstate="print">
            <a:extLst>
              <a:ext uri="{28A0092B-C50C-407E-A947-70E740481C1C}">
                <a14:useLocalDpi xmlns:a14="http://schemas.microsoft.com/office/drawing/2010/main"/>
              </a:ext>
            </a:extLst>
          </a:blip>
          <a:srcRect/>
          <a:stretch>
            <a:fillRect/>
          </a:stretch>
        </p:blipFill>
        <p:spPr bwMode="auto">
          <a:xfrm>
            <a:off x="4448324" y="5287520"/>
            <a:ext cx="1422236" cy="1422236"/>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46" descr="Bildergebnis für PersEE innovation"/>
          <p:cNvPicPr>
            <a:picLocks noChangeAspect="1" noChangeArrowheads="1"/>
          </p:cNvPicPr>
          <p:nvPr/>
        </p:nvPicPr>
        <p:blipFill>
          <a:blip r:embed="rId33" cstate="email">
            <a:extLst>
              <a:ext uri="{28A0092B-C50C-407E-A947-70E740481C1C}">
                <a14:useLocalDpi xmlns:a14="http://schemas.microsoft.com/office/drawing/2010/main"/>
              </a:ext>
            </a:extLst>
          </a:blip>
          <a:srcRect/>
          <a:stretch>
            <a:fillRect/>
          </a:stretch>
        </p:blipFill>
        <p:spPr bwMode="auto">
          <a:xfrm>
            <a:off x="5716910" y="8995502"/>
            <a:ext cx="852434" cy="692780"/>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4"/>
          <p:cNvPicPr>
            <a:picLocks noChangeAspect="1" noChangeArrowheads="1"/>
          </p:cNvPicPr>
          <p:nvPr/>
        </p:nvPicPr>
        <p:blipFill>
          <a:blip r:embed="rId34" cstate="email">
            <a:extLst>
              <a:ext uri="{28A0092B-C50C-407E-A947-70E740481C1C}">
                <a14:useLocalDpi xmlns:a14="http://schemas.microsoft.com/office/drawing/2010/main"/>
              </a:ext>
            </a:extLst>
          </a:blip>
          <a:srcRect/>
          <a:stretch>
            <a:fillRect/>
          </a:stretch>
        </p:blipFill>
        <p:spPr bwMode="auto">
          <a:xfrm>
            <a:off x="17924422" y="7268514"/>
            <a:ext cx="1138804" cy="11388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 name="Picture 23" descr="image1f59de">
            <a:hlinkClick r:id="rId35"/>
          </p:cNvPr>
          <p:cNvPicPr>
            <a:picLocks noChangeAspect="1" noChangeArrowheads="1"/>
          </p:cNvPicPr>
          <p:nvPr/>
        </p:nvPicPr>
        <p:blipFill>
          <a:blip r:embed="rId36" cstate="print">
            <a:extLst>
              <a:ext uri="{28A0092B-C50C-407E-A947-70E740481C1C}">
                <a14:useLocalDpi xmlns:a14="http://schemas.microsoft.com/office/drawing/2010/main"/>
              </a:ext>
            </a:extLst>
          </a:blip>
          <a:srcRect/>
          <a:stretch>
            <a:fillRect/>
          </a:stretch>
        </p:blipFill>
        <p:spPr bwMode="auto">
          <a:xfrm>
            <a:off x="5691473" y="6509610"/>
            <a:ext cx="1765624" cy="708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 name="Picture 40"/>
          <p:cNvPicPr>
            <a:picLocks noChangeAspect="1"/>
          </p:cNvPicPr>
          <p:nvPr/>
        </p:nvPicPr>
        <p:blipFill>
          <a:blip r:embed="rId37" cstate="print">
            <a:extLst>
              <a:ext uri="{28A0092B-C50C-407E-A947-70E740481C1C}">
                <a14:useLocalDpi xmlns:a14="http://schemas.microsoft.com/office/drawing/2010/main"/>
              </a:ext>
            </a:extLst>
          </a:blip>
          <a:stretch>
            <a:fillRect/>
          </a:stretch>
        </p:blipFill>
        <p:spPr>
          <a:xfrm>
            <a:off x="19983550" y="7252832"/>
            <a:ext cx="1353466" cy="572966"/>
          </a:xfrm>
          <a:prstGeom prst="rect">
            <a:avLst/>
          </a:prstGeom>
        </p:spPr>
      </p:pic>
      <p:pic>
        <p:nvPicPr>
          <p:cNvPr id="42" name="Picture 1713"/>
          <p:cNvPicPr>
            <a:picLocks noChangeAspect="1" noChangeArrowheads="1"/>
          </p:cNvPicPr>
          <p:nvPr/>
        </p:nvPicPr>
        <p:blipFill>
          <a:blip r:embed="rId38" cstate="email">
            <a:extLst>
              <a:ext uri="{28A0092B-C50C-407E-A947-70E740481C1C}">
                <a14:useLocalDpi xmlns:a14="http://schemas.microsoft.com/office/drawing/2010/main"/>
              </a:ext>
            </a:extLst>
          </a:blip>
          <a:srcRect/>
          <a:stretch>
            <a:fillRect/>
          </a:stretch>
        </p:blipFill>
        <p:spPr bwMode="auto">
          <a:xfrm>
            <a:off x="15851945" y="4323216"/>
            <a:ext cx="1188010" cy="5577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3" name="Picture 193" descr="Ähnliches Foto"/>
          <p:cNvPicPr>
            <a:picLocks noChangeAspect="1" noChangeArrowheads="1"/>
          </p:cNvPicPr>
          <p:nvPr/>
        </p:nvPicPr>
        <p:blipFill>
          <a:blip r:embed="rId39" cstate="print">
            <a:extLst>
              <a:ext uri="{28A0092B-C50C-407E-A947-70E740481C1C}">
                <a14:useLocalDpi xmlns:a14="http://schemas.microsoft.com/office/drawing/2010/main"/>
              </a:ext>
            </a:extLst>
          </a:blip>
          <a:srcRect/>
          <a:stretch>
            <a:fillRect/>
          </a:stretch>
        </p:blipFill>
        <p:spPr bwMode="auto">
          <a:xfrm>
            <a:off x="12566731" y="12500029"/>
            <a:ext cx="2313328" cy="679996"/>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43"/>
          <p:cNvPicPr>
            <a:picLocks noChangeAspect="1"/>
          </p:cNvPicPr>
          <p:nvPr/>
        </p:nvPicPr>
        <p:blipFill rotWithShape="1">
          <a:blip r:embed="rId40" cstate="email">
            <a:extLst>
              <a:ext uri="{28A0092B-C50C-407E-A947-70E740481C1C}">
                <a14:useLocalDpi xmlns:a14="http://schemas.microsoft.com/office/drawing/2010/main"/>
              </a:ext>
            </a:extLst>
          </a:blip>
          <a:srcRect l="7534" t="18097" r="7636" b="18097"/>
          <a:stretch/>
        </p:blipFill>
        <p:spPr>
          <a:xfrm>
            <a:off x="13636176" y="9283150"/>
            <a:ext cx="2071202" cy="633542"/>
          </a:xfrm>
          <a:prstGeom prst="rect">
            <a:avLst/>
          </a:prstGeom>
        </p:spPr>
      </p:pic>
      <p:pic>
        <p:nvPicPr>
          <p:cNvPr id="45" name="Picture 135" descr="D:\Users\M703197\Documents\00_MK\01_Projects\FCHJU_Regions initiative\Admin\BOC_Logo_transparent410_168153.png"/>
          <p:cNvPicPr>
            <a:picLocks noChangeAspect="1" noChangeArrowheads="1"/>
          </p:cNvPicPr>
          <p:nvPr/>
        </p:nvPicPr>
        <p:blipFill>
          <a:blip r:embed="rId41" cstate="print">
            <a:extLst>
              <a:ext uri="{28A0092B-C50C-407E-A947-70E740481C1C}">
                <a14:useLocalDpi xmlns:a14="http://schemas.microsoft.com/office/drawing/2010/main"/>
              </a:ext>
            </a:extLst>
          </a:blip>
          <a:srcRect/>
          <a:stretch>
            <a:fillRect/>
          </a:stretch>
        </p:blipFill>
        <p:spPr bwMode="auto">
          <a:xfrm>
            <a:off x="7375630" y="11862764"/>
            <a:ext cx="1704842" cy="753300"/>
          </a:xfrm>
          <a:prstGeom prst="rect">
            <a:avLst/>
          </a:prstGeom>
          <a:noFill/>
          <a:extLst>
            <a:ext uri="{909E8E84-426E-40DD-AFC4-6F175D3DCCD1}">
              <a14:hiddenFill xmlns:a14="http://schemas.microsoft.com/office/drawing/2010/main">
                <a:solidFill>
                  <a:srgbClr val="FFFFFF"/>
                </a:solidFill>
              </a14:hiddenFill>
            </a:ext>
          </a:extLst>
        </p:spPr>
      </p:pic>
      <p:pic>
        <p:nvPicPr>
          <p:cNvPr id="46" name="Immagine 2" descr="cid:image001.jpg@01D1CA5C.70B495A0"/>
          <p:cNvPicPr>
            <a:picLocks noChangeAspect="1" noChangeArrowheads="1"/>
          </p:cNvPicPr>
          <p:nvPr/>
        </p:nvPicPr>
        <p:blipFill>
          <a:blip r:embed="rId42" cstate="print">
            <a:extLst>
              <a:ext uri="{28A0092B-C50C-407E-A947-70E740481C1C}">
                <a14:useLocalDpi xmlns:a14="http://schemas.microsoft.com/office/drawing/2010/main"/>
              </a:ext>
            </a:extLst>
          </a:blip>
          <a:srcRect/>
          <a:stretch>
            <a:fillRect/>
          </a:stretch>
        </p:blipFill>
        <p:spPr bwMode="auto">
          <a:xfrm>
            <a:off x="14255838" y="11464088"/>
            <a:ext cx="981174" cy="4860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153" descr="logo"/>
          <p:cNvPicPr>
            <a:picLocks noChangeAspect="1" noChangeArrowheads="1"/>
          </p:cNvPicPr>
          <p:nvPr/>
        </p:nvPicPr>
        <p:blipFill>
          <a:blip r:embed="rId43" cstate="print">
            <a:extLst>
              <a:ext uri="{28A0092B-C50C-407E-A947-70E740481C1C}">
                <a14:useLocalDpi xmlns:a14="http://schemas.microsoft.com/office/drawing/2010/main"/>
              </a:ext>
            </a:extLst>
          </a:blip>
          <a:srcRect/>
          <a:stretch>
            <a:fillRect/>
          </a:stretch>
        </p:blipFill>
        <p:spPr bwMode="auto">
          <a:xfrm>
            <a:off x="15059558" y="8432686"/>
            <a:ext cx="1824484" cy="570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7" descr="cid:image006.jpg@01D24BC3.5B1D2BB0"/>
          <p:cNvPicPr/>
          <p:nvPr/>
        </p:nvPicPr>
        <p:blipFill>
          <a:blip r:embed="rId44" r:link="rId45" cstate="email">
            <a:extLst>
              <a:ext uri="{28A0092B-C50C-407E-A947-70E740481C1C}">
                <a14:useLocalDpi xmlns:a14="http://schemas.microsoft.com/office/drawing/2010/main"/>
              </a:ext>
            </a:extLst>
          </a:blip>
          <a:srcRect/>
          <a:stretch>
            <a:fillRect/>
          </a:stretch>
        </p:blipFill>
        <p:spPr bwMode="auto">
          <a:xfrm>
            <a:off x="8305105" y="5527251"/>
            <a:ext cx="1794906" cy="571258"/>
          </a:xfrm>
          <a:prstGeom prst="rect">
            <a:avLst/>
          </a:prstGeom>
          <a:noFill/>
          <a:ln>
            <a:noFill/>
          </a:ln>
        </p:spPr>
      </p:pic>
      <p:pic>
        <p:nvPicPr>
          <p:cNvPr id="49" name="Picture 25" descr="https://upload.wikimedia.org/wikipedia/de/thumb/6/66/Logo_Alstom.svg/1024px-Logo_Alstom.svg.png"/>
          <p:cNvPicPr>
            <a:picLocks noChangeAspect="1" noChangeArrowheads="1"/>
          </p:cNvPicPr>
          <p:nvPr/>
        </p:nvPicPr>
        <p:blipFill>
          <a:blip r:embed="rId46" cstate="email">
            <a:extLst>
              <a:ext uri="{28A0092B-C50C-407E-A947-70E740481C1C}">
                <a14:useLocalDpi xmlns:a14="http://schemas.microsoft.com/office/drawing/2010/main"/>
              </a:ext>
            </a:extLst>
          </a:blip>
          <a:srcRect/>
          <a:stretch>
            <a:fillRect/>
          </a:stretch>
        </p:blipFill>
        <p:spPr bwMode="auto">
          <a:xfrm>
            <a:off x="17955569" y="11197441"/>
            <a:ext cx="1860132" cy="423252"/>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27" descr="https://res.cloudinary.com/mediebruket/image/private/ddp2cabdlydfyrh8vkya"/>
          <p:cNvPicPr>
            <a:picLocks noChangeAspect="1" noChangeArrowheads="1"/>
          </p:cNvPicPr>
          <p:nvPr/>
        </p:nvPicPr>
        <p:blipFill>
          <a:blip r:embed="rId47" cstate="email">
            <a:extLst>
              <a:ext uri="{28A0092B-C50C-407E-A947-70E740481C1C}">
                <a14:useLocalDpi xmlns:a14="http://schemas.microsoft.com/office/drawing/2010/main"/>
              </a:ext>
            </a:extLst>
          </a:blip>
          <a:srcRect/>
          <a:stretch>
            <a:fillRect/>
          </a:stretch>
        </p:blipFill>
        <p:spPr bwMode="auto">
          <a:xfrm>
            <a:off x="8392259" y="10354090"/>
            <a:ext cx="1547354" cy="666030"/>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9" descr="http://www.engie-ep.de/cms/upload/Sitebanner/3._AKTUELLES/3.1_Nachrichten/storengy.jpg"/>
          <p:cNvPicPr>
            <a:picLocks noChangeAspect="1" noChangeArrowheads="1"/>
          </p:cNvPicPr>
          <p:nvPr/>
        </p:nvPicPr>
        <p:blipFill>
          <a:blip r:embed="rId48"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0921197" y="10440747"/>
            <a:ext cx="1939104" cy="445470"/>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117" descr="D:\Users\M703197\AppData\Local\Microsoft\Windows\Temporary Internet Files\Content.Outlook\RRK23H4J\calvera-hydrogen.jpg"/>
          <p:cNvPicPr>
            <a:picLocks noChangeAspect="1" noChangeArrowheads="1"/>
          </p:cNvPicPr>
          <p:nvPr/>
        </p:nvPicPr>
        <p:blipFill>
          <a:blip r:embed="rId49" cstate="email">
            <a:extLst>
              <a:ext uri="{28A0092B-C50C-407E-A947-70E740481C1C}">
                <a14:useLocalDpi xmlns:a14="http://schemas.microsoft.com/office/drawing/2010/main"/>
              </a:ext>
            </a:extLst>
          </a:blip>
          <a:srcRect/>
          <a:stretch>
            <a:fillRect/>
          </a:stretch>
        </p:blipFill>
        <p:spPr bwMode="auto">
          <a:xfrm>
            <a:off x="15232686" y="11999801"/>
            <a:ext cx="2056552" cy="791808"/>
          </a:xfrm>
          <a:prstGeom prst="rect">
            <a:avLst/>
          </a:prstGeom>
          <a:noFill/>
          <a:extLst>
            <a:ext uri="{909E8E84-426E-40DD-AFC4-6F175D3DCCD1}">
              <a14:hiddenFill xmlns:a14="http://schemas.microsoft.com/office/drawing/2010/main">
                <a:solidFill>
                  <a:srgbClr val="FFFFFF"/>
                </a:solidFill>
              </a14:hiddenFill>
            </a:ext>
          </a:extLst>
        </p:spPr>
      </p:pic>
      <p:sp>
        <p:nvSpPr>
          <p:cNvPr id="53" name="Oval 52"/>
          <p:cNvSpPr/>
          <p:nvPr/>
        </p:nvSpPr>
        <p:spPr bwMode="auto">
          <a:xfrm>
            <a:off x="10323013" y="6088737"/>
            <a:ext cx="3854770" cy="3854770"/>
          </a:xfrm>
          <a:prstGeom prst="ellipse">
            <a:avLst/>
          </a:prstGeom>
          <a:solidFill>
            <a:srgbClr val="FFFFFF">
              <a:alpha val="50000"/>
            </a:srgbClr>
          </a:solidFill>
          <a:ln w="98425" cap="rnd" cmpd="sng">
            <a:solidFill>
              <a:srgbClr val="156C9C"/>
            </a:solidFill>
            <a:prstDash val="sysDot"/>
            <a:round/>
            <a:headEnd/>
            <a:tailEnd/>
          </a:ln>
        </p:spPr>
        <p:txBody>
          <a:bodyPr rtlCol="0" anchor="ctr"/>
          <a:lstStyle/>
          <a:p>
            <a:pPr defTabSz="1688166">
              <a:defRPr/>
            </a:pPr>
            <a:r>
              <a:rPr lang="en-GB" sz="9784" b="1" kern="0" dirty="0">
                <a:solidFill>
                  <a:srgbClr val="156C9C"/>
                </a:solidFill>
                <a:latin typeface="Arial Narrow" charset="0"/>
                <a:ea typeface="+mn-ea"/>
                <a:cs typeface="+mn-cs"/>
              </a:rPr>
              <a:t>FCH</a:t>
            </a:r>
          </a:p>
        </p:txBody>
      </p:sp>
    </p:spTree>
    <p:extLst>
      <p:ext uri="{BB962C8B-B14F-4D97-AF65-F5344CB8AC3E}">
        <p14:creationId xmlns:p14="http://schemas.microsoft.com/office/powerpoint/2010/main" val="45572841"/>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p:cNvSpPr>
            <a:spLocks/>
          </p:cNvSpPr>
          <p:nvPr/>
        </p:nvSpPr>
        <p:spPr bwMode="auto">
          <a:xfrm>
            <a:off x="1137415" y="5643789"/>
            <a:ext cx="9892575" cy="3097096"/>
          </a:xfrm>
          <a:prstGeom prst="rect">
            <a:avLst/>
          </a:prstGeom>
          <a:solidFill>
            <a:schemeClr val="bg1"/>
          </a:solidFill>
          <a:ln w="28575" cap="flat" cmpd="sng" algn="ctr">
            <a:solidFill>
              <a:schemeClr val="accent2"/>
            </a:solidFill>
            <a:prstDash val="solid"/>
            <a:round/>
            <a:headEnd type="none" w="med" len="med"/>
            <a:tailEnd type="none" w="med" len="med"/>
          </a:ln>
          <a:effectLst/>
          <a:extLst/>
        </p:spPr>
        <p:txBody>
          <a:bodyPr vert="horz" wrap="square" lIns="0" tIns="0" rIns="0" bIns="0" numCol="1" rtlCol="0" anchor="t" anchorCtr="0" compatLnSpc="1">
            <a:prstTxWarp prst="textNoShape">
              <a:avLst/>
            </a:prstTxWarp>
          </a:bodyPr>
          <a:lstStyle/>
          <a:p>
            <a:pPr marL="0" marR="0" lvl="0" indent="0" algn="l" defTabSz="914400" rtl="0" eaLnBrk="1" fontAlgn="base" latinLnBrk="0" hangingPunct="1">
              <a:lnSpc>
                <a:spcPct val="90000"/>
              </a:lnSpc>
              <a:spcBef>
                <a:spcPts val="0"/>
              </a:spcBef>
              <a:spcAft>
                <a:spcPct val="0"/>
              </a:spcAft>
              <a:buClrTx/>
              <a:buSzTx/>
              <a:buFontTx/>
              <a:buNone/>
              <a:tabLst/>
              <a:defRPr/>
            </a:pPr>
            <a:endParaRPr kumimoji="0" lang="de-DE" sz="5600" b="0" i="0" u="none" strike="noStrike" kern="1200" cap="none" spc="0" normalizeH="0" baseline="0" noProof="0">
              <a:ln>
                <a:noFill/>
              </a:ln>
              <a:solidFill>
                <a:srgbClr val="000000"/>
              </a:solidFill>
              <a:effectLst/>
              <a:uLnTx/>
              <a:uFillTx/>
              <a:latin typeface="Gill Sans" charset="0"/>
              <a:sym typeface="Gill Sans" charset="0"/>
            </a:endParaRPr>
          </a:p>
        </p:txBody>
      </p:sp>
      <p:graphicFrame>
        <p:nvGraphicFramePr>
          <p:cNvPr id="21" name="Object 2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73" name="think-cell Slide" r:id="rId29" imgW="270" imgH="270" progId="TCLayout.ActiveDocument.1">
                  <p:embed/>
                </p:oleObj>
              </mc:Choice>
              <mc:Fallback>
                <p:oleObj name="think-cell Slide" r:id="rId29" imgW="270" imgH="270" progId="TCLayout.ActiveDocument.1">
                  <p:embed/>
                  <p:pic>
                    <p:nvPicPr>
                      <p:cNvPr id="21" name="Object 20" hidden="1"/>
                      <p:cNvPicPr/>
                      <p:nvPr/>
                    </p:nvPicPr>
                    <p:blipFill>
                      <a:blip r:embed="rId30"/>
                      <a:stretch>
                        <a:fillRect/>
                      </a:stretch>
                    </p:blipFill>
                    <p:spPr>
                      <a:xfrm>
                        <a:off x="1588" y="1588"/>
                        <a:ext cx="1587" cy="1587"/>
                      </a:xfrm>
                      <a:prstGeom prst="rect">
                        <a:avLst/>
                      </a:prstGeom>
                    </p:spPr>
                  </p:pic>
                </p:oleObj>
              </mc:Fallback>
            </mc:AlternateContent>
          </a:graphicData>
        </a:graphic>
      </p:graphicFrame>
      <p:sp>
        <p:nvSpPr>
          <p:cNvPr id="20" name="Rectangle 19" hidden="1"/>
          <p:cNvSpPr/>
          <p:nvPr>
            <p:custDataLst>
              <p:tags r:id="rId3"/>
            </p:custDataLst>
          </p:nvPr>
        </p:nvSpPr>
        <p:spPr bwMode="auto">
          <a:xfrm>
            <a:off x="0" y="0"/>
            <a:ext cx="158750" cy="158750"/>
          </a:xfrm>
          <a:prstGeom prst="rect">
            <a:avLst/>
          </a:prstGeom>
          <a:blipFill dpi="0" rotWithShape="0">
            <a:blip r:embed="rId31">
              <a:alphaModFix/>
            </a:blip>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endParaRPr kumimoji="0" lang="de-DE" sz="2100" b="0" i="0" u="none" strike="noStrike" kern="1200" cap="none" spc="0" normalizeH="0" baseline="0" noProof="0" dirty="0" smtClean="0">
              <a:ln>
                <a:noFill/>
              </a:ln>
              <a:solidFill>
                <a:srgbClr val="000000"/>
              </a:solidFill>
              <a:effectLst/>
              <a:uLnTx/>
              <a:uFillTx/>
              <a:latin typeface="Calibri"/>
              <a:ea typeface="+mn-ea"/>
              <a:cs typeface="+mn-cs"/>
              <a:sym typeface="Calibri"/>
            </a:endParaRPr>
          </a:p>
        </p:txBody>
      </p:sp>
      <p:sp>
        <p:nvSpPr>
          <p:cNvPr id="47" name="Rectangle 46"/>
          <p:cNvSpPr>
            <a:spLocks/>
          </p:cNvSpPr>
          <p:nvPr/>
        </p:nvSpPr>
        <p:spPr bwMode="auto">
          <a:xfrm>
            <a:off x="11728492" y="6425952"/>
            <a:ext cx="11559911" cy="681720"/>
          </a:xfrm>
          <a:prstGeom prst="rect">
            <a:avLst/>
          </a:prstGeom>
          <a:solidFill>
            <a:schemeClr val="bg1"/>
          </a:solidFill>
          <a:ln w="28575" cap="flat" cmpd="sng" algn="ctr">
            <a:solidFill>
              <a:schemeClr val="accent2"/>
            </a:solidFill>
            <a:prstDash val="solid"/>
            <a:round/>
            <a:headEnd type="none" w="med" len="med"/>
            <a:tailEnd type="none" w="med" len="med"/>
          </a:ln>
          <a:effectLst/>
          <a:extLst/>
        </p:spPr>
        <p:txBody>
          <a:bodyPr vert="horz" wrap="square" lIns="0" tIns="0" rIns="0" bIns="0" numCol="1" rtlCol="0" anchor="t" anchorCtr="0" compatLnSpc="1">
            <a:prstTxWarp prst="textNoShape">
              <a:avLst/>
            </a:prstTxWarp>
          </a:bodyPr>
          <a:lstStyle/>
          <a:p>
            <a:pPr marL="0" marR="0" lvl="0" indent="0" algn="l" defTabSz="914400" rtl="0" eaLnBrk="1" fontAlgn="base" latinLnBrk="0" hangingPunct="1">
              <a:lnSpc>
                <a:spcPct val="90000"/>
              </a:lnSpc>
              <a:spcBef>
                <a:spcPts val="0"/>
              </a:spcBef>
              <a:spcAft>
                <a:spcPct val="0"/>
              </a:spcAft>
              <a:buClrTx/>
              <a:buSzTx/>
              <a:buFontTx/>
              <a:buNone/>
              <a:tabLst/>
              <a:defRPr/>
            </a:pPr>
            <a:endParaRPr kumimoji="0" lang="de-DE" sz="5600" b="0" i="0" u="none" strike="noStrike" kern="1200" cap="none" spc="0" normalizeH="0" baseline="0" noProof="0">
              <a:ln>
                <a:noFill/>
              </a:ln>
              <a:solidFill>
                <a:srgbClr val="000000"/>
              </a:solidFill>
              <a:effectLst/>
              <a:uLnTx/>
              <a:uFillTx/>
              <a:latin typeface="Gill Sans" charset="0"/>
              <a:sym typeface="Gill Sans" charset="0"/>
            </a:endParaRPr>
          </a:p>
        </p:txBody>
      </p:sp>
      <p:sp>
        <p:nvSpPr>
          <p:cNvPr id="22" name="Rectangle 21"/>
          <p:cNvSpPr>
            <a:spLocks/>
          </p:cNvSpPr>
          <p:nvPr/>
        </p:nvSpPr>
        <p:spPr bwMode="auto">
          <a:xfrm>
            <a:off x="11728492" y="9088890"/>
            <a:ext cx="11559911" cy="681720"/>
          </a:xfrm>
          <a:prstGeom prst="rect">
            <a:avLst/>
          </a:prstGeom>
          <a:solidFill>
            <a:schemeClr val="bg1"/>
          </a:solidFill>
          <a:ln w="28575" cap="flat" cmpd="sng" algn="ctr">
            <a:solidFill>
              <a:schemeClr val="accent2"/>
            </a:solidFill>
            <a:prstDash val="solid"/>
            <a:round/>
            <a:headEnd type="none" w="med" len="med"/>
            <a:tailEnd type="none" w="med" len="med"/>
          </a:ln>
          <a:effectLst/>
          <a:extLst/>
        </p:spPr>
        <p:txBody>
          <a:bodyPr vert="horz" wrap="square" lIns="0" tIns="0" rIns="0" bIns="0" numCol="1" rtlCol="0" anchor="t" anchorCtr="0" compatLnSpc="1">
            <a:prstTxWarp prst="textNoShape">
              <a:avLst/>
            </a:prstTxWarp>
          </a:bodyPr>
          <a:lstStyle/>
          <a:p>
            <a:pPr marL="0" marR="0" lvl="0" indent="0" algn="l" defTabSz="914400" rtl="0" eaLnBrk="1" fontAlgn="base" latinLnBrk="0" hangingPunct="1">
              <a:lnSpc>
                <a:spcPct val="90000"/>
              </a:lnSpc>
              <a:spcBef>
                <a:spcPts val="0"/>
              </a:spcBef>
              <a:spcAft>
                <a:spcPct val="0"/>
              </a:spcAft>
              <a:buClrTx/>
              <a:buSzTx/>
              <a:buFontTx/>
              <a:buNone/>
              <a:tabLst/>
              <a:defRPr/>
            </a:pPr>
            <a:endParaRPr kumimoji="0" lang="de-DE" sz="5600" b="0" i="0" u="none" strike="noStrike" kern="1200" cap="none" spc="0" normalizeH="0" baseline="0" noProof="0">
              <a:ln>
                <a:noFill/>
              </a:ln>
              <a:solidFill>
                <a:srgbClr val="000000"/>
              </a:solidFill>
              <a:effectLst/>
              <a:uLnTx/>
              <a:uFillTx/>
              <a:latin typeface="Gill Sans" charset="0"/>
              <a:sym typeface="Gill Sans" charset="0"/>
            </a:endParaRPr>
          </a:p>
        </p:txBody>
      </p:sp>
      <p:sp>
        <p:nvSpPr>
          <p:cNvPr id="42" name="Rectangle 41"/>
          <p:cNvSpPr/>
          <p:nvPr/>
        </p:nvSpPr>
        <p:spPr bwMode="auto">
          <a:xfrm>
            <a:off x="1377950" y="11394504"/>
            <a:ext cx="21902738" cy="864171"/>
          </a:xfrm>
          <a:prstGeom prst="rect">
            <a:avLst/>
          </a:prstGeom>
          <a:noFill/>
          <a:ln w="47625" cmpd="sng">
            <a:solidFill>
              <a:schemeClr val="accent3"/>
            </a:solidFill>
          </a:ln>
          <a:effectLst/>
          <a:extLst/>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5600" b="0" i="0" u="none" strike="noStrike" kern="1200" cap="none" spc="0" normalizeH="0" baseline="0" noProof="0" smtClean="0">
              <a:ln>
                <a:noFill/>
              </a:ln>
              <a:solidFill>
                <a:srgbClr val="000000"/>
              </a:solidFill>
              <a:effectLst/>
              <a:uLnTx/>
              <a:uFillTx/>
              <a:latin typeface="Gill Sans" charset="0"/>
              <a:ea typeface="Heiti SC Light" charset="0"/>
              <a:cs typeface="Heiti SC Light" charset="0"/>
              <a:sym typeface="Gill Sans" charset="0"/>
            </a:endParaRPr>
          </a:p>
        </p:txBody>
      </p:sp>
      <p:sp>
        <p:nvSpPr>
          <p:cNvPr id="2" name="Content Placeholder 1"/>
          <p:cNvSpPr>
            <a:spLocks noGrp="1"/>
          </p:cNvSpPr>
          <p:nvPr>
            <p:ph sz="quarter" idx="20"/>
          </p:nvPr>
        </p:nvSpPr>
        <p:spPr/>
        <p:txBody>
          <a:bodyPr/>
          <a:lstStyle/>
          <a:p>
            <a:r>
              <a:rPr lang="en-US" dirty="0" smtClean="0"/>
              <a:t>As a result of Phase 1, motivation to pursue FCH deployments remains high whereas some perceived challenges could be relieved</a:t>
            </a:r>
            <a:endParaRPr lang="de-DE" dirty="0"/>
          </a:p>
        </p:txBody>
      </p:sp>
      <p:sp>
        <p:nvSpPr>
          <p:cNvPr id="5" name="Slide Number Placeholder 4"/>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D1E7C23-2AAD-0D45-B01B-5A673730BB06}" type="slidenum">
              <a:rPr kumimoji="0" lang="en-US" sz="2400" b="0" i="0" u="none" strike="noStrike" kern="1200" cap="none" spc="0" normalizeH="0" baseline="0" noProof="0" smtClean="0">
                <a:ln>
                  <a:noFill/>
                </a:ln>
                <a:solidFill>
                  <a:srgbClr val="004494"/>
                </a:solidFill>
                <a:effectLst/>
                <a:uLnTx/>
                <a:uFillTx/>
                <a:latin typeface="Calibri" charset="0"/>
                <a:cs typeface="Calibri" charset="0"/>
                <a:sym typeface="Gill Sans" charset="0"/>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US" sz="2400" b="0" i="0" u="none" strike="noStrike" kern="1200" cap="none" spc="0" normalizeH="0" baseline="0" noProof="0" dirty="0">
              <a:ln>
                <a:noFill/>
              </a:ln>
              <a:solidFill>
                <a:srgbClr val="004494"/>
              </a:solidFill>
              <a:effectLst/>
              <a:uLnTx/>
              <a:uFillTx/>
              <a:latin typeface="Calibri" charset="0"/>
              <a:cs typeface="Calibri" charset="0"/>
              <a:sym typeface="Gill Sans" charset="0"/>
            </a:endParaRPr>
          </a:p>
        </p:txBody>
      </p:sp>
      <p:sp>
        <p:nvSpPr>
          <p:cNvPr id="7" name="Text Placeholder 6"/>
          <p:cNvSpPr>
            <a:spLocks noGrp="1"/>
          </p:cNvSpPr>
          <p:nvPr>
            <p:ph type="body" sz="quarter" idx="24"/>
          </p:nvPr>
        </p:nvSpPr>
        <p:spPr>
          <a:xfrm>
            <a:off x="1534816" y="11580368"/>
            <a:ext cx="21602400" cy="492443"/>
          </a:xfrm>
        </p:spPr>
        <p:txBody>
          <a:bodyPr wrap="square" anchor="ctr">
            <a:spAutoFit/>
          </a:bodyPr>
          <a:lstStyle/>
          <a:p>
            <a:pPr marL="317500" indent="0" algn="ctr">
              <a:buSzPct val="100000"/>
              <a:buNone/>
            </a:pPr>
            <a:r>
              <a:rPr lang="de-DE" b="1" dirty="0" err="1" smtClean="0"/>
              <a:t>Perceived</a:t>
            </a:r>
            <a:r>
              <a:rPr lang="de-DE" b="1" dirty="0" smtClean="0"/>
              <a:t> </a:t>
            </a:r>
            <a:r>
              <a:rPr lang="de-DE" b="1" dirty="0" err="1" smtClean="0"/>
              <a:t>obstacles</a:t>
            </a:r>
            <a:r>
              <a:rPr lang="de-DE" b="1" dirty="0" smtClean="0"/>
              <a:t>/</a:t>
            </a:r>
            <a:r>
              <a:rPr lang="de-DE" b="1" dirty="0" err="1" smtClean="0"/>
              <a:t>challenges</a:t>
            </a:r>
            <a:r>
              <a:rPr lang="de-DE" b="1" dirty="0" smtClean="0"/>
              <a:t> </a:t>
            </a:r>
            <a:r>
              <a:rPr lang="de-DE" b="1" dirty="0" err="1" smtClean="0"/>
              <a:t>addressed</a:t>
            </a:r>
            <a:r>
              <a:rPr lang="de-DE" b="1" dirty="0" smtClean="0"/>
              <a:t> in Phase 1 </a:t>
            </a:r>
            <a:r>
              <a:rPr lang="de-DE" b="1" dirty="0" err="1" smtClean="0"/>
              <a:t>have</a:t>
            </a:r>
            <a:r>
              <a:rPr lang="de-DE" b="1" dirty="0" smtClean="0"/>
              <a:t> </a:t>
            </a:r>
            <a:r>
              <a:rPr lang="de-DE" b="1" dirty="0" err="1" smtClean="0"/>
              <a:t>been</a:t>
            </a:r>
            <a:r>
              <a:rPr lang="de-DE" b="1" dirty="0" smtClean="0"/>
              <a:t> </a:t>
            </a:r>
            <a:r>
              <a:rPr lang="de-DE" b="1" dirty="0" err="1" smtClean="0"/>
              <a:t>considerably</a:t>
            </a:r>
            <a:r>
              <a:rPr lang="de-DE" b="1" dirty="0" smtClean="0"/>
              <a:t> </a:t>
            </a:r>
            <a:r>
              <a:rPr lang="de-DE" b="1" dirty="0" err="1" smtClean="0"/>
              <a:t>reduced</a:t>
            </a:r>
            <a:endParaRPr lang="de-DE" b="1" dirty="0"/>
          </a:p>
        </p:txBody>
      </p:sp>
      <p:graphicFrame>
        <p:nvGraphicFramePr>
          <p:cNvPr id="10" name="Object 9"/>
          <p:cNvGraphicFramePr>
            <a:graphicFrameLocks/>
          </p:cNvGraphicFramePr>
          <p:nvPr>
            <p:custDataLst>
              <p:tags r:id="rId4"/>
            </p:custDataLst>
            <p:extLst/>
          </p:nvPr>
        </p:nvGraphicFramePr>
        <p:xfrm>
          <a:off x="4495800" y="5562600"/>
          <a:ext cx="5886467" cy="5705370"/>
        </p:xfrm>
        <a:graphic>
          <a:graphicData uri="http://schemas.openxmlformats.org/presentationml/2006/ole">
            <mc:AlternateContent xmlns:mc="http://schemas.openxmlformats.org/markup-compatibility/2006">
              <mc:Choice xmlns:v="urn:schemas-microsoft-com:vml" Requires="v">
                <p:oleObj spid="_x0000_s15474" name="Chart" r:id="rId32" imgW="5886601" imgH="5705580" progId="MSGraph.Chart.8">
                  <p:embed followColorScheme="full"/>
                </p:oleObj>
              </mc:Choice>
              <mc:Fallback>
                <p:oleObj name="Chart" r:id="rId32" imgW="5886601" imgH="5705580" progId="MSGraph.Chart.8">
                  <p:embed followColorScheme="full"/>
                  <p:pic>
                    <p:nvPicPr>
                      <p:cNvPr id="10" name="Object 9"/>
                      <p:cNvPicPr/>
                      <p:nvPr/>
                    </p:nvPicPr>
                    <p:blipFill>
                      <a:blip r:embed="rId33"/>
                      <a:stretch>
                        <a:fillRect/>
                      </a:stretch>
                    </p:blipFill>
                    <p:spPr>
                      <a:xfrm>
                        <a:off x="4495800" y="5562600"/>
                        <a:ext cx="5886467" cy="5705370"/>
                      </a:xfrm>
                      <a:prstGeom prst="rect">
                        <a:avLst/>
                      </a:prstGeom>
                    </p:spPr>
                  </p:pic>
                </p:oleObj>
              </mc:Fallback>
            </mc:AlternateContent>
          </a:graphicData>
        </a:graphic>
      </p:graphicFrame>
      <p:sp>
        <p:nvSpPr>
          <p:cNvPr id="14" name="Text Placeholder"/>
          <p:cNvSpPr>
            <a:spLocks noGrp="1"/>
          </p:cNvSpPr>
          <p:nvPr>
            <p:custDataLst>
              <p:tags r:id="rId5"/>
            </p:custDataLst>
          </p:nvPr>
        </p:nvSpPr>
        <p:spPr bwMode="auto">
          <a:xfrm>
            <a:off x="1377950" y="10518775"/>
            <a:ext cx="2597150" cy="5746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marR="0" lvl="0" indent="0" algn="l" defTabSz="914400" rtl="0" eaLnBrk="1" fontAlgn="base" latinLnBrk="0" hangingPunct="1">
              <a:lnSpc>
                <a:spcPct val="90000"/>
              </a:lnSpc>
              <a:spcBef>
                <a:spcPct val="0"/>
              </a:spcBef>
              <a:spcAft>
                <a:spcPct val="0"/>
              </a:spcAft>
              <a:buClrTx/>
              <a:buSzTx/>
              <a:buFont typeface="Arial Narrow" pitchFamily="34" charset="0"/>
              <a:buNone/>
              <a:tabLst/>
              <a:defRPr/>
            </a:pPr>
            <a:fld id="{8336C8FA-C4F2-406D-ACF5-F46B8CFE525E}" type="datetime'R''ed''u''ce'''' l''ocal emi''ssions'''' &#10;o''f ''noi''''se'''">
              <a:rPr kumimoji="0" lang="en-GB" altLang="en-US" sz="2100" b="1"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 typeface="Arial Narrow" pitchFamily="34" charset="0"/>
                <a:buNone/>
                <a:tabLst/>
                <a:defRPr/>
              </a:pPr>
              <a:t>Reduce local emissions 
of noise</a:t>
            </a:fld>
            <a:endParaRPr kumimoji="0" lang="en-GB" sz="2100" b="1" i="0" u="none" strike="noStrike" kern="1200" cap="none" spc="0" normalizeH="0" baseline="0" noProof="0" dirty="0">
              <a:ln>
                <a:noFill/>
              </a:ln>
              <a:solidFill>
                <a:srgbClr val="7F7F7F"/>
              </a:solidFill>
              <a:effectLst/>
              <a:uLnTx/>
              <a:uFillTx/>
              <a:latin typeface="Calibri" panose="020F0502020204030204"/>
              <a:ea typeface="+mn-ea"/>
              <a:cs typeface="+mn-cs"/>
              <a:sym typeface="+mn-lt"/>
            </a:endParaRPr>
          </a:p>
        </p:txBody>
      </p:sp>
      <p:sp>
        <p:nvSpPr>
          <p:cNvPr id="13" name="Text Placeholder"/>
          <p:cNvSpPr>
            <a:spLocks noGrp="1"/>
          </p:cNvSpPr>
          <p:nvPr>
            <p:custDataLst>
              <p:tags r:id="rId6"/>
            </p:custDataLst>
          </p:nvPr>
        </p:nvSpPr>
        <p:spPr bwMode="auto">
          <a:xfrm>
            <a:off x="1377950" y="9923463"/>
            <a:ext cx="2690813" cy="5746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marR="0" lvl="0" indent="0" algn="l" defTabSz="914400" rtl="0" eaLnBrk="1" fontAlgn="base" latinLnBrk="0" hangingPunct="1">
              <a:lnSpc>
                <a:spcPct val="90000"/>
              </a:lnSpc>
              <a:spcBef>
                <a:spcPct val="0"/>
              </a:spcBef>
              <a:spcAft>
                <a:spcPct val="0"/>
              </a:spcAft>
              <a:buClrTx/>
              <a:buSzTx/>
              <a:buFont typeface="Arial Narrow" pitchFamily="34" charset="0"/>
              <a:buNone/>
              <a:tabLst/>
              <a:defRPr/>
            </a:pPr>
            <a:fld id="{FA3BEBAB-7CCF-46B1-BF7E-13390F9A90A5}" type="datetime'Increase the u''s''age &#10;of lo''cal'' hydrog''''en suppl''y'''">
              <a:rPr kumimoji="0" lang="en-GB" altLang="en-US" sz="2100" b="1"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 typeface="Arial Narrow" pitchFamily="34" charset="0"/>
                <a:buNone/>
                <a:tabLst/>
                <a:defRPr/>
              </a:pPr>
              <a:t>Increase the usage 
of local hydrogen supply</a:t>
            </a:fld>
            <a:endParaRPr kumimoji="0" lang="en-GB" sz="2100" b="1" i="0" u="none" strike="noStrike" kern="1200" cap="none" spc="0" normalizeH="0" baseline="0" noProof="0" dirty="0">
              <a:ln>
                <a:noFill/>
              </a:ln>
              <a:solidFill>
                <a:srgbClr val="7F7F7F"/>
              </a:solidFill>
              <a:effectLst/>
              <a:uLnTx/>
              <a:uFillTx/>
              <a:latin typeface="Calibri" panose="020F0502020204030204"/>
              <a:ea typeface="+mn-ea"/>
              <a:cs typeface="+mn-cs"/>
              <a:sym typeface="+mn-lt"/>
            </a:endParaRPr>
          </a:p>
        </p:txBody>
      </p:sp>
      <p:sp>
        <p:nvSpPr>
          <p:cNvPr id="12" name="Text Placeholder"/>
          <p:cNvSpPr>
            <a:spLocks noGrp="1"/>
          </p:cNvSpPr>
          <p:nvPr>
            <p:custDataLst>
              <p:tags r:id="rId7"/>
            </p:custDataLst>
          </p:nvPr>
        </p:nvSpPr>
        <p:spPr bwMode="auto">
          <a:xfrm>
            <a:off x="1377950" y="9328150"/>
            <a:ext cx="2379663" cy="5746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marR="0" lvl="0" indent="0" algn="l" defTabSz="914400" rtl="0" eaLnBrk="1" fontAlgn="base" latinLnBrk="0" hangingPunct="1">
              <a:lnSpc>
                <a:spcPct val="90000"/>
              </a:lnSpc>
              <a:spcBef>
                <a:spcPct val="0"/>
              </a:spcBef>
              <a:spcAft>
                <a:spcPct val="0"/>
              </a:spcAft>
              <a:buClrTx/>
              <a:buSzTx/>
              <a:buFont typeface="Arial Narrow" pitchFamily="34" charset="0"/>
              <a:buNone/>
              <a:tabLst/>
              <a:defRPr/>
            </a:pPr>
            <a:fld id="{4F6041C6-5413-4414-B78C-99DD05E9FEB9}" type="datetime'I''''ncreas''''e &quot;''sma''''rt city''&quot; &#10;a''ct''iv''''it''ies'''">
              <a:rPr kumimoji="0" lang="en-GB" altLang="en-US" sz="2100" b="1"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 typeface="Arial Narrow" pitchFamily="34" charset="0"/>
                <a:buNone/>
                <a:tabLst/>
                <a:defRPr/>
              </a:pPr>
              <a:t>Increase "smart city" 
activities</a:t>
            </a:fld>
            <a:endParaRPr kumimoji="0" lang="en-GB" sz="2100" b="1" i="0" u="none" strike="noStrike" kern="1200" cap="none" spc="0" normalizeH="0" baseline="0" noProof="0" dirty="0">
              <a:ln>
                <a:noFill/>
              </a:ln>
              <a:solidFill>
                <a:srgbClr val="7F7F7F"/>
              </a:solidFill>
              <a:effectLst/>
              <a:uLnTx/>
              <a:uFillTx/>
              <a:latin typeface="Calibri" panose="020F0502020204030204"/>
              <a:ea typeface="+mn-ea"/>
              <a:cs typeface="+mn-cs"/>
              <a:sym typeface="+mn-lt"/>
            </a:endParaRPr>
          </a:p>
        </p:txBody>
      </p:sp>
      <p:sp>
        <p:nvSpPr>
          <p:cNvPr id="11" name="Text Placeholder"/>
          <p:cNvSpPr>
            <a:spLocks noGrp="1"/>
          </p:cNvSpPr>
          <p:nvPr>
            <p:custDataLst>
              <p:tags r:id="rId8"/>
            </p:custDataLst>
          </p:nvPr>
        </p:nvSpPr>
        <p:spPr bwMode="auto">
          <a:xfrm>
            <a:off x="1377950" y="8728075"/>
            <a:ext cx="2266950" cy="5746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marR="0" lvl="0" indent="0" algn="l" defTabSz="914400" rtl="0" eaLnBrk="1" fontAlgn="base" latinLnBrk="0" hangingPunct="1">
              <a:lnSpc>
                <a:spcPct val="90000"/>
              </a:lnSpc>
              <a:spcBef>
                <a:spcPct val="0"/>
              </a:spcBef>
              <a:spcAft>
                <a:spcPct val="0"/>
              </a:spcAft>
              <a:buClrTx/>
              <a:buSzTx/>
              <a:buFont typeface="Arial Narrow" pitchFamily="34" charset="0"/>
              <a:buNone/>
              <a:tabLst/>
              <a:defRPr/>
            </a:pPr>
            <a:fld id="{B43C4074-0405-43DA-AD18-1632A7800021}" type="datetime'Reduce p''''''rimar''y ''''&#10;en''e''r''gy'' ''''consumptio''n'">
              <a:rPr kumimoji="0" lang="en-GB" altLang="en-US" sz="2100" b="1"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 typeface="Arial Narrow" pitchFamily="34" charset="0"/>
                <a:buNone/>
                <a:tabLst/>
                <a:defRPr/>
              </a:pPr>
              <a:t>Reduce primary 
energy consumption</a:t>
            </a:fld>
            <a:endParaRPr kumimoji="0" lang="en-GB" sz="2100" b="1" i="0" u="none" strike="noStrike" kern="1200" cap="none" spc="0" normalizeH="0" baseline="0" noProof="0" dirty="0">
              <a:ln>
                <a:noFill/>
              </a:ln>
              <a:solidFill>
                <a:srgbClr val="7F7F7F"/>
              </a:solidFill>
              <a:effectLst/>
              <a:uLnTx/>
              <a:uFillTx/>
              <a:latin typeface="Calibri" panose="020F0502020204030204"/>
              <a:ea typeface="+mn-ea"/>
              <a:cs typeface="+mn-cs"/>
              <a:sym typeface="+mn-lt"/>
            </a:endParaRPr>
          </a:p>
        </p:txBody>
      </p:sp>
      <p:sp>
        <p:nvSpPr>
          <p:cNvPr id="15" name="Text Placeholder"/>
          <p:cNvSpPr>
            <a:spLocks noGrp="1"/>
          </p:cNvSpPr>
          <p:nvPr>
            <p:custDataLst>
              <p:tags r:id="rId9"/>
            </p:custDataLst>
          </p:nvPr>
        </p:nvSpPr>
        <p:spPr bwMode="auto">
          <a:xfrm>
            <a:off x="1377950" y="8132763"/>
            <a:ext cx="3195638" cy="5746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marR="0" lvl="0" indent="0" algn="l" defTabSz="914400" rtl="0" eaLnBrk="1" fontAlgn="base" latinLnBrk="0" hangingPunct="1">
              <a:lnSpc>
                <a:spcPct val="90000"/>
              </a:lnSpc>
              <a:spcBef>
                <a:spcPct val="0"/>
              </a:spcBef>
              <a:spcAft>
                <a:spcPct val="0"/>
              </a:spcAft>
              <a:buClrTx/>
              <a:buSzTx/>
              <a:buFont typeface="Arial Narrow" pitchFamily="34" charset="0"/>
              <a:buNone/>
              <a:tabLst/>
              <a:defRPr/>
            </a:pPr>
            <a:fld id="{B8E8DF81-97DB-42F1-B433-A8EA55ECE2A8}" type="datetime'''Foster ''''indu''st''rial &#10;innovation and'' develo''pment'">
              <a:rPr lang="en-GB" altLang="en-US" b="1">
                <a:solidFill>
                  <a:srgbClr val="004494"/>
                </a:solidFill>
                <a:latin typeface="Calibri" panose="020F0502020204030204"/>
              </a:rPr>
              <a:pPr marL="0" marR="0" lvl="0" indent="0" algn="l" defTabSz="914400" rtl="0" eaLnBrk="1" fontAlgn="base" latinLnBrk="0" hangingPunct="1">
                <a:lnSpc>
                  <a:spcPct val="90000"/>
                </a:lnSpc>
                <a:spcBef>
                  <a:spcPct val="0"/>
                </a:spcBef>
                <a:spcAft>
                  <a:spcPct val="0"/>
                </a:spcAft>
                <a:buClrTx/>
                <a:buSzTx/>
                <a:buFont typeface="Arial Narrow" pitchFamily="34" charset="0"/>
                <a:buNone/>
                <a:tabLst/>
                <a:defRPr/>
              </a:pPr>
              <a:t>Foster industrial 
innovation and development</a:t>
            </a:fld>
            <a:endParaRPr lang="en-GB" b="1" dirty="0">
              <a:solidFill>
                <a:srgbClr val="004494"/>
              </a:solidFill>
              <a:latin typeface="Calibri" panose="020F0502020204030204"/>
            </a:endParaRPr>
          </a:p>
        </p:txBody>
      </p:sp>
      <p:sp>
        <p:nvSpPr>
          <p:cNvPr id="19" name="Text Placeholder"/>
          <p:cNvSpPr>
            <a:spLocks noGrp="1"/>
          </p:cNvSpPr>
          <p:nvPr>
            <p:custDataLst>
              <p:tags r:id="rId10"/>
            </p:custDataLst>
          </p:nvPr>
        </p:nvSpPr>
        <p:spPr bwMode="auto">
          <a:xfrm>
            <a:off x="1377950" y="7537450"/>
            <a:ext cx="1898650" cy="5746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marR="0" lvl="0" indent="0" algn="l" defTabSz="914400" rtl="0" eaLnBrk="1" fontAlgn="base" latinLnBrk="0" hangingPunct="1">
              <a:lnSpc>
                <a:spcPct val="90000"/>
              </a:lnSpc>
              <a:spcBef>
                <a:spcPct val="0"/>
              </a:spcBef>
              <a:spcAft>
                <a:spcPct val="0"/>
              </a:spcAft>
              <a:buClrTx/>
              <a:buSzTx/>
              <a:buFont typeface="Arial Narrow" pitchFamily="34" charset="0"/>
              <a:buNone/>
              <a:tabLst/>
              <a:defRPr/>
            </a:pPr>
            <a:fld id="{BFCAB36D-6CB5-4B64-A6AA-98C1024CFC49}" type="datetime'I''m''pr''ove ''the'' ''&#10;im''ag''e'' a''''s ''&quot;g''re''''en&quot;'''">
              <a:rPr lang="en-GB" altLang="en-US" b="1">
                <a:solidFill>
                  <a:srgbClr val="004494"/>
                </a:solidFill>
                <a:latin typeface="Calibri" panose="020F0502020204030204"/>
              </a:rPr>
              <a:pPr marL="0" marR="0" lvl="0" indent="0" algn="l" defTabSz="914400" rtl="0" eaLnBrk="1" fontAlgn="base" latinLnBrk="0" hangingPunct="1">
                <a:lnSpc>
                  <a:spcPct val="90000"/>
                </a:lnSpc>
                <a:spcBef>
                  <a:spcPct val="0"/>
                </a:spcBef>
                <a:spcAft>
                  <a:spcPct val="0"/>
                </a:spcAft>
                <a:buClrTx/>
                <a:buSzTx/>
                <a:buFont typeface="Arial Narrow" pitchFamily="34" charset="0"/>
                <a:buNone/>
                <a:tabLst/>
                <a:defRPr/>
              </a:pPr>
              <a:t>Improve the 
image as "green"</a:t>
            </a:fld>
            <a:endParaRPr lang="en-GB" b="1" dirty="0">
              <a:solidFill>
                <a:srgbClr val="004494"/>
              </a:solidFill>
              <a:latin typeface="Calibri" panose="020F0502020204030204"/>
            </a:endParaRPr>
          </a:p>
        </p:txBody>
      </p:sp>
      <p:sp>
        <p:nvSpPr>
          <p:cNvPr id="16" name="Text Placeholder"/>
          <p:cNvSpPr>
            <a:spLocks noGrp="1"/>
          </p:cNvSpPr>
          <p:nvPr>
            <p:custDataLst>
              <p:tags r:id="rId11"/>
            </p:custDataLst>
          </p:nvPr>
        </p:nvSpPr>
        <p:spPr bwMode="auto">
          <a:xfrm>
            <a:off x="1377950" y="6937375"/>
            <a:ext cx="2981325" cy="5746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marR="0" lvl="0" indent="0" algn="l" defTabSz="914400" rtl="0" eaLnBrk="1" fontAlgn="base" latinLnBrk="0" hangingPunct="1">
              <a:lnSpc>
                <a:spcPct val="90000"/>
              </a:lnSpc>
              <a:spcBef>
                <a:spcPct val="0"/>
              </a:spcBef>
              <a:spcAft>
                <a:spcPct val="0"/>
              </a:spcAft>
              <a:buClrTx/>
              <a:buSzTx/>
              <a:buFont typeface="Arial Narrow" pitchFamily="34" charset="0"/>
              <a:buNone/>
              <a:tabLst/>
              <a:defRPr/>
            </a:pPr>
            <a:fld id="{2D350D5B-AE85-4DC2-BEFF-AB898E74FE1E}" type="datetime'C''reate ''addit''''ional ''&#10;empl''oyment opportu''ni''''ties'">
              <a:rPr lang="en-GB" altLang="en-US" b="1">
                <a:solidFill>
                  <a:srgbClr val="004494"/>
                </a:solidFill>
                <a:latin typeface="Calibri" panose="020F0502020204030204"/>
              </a:rPr>
              <a:pPr marL="0" marR="0" lvl="0" indent="0" algn="l" defTabSz="914400" rtl="0" eaLnBrk="1" fontAlgn="base" latinLnBrk="0" hangingPunct="1">
                <a:lnSpc>
                  <a:spcPct val="90000"/>
                </a:lnSpc>
                <a:spcBef>
                  <a:spcPct val="0"/>
                </a:spcBef>
                <a:spcAft>
                  <a:spcPct val="0"/>
                </a:spcAft>
                <a:buClrTx/>
                <a:buSzTx/>
                <a:buFont typeface="Arial Narrow" pitchFamily="34" charset="0"/>
                <a:buNone/>
                <a:tabLst/>
                <a:defRPr/>
              </a:pPr>
              <a:t>Create additional 
employment opportunities</a:t>
            </a:fld>
            <a:endParaRPr lang="en-GB" b="1" dirty="0">
              <a:solidFill>
                <a:srgbClr val="004494"/>
              </a:solidFill>
              <a:latin typeface="Calibri" panose="020F0502020204030204"/>
            </a:endParaRPr>
          </a:p>
        </p:txBody>
      </p:sp>
      <p:sp>
        <p:nvSpPr>
          <p:cNvPr id="18" name="Text Placeholder"/>
          <p:cNvSpPr>
            <a:spLocks noGrp="1"/>
          </p:cNvSpPr>
          <p:nvPr>
            <p:custDataLst>
              <p:tags r:id="rId12"/>
            </p:custDataLst>
          </p:nvPr>
        </p:nvSpPr>
        <p:spPr bwMode="auto">
          <a:xfrm>
            <a:off x="1377950" y="6342063"/>
            <a:ext cx="2022475" cy="5746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marR="0" lvl="0" indent="0" algn="l" defTabSz="914400" rtl="0" eaLnBrk="1" fontAlgn="base" latinLnBrk="0" hangingPunct="1">
              <a:lnSpc>
                <a:spcPct val="90000"/>
              </a:lnSpc>
              <a:spcBef>
                <a:spcPct val="0"/>
              </a:spcBef>
              <a:spcAft>
                <a:spcPct val="0"/>
              </a:spcAft>
              <a:buClrTx/>
              <a:buSzTx/>
              <a:buFont typeface="Arial Narrow" pitchFamily="34" charset="0"/>
              <a:buNone/>
              <a:tabLst/>
              <a:defRPr/>
            </a:pPr>
            <a:fld id="{359B96E1-4035-4FDB-8981-CA6B308E5E1E}" type="datetime'R''ed''u''''c''e ''''emis''s''ion''''s &#10;of pol''lu''t''''ants'">
              <a:rPr lang="en-GB" altLang="en-US" b="1">
                <a:solidFill>
                  <a:srgbClr val="004494"/>
                </a:solidFill>
                <a:latin typeface="Calibri" panose="020F0502020204030204"/>
              </a:rPr>
              <a:pPr marL="0" marR="0" lvl="0" indent="0" algn="l" defTabSz="914400" rtl="0" eaLnBrk="1" fontAlgn="base" latinLnBrk="0" hangingPunct="1">
                <a:lnSpc>
                  <a:spcPct val="90000"/>
                </a:lnSpc>
                <a:spcBef>
                  <a:spcPct val="0"/>
                </a:spcBef>
                <a:spcAft>
                  <a:spcPct val="0"/>
                </a:spcAft>
                <a:buClrTx/>
                <a:buSzTx/>
                <a:buFont typeface="Arial Narrow" pitchFamily="34" charset="0"/>
                <a:buNone/>
                <a:tabLst/>
                <a:defRPr/>
              </a:pPr>
              <a:t>Reduce emissions 
of pollutants</a:t>
            </a:fld>
            <a:endParaRPr lang="en-GB" b="1" dirty="0">
              <a:solidFill>
                <a:srgbClr val="004494"/>
              </a:solidFill>
              <a:latin typeface="Calibri" panose="020F0502020204030204"/>
            </a:endParaRPr>
          </a:p>
        </p:txBody>
      </p:sp>
      <p:sp>
        <p:nvSpPr>
          <p:cNvPr id="17" name="Text Placeholder"/>
          <p:cNvSpPr>
            <a:spLocks noGrp="1"/>
          </p:cNvSpPr>
          <p:nvPr>
            <p:custDataLst>
              <p:tags r:id="rId13"/>
            </p:custDataLst>
          </p:nvPr>
        </p:nvSpPr>
        <p:spPr bwMode="auto">
          <a:xfrm>
            <a:off x="1377950" y="5746750"/>
            <a:ext cx="2597150" cy="5746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marR="0" lvl="0" indent="0" algn="l" defTabSz="914400" rtl="0" eaLnBrk="1" fontAlgn="base" latinLnBrk="0" hangingPunct="1">
              <a:lnSpc>
                <a:spcPct val="90000"/>
              </a:lnSpc>
              <a:spcBef>
                <a:spcPct val="0"/>
              </a:spcBef>
              <a:spcAft>
                <a:spcPct val="0"/>
              </a:spcAft>
              <a:buClrTx/>
              <a:buSzTx/>
              <a:buFont typeface="Arial Narrow" pitchFamily="34" charset="0"/>
              <a:buNone/>
              <a:tabLst/>
              <a:defRPr/>
            </a:pPr>
            <a:fld id="{D6889D4B-D911-4932-9BE6-A45F800F7710}" type="datetime'Red''u''''ce local emi''ssi''ons &#10;of gr''eenho''u''se gas''es'">
              <a:rPr lang="en-GB" altLang="en-US" b="1">
                <a:solidFill>
                  <a:srgbClr val="004494"/>
                </a:solidFill>
                <a:latin typeface="Calibri" panose="020F0502020204030204"/>
              </a:rPr>
              <a:pPr marL="0" marR="0" lvl="0" indent="0" algn="l" defTabSz="914400" rtl="0" eaLnBrk="1" fontAlgn="base" latinLnBrk="0" hangingPunct="1">
                <a:lnSpc>
                  <a:spcPct val="90000"/>
                </a:lnSpc>
                <a:spcBef>
                  <a:spcPct val="0"/>
                </a:spcBef>
                <a:spcAft>
                  <a:spcPct val="0"/>
                </a:spcAft>
                <a:buClrTx/>
                <a:buSzTx/>
                <a:buFont typeface="Arial Narrow" pitchFamily="34" charset="0"/>
                <a:buNone/>
                <a:tabLst/>
                <a:defRPr/>
              </a:pPr>
              <a:t>Reduce local emissions 
of greenhouse gases</a:t>
            </a:fld>
            <a:endParaRPr lang="en-GB" b="1" dirty="0">
              <a:solidFill>
                <a:srgbClr val="004494"/>
              </a:solidFill>
              <a:latin typeface="Calibri" panose="020F0502020204030204"/>
            </a:endParaRPr>
          </a:p>
        </p:txBody>
      </p:sp>
      <p:graphicFrame>
        <p:nvGraphicFramePr>
          <p:cNvPr id="25" name="Object 24"/>
          <p:cNvGraphicFramePr>
            <a:graphicFrameLocks/>
          </p:cNvGraphicFramePr>
          <p:nvPr>
            <p:custDataLst>
              <p:tags r:id="rId14"/>
            </p:custDataLst>
            <p:extLst/>
          </p:nvPr>
        </p:nvGraphicFramePr>
        <p:xfrm>
          <a:off x="15087601" y="5562600"/>
          <a:ext cx="6381621" cy="5705370"/>
        </p:xfrm>
        <a:graphic>
          <a:graphicData uri="http://schemas.openxmlformats.org/presentationml/2006/ole">
            <mc:AlternateContent xmlns:mc="http://schemas.openxmlformats.org/markup-compatibility/2006">
              <mc:Choice xmlns:v="urn:schemas-microsoft-com:vml" Requires="v">
                <p:oleObj spid="_x0000_s15475" name="Chart" r:id="rId34" imgW="6381858" imgH="5705580" progId="MSGraph.Chart.8">
                  <p:embed followColorScheme="full"/>
                </p:oleObj>
              </mc:Choice>
              <mc:Fallback>
                <p:oleObj name="Chart" r:id="rId34" imgW="6381858" imgH="5705580" progId="MSGraph.Chart.8">
                  <p:embed followColorScheme="full"/>
                  <p:pic>
                    <p:nvPicPr>
                      <p:cNvPr id="25" name="Object 24"/>
                      <p:cNvPicPr/>
                      <p:nvPr/>
                    </p:nvPicPr>
                    <p:blipFill>
                      <a:blip r:embed="rId35"/>
                      <a:stretch>
                        <a:fillRect/>
                      </a:stretch>
                    </p:blipFill>
                    <p:spPr>
                      <a:xfrm>
                        <a:off x="15087601" y="5562600"/>
                        <a:ext cx="6381621" cy="5705370"/>
                      </a:xfrm>
                      <a:prstGeom prst="rect">
                        <a:avLst/>
                      </a:prstGeom>
                    </p:spPr>
                  </p:pic>
                </p:oleObj>
              </mc:Fallback>
            </mc:AlternateContent>
          </a:graphicData>
        </a:graphic>
      </p:graphicFrame>
      <p:sp>
        <p:nvSpPr>
          <p:cNvPr id="26" name="Text Placeholder"/>
          <p:cNvSpPr>
            <a:spLocks noGrp="1"/>
          </p:cNvSpPr>
          <p:nvPr>
            <p:custDataLst>
              <p:tags r:id="rId15"/>
            </p:custDataLst>
          </p:nvPr>
        </p:nvSpPr>
        <p:spPr bwMode="auto">
          <a:xfrm>
            <a:off x="11861800" y="10485438"/>
            <a:ext cx="2681288" cy="5746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marR="0" lvl="0" indent="0" algn="l" defTabSz="914400" rtl="0" eaLnBrk="1" fontAlgn="base" latinLnBrk="0" hangingPunct="1">
              <a:lnSpc>
                <a:spcPct val="90000"/>
              </a:lnSpc>
              <a:spcBef>
                <a:spcPct val="0"/>
              </a:spcBef>
              <a:spcAft>
                <a:spcPct val="0"/>
              </a:spcAft>
              <a:buClrTx/>
              <a:buSzTx/>
              <a:buFont typeface="Arial Narrow" pitchFamily="34" charset="0"/>
              <a:buNone/>
              <a:tabLst/>
              <a:defRPr/>
            </a:pPr>
            <a:fld id="{3FFE042A-B016-4011-A8A6-EE9DF488504D}" type="datetime'Lac''k of p''olitic''a''''l'' ba''cking'''''' &#10;''and buy-in'">
              <a:rPr kumimoji="0" lang="en-GB" altLang="en-US" sz="2100" b="1"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 typeface="Arial Narrow" pitchFamily="34" charset="0"/>
                <a:buNone/>
                <a:tabLst/>
                <a:defRPr/>
              </a:pPr>
              <a:t>Lack of political backing 
and buy-in</a:t>
            </a:fld>
            <a:endParaRPr kumimoji="0" lang="en-GB" sz="2100" b="1" i="0" u="none" strike="noStrike" kern="1200" cap="none" spc="0" normalizeH="0" baseline="0" noProof="0" dirty="0">
              <a:ln>
                <a:noFill/>
              </a:ln>
              <a:solidFill>
                <a:srgbClr val="7F7F7F"/>
              </a:solidFill>
              <a:effectLst/>
              <a:uLnTx/>
              <a:uFillTx/>
              <a:latin typeface="Calibri" panose="020F0502020204030204"/>
              <a:ea typeface="+mn-ea"/>
              <a:cs typeface="+mn-cs"/>
              <a:sym typeface="+mn-lt"/>
            </a:endParaRPr>
          </a:p>
        </p:txBody>
      </p:sp>
      <p:sp>
        <p:nvSpPr>
          <p:cNvPr id="31" name="Text Placeholder"/>
          <p:cNvSpPr>
            <a:spLocks noGrp="1"/>
          </p:cNvSpPr>
          <p:nvPr>
            <p:custDataLst>
              <p:tags r:id="rId16"/>
            </p:custDataLst>
          </p:nvPr>
        </p:nvSpPr>
        <p:spPr bwMode="auto">
          <a:xfrm>
            <a:off x="11861800" y="9958388"/>
            <a:ext cx="2125663" cy="287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marR="0" lvl="0" indent="0" algn="l" defTabSz="914400" rtl="0" eaLnBrk="1" fontAlgn="base" latinLnBrk="0" hangingPunct="1">
              <a:lnSpc>
                <a:spcPct val="90000"/>
              </a:lnSpc>
              <a:spcBef>
                <a:spcPct val="0"/>
              </a:spcBef>
              <a:spcAft>
                <a:spcPct val="0"/>
              </a:spcAft>
              <a:buClrTx/>
              <a:buSzTx/>
              <a:buFont typeface="Arial Narrow" pitchFamily="34" charset="0"/>
              <a:buNone/>
              <a:tabLst/>
              <a:defRPr/>
            </a:pPr>
            <a:fld id="{45B41F38-9DC1-487D-8522-E220E12CDEE3}" type="datetime'R''egul''''''a''''t''ory b''arr''''ie''''''''r''s'''">
              <a:rPr kumimoji="0" lang="en-GB" altLang="en-US" sz="2100" b="1"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 typeface="Arial Narrow" pitchFamily="34" charset="0"/>
                <a:buNone/>
                <a:tabLst/>
                <a:defRPr/>
              </a:pPr>
              <a:t>Regulatory barriers</a:t>
            </a:fld>
            <a:endParaRPr kumimoji="0" lang="en-GB" sz="2100" b="1" i="0" u="none" strike="noStrike" kern="1200" cap="none" spc="0" normalizeH="0" baseline="0" noProof="0" dirty="0">
              <a:ln>
                <a:noFill/>
              </a:ln>
              <a:solidFill>
                <a:srgbClr val="7F7F7F"/>
              </a:solidFill>
              <a:effectLst/>
              <a:uLnTx/>
              <a:uFillTx/>
              <a:latin typeface="Calibri" panose="020F0502020204030204"/>
              <a:ea typeface="+mn-ea"/>
              <a:cs typeface="+mn-cs"/>
              <a:sym typeface="+mn-lt"/>
            </a:endParaRPr>
          </a:p>
        </p:txBody>
      </p:sp>
      <p:sp>
        <p:nvSpPr>
          <p:cNvPr id="33" name="Text Placeholder"/>
          <p:cNvSpPr>
            <a:spLocks noGrp="1"/>
          </p:cNvSpPr>
          <p:nvPr>
            <p:custDataLst>
              <p:tags r:id="rId17"/>
            </p:custDataLst>
          </p:nvPr>
        </p:nvSpPr>
        <p:spPr bwMode="auto">
          <a:xfrm>
            <a:off x="11861800" y="9142413"/>
            <a:ext cx="2830513" cy="5746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marR="0" lvl="0" indent="0" algn="l" defTabSz="914400" rtl="0" eaLnBrk="1" fontAlgn="base" latinLnBrk="0" hangingPunct="1">
              <a:lnSpc>
                <a:spcPct val="90000"/>
              </a:lnSpc>
              <a:spcBef>
                <a:spcPct val="0"/>
              </a:spcBef>
              <a:spcAft>
                <a:spcPct val="0"/>
              </a:spcAft>
              <a:buClrTx/>
              <a:buSzTx/>
              <a:buFont typeface="Arial Narrow" pitchFamily="34" charset="0"/>
              <a:buNone/>
              <a:tabLst/>
              <a:defRPr/>
            </a:pPr>
            <a:fld id="{5F08E16C-59D2-49BD-B521-691C51B05E7D}" type="datetime'I''nsuf''fici''e''n''''''t technologica''''l'' &#10;''''readiness'">
              <a:rPr kumimoji="0" lang="en-GB" altLang="en-US" sz="2100" b="1" i="0" u="none" strike="noStrike" kern="1200" cap="none" spc="0" normalizeH="0" baseline="0" noProof="0">
                <a:ln>
                  <a:noFill/>
                </a:ln>
                <a:solidFill>
                  <a:srgbClr val="004494"/>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 typeface="Arial Narrow" pitchFamily="34" charset="0"/>
                <a:buNone/>
                <a:tabLst/>
                <a:defRPr/>
              </a:pPr>
              <a:t>Insufficient technological 
readiness</a:t>
            </a:fld>
            <a:endParaRPr kumimoji="0" lang="en-GB" sz="2100" b="1" i="0" u="none" strike="noStrike" kern="1200" cap="none" spc="0" normalizeH="0" baseline="0" noProof="0" dirty="0">
              <a:ln>
                <a:noFill/>
              </a:ln>
              <a:solidFill>
                <a:srgbClr val="004494"/>
              </a:solidFill>
              <a:effectLst/>
              <a:uLnTx/>
              <a:uFillTx/>
              <a:latin typeface="Calibri" panose="020F0502020204030204"/>
              <a:ea typeface="+mn-ea"/>
              <a:cs typeface="+mn-cs"/>
              <a:sym typeface="+mn-lt"/>
            </a:endParaRPr>
          </a:p>
        </p:txBody>
      </p:sp>
      <p:sp>
        <p:nvSpPr>
          <p:cNvPr id="29" name="Text Placeholder"/>
          <p:cNvSpPr>
            <a:spLocks noGrp="1"/>
          </p:cNvSpPr>
          <p:nvPr>
            <p:custDataLst>
              <p:tags r:id="rId18"/>
            </p:custDataLst>
          </p:nvPr>
        </p:nvSpPr>
        <p:spPr bwMode="auto">
          <a:xfrm>
            <a:off x="11861800" y="8470900"/>
            <a:ext cx="3170238" cy="5746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marR="0" lvl="0" indent="0" algn="l" defTabSz="914400" rtl="0" eaLnBrk="1" fontAlgn="base" latinLnBrk="0" hangingPunct="1">
              <a:lnSpc>
                <a:spcPct val="90000"/>
              </a:lnSpc>
              <a:spcBef>
                <a:spcPct val="0"/>
              </a:spcBef>
              <a:spcAft>
                <a:spcPct val="0"/>
              </a:spcAft>
              <a:buClrTx/>
              <a:buSzTx/>
              <a:buFont typeface="Arial Narrow" pitchFamily="34" charset="0"/>
              <a:buNone/>
              <a:tabLst/>
              <a:defRPr/>
            </a:pPr>
            <a:fld id="{DCF96147-4F7B-409F-8E5C-DBB9C120057B}" type="datetime'Lac''k ''of industr''''y stak''''eholder'' ''''&#10;s''upp''ort'''">
              <a:rPr kumimoji="0" lang="en-GB" altLang="en-US" sz="2100" b="1"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 typeface="Arial Narrow" pitchFamily="34" charset="0"/>
                <a:buNone/>
                <a:tabLst/>
                <a:defRPr/>
              </a:pPr>
              <a:t>Lack of industry stakeholder 
support</a:t>
            </a:fld>
            <a:endParaRPr kumimoji="0" lang="en-GB" sz="2100" b="1" i="0" u="none" strike="noStrike" kern="1200" cap="none" spc="0" normalizeH="0" baseline="0" noProof="0" dirty="0">
              <a:ln>
                <a:noFill/>
              </a:ln>
              <a:solidFill>
                <a:srgbClr val="7F7F7F"/>
              </a:solidFill>
              <a:effectLst/>
              <a:uLnTx/>
              <a:uFillTx/>
              <a:latin typeface="Calibri" panose="020F0502020204030204"/>
              <a:ea typeface="+mn-ea"/>
              <a:cs typeface="+mn-cs"/>
              <a:sym typeface="+mn-lt"/>
            </a:endParaRPr>
          </a:p>
        </p:txBody>
      </p:sp>
      <p:sp>
        <p:nvSpPr>
          <p:cNvPr id="30" name="Text Placeholder"/>
          <p:cNvSpPr>
            <a:spLocks noGrp="1"/>
          </p:cNvSpPr>
          <p:nvPr>
            <p:custDataLst>
              <p:tags r:id="rId19"/>
            </p:custDataLst>
          </p:nvPr>
        </p:nvSpPr>
        <p:spPr bwMode="auto">
          <a:xfrm>
            <a:off x="11861800" y="7799388"/>
            <a:ext cx="3303588" cy="5746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marR="0" lvl="0" indent="0" algn="l" defTabSz="914400" rtl="0" eaLnBrk="1" fontAlgn="base" latinLnBrk="0" hangingPunct="1">
              <a:lnSpc>
                <a:spcPct val="90000"/>
              </a:lnSpc>
              <a:spcBef>
                <a:spcPct val="0"/>
              </a:spcBef>
              <a:spcAft>
                <a:spcPct val="0"/>
              </a:spcAft>
              <a:buClrTx/>
              <a:buSzTx/>
              <a:buFont typeface="Arial Narrow" pitchFamily="34" charset="0"/>
              <a:buNone/>
              <a:tabLst/>
              <a:defRPr/>
            </a:pPr>
            <a:fld id="{36983B4D-D01F-48F0-A1F7-16785E62F0FF}" type="datetime'Complexity of pe''r''mitting and &#10;authorization pr''ocedures'">
              <a:rPr kumimoji="0" lang="en-GB" altLang="en-US" sz="2100" b="1"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 typeface="Arial Narrow" pitchFamily="34" charset="0"/>
                <a:buNone/>
                <a:tabLst/>
                <a:defRPr/>
              </a:pPr>
              <a:t>Complexity of permitting and 
authorization procedures</a:t>
            </a:fld>
            <a:endParaRPr kumimoji="0" lang="en-GB" sz="2100" b="1" i="0" u="none" strike="noStrike" kern="1200" cap="none" spc="0" normalizeH="0" baseline="0" noProof="0" dirty="0">
              <a:ln>
                <a:noFill/>
              </a:ln>
              <a:solidFill>
                <a:srgbClr val="7F7F7F"/>
              </a:solidFill>
              <a:effectLst/>
              <a:uLnTx/>
              <a:uFillTx/>
              <a:latin typeface="Calibri" panose="020F0502020204030204"/>
              <a:ea typeface="+mn-ea"/>
              <a:cs typeface="+mn-cs"/>
              <a:sym typeface="+mn-lt"/>
            </a:endParaRPr>
          </a:p>
        </p:txBody>
      </p:sp>
      <p:sp>
        <p:nvSpPr>
          <p:cNvPr id="32" name="Text Placeholder"/>
          <p:cNvSpPr>
            <a:spLocks noGrp="1"/>
          </p:cNvSpPr>
          <p:nvPr>
            <p:custDataLst>
              <p:tags r:id="rId20"/>
            </p:custDataLst>
          </p:nvPr>
        </p:nvSpPr>
        <p:spPr bwMode="auto">
          <a:xfrm>
            <a:off x="11861800" y="7272338"/>
            <a:ext cx="2660650" cy="287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marR="0" lvl="0" indent="0" algn="l" defTabSz="914400" rtl="0" eaLnBrk="1" fontAlgn="base" latinLnBrk="0" hangingPunct="1">
              <a:lnSpc>
                <a:spcPct val="90000"/>
              </a:lnSpc>
              <a:spcBef>
                <a:spcPct val="0"/>
              </a:spcBef>
              <a:spcAft>
                <a:spcPct val="0"/>
              </a:spcAft>
              <a:buClrTx/>
              <a:buSzTx/>
              <a:buFont typeface="Arial Narrow" pitchFamily="34" charset="0"/>
              <a:buNone/>
              <a:tabLst/>
              <a:defRPr/>
            </a:pPr>
            <a:fld id="{E3F1C498-2078-42AE-BDB6-DA07DEB56F2A}" type="datetime'La''ck of'' h''''''yd''''''''r''''''''og''en ''s''''''upply'''">
              <a:rPr kumimoji="0" lang="en-GB" altLang="en-US" sz="2100" b="1"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 typeface="Arial Narrow" pitchFamily="34" charset="0"/>
                <a:buNone/>
                <a:tabLst/>
                <a:defRPr/>
              </a:pPr>
              <a:t>Lack of hydrogen supply</a:t>
            </a:fld>
            <a:endParaRPr kumimoji="0" lang="en-GB" sz="2100" b="1" i="0" u="none" strike="noStrike" kern="1200" cap="none" spc="0" normalizeH="0" baseline="0" noProof="0" dirty="0">
              <a:ln>
                <a:noFill/>
              </a:ln>
              <a:solidFill>
                <a:srgbClr val="7F7F7F"/>
              </a:solidFill>
              <a:effectLst/>
              <a:uLnTx/>
              <a:uFillTx/>
              <a:latin typeface="Calibri" panose="020F0502020204030204"/>
              <a:ea typeface="+mn-ea"/>
              <a:cs typeface="+mn-cs"/>
              <a:sym typeface="+mn-lt"/>
            </a:endParaRPr>
          </a:p>
        </p:txBody>
      </p:sp>
      <p:sp>
        <p:nvSpPr>
          <p:cNvPr id="28" name="Text Placeholder"/>
          <p:cNvSpPr>
            <a:spLocks noGrp="1"/>
          </p:cNvSpPr>
          <p:nvPr>
            <p:custDataLst>
              <p:tags r:id="rId21"/>
            </p:custDataLst>
          </p:nvPr>
        </p:nvSpPr>
        <p:spPr bwMode="auto">
          <a:xfrm>
            <a:off x="11861800" y="6456363"/>
            <a:ext cx="2527300" cy="5746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marR="0" lvl="0" indent="0" algn="l" defTabSz="914400" rtl="0" eaLnBrk="1" fontAlgn="base" latinLnBrk="0" hangingPunct="1">
              <a:lnSpc>
                <a:spcPct val="90000"/>
              </a:lnSpc>
              <a:spcBef>
                <a:spcPct val="0"/>
              </a:spcBef>
              <a:spcAft>
                <a:spcPct val="0"/>
              </a:spcAft>
              <a:buClrTx/>
              <a:buSzTx/>
              <a:buFont typeface="Arial Narrow" pitchFamily="34" charset="0"/>
              <a:buNone/>
              <a:tabLst/>
              <a:defRPr/>
            </a:pPr>
            <a:fld id="{66BAC0B4-B33F-4EF1-8629-A47A9FAB2C56}" type="datetime'Insuff''icient viabi''''lity ''of'' ''&#10;the busine''ss cas''e'">
              <a:rPr kumimoji="0" lang="en-GB" altLang="en-US" sz="2100" b="1" i="0" u="none" strike="noStrike" kern="1200" cap="none" spc="0" normalizeH="0" baseline="0" noProof="0">
                <a:ln>
                  <a:noFill/>
                </a:ln>
                <a:solidFill>
                  <a:srgbClr val="004494"/>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 typeface="Arial Narrow" pitchFamily="34" charset="0"/>
                <a:buNone/>
                <a:tabLst/>
                <a:defRPr/>
              </a:pPr>
              <a:t>Insufficient viability of 
the business case</a:t>
            </a:fld>
            <a:endParaRPr kumimoji="0" lang="en-GB" sz="2100" b="1" i="0" u="none" strike="noStrike" kern="1200" cap="none" spc="0" normalizeH="0" baseline="0" noProof="0" dirty="0">
              <a:ln>
                <a:noFill/>
              </a:ln>
              <a:solidFill>
                <a:srgbClr val="004494"/>
              </a:solidFill>
              <a:effectLst/>
              <a:uLnTx/>
              <a:uFillTx/>
              <a:latin typeface="Calibri" panose="020F0502020204030204"/>
              <a:ea typeface="+mn-ea"/>
              <a:cs typeface="+mn-cs"/>
              <a:sym typeface="+mn-lt"/>
            </a:endParaRPr>
          </a:p>
        </p:txBody>
      </p:sp>
      <p:sp>
        <p:nvSpPr>
          <p:cNvPr id="27" name="Text Placeholder"/>
          <p:cNvSpPr>
            <a:spLocks noGrp="1"/>
          </p:cNvSpPr>
          <p:nvPr>
            <p:custDataLst>
              <p:tags r:id="rId22"/>
            </p:custDataLst>
          </p:nvPr>
        </p:nvSpPr>
        <p:spPr bwMode="auto">
          <a:xfrm>
            <a:off x="11861800" y="5784850"/>
            <a:ext cx="1914525" cy="5746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marR="0" lvl="0" indent="0" algn="l" defTabSz="914400" rtl="0" eaLnBrk="1" fontAlgn="base" latinLnBrk="0" hangingPunct="1">
              <a:lnSpc>
                <a:spcPct val="90000"/>
              </a:lnSpc>
              <a:spcBef>
                <a:spcPct val="0"/>
              </a:spcBef>
              <a:spcAft>
                <a:spcPct val="0"/>
              </a:spcAft>
              <a:buClrTx/>
              <a:buSzTx/>
              <a:buFont typeface="Arial Narrow" pitchFamily="34" charset="0"/>
              <a:buNone/>
              <a:tabLst/>
              <a:defRPr/>
            </a:pPr>
            <a:fld id="{F31602F8-A5B4-4255-A593-E49FD3DB247D}" type="datetime'La''''''c''k of f''un''''ding'''''''' / &#10;''fin''ancin''g'">
              <a:rPr kumimoji="0" lang="en-GB" altLang="en-US" sz="2100" b="1"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 typeface="Arial Narrow" pitchFamily="34" charset="0"/>
                <a:buNone/>
                <a:tabLst/>
                <a:defRPr/>
              </a:pPr>
              <a:t>Lack of funding / 
financing</a:t>
            </a:fld>
            <a:endParaRPr kumimoji="0" lang="en-GB" sz="2100" b="1" i="0" u="none" strike="noStrike" kern="1200" cap="none" spc="0" normalizeH="0" baseline="0" noProof="0" dirty="0">
              <a:ln>
                <a:noFill/>
              </a:ln>
              <a:solidFill>
                <a:srgbClr val="7F7F7F"/>
              </a:solidFill>
              <a:effectLst/>
              <a:uLnTx/>
              <a:uFillTx/>
              <a:latin typeface="Calibri" panose="020F0502020204030204"/>
              <a:ea typeface="+mn-ea"/>
              <a:cs typeface="+mn-cs"/>
              <a:sym typeface="+mn-lt"/>
            </a:endParaRPr>
          </a:p>
        </p:txBody>
      </p:sp>
      <p:cxnSp>
        <p:nvCxnSpPr>
          <p:cNvPr id="35" name="HorizontalLine6"/>
          <p:cNvCxnSpPr>
            <a:cxnSpLocks/>
          </p:cNvCxnSpPr>
          <p:nvPr/>
        </p:nvCxnSpPr>
        <p:spPr>
          <a:xfrm>
            <a:off x="1390800" y="5489575"/>
            <a:ext cx="10153128" cy="0"/>
          </a:xfrm>
          <a:prstGeom prst="line">
            <a:avLst/>
          </a:prstGeom>
          <a:ln w="47625" cmpd="sng">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36" name="TextBox 35"/>
          <p:cNvSpPr txBox="1">
            <a:spLocks/>
          </p:cNvSpPr>
          <p:nvPr/>
        </p:nvSpPr>
        <p:spPr>
          <a:xfrm>
            <a:off x="1390800" y="4841875"/>
            <a:ext cx="10657184" cy="515206"/>
          </a:xfrm>
          <a:prstGeom prst="rect">
            <a:avLst/>
          </a:prstGeom>
        </p:spPr>
        <p:txBody>
          <a:bodyPr wrap="square" lIns="0" tIns="0" rIns="0" bIns="0" rtlCol="0">
            <a:spAutoFit/>
          </a:bodyPr>
          <a:lstStyle>
            <a:defPPr>
              <a:defRPr lang="de-DE"/>
            </a:defPPr>
            <a:lvl1pPr>
              <a:lnSpc>
                <a:spcPct val="93000"/>
              </a:lnSpc>
              <a:spcBef>
                <a:spcPts val="0"/>
              </a:spcBef>
              <a:defRPr sz="1600" b="0"/>
            </a:lvl1pPr>
          </a:lstStyle>
          <a:p>
            <a:pPr marL="0" marR="0" lvl="0" indent="0" algn="l" defTabSz="914400" rtl="0" eaLnBrk="1" fontAlgn="base" latinLnBrk="0" hangingPunct="1">
              <a:lnSpc>
                <a:spcPct val="93000"/>
              </a:lnSpc>
              <a:spcBef>
                <a:spcPts val="0"/>
              </a:spcBef>
              <a:spcAft>
                <a:spcPct val="0"/>
              </a:spcAft>
              <a:buClrTx/>
              <a:buSzTx/>
              <a:buFontTx/>
              <a:buNone/>
              <a:tabLst/>
              <a:defRPr/>
            </a:pPr>
            <a:r>
              <a:rPr kumimoji="0" lang="en-US" sz="3600" b="1" i="0" u="none" strike="noStrike" kern="1200" cap="none" spc="0" normalizeH="0" baseline="0" noProof="0" dirty="0">
                <a:ln>
                  <a:noFill/>
                </a:ln>
                <a:solidFill>
                  <a:srgbClr val="3DA7AB"/>
                </a:solidFill>
                <a:effectLst/>
                <a:uLnTx/>
                <a:uFillTx/>
                <a:latin typeface="Calibri" panose="020F0502020204030204"/>
                <a:sym typeface="Gill Sans" charset="0"/>
              </a:rPr>
              <a:t>Main reasons for pursuing FCH applications [%]</a:t>
            </a:r>
            <a:r>
              <a:rPr kumimoji="0" lang="en-US" sz="3600" b="1" i="0" u="none" strike="noStrike" kern="1200" cap="none" spc="0" normalizeH="0" baseline="30000" noProof="0" dirty="0">
                <a:ln>
                  <a:noFill/>
                </a:ln>
                <a:solidFill>
                  <a:srgbClr val="3DA7AB"/>
                </a:solidFill>
                <a:effectLst/>
                <a:uLnTx/>
                <a:uFillTx/>
                <a:latin typeface="Calibri" panose="020F0502020204030204"/>
                <a:sym typeface="Gill Sans" charset="0"/>
              </a:rPr>
              <a:t>2)</a:t>
            </a:r>
            <a:r>
              <a:rPr kumimoji="0" lang="en-US" sz="3600" b="1" i="0" u="none" strike="noStrike" kern="1200" cap="none" spc="0" normalizeH="0" baseline="0" noProof="0" dirty="0">
                <a:ln>
                  <a:noFill/>
                </a:ln>
                <a:solidFill>
                  <a:srgbClr val="3DA7AB"/>
                </a:solidFill>
                <a:effectLst/>
                <a:uLnTx/>
                <a:uFillTx/>
                <a:latin typeface="Calibri" panose="020F0502020204030204"/>
                <a:sym typeface="Gill Sans" charset="0"/>
              </a:rPr>
              <a:t>:</a:t>
            </a:r>
          </a:p>
        </p:txBody>
      </p:sp>
      <p:cxnSp>
        <p:nvCxnSpPr>
          <p:cNvPr id="37" name="HorizontalLine6"/>
          <p:cNvCxnSpPr>
            <a:cxnSpLocks/>
          </p:cNvCxnSpPr>
          <p:nvPr/>
        </p:nvCxnSpPr>
        <p:spPr>
          <a:xfrm>
            <a:off x="11861800" y="5489575"/>
            <a:ext cx="11426603" cy="0"/>
          </a:xfrm>
          <a:prstGeom prst="line">
            <a:avLst/>
          </a:prstGeom>
          <a:ln w="47625" cmpd="sng">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38" name="TextBox 37"/>
          <p:cNvSpPr txBox="1">
            <a:spLocks/>
          </p:cNvSpPr>
          <p:nvPr/>
        </p:nvSpPr>
        <p:spPr>
          <a:xfrm>
            <a:off x="11861800" y="4841875"/>
            <a:ext cx="7551399" cy="515206"/>
          </a:xfrm>
          <a:prstGeom prst="rect">
            <a:avLst/>
          </a:prstGeom>
        </p:spPr>
        <p:txBody>
          <a:bodyPr wrap="square" lIns="0" tIns="0" rIns="0" bIns="0" rtlCol="0">
            <a:spAutoFit/>
          </a:bodyPr>
          <a:lstStyle>
            <a:defPPr>
              <a:defRPr lang="de-DE"/>
            </a:defPPr>
            <a:lvl1pPr>
              <a:lnSpc>
                <a:spcPct val="93000"/>
              </a:lnSpc>
              <a:spcBef>
                <a:spcPts val="0"/>
              </a:spcBef>
              <a:defRPr sz="1600" b="0"/>
            </a:lvl1pPr>
          </a:lstStyle>
          <a:p>
            <a:pPr marL="0" marR="0" lvl="0" indent="0" algn="l" defTabSz="914400" rtl="0" eaLnBrk="1" fontAlgn="base" latinLnBrk="0" hangingPunct="1">
              <a:lnSpc>
                <a:spcPct val="93000"/>
              </a:lnSpc>
              <a:spcBef>
                <a:spcPts val="0"/>
              </a:spcBef>
              <a:spcAft>
                <a:spcPct val="0"/>
              </a:spcAft>
              <a:buClrTx/>
              <a:buSzTx/>
              <a:buFontTx/>
              <a:buNone/>
              <a:tabLst/>
              <a:defRPr/>
            </a:pPr>
            <a:r>
              <a:rPr kumimoji="0" lang="en-GB" sz="3600" b="1" i="0" u="none" strike="noStrike" kern="1200" cap="none" spc="0" normalizeH="0" baseline="0" noProof="0" dirty="0">
                <a:ln>
                  <a:noFill/>
                </a:ln>
                <a:solidFill>
                  <a:srgbClr val="3DA7AB"/>
                </a:solidFill>
                <a:effectLst/>
                <a:uLnTx/>
                <a:uFillTx/>
                <a:latin typeface="Calibri" panose="020F0502020204030204"/>
                <a:sym typeface="Gill Sans" charset="0"/>
              </a:rPr>
              <a:t>Main obstacles and challenges [%]</a:t>
            </a:r>
            <a:r>
              <a:rPr kumimoji="0" lang="en-GB" sz="3600" b="1" i="0" u="none" strike="noStrike" kern="1200" cap="none" spc="0" normalizeH="0" baseline="30000" noProof="0" dirty="0">
                <a:ln>
                  <a:noFill/>
                </a:ln>
                <a:solidFill>
                  <a:srgbClr val="3DA7AB"/>
                </a:solidFill>
                <a:effectLst/>
                <a:uLnTx/>
                <a:uFillTx/>
                <a:latin typeface="Calibri" panose="020F0502020204030204"/>
                <a:sym typeface="Gill Sans" charset="0"/>
              </a:rPr>
              <a:t>3)</a:t>
            </a:r>
            <a:r>
              <a:rPr kumimoji="0" lang="en-GB" sz="3600" b="1" i="0" u="none" strike="noStrike" kern="1200" cap="none" spc="0" normalizeH="0" baseline="0" noProof="0" dirty="0">
                <a:ln>
                  <a:noFill/>
                </a:ln>
                <a:solidFill>
                  <a:srgbClr val="3DA7AB"/>
                </a:solidFill>
                <a:effectLst/>
                <a:uLnTx/>
                <a:uFillTx/>
                <a:latin typeface="Calibri" panose="020F0502020204030204"/>
                <a:sym typeface="Gill Sans" charset="0"/>
              </a:rPr>
              <a:t>:</a:t>
            </a:r>
          </a:p>
        </p:txBody>
      </p:sp>
      <p:sp>
        <p:nvSpPr>
          <p:cNvPr id="39" name="Content Placeholder 5"/>
          <p:cNvSpPr>
            <a:spLocks noGrp="1"/>
          </p:cNvSpPr>
          <p:nvPr>
            <p:ph sz="quarter" idx="23"/>
          </p:nvPr>
        </p:nvSpPr>
        <p:spPr>
          <a:xfrm>
            <a:off x="1102768" y="3595760"/>
            <a:ext cx="22185320" cy="677108"/>
          </a:xfrm>
        </p:spPr>
        <p:txBody>
          <a:bodyPr/>
          <a:lstStyle/>
          <a:p>
            <a:r>
              <a:rPr lang="en-US" dirty="0"/>
              <a:t>Comparison of selected answers from 1st and 2nd self-</a:t>
            </a:r>
            <a:r>
              <a:rPr lang="en-US" dirty="0" err="1"/>
              <a:t>assessment</a:t>
            </a:r>
            <a:r>
              <a:rPr lang="en-US" baseline="30000" dirty="0" err="1"/>
              <a:t>1</a:t>
            </a:r>
            <a:r>
              <a:rPr lang="en-US" baseline="30000" dirty="0"/>
              <a:t>)</a:t>
            </a:r>
            <a:r>
              <a:rPr lang="en-US" dirty="0"/>
              <a:t> </a:t>
            </a:r>
          </a:p>
        </p:txBody>
      </p:sp>
      <p:sp>
        <p:nvSpPr>
          <p:cNvPr id="40" name="Content Placeholder 3"/>
          <p:cNvSpPr>
            <a:spLocks noGrp="1"/>
          </p:cNvSpPr>
          <p:nvPr>
            <p:ph sz="quarter" idx="22"/>
          </p:nvPr>
        </p:nvSpPr>
        <p:spPr>
          <a:xfrm>
            <a:off x="2709862" y="12474624"/>
            <a:ext cx="20067314" cy="1008112"/>
          </a:xfrm>
        </p:spPr>
        <p:txBody>
          <a:bodyPr/>
          <a:lstStyle/>
          <a:p>
            <a:pPr algn="l">
              <a:lnSpc>
                <a:spcPct val="90000"/>
              </a:lnSpc>
            </a:pPr>
            <a:r>
              <a:rPr lang="en-US" sz="2000" dirty="0">
                <a:sym typeface="+mn-lt"/>
              </a:rPr>
              <a:t>1) Percentage share of participants who set either 3, 4 or 5 points on a 5-point Likert Scale (5 = very </a:t>
            </a:r>
            <a:r>
              <a:rPr lang="en-US" sz="2000" dirty="0" smtClean="0">
                <a:sym typeface="+mn-lt"/>
              </a:rPr>
              <a:t>important)</a:t>
            </a:r>
            <a:br>
              <a:rPr lang="en-US" sz="2000" dirty="0" smtClean="0">
                <a:sym typeface="+mn-lt"/>
              </a:rPr>
            </a:br>
            <a:r>
              <a:rPr lang="en-US" sz="2000" dirty="0" smtClean="0">
                <a:sym typeface="+mn-lt"/>
              </a:rPr>
              <a:t>2</a:t>
            </a:r>
            <a:r>
              <a:rPr lang="en-US" sz="2000" dirty="0">
                <a:sym typeface="+mn-lt"/>
              </a:rPr>
              <a:t>) "What are your region's/city's main reasons for pursuing FCH applications? How relevant and important are typical drivers for FCH technologies to you, also compared to one another?" </a:t>
            </a:r>
            <a:r>
              <a:rPr lang="en-US" sz="2000" dirty="0" smtClean="0">
                <a:sym typeface="+mn-lt"/>
              </a:rPr>
              <a:t/>
            </a:r>
            <a:br>
              <a:rPr lang="en-US" sz="2000" dirty="0" smtClean="0">
                <a:sym typeface="+mn-lt"/>
              </a:rPr>
            </a:br>
            <a:r>
              <a:rPr lang="en-US" sz="2000" dirty="0" smtClean="0">
                <a:sym typeface="+mn-lt"/>
              </a:rPr>
              <a:t>3</a:t>
            </a:r>
            <a:r>
              <a:rPr lang="en-US" sz="2000" dirty="0">
                <a:sym typeface="+mn-lt"/>
              </a:rPr>
              <a:t>) "Within your region/city, which hurdles and challenges currently pose obstacles to the deployment of FCH applications?"</a:t>
            </a:r>
          </a:p>
        </p:txBody>
      </p:sp>
      <p:sp>
        <p:nvSpPr>
          <p:cNvPr id="46" name="RBContent45"/>
          <p:cNvSpPr txBox="1"/>
          <p:nvPr/>
        </p:nvSpPr>
        <p:spPr>
          <a:xfrm>
            <a:off x="20941339" y="9250814"/>
            <a:ext cx="2483909" cy="415498"/>
          </a:xfrm>
          <a:prstGeom prst="rect">
            <a:avLst/>
          </a:prstGeom>
          <a:noFill/>
        </p:spPr>
        <p:txBody>
          <a:bodyPr vert="horz"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2100" b="1" i="0" u="none" strike="noStrike" kern="1200" cap="none" spc="0" normalizeH="0" baseline="0" noProof="0" dirty="0" smtClean="0">
                <a:ln>
                  <a:noFill/>
                </a:ln>
                <a:solidFill>
                  <a:srgbClr val="7F7F7F"/>
                </a:solidFill>
                <a:effectLst/>
                <a:uLnTx/>
                <a:uFillTx/>
                <a:latin typeface="Calibri" panose="020F0502020204030204"/>
                <a:sym typeface="Gill Sans" charset="0"/>
              </a:rPr>
              <a:t>Focus </a:t>
            </a:r>
            <a:r>
              <a:rPr kumimoji="0" lang="de-DE" sz="2100" b="1" i="0" u="none" strike="noStrike" kern="1200" cap="none" spc="0" normalizeH="0" baseline="0" noProof="0" dirty="0" err="1" smtClean="0">
                <a:ln>
                  <a:noFill/>
                </a:ln>
                <a:solidFill>
                  <a:srgbClr val="7F7F7F"/>
                </a:solidFill>
                <a:effectLst/>
                <a:uLnTx/>
                <a:uFillTx/>
                <a:latin typeface="Calibri" panose="020F0502020204030204"/>
                <a:sym typeface="Gill Sans" charset="0"/>
              </a:rPr>
              <a:t>of</a:t>
            </a:r>
            <a:r>
              <a:rPr kumimoji="0" lang="de-DE" sz="2100" b="1" i="0" u="none" strike="noStrike" kern="1200" cap="none" spc="0" normalizeH="0" baseline="0" noProof="0" dirty="0" smtClean="0">
                <a:ln>
                  <a:noFill/>
                </a:ln>
                <a:solidFill>
                  <a:srgbClr val="7F7F7F"/>
                </a:solidFill>
                <a:effectLst/>
                <a:uLnTx/>
                <a:uFillTx/>
                <a:latin typeface="Calibri" panose="020F0502020204030204"/>
                <a:sym typeface="Gill Sans" charset="0"/>
              </a:rPr>
              <a:t> Phase 1</a:t>
            </a:r>
            <a:endParaRPr kumimoji="0" lang="de-DE" sz="2100" b="1" i="0" u="none" strike="noStrike" kern="1200" cap="none" spc="0" normalizeH="0" baseline="0" noProof="0" dirty="0">
              <a:ln>
                <a:noFill/>
              </a:ln>
              <a:solidFill>
                <a:srgbClr val="7F7F7F"/>
              </a:solidFill>
              <a:effectLst/>
              <a:uLnTx/>
              <a:uFillTx/>
              <a:latin typeface="Calibri" panose="020F0502020204030204"/>
              <a:sym typeface="Gill Sans" charset="0"/>
            </a:endParaRPr>
          </a:p>
        </p:txBody>
      </p:sp>
      <p:sp>
        <p:nvSpPr>
          <p:cNvPr id="48" name="RBContent45"/>
          <p:cNvSpPr txBox="1"/>
          <p:nvPr/>
        </p:nvSpPr>
        <p:spPr>
          <a:xfrm>
            <a:off x="20941339" y="6559063"/>
            <a:ext cx="2483909" cy="415498"/>
          </a:xfrm>
          <a:prstGeom prst="rect">
            <a:avLst/>
          </a:prstGeom>
          <a:noFill/>
        </p:spPr>
        <p:txBody>
          <a:bodyPr vert="horz"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2100" b="1" i="0" u="none" strike="noStrike" kern="1200" cap="none" spc="0" normalizeH="0" baseline="0" noProof="0" dirty="0" smtClean="0">
                <a:ln>
                  <a:noFill/>
                </a:ln>
                <a:solidFill>
                  <a:srgbClr val="7F7F7F"/>
                </a:solidFill>
                <a:effectLst/>
                <a:uLnTx/>
                <a:uFillTx/>
                <a:latin typeface="Calibri" panose="020F0502020204030204"/>
                <a:sym typeface="Gill Sans" charset="0"/>
              </a:rPr>
              <a:t>Focus </a:t>
            </a:r>
            <a:r>
              <a:rPr kumimoji="0" lang="de-DE" sz="2100" b="1" i="0" u="none" strike="noStrike" kern="1200" cap="none" spc="0" normalizeH="0" baseline="0" noProof="0" dirty="0" err="1" smtClean="0">
                <a:ln>
                  <a:noFill/>
                </a:ln>
                <a:solidFill>
                  <a:srgbClr val="7F7F7F"/>
                </a:solidFill>
                <a:effectLst/>
                <a:uLnTx/>
                <a:uFillTx/>
                <a:latin typeface="Calibri" panose="020F0502020204030204"/>
                <a:sym typeface="Gill Sans" charset="0"/>
              </a:rPr>
              <a:t>of</a:t>
            </a:r>
            <a:r>
              <a:rPr kumimoji="0" lang="de-DE" sz="2100" b="1" i="0" u="none" strike="noStrike" kern="1200" cap="none" spc="0" normalizeH="0" baseline="0" noProof="0" dirty="0" smtClean="0">
                <a:ln>
                  <a:noFill/>
                </a:ln>
                <a:solidFill>
                  <a:srgbClr val="7F7F7F"/>
                </a:solidFill>
                <a:effectLst/>
                <a:uLnTx/>
                <a:uFillTx/>
                <a:latin typeface="Calibri" panose="020F0502020204030204"/>
                <a:sym typeface="Gill Sans" charset="0"/>
              </a:rPr>
              <a:t> Phase 1</a:t>
            </a:r>
            <a:endParaRPr kumimoji="0" lang="de-DE" sz="2100" b="1" i="0" u="none" strike="noStrike" kern="1200" cap="none" spc="0" normalizeH="0" baseline="0" noProof="0" dirty="0">
              <a:ln>
                <a:noFill/>
              </a:ln>
              <a:solidFill>
                <a:srgbClr val="7F7F7F"/>
              </a:solidFill>
              <a:effectLst/>
              <a:uLnTx/>
              <a:uFillTx/>
              <a:latin typeface="Calibri" panose="020F0502020204030204"/>
              <a:sym typeface="Gill Sans" charset="0"/>
            </a:endParaRPr>
          </a:p>
        </p:txBody>
      </p:sp>
      <p:sp>
        <p:nvSpPr>
          <p:cNvPr id="34" name="Rectangle 33"/>
          <p:cNvSpPr/>
          <p:nvPr>
            <p:custDataLst>
              <p:tags r:id="rId23"/>
            </p:custDataLst>
          </p:nvPr>
        </p:nvSpPr>
        <p:spPr bwMode="auto">
          <a:xfrm>
            <a:off x="21564600" y="10382250"/>
            <a:ext cx="374650" cy="280988"/>
          </a:xfrm>
          <a:prstGeom prst="rect">
            <a:avLst/>
          </a:prstGeom>
          <a:solidFill>
            <a:schemeClr val="accent6"/>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5600" b="0" i="0" u="none" strike="noStrike" kern="1200" cap="none" spc="0" normalizeH="0" baseline="0" noProof="0" smtClean="0">
              <a:ln>
                <a:noFill/>
              </a:ln>
              <a:solidFill>
                <a:srgbClr val="000000"/>
              </a:solidFill>
              <a:effectLst/>
              <a:uLnTx/>
              <a:uFillTx/>
              <a:latin typeface="Gill Sans" charset="0"/>
              <a:ea typeface="Heiti SC Light" charset="0"/>
              <a:cs typeface="Heiti SC Light" charset="0"/>
              <a:sym typeface="Gill Sans" charset="0"/>
            </a:endParaRPr>
          </a:p>
        </p:txBody>
      </p:sp>
      <p:sp>
        <p:nvSpPr>
          <p:cNvPr id="41" name="Rectangle 40"/>
          <p:cNvSpPr/>
          <p:nvPr>
            <p:custDataLst>
              <p:tags r:id="rId24"/>
            </p:custDataLst>
          </p:nvPr>
        </p:nvSpPr>
        <p:spPr bwMode="auto">
          <a:xfrm>
            <a:off x="21564600" y="10720388"/>
            <a:ext cx="374650" cy="280988"/>
          </a:xfrm>
          <a:prstGeom prst="rect">
            <a:avLst/>
          </a:prstGeom>
          <a:solidFill>
            <a:schemeClr val="accent2"/>
          </a:solidFill>
          <a:ln w="952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5600" b="0" i="0" u="none" strike="noStrike" kern="1200" cap="none" spc="0" normalizeH="0" baseline="0" noProof="0" smtClean="0">
              <a:ln>
                <a:noFill/>
              </a:ln>
              <a:solidFill>
                <a:srgbClr val="000000"/>
              </a:solidFill>
              <a:effectLst/>
              <a:uLnTx/>
              <a:uFillTx/>
              <a:latin typeface="Gill Sans" charset="0"/>
              <a:ea typeface="Heiti SC Light" charset="0"/>
              <a:cs typeface="Heiti SC Light" charset="0"/>
              <a:sym typeface="Gill Sans" charset="0"/>
            </a:endParaRPr>
          </a:p>
        </p:txBody>
      </p:sp>
      <p:sp>
        <p:nvSpPr>
          <p:cNvPr id="24" name="Rectangle 23"/>
          <p:cNvSpPr/>
          <p:nvPr>
            <p:custDataLst>
              <p:tags r:id="rId25"/>
            </p:custDataLst>
          </p:nvPr>
        </p:nvSpPr>
        <p:spPr bwMode="auto">
          <a:xfrm>
            <a:off x="21990050" y="10374313"/>
            <a:ext cx="1185863" cy="287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fld id="{C5653C53-E48D-4B5B-9255-223504739F0A}" type="datetime'2''''''''n''d ''''''''''''''''''''su''r''''v''''e''''y'''''">
              <a:rPr kumimoji="0" lang="de-DE" altLang="en-US" sz="2100" b="0"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Tx/>
                <a:buNone/>
                <a:tabLst/>
                <a:defRPr/>
              </a:pPr>
              <a:t>2nd survey</a:t>
            </a:fld>
            <a:endParaRPr kumimoji="0" lang="de-DE" sz="2100" b="0" i="0" u="none" strike="noStrike" kern="1200" cap="none" spc="0" normalizeH="0" baseline="0" noProof="0" smtClean="0">
              <a:ln>
                <a:noFill/>
              </a:ln>
              <a:solidFill>
                <a:srgbClr val="7F7F7F"/>
              </a:solidFill>
              <a:effectLst/>
              <a:uLnTx/>
              <a:uFillTx/>
              <a:latin typeface="Calibri" panose="020F0502020204030204"/>
              <a:ea typeface="+mn-ea"/>
              <a:cs typeface="+mn-cs"/>
              <a:sym typeface="+mn-lt"/>
            </a:endParaRPr>
          </a:p>
        </p:txBody>
      </p:sp>
      <p:sp>
        <p:nvSpPr>
          <p:cNvPr id="23" name="Rectangle 22"/>
          <p:cNvSpPr/>
          <p:nvPr>
            <p:custDataLst>
              <p:tags r:id="rId26"/>
            </p:custDataLst>
          </p:nvPr>
        </p:nvSpPr>
        <p:spPr bwMode="auto">
          <a:xfrm>
            <a:off x="21990050" y="10712450"/>
            <a:ext cx="1096963" cy="287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fld id="{7DE5324E-5B0E-4ADD-AE70-874BAEC3191F}" type="datetime'''''1''''s''''''t'''''''''''''''''''' ''su''''rvey'''''''''''">
              <a:rPr kumimoji="0" lang="de-DE" altLang="en-US" sz="2100" b="0"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Tx/>
                <a:buNone/>
                <a:tabLst/>
                <a:defRPr/>
              </a:pPr>
              <a:t>1st survey</a:t>
            </a:fld>
            <a:endParaRPr kumimoji="0" lang="de-DE" sz="2100" b="0" i="0" u="none" strike="noStrike" kern="1200" cap="none" spc="0" normalizeH="0" baseline="0" noProof="0" dirty="0" smtClean="0">
              <a:ln>
                <a:noFill/>
              </a:ln>
              <a:solidFill>
                <a:srgbClr val="7F7F7F"/>
              </a:solidFill>
              <a:effectLst/>
              <a:uLnTx/>
              <a:uFillTx/>
              <a:latin typeface="Calibri" panose="020F0502020204030204"/>
              <a:ea typeface="+mn-ea"/>
              <a:cs typeface="+mn-cs"/>
              <a:sym typeface="+mn-lt"/>
            </a:endParaRPr>
          </a:p>
        </p:txBody>
      </p:sp>
    </p:spTree>
    <p:extLst>
      <p:ext uri="{BB962C8B-B14F-4D97-AF65-F5344CB8AC3E}">
        <p14:creationId xmlns:p14="http://schemas.microsoft.com/office/powerpoint/2010/main" val="1191826043"/>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2" name="Rectangle 371"/>
          <p:cNvSpPr/>
          <p:nvPr/>
        </p:nvSpPr>
        <p:spPr bwMode="auto">
          <a:xfrm>
            <a:off x="2542928" y="3738994"/>
            <a:ext cx="18218024" cy="9211278"/>
          </a:xfrm>
          <a:prstGeom prst="rect">
            <a:avLst/>
          </a:prstGeom>
          <a:solidFill>
            <a:schemeClr val="bg1"/>
          </a:solidFill>
          <a:ln w="254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5600" b="0" i="0" u="none" strike="noStrike" kern="1200" cap="none" spc="0" normalizeH="0" baseline="0" noProof="0" smtClean="0">
              <a:ln>
                <a:noFill/>
              </a:ln>
              <a:solidFill>
                <a:srgbClr val="000000"/>
              </a:solidFill>
              <a:effectLst/>
              <a:uLnTx/>
              <a:uFillTx/>
              <a:latin typeface="Gill Sans" charset="0"/>
              <a:ea typeface="Heiti SC Light" charset="0"/>
              <a:cs typeface="Heiti SC Light" charset="0"/>
              <a:sym typeface="Gill Sans" charset="0"/>
            </a:endParaRPr>
          </a:p>
        </p:txBody>
      </p:sp>
      <p:sp>
        <p:nvSpPr>
          <p:cNvPr id="2" name="Slide Number Placeholder 1"/>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D1E7C23-2AAD-0D45-B01B-5A673730BB06}" type="slidenum">
              <a:rPr kumimoji="0" lang="en-US" sz="2400" b="0" i="0" u="none" strike="noStrike" kern="1200" cap="none" spc="0" normalizeH="0" baseline="0" noProof="0" smtClean="0">
                <a:ln>
                  <a:noFill/>
                </a:ln>
                <a:solidFill>
                  <a:srgbClr val="004494"/>
                </a:solidFill>
                <a:effectLst/>
                <a:uLnTx/>
                <a:uFillTx/>
                <a:latin typeface="Calibri" charset="0"/>
                <a:cs typeface="Calibri" charset="0"/>
                <a:sym typeface="Gill Sans" charset="0"/>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en-US" sz="2400" b="0" i="0" u="none" strike="noStrike" kern="1200" cap="none" spc="0" normalizeH="0" baseline="0" noProof="0" dirty="0">
              <a:ln>
                <a:noFill/>
              </a:ln>
              <a:solidFill>
                <a:srgbClr val="004494"/>
              </a:solidFill>
              <a:effectLst/>
              <a:uLnTx/>
              <a:uFillTx/>
              <a:latin typeface="Calibri" charset="0"/>
              <a:cs typeface="Calibri" charset="0"/>
              <a:sym typeface="Gill Sans" charset="0"/>
            </a:endParaRPr>
          </a:p>
        </p:txBody>
      </p:sp>
      <p:sp>
        <p:nvSpPr>
          <p:cNvPr id="5" name="Title 3"/>
          <p:cNvSpPr>
            <a:spLocks noGrp="1"/>
          </p:cNvSpPr>
          <p:nvPr>
            <p:ph sz="quarter" idx="20"/>
          </p:nvPr>
        </p:nvSpPr>
        <p:spPr/>
        <p:txBody>
          <a:bodyPr/>
          <a:lstStyle/>
          <a:p>
            <a:r>
              <a:rPr lang="en-GB" dirty="0"/>
              <a:t>The FCH applications in scope are heterogeneous – Different tech. readiness, economic competitiveness and deployment complexity</a:t>
            </a:r>
          </a:p>
        </p:txBody>
      </p:sp>
      <p:grpSp>
        <p:nvGrpSpPr>
          <p:cNvPr id="250" name="Group 249"/>
          <p:cNvGrpSpPr/>
          <p:nvPr/>
        </p:nvGrpSpPr>
        <p:grpSpPr>
          <a:xfrm>
            <a:off x="11529286" y="12305618"/>
            <a:ext cx="1343900" cy="292100"/>
            <a:chOff x="1728239" y="6195219"/>
            <a:chExt cx="671950" cy="146050"/>
          </a:xfrm>
        </p:grpSpPr>
        <p:sp>
          <p:nvSpPr>
            <p:cNvPr id="251" name="LegendIcon"/>
            <p:cNvSpPr/>
            <p:nvPr/>
          </p:nvSpPr>
          <p:spPr>
            <a:xfrm>
              <a:off x="1728239" y="6195219"/>
              <a:ext cx="215900" cy="146050"/>
            </a:xfrm>
            <a:prstGeom prst="rect">
              <a:avLst/>
            </a:prstGeom>
            <a:solidFill>
              <a:srgbClr val="85CEDF"/>
            </a:solidFill>
            <a:ln w="9525" cap="flat" cmpd="sng" algn="ctr">
              <a:solidFill>
                <a:srgbClr val="85CEDF"/>
              </a:solidFill>
              <a:prstDash val="solid"/>
            </a:ln>
            <a:effectLst/>
          </p:spPr>
          <p:txBody>
            <a:bodyPr lIns="0" tIns="0" rIns="0" bIns="0" rtlCol="0" anchor="ctr"/>
            <a:lstStyle/>
            <a:p>
              <a:pPr marL="0" marR="0" lvl="0" indent="0" algn="l" defTabSz="1828800" rtl="0" eaLnBrk="1" fontAlgn="auto" latinLnBrk="0" hangingPunct="1">
                <a:lnSpc>
                  <a:spcPct val="90000"/>
                </a:lnSpc>
                <a:spcBef>
                  <a:spcPts val="0"/>
                </a:spcBef>
                <a:spcAft>
                  <a:spcPts val="0"/>
                </a:spcAft>
                <a:buClrTx/>
                <a:buSzTx/>
                <a:buFontTx/>
                <a:buNone/>
                <a:tabLst/>
                <a:defRPr/>
              </a:pPr>
              <a:endParaRPr kumimoji="0" lang="en-GB" sz="2000" b="0" i="0" u="none" strike="noStrike" kern="0" cap="none" spc="0" normalizeH="0" baseline="0" noProof="0" dirty="0">
                <a:ln>
                  <a:noFill/>
                </a:ln>
                <a:solidFill>
                  <a:sysClr val="windowText" lastClr="000000"/>
                </a:solidFill>
                <a:effectLst/>
                <a:uLnTx/>
                <a:uFillTx/>
                <a:latin typeface="Arial Narrow"/>
                <a:ea typeface="+mn-ea"/>
                <a:cs typeface="Arial" pitchFamily="34" charset="0"/>
                <a:sym typeface="Gill Sans" charset="0"/>
              </a:endParaRPr>
            </a:p>
          </p:txBody>
        </p:sp>
        <p:sp>
          <p:nvSpPr>
            <p:cNvPr id="252" name="LegendText"/>
            <p:cNvSpPr txBox="1"/>
            <p:nvPr/>
          </p:nvSpPr>
          <p:spPr>
            <a:xfrm>
              <a:off x="2026689" y="6198234"/>
              <a:ext cx="373500" cy="138500"/>
            </a:xfrm>
            <a:prstGeom prst="rect">
              <a:avLst/>
            </a:prstGeom>
            <a:noFill/>
            <a:ln w="9525">
              <a:noFill/>
            </a:ln>
          </p:spPr>
          <p:txBody>
            <a:bodyPr vert="horz" wrap="none" lIns="0" tIns="0" rIns="0" bIns="0" rtlCol="0" anchor="t" anchorCtr="0">
              <a:spAutoFit/>
            </a:bodyPr>
            <a:lstStyle/>
            <a:p>
              <a:pPr marL="0" marR="0" lvl="0" indent="0" algn="l" defTabSz="1828800" rtl="0" eaLnBrk="1" fontAlgn="auto" latinLnBrk="0" hangingPunct="1">
                <a:lnSpc>
                  <a:spcPct val="90000"/>
                </a:lnSpc>
                <a:spcBef>
                  <a:spcPts val="0"/>
                </a:spcBef>
                <a:spcAft>
                  <a:spcPts val="0"/>
                </a:spcAft>
                <a:buClr>
                  <a:srgbClr val="000000"/>
                </a:buClr>
                <a:buSzPct val="100000"/>
                <a:buFontTx/>
                <a:buNone/>
                <a:tabLst/>
                <a:defRPr/>
              </a:pPr>
              <a:r>
                <a:rPr kumimoji="0" lang="en-GB" sz="2000" b="0" i="0" u="none" strike="noStrike" kern="0" cap="none" spc="0" normalizeH="0" baseline="0" noProof="0" dirty="0">
                  <a:ln>
                    <a:noFill/>
                  </a:ln>
                  <a:solidFill>
                    <a:sysClr val="windowText" lastClr="000000"/>
                  </a:solidFill>
                  <a:effectLst/>
                  <a:uLnTx/>
                  <a:uFillTx/>
                  <a:latin typeface="Arial Narrow"/>
                  <a:ea typeface="+mn-ea"/>
                  <a:cs typeface="Arial" pitchFamily="34" charset="0"/>
                  <a:sym typeface="Gill Sans" charset="0"/>
                </a:rPr>
                <a:t>Medium</a:t>
              </a:r>
            </a:p>
          </p:txBody>
        </p:sp>
      </p:grpSp>
      <p:sp>
        <p:nvSpPr>
          <p:cNvPr id="253" name="LegendText"/>
          <p:cNvSpPr txBox="1"/>
          <p:nvPr/>
        </p:nvSpPr>
        <p:spPr>
          <a:xfrm>
            <a:off x="13619843" y="12311649"/>
            <a:ext cx="386324" cy="276999"/>
          </a:xfrm>
          <a:prstGeom prst="rect">
            <a:avLst/>
          </a:prstGeom>
          <a:noFill/>
          <a:ln w="9525">
            <a:noFill/>
          </a:ln>
        </p:spPr>
        <p:txBody>
          <a:bodyPr vert="horz" wrap="none" lIns="0" tIns="0" rIns="0" bIns="0" rtlCol="0" anchor="t" anchorCtr="0">
            <a:spAutoFit/>
          </a:bodyPr>
          <a:lstStyle/>
          <a:p>
            <a:pPr marL="0" marR="0" lvl="0" indent="0" algn="l" defTabSz="1828800" rtl="0" eaLnBrk="1" fontAlgn="auto" latinLnBrk="0" hangingPunct="1">
              <a:lnSpc>
                <a:spcPct val="90000"/>
              </a:lnSpc>
              <a:spcBef>
                <a:spcPts val="0"/>
              </a:spcBef>
              <a:spcAft>
                <a:spcPts val="0"/>
              </a:spcAft>
              <a:buClr>
                <a:srgbClr val="000000"/>
              </a:buClr>
              <a:buSzPct val="100000"/>
              <a:buFontTx/>
              <a:buNone/>
              <a:tabLst/>
              <a:defRPr/>
            </a:pPr>
            <a:r>
              <a:rPr kumimoji="0" lang="en-GB" sz="2000" b="0" i="0" u="none" strike="noStrike" kern="0" cap="none" spc="0" normalizeH="0" baseline="0" noProof="0" dirty="0">
                <a:ln>
                  <a:noFill/>
                </a:ln>
                <a:solidFill>
                  <a:sysClr val="windowText" lastClr="000000"/>
                </a:solidFill>
                <a:effectLst/>
                <a:uLnTx/>
                <a:uFillTx/>
                <a:latin typeface="Arial Narrow"/>
                <a:ea typeface="+mn-ea"/>
                <a:cs typeface="Arial" pitchFamily="34" charset="0"/>
                <a:sym typeface="Gill Sans" charset="0"/>
              </a:rPr>
              <a:t>Low</a:t>
            </a:r>
          </a:p>
        </p:txBody>
      </p:sp>
      <p:sp>
        <p:nvSpPr>
          <p:cNvPr id="254" name="LegendIcon"/>
          <p:cNvSpPr/>
          <p:nvPr/>
        </p:nvSpPr>
        <p:spPr>
          <a:xfrm>
            <a:off x="13022943" y="12305618"/>
            <a:ext cx="431800" cy="292100"/>
          </a:xfrm>
          <a:prstGeom prst="rect">
            <a:avLst/>
          </a:prstGeom>
          <a:noFill/>
          <a:ln w="9525" cap="flat" cmpd="sng" algn="ctr">
            <a:solidFill>
              <a:srgbClr val="00AAC9"/>
            </a:solidFill>
            <a:prstDash val="solid"/>
          </a:ln>
          <a:effectLst/>
        </p:spPr>
        <p:txBody>
          <a:bodyPr lIns="0" tIns="0" rIns="0" bIns="0" rtlCol="0" anchor="ctr"/>
          <a:lstStyle/>
          <a:p>
            <a:pPr marL="0" marR="0" lvl="0" indent="0" algn="l" defTabSz="1828800" rtl="0" eaLnBrk="1" fontAlgn="auto" latinLnBrk="0" hangingPunct="1">
              <a:lnSpc>
                <a:spcPct val="90000"/>
              </a:lnSpc>
              <a:spcBef>
                <a:spcPts val="0"/>
              </a:spcBef>
              <a:spcAft>
                <a:spcPts val="0"/>
              </a:spcAft>
              <a:buClrTx/>
              <a:buSzTx/>
              <a:buFontTx/>
              <a:buNone/>
              <a:tabLst/>
              <a:defRPr/>
            </a:pPr>
            <a:endParaRPr kumimoji="0" lang="en-GB" sz="2000" b="0" i="0" u="none" strike="noStrike" kern="0" cap="none" spc="0" normalizeH="0" baseline="0" noProof="0" dirty="0">
              <a:ln>
                <a:noFill/>
              </a:ln>
              <a:solidFill>
                <a:sysClr val="windowText" lastClr="000000"/>
              </a:solidFill>
              <a:effectLst/>
              <a:uLnTx/>
              <a:uFillTx/>
              <a:latin typeface="Arial Narrow"/>
              <a:ea typeface="+mn-ea"/>
              <a:cs typeface="Arial" pitchFamily="34" charset="0"/>
              <a:sym typeface="Gill Sans" charset="0"/>
            </a:endParaRPr>
          </a:p>
        </p:txBody>
      </p:sp>
      <p:grpSp>
        <p:nvGrpSpPr>
          <p:cNvPr id="255" name="Gruppieren 58"/>
          <p:cNvGrpSpPr/>
          <p:nvPr/>
        </p:nvGrpSpPr>
        <p:grpSpPr>
          <a:xfrm>
            <a:off x="10353024" y="12305618"/>
            <a:ext cx="1029712" cy="292100"/>
            <a:chOff x="2131689" y="6671478"/>
            <a:chExt cx="514856" cy="146050"/>
          </a:xfrm>
        </p:grpSpPr>
        <p:sp>
          <p:nvSpPr>
            <p:cNvPr id="256" name="LegendIcon"/>
            <p:cNvSpPr/>
            <p:nvPr/>
          </p:nvSpPr>
          <p:spPr>
            <a:xfrm>
              <a:off x="2131689" y="6671478"/>
              <a:ext cx="215900" cy="146050"/>
            </a:xfrm>
            <a:prstGeom prst="rect">
              <a:avLst/>
            </a:prstGeom>
            <a:solidFill>
              <a:srgbClr val="156C9C"/>
            </a:solidFill>
            <a:ln w="9525" cap="flat" cmpd="sng" algn="ctr">
              <a:solidFill>
                <a:srgbClr val="156C9C"/>
              </a:solidFill>
              <a:prstDash val="solid"/>
            </a:ln>
            <a:effectLst/>
          </p:spPr>
          <p:txBody>
            <a:bodyPr lIns="0" tIns="0" rIns="0" bIns="0" rtlCol="0" anchor="ctr"/>
            <a:lstStyle/>
            <a:p>
              <a:pPr marL="0" marR="0" lvl="0" indent="0" algn="l" defTabSz="1828800" rtl="0" eaLnBrk="1" fontAlgn="auto" latinLnBrk="0" hangingPunct="1">
                <a:lnSpc>
                  <a:spcPct val="90000"/>
                </a:lnSpc>
                <a:spcBef>
                  <a:spcPts val="0"/>
                </a:spcBef>
                <a:spcAft>
                  <a:spcPts val="0"/>
                </a:spcAft>
                <a:buClrTx/>
                <a:buSzTx/>
                <a:buFontTx/>
                <a:buNone/>
                <a:tabLst/>
                <a:defRPr/>
              </a:pPr>
              <a:endParaRPr kumimoji="0" lang="en-GB" sz="2000" b="0" i="0" u="none" strike="noStrike" kern="0" cap="none" spc="0" normalizeH="0" baseline="0" noProof="0" dirty="0">
                <a:ln>
                  <a:noFill/>
                </a:ln>
                <a:solidFill>
                  <a:sysClr val="windowText" lastClr="000000"/>
                </a:solidFill>
                <a:effectLst/>
                <a:uLnTx/>
                <a:uFillTx/>
                <a:latin typeface="Arial Narrow"/>
                <a:ea typeface="+mn-ea"/>
                <a:cs typeface="Arial" pitchFamily="34" charset="0"/>
                <a:sym typeface="Gill Sans" charset="0"/>
              </a:endParaRPr>
            </a:p>
          </p:txBody>
        </p:sp>
        <p:sp>
          <p:nvSpPr>
            <p:cNvPr id="257" name="LegendText"/>
            <p:cNvSpPr txBox="1"/>
            <p:nvPr/>
          </p:nvSpPr>
          <p:spPr>
            <a:xfrm>
              <a:off x="2430139" y="6674493"/>
              <a:ext cx="216406" cy="138500"/>
            </a:xfrm>
            <a:prstGeom prst="rect">
              <a:avLst/>
            </a:prstGeom>
            <a:noFill/>
            <a:ln w="9525">
              <a:noFill/>
            </a:ln>
          </p:spPr>
          <p:txBody>
            <a:bodyPr vert="horz" wrap="none" lIns="0" tIns="0" rIns="0" bIns="0" rtlCol="0" anchor="t" anchorCtr="0">
              <a:spAutoFit/>
            </a:bodyPr>
            <a:lstStyle/>
            <a:p>
              <a:pPr marL="0" marR="0" lvl="0" indent="0" algn="l" defTabSz="1828800" rtl="0" eaLnBrk="1" fontAlgn="auto" latinLnBrk="0" hangingPunct="1">
                <a:lnSpc>
                  <a:spcPct val="90000"/>
                </a:lnSpc>
                <a:spcBef>
                  <a:spcPts val="0"/>
                </a:spcBef>
                <a:spcAft>
                  <a:spcPts val="0"/>
                </a:spcAft>
                <a:buClr>
                  <a:srgbClr val="000000"/>
                </a:buClr>
                <a:buSzPct val="100000"/>
                <a:buFontTx/>
                <a:buNone/>
                <a:tabLst/>
                <a:defRPr/>
              </a:pPr>
              <a:r>
                <a:rPr kumimoji="0" lang="en-GB" sz="2000" b="0" i="0" u="none" strike="noStrike" kern="0" cap="none" spc="0" normalizeH="0" baseline="0" noProof="0" dirty="0">
                  <a:ln>
                    <a:noFill/>
                  </a:ln>
                  <a:solidFill>
                    <a:sysClr val="windowText" lastClr="000000"/>
                  </a:solidFill>
                  <a:effectLst/>
                  <a:uLnTx/>
                  <a:uFillTx/>
                  <a:latin typeface="Arial Narrow"/>
                  <a:ea typeface="+mn-ea"/>
                  <a:cs typeface="Arial" pitchFamily="34" charset="0"/>
                  <a:sym typeface="Gill Sans" charset="0"/>
                </a:rPr>
                <a:t>High</a:t>
              </a:r>
            </a:p>
          </p:txBody>
        </p:sp>
      </p:grpSp>
      <p:cxnSp>
        <p:nvCxnSpPr>
          <p:cNvPr id="258" name="LeanLine Vertical 634987054704941966"/>
          <p:cNvCxnSpPr>
            <a:cxnSpLocks/>
          </p:cNvCxnSpPr>
          <p:nvPr/>
        </p:nvCxnSpPr>
        <p:spPr>
          <a:xfrm>
            <a:off x="3246955" y="5406294"/>
            <a:ext cx="17028012" cy="0"/>
          </a:xfrm>
          <a:prstGeom prst="line">
            <a:avLst/>
          </a:prstGeom>
          <a:noFill/>
          <a:ln w="22225" cap="flat" cmpd="sng" algn="ctr">
            <a:solidFill>
              <a:srgbClr val="8D9399"/>
            </a:solidFill>
            <a:prstDash val="solid"/>
          </a:ln>
          <a:effectLst/>
        </p:spPr>
      </p:cxnSp>
      <p:sp>
        <p:nvSpPr>
          <p:cNvPr id="259" name="TextBox 258"/>
          <p:cNvSpPr txBox="1">
            <a:spLocks/>
          </p:cNvSpPr>
          <p:nvPr/>
        </p:nvSpPr>
        <p:spPr>
          <a:xfrm>
            <a:off x="7173905" y="4392805"/>
            <a:ext cx="1200152" cy="304699"/>
          </a:xfrm>
          <a:prstGeom prst="rect">
            <a:avLst/>
          </a:prstGeom>
          <a:noFill/>
          <a:ln w="9525">
            <a:noFill/>
          </a:ln>
        </p:spPr>
        <p:txBody>
          <a:bodyPr wrap="square" lIns="0" tIns="0" rIns="0" bIns="0" rtlCol="0" anchor="t" anchorCtr="0">
            <a:spAutoFit/>
          </a:bodyPr>
          <a:lstStyle/>
          <a:p>
            <a:pPr marL="0" marR="0" lvl="0" indent="0" algn="l" defTabSz="1828800" rtl="0" eaLnBrk="1" fontAlgn="base" latinLnBrk="0" hangingPunct="1">
              <a:lnSpc>
                <a:spcPct val="90000"/>
              </a:lnSpc>
              <a:spcBef>
                <a:spcPts val="0"/>
              </a:spcBef>
              <a:spcAft>
                <a:spcPct val="0"/>
              </a:spcAft>
              <a:buClrTx/>
              <a:buSzTx/>
              <a:buFontTx/>
              <a:buNone/>
              <a:tabLst/>
              <a:defRPr/>
            </a:pPr>
            <a:r>
              <a:rPr kumimoji="0" lang="en-GB" sz="2200" b="1" i="0" u="none" strike="noStrike" kern="1200" cap="none" spc="0" normalizeH="0" baseline="0" noProof="0" dirty="0">
                <a:ln>
                  <a:noFill/>
                </a:ln>
                <a:solidFill>
                  <a:srgbClr val="1B69AC">
                    <a:lumMod val="50000"/>
                  </a:srgbClr>
                </a:solidFill>
                <a:effectLst/>
                <a:uLnTx/>
                <a:uFillTx/>
                <a:latin typeface="Calibri" panose="020F0502020204030204" pitchFamily="34" charset="0"/>
                <a:ea typeface="+mn-ea"/>
                <a:cs typeface="Calibri" panose="020F0502020204030204" pitchFamily="34" charset="0"/>
                <a:sym typeface="Gill Sans" charset="0"/>
              </a:rPr>
              <a:t>TRL</a:t>
            </a:r>
          </a:p>
        </p:txBody>
      </p:sp>
      <p:sp>
        <p:nvSpPr>
          <p:cNvPr id="260" name="Rectangle 259"/>
          <p:cNvSpPr>
            <a:spLocks/>
          </p:cNvSpPr>
          <p:nvPr/>
        </p:nvSpPr>
        <p:spPr>
          <a:xfrm>
            <a:off x="6611288" y="10871833"/>
            <a:ext cx="1762770" cy="428982"/>
          </a:xfrm>
          <a:prstGeom prst="rect">
            <a:avLst/>
          </a:prstGeom>
          <a:solidFill>
            <a:srgbClr val="156C9C"/>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261" name="Rectangle 260"/>
          <p:cNvSpPr>
            <a:spLocks/>
          </p:cNvSpPr>
          <p:nvPr/>
        </p:nvSpPr>
        <p:spPr>
          <a:xfrm>
            <a:off x="6611288" y="5518885"/>
            <a:ext cx="1762770" cy="428982"/>
          </a:xfrm>
          <a:prstGeom prst="rect">
            <a:avLst/>
          </a:prstGeom>
          <a:solidFill>
            <a:srgbClr val="156C9C"/>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262" name="Rectangle 261"/>
          <p:cNvSpPr>
            <a:spLocks/>
          </p:cNvSpPr>
          <p:nvPr/>
        </p:nvSpPr>
        <p:spPr>
          <a:xfrm>
            <a:off x="6611288" y="6183871"/>
            <a:ext cx="1762770" cy="428982"/>
          </a:xfrm>
          <a:prstGeom prst="rect">
            <a:avLst/>
          </a:prstGeom>
          <a:solidFill>
            <a:srgbClr val="156C9C"/>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263" name="Rectangle 262"/>
          <p:cNvSpPr>
            <a:spLocks/>
          </p:cNvSpPr>
          <p:nvPr/>
        </p:nvSpPr>
        <p:spPr>
          <a:xfrm>
            <a:off x="6611288" y="6848855"/>
            <a:ext cx="1762770" cy="428982"/>
          </a:xfrm>
          <a:prstGeom prst="rect">
            <a:avLst/>
          </a:prstGeom>
          <a:solidFill>
            <a:srgbClr val="85CEDF"/>
          </a:solidFill>
          <a:ln w="9525" cap="flat" cmpd="sng" algn="ctr">
            <a:noFill/>
            <a:prstDash val="solid"/>
          </a:ln>
          <a:effectLst/>
          <a:extLst>
            <a:ext uri="{91240B29-F687-4F45-9708-019B960494DF}">
              <a14:hiddenLine xmlns:a14="http://schemas.microsoft.com/office/drawing/2010/main" w="9525" cap="flat" cmpd="sng" algn="ctr">
                <a:solidFill>
                  <a:schemeClr val="accent4"/>
                </a:solidFill>
                <a:prstDash val="solid"/>
              </a14:hiddenLine>
            </a:ext>
          </a:ex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264" name="Rectangle 263"/>
          <p:cNvSpPr>
            <a:spLocks/>
          </p:cNvSpPr>
          <p:nvPr/>
        </p:nvSpPr>
        <p:spPr>
          <a:xfrm>
            <a:off x="6611288" y="8178827"/>
            <a:ext cx="1762770" cy="428982"/>
          </a:xfrm>
          <a:prstGeom prst="rect">
            <a:avLst/>
          </a:prstGeom>
          <a:solidFill>
            <a:srgbClr val="85CEDF"/>
          </a:solidFill>
          <a:ln w="9525" cap="flat" cmpd="sng" algn="ctr">
            <a:noFill/>
            <a:prstDash val="solid"/>
          </a:ln>
          <a:effectLst/>
          <a:extLst>
            <a:ext uri="{91240B29-F687-4F45-9708-019B960494DF}">
              <a14:hiddenLine xmlns:a14="http://schemas.microsoft.com/office/drawing/2010/main" w="9525" cap="flat" cmpd="sng" algn="ctr">
                <a:solidFill>
                  <a:schemeClr val="accent4"/>
                </a:solidFill>
                <a:prstDash val="solid"/>
              </a14:hiddenLine>
            </a:ext>
          </a:extLst>
        </p:spPr>
        <p:txBody>
          <a:bodyPr lIns="0" tIns="0" rIns="0" bIns="0" rtlCol="0" anchor="ctr"/>
          <a:lstStyle/>
          <a:p>
            <a:pPr marL="0" marR="0" lvl="0" indent="0" algn="ctr" defTabSz="1828800" rtl="0" eaLnBrk="1" fontAlgn="auto" latinLnBrk="0" hangingPunct="1">
              <a:lnSpc>
                <a:spcPct val="90000"/>
              </a:lnSpc>
              <a:spcBef>
                <a:spcPts val="0"/>
              </a:spcBef>
              <a:spcAft>
                <a:spcPts val="0"/>
              </a:spcAft>
              <a:buClrTx/>
              <a:buSzTx/>
              <a:buFontTx/>
              <a:buNone/>
              <a:tabLst/>
              <a:defRPr/>
            </a:pPr>
            <a:endParaRPr kumimoji="0" lang="en-GB" sz="2600" b="0" i="0" u="none" strike="noStrike" kern="0" cap="none" spc="0" normalizeH="0" baseline="0" noProof="0" dirty="0" smtClean="0">
              <a:ln>
                <a:noFill/>
              </a:ln>
              <a:solidFill>
                <a:sysClr val="windowText" lastClr="000000"/>
              </a:solidFill>
              <a:effectLst/>
              <a:uLnTx/>
              <a:uFillTx/>
              <a:latin typeface="Arial Narrow" charset="0"/>
              <a:ea typeface="+mn-ea"/>
              <a:cs typeface="Arial" pitchFamily="34" charset="0"/>
              <a:sym typeface="Gill Sans" charset="0"/>
            </a:endParaRPr>
          </a:p>
        </p:txBody>
      </p:sp>
      <p:sp>
        <p:nvSpPr>
          <p:cNvPr id="265" name="Rectangle 264"/>
          <p:cNvSpPr>
            <a:spLocks/>
          </p:cNvSpPr>
          <p:nvPr/>
        </p:nvSpPr>
        <p:spPr>
          <a:xfrm>
            <a:off x="6611288" y="7513841"/>
            <a:ext cx="1762770" cy="428982"/>
          </a:xfrm>
          <a:prstGeom prst="rect">
            <a:avLst/>
          </a:prstGeom>
          <a:solidFill>
            <a:srgbClr val="85CEDF"/>
          </a:solidFill>
          <a:ln w="9525" cap="flat" cmpd="sng" algn="ctr">
            <a:noFill/>
            <a:prstDash val="solid"/>
          </a:ln>
          <a:effectLst/>
          <a:extLst>
            <a:ext uri="{91240B29-F687-4F45-9708-019B960494DF}">
              <a14:hiddenLine xmlns:a14="http://schemas.microsoft.com/office/drawing/2010/main" w="9525" cap="flat" cmpd="sng" algn="ctr">
                <a:solidFill>
                  <a:schemeClr val="accent4"/>
                </a:solidFill>
                <a:prstDash val="solid"/>
              </a14:hiddenLine>
            </a:ext>
          </a:extLst>
        </p:spPr>
        <p:txBody>
          <a:bodyPr lIns="0" tIns="0" rIns="0" bIns="0" rtlCol="0" anchor="ctr"/>
          <a:lstStyle/>
          <a:p>
            <a:pPr marL="0" marR="0" lvl="0" indent="0" algn="ctr" defTabSz="1828800" rtl="0" eaLnBrk="1" fontAlgn="auto" latinLnBrk="0" hangingPunct="1">
              <a:lnSpc>
                <a:spcPct val="90000"/>
              </a:lnSpc>
              <a:spcBef>
                <a:spcPts val="0"/>
              </a:spcBef>
              <a:spcAft>
                <a:spcPts val="0"/>
              </a:spcAft>
              <a:buClrTx/>
              <a:buSzTx/>
              <a:buFontTx/>
              <a:buNone/>
              <a:tabLst/>
              <a:defRPr/>
            </a:pPr>
            <a:endParaRPr kumimoji="0" lang="en-GB" sz="2600" b="0" i="0" u="none" strike="noStrike" kern="0" cap="none" spc="0" normalizeH="0" baseline="0" noProof="0" dirty="0" smtClean="0">
              <a:ln>
                <a:noFill/>
              </a:ln>
              <a:solidFill>
                <a:sysClr val="windowText" lastClr="000000"/>
              </a:solidFill>
              <a:effectLst/>
              <a:uLnTx/>
              <a:uFillTx/>
              <a:latin typeface="Arial Narrow" charset="0"/>
              <a:ea typeface="+mn-ea"/>
              <a:cs typeface="Arial" pitchFamily="34" charset="0"/>
              <a:sym typeface="Gill Sans" charset="0"/>
            </a:endParaRPr>
          </a:p>
        </p:txBody>
      </p:sp>
      <p:sp>
        <p:nvSpPr>
          <p:cNvPr id="266" name="Rectangle 265"/>
          <p:cNvSpPr>
            <a:spLocks/>
          </p:cNvSpPr>
          <p:nvPr/>
        </p:nvSpPr>
        <p:spPr>
          <a:xfrm>
            <a:off x="6611288" y="9508797"/>
            <a:ext cx="1762770" cy="428982"/>
          </a:xfrm>
          <a:prstGeom prst="rect">
            <a:avLst/>
          </a:prstGeom>
          <a:solidFill>
            <a:srgbClr val="156C9C"/>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267" name="Rectangle 266"/>
          <p:cNvSpPr>
            <a:spLocks/>
          </p:cNvSpPr>
          <p:nvPr/>
        </p:nvSpPr>
        <p:spPr>
          <a:xfrm>
            <a:off x="6611288" y="10173783"/>
            <a:ext cx="1762770" cy="428982"/>
          </a:xfrm>
          <a:prstGeom prst="rect">
            <a:avLst/>
          </a:prstGeom>
          <a:solidFill>
            <a:srgbClr val="156C9C"/>
          </a:solidFill>
          <a:ln w="9525" cap="flat" cmpd="sng" algn="ctr">
            <a:noFill/>
            <a:prstDash val="solid"/>
          </a:ln>
          <a:effectLst/>
          <a:extLst>
            <a:ext uri="{91240B29-F687-4F45-9708-019B960494DF}">
              <a14:hiddenLine xmlns:a14="http://schemas.microsoft.com/office/drawing/2010/main" w="9525" cap="flat" cmpd="sng" algn="ctr">
                <a:solidFill>
                  <a:schemeClr val="accent4"/>
                </a:solidFill>
                <a:prstDash val="solid"/>
              </a14:hiddenLine>
            </a:ext>
          </a:ex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268" name="Rectangle 267"/>
          <p:cNvSpPr>
            <a:spLocks/>
          </p:cNvSpPr>
          <p:nvPr/>
        </p:nvSpPr>
        <p:spPr>
          <a:xfrm>
            <a:off x="6611288" y="8843811"/>
            <a:ext cx="1762770" cy="428982"/>
          </a:xfrm>
          <a:prstGeom prst="rect">
            <a:avLst/>
          </a:prstGeom>
          <a:solidFill>
            <a:srgbClr val="FFFFFF"/>
          </a:solidFill>
          <a:ln w="9525" cap="flat" cmpd="sng" algn="ctr">
            <a:solidFill>
              <a:srgbClr val="00AAC9"/>
            </a:solidFill>
            <a:prstDash val="solid"/>
          </a:ln>
          <a:effectLst/>
        </p:spPr>
        <p:txBody>
          <a:bodyPr lIns="0" tIns="0" rIns="0" bIns="0" rtlCol="0" anchor="ctr"/>
          <a:lstStyle/>
          <a:p>
            <a:pPr marL="0" marR="0" lvl="0" indent="0" algn="ctr" defTabSz="1828800" rtl="0" eaLnBrk="1" fontAlgn="auto" latinLnBrk="0" hangingPunct="1">
              <a:lnSpc>
                <a:spcPct val="90000"/>
              </a:lnSpc>
              <a:spcBef>
                <a:spcPts val="0"/>
              </a:spcBef>
              <a:spcAft>
                <a:spcPts val="0"/>
              </a:spcAft>
              <a:buClrTx/>
              <a:buSzTx/>
              <a:buFontTx/>
              <a:buNone/>
              <a:tabLst/>
              <a:defRPr/>
            </a:pPr>
            <a:endParaRPr kumimoji="0" lang="en-GB" sz="2600" b="0" i="0" u="none" strike="noStrike" kern="0" cap="none" spc="0" normalizeH="0" baseline="0" noProof="0" dirty="0" smtClean="0">
              <a:ln>
                <a:noFill/>
              </a:ln>
              <a:solidFill>
                <a:sysClr val="windowText" lastClr="000000"/>
              </a:solidFill>
              <a:effectLst/>
              <a:uLnTx/>
              <a:uFillTx/>
              <a:latin typeface="Arial Narrow" charset="0"/>
              <a:ea typeface="+mn-ea"/>
              <a:cs typeface="Arial" pitchFamily="34" charset="0"/>
              <a:sym typeface="Gill Sans" charset="0"/>
            </a:endParaRPr>
          </a:p>
        </p:txBody>
      </p:sp>
      <p:sp>
        <p:nvSpPr>
          <p:cNvPr id="269" name="Rectangle 268"/>
          <p:cNvSpPr>
            <a:spLocks/>
          </p:cNvSpPr>
          <p:nvPr/>
        </p:nvSpPr>
        <p:spPr>
          <a:xfrm>
            <a:off x="6611288" y="11569885"/>
            <a:ext cx="1762770" cy="428982"/>
          </a:xfrm>
          <a:prstGeom prst="rect">
            <a:avLst/>
          </a:prstGeom>
          <a:solidFill>
            <a:srgbClr val="156C9C"/>
          </a:solidFill>
          <a:ln w="9525" cap="flat" cmpd="sng" algn="ctr">
            <a:noFill/>
            <a:prstDash val="solid"/>
          </a:ln>
          <a:effectLst/>
          <a:extLst>
            <a:ext uri="{91240B29-F687-4F45-9708-019B960494DF}">
              <a14:hiddenLine xmlns:a14="http://schemas.microsoft.com/office/drawing/2010/main" w="9525" cap="flat" cmpd="sng" algn="ctr">
                <a:solidFill>
                  <a:schemeClr val="accent4"/>
                </a:solidFill>
                <a:prstDash val="solid"/>
              </a14:hiddenLine>
            </a:ext>
          </a:ex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270" name="TextBox 269"/>
          <p:cNvSpPr txBox="1">
            <a:spLocks/>
          </p:cNvSpPr>
          <p:nvPr/>
        </p:nvSpPr>
        <p:spPr>
          <a:xfrm>
            <a:off x="13114841" y="4392805"/>
            <a:ext cx="1200152" cy="914096"/>
          </a:xfrm>
          <a:prstGeom prst="rect">
            <a:avLst/>
          </a:prstGeom>
          <a:noFill/>
          <a:ln w="9525">
            <a:noFill/>
          </a:ln>
        </p:spPr>
        <p:txBody>
          <a:bodyPr wrap="square" lIns="0" tIns="0" rIns="0" bIns="0" rtlCol="0" anchor="t" anchorCtr="0">
            <a:spAutoFit/>
          </a:bodyPr>
          <a:lstStyle/>
          <a:p>
            <a:pPr marL="0" marR="0" lvl="0" indent="0" algn="l" defTabSz="1828800" rtl="0" eaLnBrk="1" fontAlgn="base" latinLnBrk="0" hangingPunct="1">
              <a:lnSpc>
                <a:spcPct val="90000"/>
              </a:lnSpc>
              <a:spcBef>
                <a:spcPts val="0"/>
              </a:spcBef>
              <a:spcAft>
                <a:spcPct val="0"/>
              </a:spcAft>
              <a:buClrTx/>
              <a:buSzTx/>
              <a:buFontTx/>
              <a:buNone/>
              <a:tabLst/>
              <a:defRPr/>
            </a:pPr>
            <a:r>
              <a:rPr kumimoji="0" lang="en-GB" sz="2200" b="1" i="0" u="none" strike="noStrike" kern="1200" cap="none" spc="0" normalizeH="0" baseline="0" noProof="0" dirty="0">
                <a:ln>
                  <a:noFill/>
                </a:ln>
                <a:solidFill>
                  <a:srgbClr val="1B69AC">
                    <a:lumMod val="50000"/>
                  </a:srgbClr>
                </a:solidFill>
                <a:effectLst/>
                <a:uLnTx/>
                <a:uFillTx/>
                <a:latin typeface="Calibri" panose="020F0502020204030204" pitchFamily="34" charset="0"/>
                <a:ea typeface="+mn-ea"/>
                <a:cs typeface="Calibri" panose="020F0502020204030204" pitchFamily="34" charset="0"/>
                <a:sym typeface="Gill Sans" charset="0"/>
              </a:rPr>
              <a:t>Unique selling propos.</a:t>
            </a:r>
          </a:p>
        </p:txBody>
      </p:sp>
      <p:sp>
        <p:nvSpPr>
          <p:cNvPr id="271" name="Rectangle 270"/>
          <p:cNvSpPr>
            <a:spLocks/>
          </p:cNvSpPr>
          <p:nvPr/>
        </p:nvSpPr>
        <p:spPr>
          <a:xfrm>
            <a:off x="12552224" y="10871833"/>
            <a:ext cx="1762770" cy="428982"/>
          </a:xfrm>
          <a:prstGeom prst="rect">
            <a:avLst/>
          </a:prstGeom>
          <a:solidFill>
            <a:srgbClr val="85CEDF"/>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272" name="Rectangle 271"/>
          <p:cNvSpPr>
            <a:spLocks/>
          </p:cNvSpPr>
          <p:nvPr/>
        </p:nvSpPr>
        <p:spPr>
          <a:xfrm>
            <a:off x="12552224" y="5518885"/>
            <a:ext cx="1762770" cy="428982"/>
          </a:xfrm>
          <a:prstGeom prst="rect">
            <a:avLst/>
          </a:prstGeom>
          <a:solidFill>
            <a:srgbClr val="156C9C"/>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273" name="Rectangle 272"/>
          <p:cNvSpPr>
            <a:spLocks/>
          </p:cNvSpPr>
          <p:nvPr/>
        </p:nvSpPr>
        <p:spPr>
          <a:xfrm>
            <a:off x="12552224" y="6183871"/>
            <a:ext cx="1762770" cy="428982"/>
          </a:xfrm>
          <a:prstGeom prst="rect">
            <a:avLst/>
          </a:prstGeom>
          <a:solidFill>
            <a:srgbClr val="156C9C"/>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274" name="Rectangle 273"/>
          <p:cNvSpPr>
            <a:spLocks/>
          </p:cNvSpPr>
          <p:nvPr/>
        </p:nvSpPr>
        <p:spPr>
          <a:xfrm>
            <a:off x="12552224" y="6848855"/>
            <a:ext cx="1762770" cy="428982"/>
          </a:xfrm>
          <a:prstGeom prst="rect">
            <a:avLst/>
          </a:prstGeom>
          <a:solidFill>
            <a:srgbClr val="85CEDF"/>
          </a:solidFill>
          <a:ln w="9525" cap="flat" cmpd="sng" algn="ctr">
            <a:noFill/>
            <a:prstDash val="solid"/>
          </a:ln>
          <a:effectLst/>
          <a:extLst>
            <a:ext uri="{91240B29-F687-4F45-9708-019B960494DF}">
              <a14:hiddenLine xmlns:a14="http://schemas.microsoft.com/office/drawing/2010/main" w="9525" cap="flat" cmpd="sng" algn="ctr">
                <a:solidFill>
                  <a:schemeClr val="accent4"/>
                </a:solidFill>
                <a:prstDash val="solid"/>
              </a14:hiddenLine>
            </a:ext>
          </a:ex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275" name="Rectangle 274"/>
          <p:cNvSpPr>
            <a:spLocks/>
          </p:cNvSpPr>
          <p:nvPr/>
        </p:nvSpPr>
        <p:spPr>
          <a:xfrm>
            <a:off x="12552224" y="8178827"/>
            <a:ext cx="1762770" cy="428982"/>
          </a:xfrm>
          <a:prstGeom prst="rect">
            <a:avLst/>
          </a:prstGeom>
          <a:solidFill>
            <a:srgbClr val="156C9C"/>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276" name="Rectangle 275"/>
          <p:cNvSpPr>
            <a:spLocks/>
          </p:cNvSpPr>
          <p:nvPr/>
        </p:nvSpPr>
        <p:spPr>
          <a:xfrm>
            <a:off x="12552224" y="7513841"/>
            <a:ext cx="1762770" cy="428982"/>
          </a:xfrm>
          <a:prstGeom prst="rect">
            <a:avLst/>
          </a:prstGeom>
          <a:solidFill>
            <a:srgbClr val="85CEDF"/>
          </a:solidFill>
          <a:ln w="9525" cap="flat" cmpd="sng" algn="ctr">
            <a:noFill/>
            <a:prstDash val="solid"/>
          </a:ln>
          <a:effectLst/>
          <a:extLst>
            <a:ext uri="{91240B29-F687-4F45-9708-019B960494DF}">
              <a14:hiddenLine xmlns:a14="http://schemas.microsoft.com/office/drawing/2010/main" w="9525" cap="flat" cmpd="sng" algn="ctr">
                <a:solidFill>
                  <a:schemeClr val="accent4"/>
                </a:solidFill>
                <a:prstDash val="solid"/>
              </a14:hiddenLine>
            </a:ext>
          </a:ex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277" name="Rectangle 276"/>
          <p:cNvSpPr>
            <a:spLocks/>
          </p:cNvSpPr>
          <p:nvPr/>
        </p:nvSpPr>
        <p:spPr>
          <a:xfrm>
            <a:off x="12552224" y="9508797"/>
            <a:ext cx="1762770" cy="428982"/>
          </a:xfrm>
          <a:prstGeom prst="rect">
            <a:avLst/>
          </a:prstGeom>
          <a:solidFill>
            <a:srgbClr val="156C9C"/>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278" name="Rectangle 277"/>
          <p:cNvSpPr>
            <a:spLocks/>
          </p:cNvSpPr>
          <p:nvPr/>
        </p:nvSpPr>
        <p:spPr>
          <a:xfrm>
            <a:off x="12552224" y="10173783"/>
            <a:ext cx="1762770" cy="428982"/>
          </a:xfrm>
          <a:prstGeom prst="rect">
            <a:avLst/>
          </a:prstGeom>
          <a:solidFill>
            <a:srgbClr val="156C9C"/>
          </a:solidFill>
          <a:ln w="9525" cap="flat" cmpd="sng" algn="ctr">
            <a:noFill/>
            <a:prstDash val="solid"/>
          </a:ln>
          <a:effectLst/>
          <a:extLst>
            <a:ext uri="{91240B29-F687-4F45-9708-019B960494DF}">
              <a14:hiddenLine xmlns:a14="http://schemas.microsoft.com/office/drawing/2010/main" w="9525" cap="flat" cmpd="sng" algn="ctr">
                <a:solidFill>
                  <a:schemeClr val="accent4"/>
                </a:solidFill>
                <a:prstDash val="solid"/>
              </a14:hiddenLine>
            </a:ext>
          </a:ex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279" name="Rectangle 278"/>
          <p:cNvSpPr>
            <a:spLocks/>
          </p:cNvSpPr>
          <p:nvPr/>
        </p:nvSpPr>
        <p:spPr>
          <a:xfrm>
            <a:off x="12552224" y="8843811"/>
            <a:ext cx="1762770" cy="428982"/>
          </a:xfrm>
          <a:prstGeom prst="rect">
            <a:avLst/>
          </a:prstGeom>
          <a:solidFill>
            <a:srgbClr val="85CEDF"/>
          </a:solidFill>
          <a:ln w="9525" cap="flat" cmpd="sng" algn="ctr">
            <a:noFill/>
            <a:prstDash val="solid"/>
          </a:ln>
          <a:effectLst/>
          <a:extLst>
            <a:ext uri="{91240B29-F687-4F45-9708-019B960494DF}">
              <a14:hiddenLine xmlns:a14="http://schemas.microsoft.com/office/drawing/2010/main" w="9525" cap="flat" cmpd="sng" algn="ctr">
                <a:solidFill>
                  <a:schemeClr val="accent4"/>
                </a:solidFill>
                <a:prstDash val="solid"/>
              </a14:hiddenLine>
            </a:ext>
          </a:ex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280" name="Rectangle 279"/>
          <p:cNvSpPr>
            <a:spLocks/>
          </p:cNvSpPr>
          <p:nvPr/>
        </p:nvSpPr>
        <p:spPr>
          <a:xfrm>
            <a:off x="12552224" y="11569885"/>
            <a:ext cx="1762770" cy="428982"/>
          </a:xfrm>
          <a:prstGeom prst="rect">
            <a:avLst/>
          </a:prstGeom>
          <a:solidFill>
            <a:srgbClr val="156C9C"/>
          </a:solidFill>
          <a:ln w="9525" cap="flat" cmpd="sng" algn="ctr">
            <a:noFill/>
            <a:prstDash val="solid"/>
          </a:ln>
          <a:effectLst/>
          <a:extLst>
            <a:ext uri="{91240B29-F687-4F45-9708-019B960494DF}">
              <a14:hiddenLine xmlns:a14="http://schemas.microsoft.com/office/drawing/2010/main" w="9525" cap="flat" cmpd="sng" algn="ctr">
                <a:solidFill>
                  <a:schemeClr val="accent4"/>
                </a:solidFill>
                <a:prstDash val="solid"/>
              </a14:hiddenLine>
            </a:ext>
          </a:ex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281" name="TextBox 280"/>
          <p:cNvSpPr txBox="1">
            <a:spLocks/>
          </p:cNvSpPr>
          <p:nvPr/>
        </p:nvSpPr>
        <p:spPr>
          <a:xfrm>
            <a:off x="15095151" y="4392804"/>
            <a:ext cx="1200152" cy="914096"/>
          </a:xfrm>
          <a:prstGeom prst="rect">
            <a:avLst/>
          </a:prstGeom>
          <a:noFill/>
          <a:ln w="9525">
            <a:noFill/>
          </a:ln>
        </p:spPr>
        <p:txBody>
          <a:bodyPr wrap="square" lIns="0" tIns="0" rIns="0" bIns="0" rtlCol="0" anchor="t" anchorCtr="0">
            <a:spAutoFit/>
          </a:bodyPr>
          <a:lstStyle/>
          <a:p>
            <a:pPr marL="0" marR="0" lvl="0" indent="0" algn="l" defTabSz="1828800" rtl="0" eaLnBrk="1" fontAlgn="base" latinLnBrk="0" hangingPunct="1">
              <a:lnSpc>
                <a:spcPct val="90000"/>
              </a:lnSpc>
              <a:spcBef>
                <a:spcPts val="0"/>
              </a:spcBef>
              <a:spcAft>
                <a:spcPct val="0"/>
              </a:spcAft>
              <a:buClrTx/>
              <a:buSzTx/>
              <a:buFontTx/>
              <a:buNone/>
              <a:tabLst/>
              <a:defRPr/>
            </a:pPr>
            <a:r>
              <a:rPr kumimoji="0" lang="en-GB" sz="2200" b="1" i="0" u="none" strike="noStrike" kern="1200" cap="none" spc="0" normalizeH="0" baseline="0" noProof="0" dirty="0">
                <a:ln>
                  <a:noFill/>
                </a:ln>
                <a:solidFill>
                  <a:srgbClr val="1B69AC">
                    <a:lumMod val="50000"/>
                  </a:srgbClr>
                </a:solidFill>
                <a:effectLst/>
                <a:uLnTx/>
                <a:uFillTx/>
                <a:latin typeface="Calibri" panose="020F0502020204030204" pitchFamily="34" charset="0"/>
                <a:ea typeface="+mn-ea"/>
                <a:cs typeface="Calibri" panose="020F0502020204030204" pitchFamily="34" charset="0"/>
                <a:sym typeface="Gill Sans" charset="0"/>
              </a:rPr>
              <a:t>Ease of deploy-ment</a:t>
            </a:r>
          </a:p>
        </p:txBody>
      </p:sp>
      <p:sp>
        <p:nvSpPr>
          <p:cNvPr id="282" name="Rectangle 281"/>
          <p:cNvSpPr>
            <a:spLocks/>
          </p:cNvSpPr>
          <p:nvPr/>
        </p:nvSpPr>
        <p:spPr>
          <a:xfrm>
            <a:off x="14532534" y="10871833"/>
            <a:ext cx="1762770" cy="428982"/>
          </a:xfrm>
          <a:prstGeom prst="rect">
            <a:avLst/>
          </a:prstGeom>
          <a:solidFill>
            <a:srgbClr val="156C9C"/>
          </a:solidFill>
          <a:ln w="9525" cap="flat" cmpd="sng" algn="ctr">
            <a:noFill/>
            <a:prstDash val="solid"/>
          </a:ln>
          <a:effectLst/>
          <a:extLst>
            <a:ext uri="{91240B29-F687-4F45-9708-019B960494DF}">
              <a14:hiddenLine xmlns:a14="http://schemas.microsoft.com/office/drawing/2010/main" w="9525" cap="flat" cmpd="sng" algn="ctr">
                <a:solidFill>
                  <a:schemeClr val="accent4"/>
                </a:solidFill>
                <a:prstDash val="solid"/>
              </a14:hiddenLine>
            </a:ext>
          </a:ex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283" name="Rectangle 282"/>
          <p:cNvSpPr>
            <a:spLocks/>
          </p:cNvSpPr>
          <p:nvPr/>
        </p:nvSpPr>
        <p:spPr>
          <a:xfrm>
            <a:off x="14532534" y="5518885"/>
            <a:ext cx="1762770" cy="428982"/>
          </a:xfrm>
          <a:prstGeom prst="rect">
            <a:avLst/>
          </a:prstGeom>
          <a:solidFill>
            <a:srgbClr val="85CEDF"/>
          </a:solidFill>
          <a:ln w="9525" cap="flat" cmpd="sng" algn="ctr">
            <a:noFill/>
            <a:prstDash val="solid"/>
          </a:ln>
          <a:effectLst/>
          <a:extLst>
            <a:ext uri="{91240B29-F687-4F45-9708-019B960494DF}">
              <a14:hiddenLine xmlns:a14="http://schemas.microsoft.com/office/drawing/2010/main" w="9525" cap="flat" cmpd="sng" algn="ctr">
                <a:solidFill>
                  <a:schemeClr val="accent4"/>
                </a:solidFill>
                <a:prstDash val="solid"/>
              </a14:hiddenLine>
            </a:ext>
          </a:ex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284" name="Rectangle 283"/>
          <p:cNvSpPr>
            <a:spLocks/>
          </p:cNvSpPr>
          <p:nvPr/>
        </p:nvSpPr>
        <p:spPr>
          <a:xfrm>
            <a:off x="14532534" y="6183871"/>
            <a:ext cx="1762770" cy="428982"/>
          </a:xfrm>
          <a:prstGeom prst="rect">
            <a:avLst/>
          </a:prstGeom>
          <a:solidFill>
            <a:srgbClr val="156C9C"/>
          </a:solidFill>
          <a:ln w="9525" cap="flat" cmpd="sng" algn="ctr">
            <a:noFill/>
            <a:prstDash val="solid"/>
          </a:ln>
          <a:effectLst/>
          <a:ex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285" name="Rectangle 284"/>
          <p:cNvSpPr>
            <a:spLocks/>
          </p:cNvSpPr>
          <p:nvPr/>
        </p:nvSpPr>
        <p:spPr>
          <a:xfrm>
            <a:off x="14532534" y="6848855"/>
            <a:ext cx="1762770" cy="428982"/>
          </a:xfrm>
          <a:prstGeom prst="rect">
            <a:avLst/>
          </a:prstGeom>
          <a:solidFill>
            <a:srgbClr val="85CEDF"/>
          </a:solidFill>
          <a:ln w="9525" cap="flat" cmpd="sng" algn="ctr">
            <a:noFill/>
            <a:prstDash val="solid"/>
          </a:ln>
          <a:effectLst/>
          <a:extLst>
            <a:ext uri="{91240B29-F687-4F45-9708-019B960494DF}">
              <a14:hiddenLine xmlns:a14="http://schemas.microsoft.com/office/drawing/2010/main" w="9525" cap="flat" cmpd="sng" algn="ctr">
                <a:solidFill>
                  <a:schemeClr val="accent4"/>
                </a:solidFill>
                <a:prstDash val="solid"/>
              </a14:hiddenLine>
            </a:ext>
          </a:ex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286" name="Rectangle 285"/>
          <p:cNvSpPr>
            <a:spLocks/>
          </p:cNvSpPr>
          <p:nvPr/>
        </p:nvSpPr>
        <p:spPr>
          <a:xfrm>
            <a:off x="14532534" y="8178827"/>
            <a:ext cx="1762770" cy="428982"/>
          </a:xfrm>
          <a:prstGeom prst="rect">
            <a:avLst/>
          </a:prstGeom>
          <a:solidFill>
            <a:srgbClr val="85CEDF"/>
          </a:solidFill>
          <a:ln w="9525" cap="flat" cmpd="sng" algn="ctr">
            <a:noFill/>
            <a:prstDash val="solid"/>
          </a:ln>
          <a:effectLst/>
          <a:extLst>
            <a:ext uri="{91240B29-F687-4F45-9708-019B960494DF}">
              <a14:hiddenLine xmlns:a14="http://schemas.microsoft.com/office/drawing/2010/main" w="9525" cap="flat" cmpd="sng" algn="ctr">
                <a:solidFill>
                  <a:schemeClr val="accent4"/>
                </a:solidFill>
                <a:prstDash val="solid"/>
              </a14:hiddenLine>
            </a:ext>
          </a:ex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287" name="Rectangle 286"/>
          <p:cNvSpPr>
            <a:spLocks/>
          </p:cNvSpPr>
          <p:nvPr/>
        </p:nvSpPr>
        <p:spPr>
          <a:xfrm>
            <a:off x="14532534" y="7513841"/>
            <a:ext cx="1762770" cy="428982"/>
          </a:xfrm>
          <a:prstGeom prst="rect">
            <a:avLst/>
          </a:prstGeom>
          <a:solidFill>
            <a:srgbClr val="85CEDF"/>
          </a:solidFill>
          <a:ln w="9525" cap="flat" cmpd="sng" algn="ctr">
            <a:noFill/>
            <a:prstDash val="solid"/>
          </a:ln>
          <a:effectLst/>
          <a:extLst>
            <a:ext uri="{91240B29-F687-4F45-9708-019B960494DF}">
              <a14:hiddenLine xmlns:a14="http://schemas.microsoft.com/office/drawing/2010/main" w="9525" cap="flat" cmpd="sng" algn="ctr">
                <a:solidFill>
                  <a:schemeClr val="accent4"/>
                </a:solidFill>
                <a:prstDash val="solid"/>
              </a14:hiddenLine>
            </a:ext>
          </a:ex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288" name="Rectangle 287"/>
          <p:cNvSpPr>
            <a:spLocks/>
          </p:cNvSpPr>
          <p:nvPr/>
        </p:nvSpPr>
        <p:spPr>
          <a:xfrm>
            <a:off x="14532534" y="9508797"/>
            <a:ext cx="1762770" cy="428982"/>
          </a:xfrm>
          <a:prstGeom prst="rect">
            <a:avLst/>
          </a:prstGeom>
          <a:noFill/>
          <a:ln w="9525" cap="flat" cmpd="sng" algn="ctr">
            <a:solidFill>
              <a:srgbClr val="00AAC9"/>
            </a:solidFill>
            <a:prstDash val="solid"/>
          </a:ln>
          <a:effectLst/>
          <a:ex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289" name="Rectangle 288"/>
          <p:cNvSpPr>
            <a:spLocks/>
          </p:cNvSpPr>
          <p:nvPr/>
        </p:nvSpPr>
        <p:spPr>
          <a:xfrm>
            <a:off x="14532534" y="10173783"/>
            <a:ext cx="1762770" cy="428982"/>
          </a:xfrm>
          <a:prstGeom prst="rect">
            <a:avLst/>
          </a:prstGeom>
          <a:noFill/>
          <a:ln w="9525" cap="flat" cmpd="sng" algn="ctr">
            <a:solidFill>
              <a:srgbClr val="00AAC9"/>
            </a:solidFill>
            <a:prstDash val="solid"/>
          </a:ln>
          <a:effectLst/>
          <a:ex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290" name="Rectangle 289"/>
          <p:cNvSpPr>
            <a:spLocks/>
          </p:cNvSpPr>
          <p:nvPr/>
        </p:nvSpPr>
        <p:spPr>
          <a:xfrm>
            <a:off x="14532534" y="8843811"/>
            <a:ext cx="1762770" cy="428982"/>
          </a:xfrm>
          <a:prstGeom prst="rect">
            <a:avLst/>
          </a:prstGeom>
          <a:noFill/>
          <a:ln w="9525" cap="flat" cmpd="sng" algn="ctr">
            <a:solidFill>
              <a:srgbClr val="00AAC9"/>
            </a:solidFill>
            <a:prstDash val="solid"/>
          </a:ln>
          <a:effectLst/>
          <a:ex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291" name="Rectangle 290"/>
          <p:cNvSpPr>
            <a:spLocks/>
          </p:cNvSpPr>
          <p:nvPr/>
        </p:nvSpPr>
        <p:spPr>
          <a:xfrm>
            <a:off x="14532534" y="11569885"/>
            <a:ext cx="1762770" cy="428982"/>
          </a:xfrm>
          <a:prstGeom prst="rect">
            <a:avLst/>
          </a:prstGeom>
          <a:solidFill>
            <a:srgbClr val="85CEDF"/>
          </a:solidFill>
          <a:ln w="9525" cap="flat" cmpd="sng" algn="ctr">
            <a:noFill/>
            <a:prstDash val="solid"/>
          </a:ln>
          <a:effectLst/>
          <a:extLst>
            <a:ext uri="{91240B29-F687-4F45-9708-019B960494DF}">
              <a14:hiddenLine xmlns:a14="http://schemas.microsoft.com/office/drawing/2010/main" w="9525" cap="flat" cmpd="sng" algn="ctr">
                <a:solidFill>
                  <a:schemeClr val="accent4"/>
                </a:solidFill>
                <a:prstDash val="solid"/>
              </a14:hiddenLine>
            </a:ext>
          </a:ex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292" name="TextBox 291"/>
          <p:cNvSpPr txBox="1">
            <a:spLocks/>
          </p:cNvSpPr>
          <p:nvPr/>
        </p:nvSpPr>
        <p:spPr>
          <a:xfrm>
            <a:off x="17075463" y="4392805"/>
            <a:ext cx="1200152" cy="914096"/>
          </a:xfrm>
          <a:prstGeom prst="rect">
            <a:avLst/>
          </a:prstGeom>
          <a:noFill/>
          <a:ln w="9525">
            <a:noFill/>
          </a:ln>
        </p:spPr>
        <p:txBody>
          <a:bodyPr wrap="square" lIns="0" tIns="0" rIns="0" bIns="0" rtlCol="0" anchor="t" anchorCtr="0">
            <a:spAutoFit/>
          </a:bodyPr>
          <a:lstStyle/>
          <a:p>
            <a:pPr marL="0" marR="0" lvl="0" indent="0" algn="l" defTabSz="1828800" rtl="0" eaLnBrk="1" fontAlgn="base" latinLnBrk="0" hangingPunct="1">
              <a:lnSpc>
                <a:spcPct val="90000"/>
              </a:lnSpc>
              <a:spcBef>
                <a:spcPts val="0"/>
              </a:spcBef>
              <a:spcAft>
                <a:spcPct val="0"/>
              </a:spcAft>
              <a:buClrTx/>
              <a:buSzTx/>
              <a:buFontTx/>
              <a:buNone/>
              <a:tabLst/>
              <a:defRPr/>
            </a:pPr>
            <a:r>
              <a:rPr kumimoji="0" lang="en-GB" sz="2200" b="1" i="0" u="none" strike="noStrike" kern="1200" cap="none" spc="0" normalizeH="0" baseline="0" noProof="0" dirty="0">
                <a:ln>
                  <a:noFill/>
                </a:ln>
                <a:solidFill>
                  <a:srgbClr val="1B69AC">
                    <a:lumMod val="50000"/>
                  </a:srgbClr>
                </a:solidFill>
                <a:effectLst/>
                <a:uLnTx/>
                <a:uFillTx/>
                <a:latin typeface="Calibri" panose="020F0502020204030204" pitchFamily="34" charset="0"/>
                <a:ea typeface="+mn-ea"/>
                <a:cs typeface="Calibri" panose="020F0502020204030204" pitchFamily="34" charset="0"/>
                <a:sym typeface="Gill Sans" charset="0"/>
              </a:rPr>
              <a:t>Direct pro-curement</a:t>
            </a:r>
          </a:p>
        </p:txBody>
      </p:sp>
      <p:sp>
        <p:nvSpPr>
          <p:cNvPr id="293" name="Rectangle 292"/>
          <p:cNvSpPr>
            <a:spLocks/>
          </p:cNvSpPr>
          <p:nvPr/>
        </p:nvSpPr>
        <p:spPr>
          <a:xfrm>
            <a:off x="16512846" y="10897233"/>
            <a:ext cx="1762770" cy="428982"/>
          </a:xfrm>
          <a:prstGeom prst="rect">
            <a:avLst/>
          </a:prstGeom>
          <a:solidFill>
            <a:srgbClr val="85CEDF"/>
          </a:solidFill>
          <a:ln w="9525" cap="flat" cmpd="sng" algn="ctr">
            <a:noFill/>
            <a:prstDash val="solid"/>
          </a:ln>
          <a:effectLst/>
          <a:extLst>
            <a:ext uri="{91240B29-F687-4F45-9708-019B960494DF}">
              <a14:hiddenLine xmlns:a14="http://schemas.microsoft.com/office/drawing/2010/main" w="9525" cap="flat" cmpd="sng" algn="ctr">
                <a:solidFill>
                  <a:schemeClr val="accent4"/>
                </a:solidFill>
                <a:prstDash val="solid"/>
              </a14:hiddenLine>
            </a:ext>
          </a:ex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294" name="Rectangle 293"/>
          <p:cNvSpPr>
            <a:spLocks/>
          </p:cNvSpPr>
          <p:nvPr/>
        </p:nvSpPr>
        <p:spPr>
          <a:xfrm>
            <a:off x="16512846" y="5518885"/>
            <a:ext cx="1762770" cy="428982"/>
          </a:xfrm>
          <a:prstGeom prst="rect">
            <a:avLst/>
          </a:prstGeom>
          <a:solidFill>
            <a:srgbClr val="156C9C"/>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295" name="Rectangle 294"/>
          <p:cNvSpPr>
            <a:spLocks/>
          </p:cNvSpPr>
          <p:nvPr/>
        </p:nvSpPr>
        <p:spPr>
          <a:xfrm>
            <a:off x="16512846" y="6183871"/>
            <a:ext cx="1762770" cy="428982"/>
          </a:xfrm>
          <a:prstGeom prst="rect">
            <a:avLst/>
          </a:prstGeom>
          <a:solidFill>
            <a:srgbClr val="85CEDF"/>
          </a:solidFill>
          <a:ln w="9525" cap="flat" cmpd="sng" algn="ctr">
            <a:noFill/>
            <a:prstDash val="solid"/>
          </a:ln>
          <a:effectLst/>
          <a:extLst>
            <a:ext uri="{91240B29-F687-4F45-9708-019B960494DF}">
              <a14:hiddenLine xmlns:a14="http://schemas.microsoft.com/office/drawing/2010/main" w="9525" cap="flat" cmpd="sng" algn="ctr">
                <a:solidFill>
                  <a:schemeClr val="accent4"/>
                </a:solidFill>
                <a:prstDash val="solid"/>
              </a14:hiddenLine>
            </a:ext>
          </a:ex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296" name="Rectangle 295"/>
          <p:cNvSpPr>
            <a:spLocks/>
          </p:cNvSpPr>
          <p:nvPr/>
        </p:nvSpPr>
        <p:spPr>
          <a:xfrm>
            <a:off x="16512846" y="6848855"/>
            <a:ext cx="1762770" cy="428982"/>
          </a:xfrm>
          <a:prstGeom prst="rect">
            <a:avLst/>
          </a:prstGeom>
          <a:noFill/>
          <a:ln w="9525" cap="flat" cmpd="sng" algn="ctr">
            <a:solidFill>
              <a:srgbClr val="00AAC9"/>
            </a:solidFill>
            <a:prstDash val="solid"/>
          </a:ln>
          <a:effectLst/>
          <a:ex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297" name="Rectangle 296"/>
          <p:cNvSpPr>
            <a:spLocks/>
          </p:cNvSpPr>
          <p:nvPr/>
        </p:nvSpPr>
        <p:spPr>
          <a:xfrm>
            <a:off x="16512846" y="8178827"/>
            <a:ext cx="1762770" cy="428982"/>
          </a:xfrm>
          <a:prstGeom prst="rect">
            <a:avLst/>
          </a:prstGeom>
          <a:solidFill>
            <a:srgbClr val="85CEDF"/>
          </a:solidFill>
          <a:ln w="9525" cap="flat" cmpd="sng" algn="ctr">
            <a:noFill/>
            <a:prstDash val="solid"/>
          </a:ln>
          <a:effectLst/>
          <a:extLst>
            <a:ext uri="{91240B29-F687-4F45-9708-019B960494DF}">
              <a14:hiddenLine xmlns:a14="http://schemas.microsoft.com/office/drawing/2010/main" w="9525" cap="flat" cmpd="sng" algn="ctr">
                <a:solidFill>
                  <a:schemeClr val="accent4"/>
                </a:solidFill>
                <a:prstDash val="solid"/>
              </a14:hiddenLine>
            </a:ext>
          </a:ex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298" name="Rectangle 297"/>
          <p:cNvSpPr>
            <a:spLocks/>
          </p:cNvSpPr>
          <p:nvPr/>
        </p:nvSpPr>
        <p:spPr>
          <a:xfrm>
            <a:off x="16512846" y="7513841"/>
            <a:ext cx="1762770" cy="428982"/>
          </a:xfrm>
          <a:prstGeom prst="rect">
            <a:avLst/>
          </a:prstGeom>
          <a:solidFill>
            <a:srgbClr val="FFFFFF"/>
          </a:solidFill>
          <a:ln w="9525" cap="flat" cmpd="sng" algn="ctr">
            <a:solidFill>
              <a:srgbClr val="00AAC9"/>
            </a:solidFill>
            <a:prstDash val="solid"/>
          </a:ln>
          <a:effec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299" name="Rectangle 298"/>
          <p:cNvSpPr>
            <a:spLocks/>
          </p:cNvSpPr>
          <p:nvPr/>
        </p:nvSpPr>
        <p:spPr>
          <a:xfrm>
            <a:off x="16512846" y="9508797"/>
            <a:ext cx="1762770" cy="428982"/>
          </a:xfrm>
          <a:prstGeom prst="rect">
            <a:avLst/>
          </a:prstGeom>
          <a:solidFill>
            <a:srgbClr val="85CEDF"/>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300" name="Rectangle 299"/>
          <p:cNvSpPr>
            <a:spLocks/>
          </p:cNvSpPr>
          <p:nvPr/>
        </p:nvSpPr>
        <p:spPr>
          <a:xfrm>
            <a:off x="16512846" y="10173783"/>
            <a:ext cx="1762770" cy="428982"/>
          </a:xfrm>
          <a:prstGeom prst="rect">
            <a:avLst/>
          </a:prstGeom>
          <a:solidFill>
            <a:srgbClr val="85CEDF"/>
          </a:solidFill>
          <a:ln w="9525" cap="flat" cmpd="sng" algn="ctr">
            <a:noFill/>
            <a:prstDash val="solid"/>
          </a:ln>
          <a:effectLst/>
          <a:extLst>
            <a:ext uri="{91240B29-F687-4F45-9708-019B960494DF}">
              <a14:hiddenLine xmlns:a14="http://schemas.microsoft.com/office/drawing/2010/main" w="9525" cap="flat" cmpd="sng" algn="ctr">
                <a:solidFill>
                  <a:schemeClr val="accent4"/>
                </a:solidFill>
                <a:prstDash val="solid"/>
              </a14:hiddenLine>
            </a:ext>
          </a:ex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301" name="Rectangle 300"/>
          <p:cNvSpPr>
            <a:spLocks/>
          </p:cNvSpPr>
          <p:nvPr/>
        </p:nvSpPr>
        <p:spPr>
          <a:xfrm>
            <a:off x="16512846" y="8843811"/>
            <a:ext cx="1762770" cy="428982"/>
          </a:xfrm>
          <a:prstGeom prst="rect">
            <a:avLst/>
          </a:prstGeom>
          <a:noFill/>
          <a:ln w="9525" cap="flat" cmpd="sng" algn="ctr">
            <a:solidFill>
              <a:srgbClr val="00AAC9"/>
            </a:solidFill>
            <a:prstDash val="solid"/>
          </a:ln>
          <a:effec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302" name="Rectangle 301"/>
          <p:cNvSpPr>
            <a:spLocks/>
          </p:cNvSpPr>
          <p:nvPr/>
        </p:nvSpPr>
        <p:spPr>
          <a:xfrm>
            <a:off x="16512846" y="11569885"/>
            <a:ext cx="1762770" cy="428982"/>
          </a:xfrm>
          <a:prstGeom prst="rect">
            <a:avLst/>
          </a:prstGeom>
          <a:solidFill>
            <a:srgbClr val="85CEDF"/>
          </a:solidFill>
          <a:ln w="9525" cap="flat" cmpd="sng" algn="ctr">
            <a:noFill/>
            <a:prstDash val="solid"/>
          </a:ln>
          <a:effectLst/>
          <a:extLst>
            <a:ext uri="{91240B29-F687-4F45-9708-019B960494DF}">
              <a14:hiddenLine xmlns:a14="http://schemas.microsoft.com/office/drawing/2010/main" w="9525" cap="flat" cmpd="sng" algn="ctr">
                <a:solidFill>
                  <a:schemeClr val="accent4"/>
                </a:solidFill>
                <a:prstDash val="solid"/>
              </a14:hiddenLine>
            </a:ext>
          </a:ex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303" name="TextBox 302"/>
          <p:cNvSpPr txBox="1">
            <a:spLocks/>
          </p:cNvSpPr>
          <p:nvPr/>
        </p:nvSpPr>
        <p:spPr>
          <a:xfrm>
            <a:off x="11134529" y="4392805"/>
            <a:ext cx="1200152" cy="914096"/>
          </a:xfrm>
          <a:prstGeom prst="rect">
            <a:avLst/>
          </a:prstGeom>
          <a:noFill/>
          <a:ln w="9525">
            <a:noFill/>
          </a:ln>
        </p:spPr>
        <p:txBody>
          <a:bodyPr wrap="square" lIns="0" tIns="0" rIns="0" bIns="0" rtlCol="0" anchor="t" anchorCtr="0">
            <a:spAutoFit/>
          </a:bodyPr>
          <a:lstStyle/>
          <a:p>
            <a:pPr marL="0" marR="0" lvl="0" indent="0" algn="l" defTabSz="1828800" rtl="0" eaLnBrk="1" fontAlgn="base" latinLnBrk="0" hangingPunct="1">
              <a:lnSpc>
                <a:spcPct val="90000"/>
              </a:lnSpc>
              <a:spcBef>
                <a:spcPts val="0"/>
              </a:spcBef>
              <a:spcAft>
                <a:spcPct val="0"/>
              </a:spcAft>
              <a:buClrTx/>
              <a:buSzTx/>
              <a:buFontTx/>
              <a:buNone/>
              <a:tabLst/>
              <a:defRPr/>
            </a:pPr>
            <a:r>
              <a:rPr kumimoji="0" lang="en-GB" sz="2200" b="1" i="0" u="none" strike="noStrike" kern="1200" cap="none" spc="0" normalizeH="0" baseline="0" noProof="0" dirty="0">
                <a:ln>
                  <a:noFill/>
                </a:ln>
                <a:solidFill>
                  <a:srgbClr val="1B69AC">
                    <a:lumMod val="50000"/>
                  </a:srgbClr>
                </a:solidFill>
                <a:effectLst/>
                <a:uLnTx/>
                <a:uFillTx/>
                <a:latin typeface="Calibri" panose="020F0502020204030204" pitchFamily="34" charset="0"/>
                <a:ea typeface="+mn-ea"/>
                <a:cs typeface="Calibri" panose="020F0502020204030204" pitchFamily="34" charset="0"/>
                <a:sym typeface="Gill Sans" charset="0"/>
              </a:rPr>
              <a:t>Environ-mental benefits</a:t>
            </a:r>
          </a:p>
        </p:txBody>
      </p:sp>
      <p:sp>
        <p:nvSpPr>
          <p:cNvPr id="304" name="Rectangle 303"/>
          <p:cNvSpPr>
            <a:spLocks/>
          </p:cNvSpPr>
          <p:nvPr/>
        </p:nvSpPr>
        <p:spPr>
          <a:xfrm>
            <a:off x="10571910" y="10871833"/>
            <a:ext cx="1762770" cy="428982"/>
          </a:xfrm>
          <a:prstGeom prst="rect">
            <a:avLst/>
          </a:prstGeom>
          <a:solidFill>
            <a:srgbClr val="85CEDF"/>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305" name="Rectangle 304"/>
          <p:cNvSpPr>
            <a:spLocks/>
          </p:cNvSpPr>
          <p:nvPr/>
        </p:nvSpPr>
        <p:spPr>
          <a:xfrm>
            <a:off x="10571910" y="5518885"/>
            <a:ext cx="1762770" cy="428982"/>
          </a:xfrm>
          <a:prstGeom prst="rect">
            <a:avLst/>
          </a:prstGeom>
          <a:solidFill>
            <a:srgbClr val="156C9C"/>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306" name="Rectangle 305"/>
          <p:cNvSpPr>
            <a:spLocks/>
          </p:cNvSpPr>
          <p:nvPr/>
        </p:nvSpPr>
        <p:spPr>
          <a:xfrm>
            <a:off x="10571910" y="6183871"/>
            <a:ext cx="1762770" cy="428982"/>
          </a:xfrm>
          <a:prstGeom prst="rect">
            <a:avLst/>
          </a:prstGeom>
          <a:solidFill>
            <a:srgbClr val="156C9C"/>
          </a:solidFill>
          <a:ln w="9525" cap="flat" cmpd="sng" algn="ctr">
            <a:noFill/>
            <a:prstDash val="solid"/>
          </a:ln>
          <a:effectLst/>
          <a:ex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307" name="Rectangle 306"/>
          <p:cNvSpPr>
            <a:spLocks/>
          </p:cNvSpPr>
          <p:nvPr/>
        </p:nvSpPr>
        <p:spPr>
          <a:xfrm>
            <a:off x="10571910" y="6848855"/>
            <a:ext cx="1762770" cy="428982"/>
          </a:xfrm>
          <a:prstGeom prst="rect">
            <a:avLst/>
          </a:prstGeom>
          <a:solidFill>
            <a:srgbClr val="156C9C"/>
          </a:solidFill>
          <a:ln w="9525" cap="flat" cmpd="sng" algn="ctr">
            <a:noFill/>
            <a:prstDash val="solid"/>
          </a:ln>
          <a:effectLst/>
          <a:ex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308" name="Rectangle 307"/>
          <p:cNvSpPr>
            <a:spLocks/>
          </p:cNvSpPr>
          <p:nvPr/>
        </p:nvSpPr>
        <p:spPr>
          <a:xfrm>
            <a:off x="10571910" y="8178827"/>
            <a:ext cx="1762770" cy="428982"/>
          </a:xfrm>
          <a:prstGeom prst="rect">
            <a:avLst/>
          </a:prstGeom>
          <a:solidFill>
            <a:srgbClr val="156C9C"/>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309" name="Rectangle 308"/>
          <p:cNvSpPr>
            <a:spLocks/>
          </p:cNvSpPr>
          <p:nvPr/>
        </p:nvSpPr>
        <p:spPr>
          <a:xfrm>
            <a:off x="10571910" y="7513841"/>
            <a:ext cx="1762770" cy="428982"/>
          </a:xfrm>
          <a:prstGeom prst="rect">
            <a:avLst/>
          </a:prstGeom>
          <a:solidFill>
            <a:srgbClr val="156C9C"/>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310" name="Rectangle 309"/>
          <p:cNvSpPr>
            <a:spLocks/>
          </p:cNvSpPr>
          <p:nvPr/>
        </p:nvSpPr>
        <p:spPr>
          <a:xfrm>
            <a:off x="10571910" y="9508797"/>
            <a:ext cx="1762770" cy="428982"/>
          </a:xfrm>
          <a:prstGeom prst="rect">
            <a:avLst/>
          </a:prstGeom>
          <a:solidFill>
            <a:srgbClr val="85CEDF"/>
          </a:solidFill>
          <a:ln w="9525" cap="flat" cmpd="sng" algn="ctr">
            <a:noFill/>
            <a:prstDash val="solid"/>
          </a:ln>
          <a:effectLst/>
          <a:extLst>
            <a:ext uri="{91240B29-F687-4F45-9708-019B960494DF}">
              <a14:hiddenLine xmlns:a14="http://schemas.microsoft.com/office/drawing/2010/main" w="9525" cap="flat" cmpd="sng" algn="ctr">
                <a:solidFill>
                  <a:schemeClr val="accent4"/>
                </a:solidFill>
                <a:prstDash val="solid"/>
              </a14:hiddenLine>
            </a:ext>
          </a:ex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311" name="Rectangle 310"/>
          <p:cNvSpPr>
            <a:spLocks/>
          </p:cNvSpPr>
          <p:nvPr/>
        </p:nvSpPr>
        <p:spPr>
          <a:xfrm>
            <a:off x="10571910" y="10173783"/>
            <a:ext cx="1762770" cy="428982"/>
          </a:xfrm>
          <a:prstGeom prst="rect">
            <a:avLst/>
          </a:prstGeom>
          <a:solidFill>
            <a:srgbClr val="85CEDF"/>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312" name="Rectangle 311"/>
          <p:cNvSpPr>
            <a:spLocks/>
          </p:cNvSpPr>
          <p:nvPr/>
        </p:nvSpPr>
        <p:spPr>
          <a:xfrm>
            <a:off x="10571910" y="8843811"/>
            <a:ext cx="1762770" cy="428982"/>
          </a:xfrm>
          <a:prstGeom prst="rect">
            <a:avLst/>
          </a:prstGeom>
          <a:solidFill>
            <a:srgbClr val="156C9C"/>
          </a:solidFill>
          <a:ln w="9525" cap="flat" cmpd="sng" algn="ctr">
            <a:noFill/>
            <a:prstDash val="solid"/>
          </a:ln>
          <a:effectLst/>
          <a:ex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313" name="Rectangle 312"/>
          <p:cNvSpPr>
            <a:spLocks/>
          </p:cNvSpPr>
          <p:nvPr/>
        </p:nvSpPr>
        <p:spPr>
          <a:xfrm>
            <a:off x="10571910" y="11569885"/>
            <a:ext cx="1762770" cy="428982"/>
          </a:xfrm>
          <a:prstGeom prst="rect">
            <a:avLst/>
          </a:prstGeom>
          <a:solidFill>
            <a:srgbClr val="156C9C"/>
          </a:solidFill>
          <a:ln w="9525" cap="flat" cmpd="sng" algn="ctr">
            <a:noFill/>
            <a:prstDash val="solid"/>
          </a:ln>
          <a:effectLst/>
          <a:extLst>
            <a:ext uri="{91240B29-F687-4F45-9708-019B960494DF}">
              <a14:hiddenLine xmlns:a14="http://schemas.microsoft.com/office/drawing/2010/main" w="9525" cap="flat" cmpd="sng" algn="ctr">
                <a:solidFill>
                  <a:schemeClr val="accent4"/>
                </a:solidFill>
                <a:prstDash val="solid"/>
              </a14:hiddenLine>
            </a:ext>
          </a:ex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314" name="TextBox 313"/>
          <p:cNvSpPr txBox="1">
            <a:spLocks/>
          </p:cNvSpPr>
          <p:nvPr/>
        </p:nvSpPr>
        <p:spPr>
          <a:xfrm>
            <a:off x="19055767" y="4392804"/>
            <a:ext cx="1200152" cy="914096"/>
          </a:xfrm>
          <a:prstGeom prst="rect">
            <a:avLst/>
          </a:prstGeom>
          <a:noFill/>
          <a:ln w="9525">
            <a:noFill/>
          </a:ln>
        </p:spPr>
        <p:txBody>
          <a:bodyPr wrap="square" lIns="0" tIns="0" rIns="0" bIns="0" rtlCol="0" anchor="t" anchorCtr="0">
            <a:spAutoFit/>
          </a:bodyPr>
          <a:lstStyle/>
          <a:p>
            <a:pPr marL="0" marR="0" lvl="0" indent="0" algn="l" defTabSz="1828800" rtl="0" eaLnBrk="1" fontAlgn="base" latinLnBrk="0" hangingPunct="1">
              <a:lnSpc>
                <a:spcPct val="90000"/>
              </a:lnSpc>
              <a:spcBef>
                <a:spcPts val="0"/>
              </a:spcBef>
              <a:spcAft>
                <a:spcPct val="0"/>
              </a:spcAft>
              <a:buClrTx/>
              <a:buSzTx/>
              <a:buFontTx/>
              <a:buNone/>
              <a:tabLst/>
              <a:defRPr/>
            </a:pPr>
            <a:r>
              <a:rPr kumimoji="0" lang="en-GB" sz="2200" b="1" i="0" u="none" strike="noStrike" kern="1200" cap="none" spc="0" normalizeH="0" baseline="0" noProof="0" dirty="0">
                <a:ln>
                  <a:noFill/>
                </a:ln>
                <a:solidFill>
                  <a:srgbClr val="1B69AC">
                    <a:lumMod val="50000"/>
                  </a:srgbClr>
                </a:solidFill>
                <a:effectLst/>
                <a:uLnTx/>
                <a:uFillTx/>
                <a:latin typeface="Calibri" panose="020F0502020204030204" pitchFamily="34" charset="0"/>
                <a:ea typeface="+mn-ea"/>
                <a:cs typeface="Calibri" panose="020F0502020204030204" pitchFamily="34" charset="0"/>
                <a:sym typeface="Gill Sans" charset="0"/>
              </a:rPr>
              <a:t>Visibility as "show-case"</a:t>
            </a:r>
          </a:p>
        </p:txBody>
      </p:sp>
      <p:sp>
        <p:nvSpPr>
          <p:cNvPr id="315" name="Rectangle 314"/>
          <p:cNvSpPr>
            <a:spLocks/>
          </p:cNvSpPr>
          <p:nvPr/>
        </p:nvSpPr>
        <p:spPr>
          <a:xfrm>
            <a:off x="18493150" y="10871833"/>
            <a:ext cx="1762770" cy="428982"/>
          </a:xfrm>
          <a:prstGeom prst="rect">
            <a:avLst/>
          </a:prstGeom>
          <a:solidFill>
            <a:srgbClr val="85CEDF"/>
          </a:solidFill>
          <a:ln w="9525" cap="flat" cmpd="sng" algn="ctr">
            <a:noFill/>
            <a:prstDash val="solid"/>
          </a:ln>
          <a:effectLst/>
          <a:extLst>
            <a:ext uri="{91240B29-F687-4F45-9708-019B960494DF}">
              <a14:hiddenLine xmlns:a14="http://schemas.microsoft.com/office/drawing/2010/main" w="9525" cap="flat" cmpd="sng" algn="ctr">
                <a:solidFill>
                  <a:schemeClr val="accent4"/>
                </a:solidFill>
                <a:prstDash val="solid"/>
              </a14:hiddenLine>
            </a:ext>
          </a:ex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316" name="Rectangle 315"/>
          <p:cNvSpPr>
            <a:spLocks/>
          </p:cNvSpPr>
          <p:nvPr/>
        </p:nvSpPr>
        <p:spPr>
          <a:xfrm>
            <a:off x="18493150" y="5518885"/>
            <a:ext cx="1762770" cy="428982"/>
          </a:xfrm>
          <a:prstGeom prst="rect">
            <a:avLst/>
          </a:prstGeom>
          <a:solidFill>
            <a:srgbClr val="156C9C"/>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317" name="Rectangle 316"/>
          <p:cNvSpPr>
            <a:spLocks/>
          </p:cNvSpPr>
          <p:nvPr/>
        </p:nvSpPr>
        <p:spPr>
          <a:xfrm>
            <a:off x="18493150" y="6183871"/>
            <a:ext cx="1762770" cy="428982"/>
          </a:xfrm>
          <a:prstGeom prst="rect">
            <a:avLst/>
          </a:prstGeom>
          <a:solidFill>
            <a:srgbClr val="156C9C"/>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318" name="Rectangle 317"/>
          <p:cNvSpPr>
            <a:spLocks/>
          </p:cNvSpPr>
          <p:nvPr/>
        </p:nvSpPr>
        <p:spPr>
          <a:xfrm>
            <a:off x="18493150" y="6848855"/>
            <a:ext cx="1762770" cy="428982"/>
          </a:xfrm>
          <a:prstGeom prst="rect">
            <a:avLst/>
          </a:prstGeom>
          <a:solidFill>
            <a:srgbClr val="156C9C"/>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319" name="Rectangle 318"/>
          <p:cNvSpPr>
            <a:spLocks/>
          </p:cNvSpPr>
          <p:nvPr/>
        </p:nvSpPr>
        <p:spPr>
          <a:xfrm>
            <a:off x="18493150" y="8178827"/>
            <a:ext cx="1762770" cy="428982"/>
          </a:xfrm>
          <a:prstGeom prst="rect">
            <a:avLst/>
          </a:prstGeom>
          <a:solidFill>
            <a:srgbClr val="156C9C"/>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320" name="Rectangle 319"/>
          <p:cNvSpPr>
            <a:spLocks/>
          </p:cNvSpPr>
          <p:nvPr/>
        </p:nvSpPr>
        <p:spPr>
          <a:xfrm>
            <a:off x="18493150" y="7513841"/>
            <a:ext cx="1762770" cy="428982"/>
          </a:xfrm>
          <a:prstGeom prst="rect">
            <a:avLst/>
          </a:prstGeom>
          <a:solidFill>
            <a:srgbClr val="156C9C"/>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321" name="Rectangle 320"/>
          <p:cNvSpPr>
            <a:spLocks/>
          </p:cNvSpPr>
          <p:nvPr/>
        </p:nvSpPr>
        <p:spPr>
          <a:xfrm>
            <a:off x="18493150" y="9508797"/>
            <a:ext cx="1762770" cy="428982"/>
          </a:xfrm>
          <a:prstGeom prst="rect">
            <a:avLst/>
          </a:prstGeom>
          <a:noFill/>
          <a:ln w="9525" cap="flat" cmpd="sng" algn="ctr">
            <a:solidFill>
              <a:srgbClr val="00AAC9"/>
            </a:solidFill>
            <a:prstDash val="solid"/>
          </a:ln>
          <a:effec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322" name="Rectangle 321"/>
          <p:cNvSpPr>
            <a:spLocks/>
          </p:cNvSpPr>
          <p:nvPr/>
        </p:nvSpPr>
        <p:spPr>
          <a:xfrm>
            <a:off x="18493150" y="10173783"/>
            <a:ext cx="1762770" cy="428982"/>
          </a:xfrm>
          <a:prstGeom prst="rect">
            <a:avLst/>
          </a:prstGeom>
          <a:noFill/>
          <a:ln w="9525" cap="flat" cmpd="sng" algn="ctr">
            <a:solidFill>
              <a:srgbClr val="00AAC9"/>
            </a:solidFill>
            <a:prstDash val="solid"/>
          </a:ln>
          <a:effec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323" name="Rectangle 322"/>
          <p:cNvSpPr>
            <a:spLocks/>
          </p:cNvSpPr>
          <p:nvPr/>
        </p:nvSpPr>
        <p:spPr>
          <a:xfrm>
            <a:off x="18493150" y="8843811"/>
            <a:ext cx="1762770" cy="428982"/>
          </a:xfrm>
          <a:prstGeom prst="rect">
            <a:avLst/>
          </a:prstGeom>
          <a:noFill/>
          <a:ln w="9525" cap="flat" cmpd="sng" algn="ctr">
            <a:solidFill>
              <a:srgbClr val="00AAC9"/>
            </a:solidFill>
            <a:prstDash val="solid"/>
          </a:ln>
          <a:effec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324" name="Rectangle 323"/>
          <p:cNvSpPr>
            <a:spLocks/>
          </p:cNvSpPr>
          <p:nvPr/>
        </p:nvSpPr>
        <p:spPr>
          <a:xfrm>
            <a:off x="18493150" y="11569903"/>
            <a:ext cx="1762770" cy="428982"/>
          </a:xfrm>
          <a:prstGeom prst="rect">
            <a:avLst/>
          </a:prstGeom>
          <a:solidFill>
            <a:srgbClr val="85CEDF"/>
          </a:solidFill>
          <a:ln w="9525" cap="flat" cmpd="sng" algn="ctr">
            <a:noFill/>
            <a:prstDash val="solid"/>
          </a:ln>
          <a:effectLst/>
          <a:extLst>
            <a:ext uri="{91240B29-F687-4F45-9708-019B960494DF}">
              <a14:hiddenLine xmlns:a14="http://schemas.microsoft.com/office/drawing/2010/main" w="9525" cap="flat" cmpd="sng" algn="ctr">
                <a:solidFill>
                  <a:schemeClr val="accent4"/>
                </a:solidFill>
                <a:prstDash val="solid"/>
              </a14:hiddenLine>
            </a:ext>
          </a:ex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325" name="TextBox 324"/>
          <p:cNvSpPr txBox="1">
            <a:spLocks/>
          </p:cNvSpPr>
          <p:nvPr/>
        </p:nvSpPr>
        <p:spPr>
          <a:xfrm>
            <a:off x="9154217" y="4392805"/>
            <a:ext cx="1200152" cy="914096"/>
          </a:xfrm>
          <a:prstGeom prst="rect">
            <a:avLst/>
          </a:prstGeom>
          <a:noFill/>
          <a:ln w="9525">
            <a:noFill/>
          </a:ln>
        </p:spPr>
        <p:txBody>
          <a:bodyPr wrap="square" lIns="0" tIns="0" rIns="0" bIns="0" rtlCol="0" anchor="t" anchorCtr="0">
            <a:spAutoFit/>
          </a:bodyPr>
          <a:lstStyle/>
          <a:p>
            <a:pPr marL="0" marR="0" lvl="0" indent="0" algn="l" defTabSz="1828800" rtl="0" eaLnBrk="1" fontAlgn="base" latinLnBrk="0" hangingPunct="1">
              <a:lnSpc>
                <a:spcPct val="90000"/>
              </a:lnSpc>
              <a:spcBef>
                <a:spcPts val="0"/>
              </a:spcBef>
              <a:spcAft>
                <a:spcPct val="0"/>
              </a:spcAft>
              <a:buClrTx/>
              <a:buSzTx/>
              <a:buFontTx/>
              <a:buNone/>
              <a:tabLst/>
              <a:defRPr/>
            </a:pPr>
            <a:r>
              <a:rPr kumimoji="0" lang="en-GB" sz="2200" b="1" i="0" u="none" strike="noStrike" kern="1200" cap="none" spc="0" normalizeH="0" baseline="0" noProof="0" dirty="0">
                <a:ln>
                  <a:noFill/>
                </a:ln>
                <a:solidFill>
                  <a:srgbClr val="1B69AC">
                    <a:lumMod val="50000"/>
                  </a:srgbClr>
                </a:solidFill>
                <a:effectLst/>
                <a:uLnTx/>
                <a:uFillTx/>
                <a:latin typeface="Calibri" panose="020F0502020204030204" pitchFamily="34" charset="0"/>
                <a:ea typeface="+mn-ea"/>
                <a:cs typeface="Calibri" panose="020F0502020204030204" pitchFamily="34" charset="0"/>
                <a:sym typeface="Gill Sans" charset="0"/>
              </a:rPr>
              <a:t>Economic competi-tiveness</a:t>
            </a:r>
          </a:p>
        </p:txBody>
      </p:sp>
      <p:sp>
        <p:nvSpPr>
          <p:cNvPr id="326" name="Rectangle 325"/>
          <p:cNvSpPr>
            <a:spLocks/>
          </p:cNvSpPr>
          <p:nvPr/>
        </p:nvSpPr>
        <p:spPr>
          <a:xfrm>
            <a:off x="8591600" y="10871833"/>
            <a:ext cx="1762770" cy="428982"/>
          </a:xfrm>
          <a:prstGeom prst="rect">
            <a:avLst/>
          </a:prstGeom>
          <a:solidFill>
            <a:srgbClr val="85CEDF"/>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327" name="Rectangle 326"/>
          <p:cNvSpPr>
            <a:spLocks/>
          </p:cNvSpPr>
          <p:nvPr/>
        </p:nvSpPr>
        <p:spPr>
          <a:xfrm>
            <a:off x="8591600" y="5518885"/>
            <a:ext cx="1762770" cy="428982"/>
          </a:xfrm>
          <a:prstGeom prst="rect">
            <a:avLst/>
          </a:prstGeom>
          <a:solidFill>
            <a:srgbClr val="85CEDF"/>
          </a:solidFill>
          <a:ln w="9525" cap="flat" cmpd="sng" algn="ctr">
            <a:noFill/>
            <a:prstDash val="solid"/>
          </a:ln>
          <a:effectLst/>
          <a:extLst>
            <a:ext uri="{91240B29-F687-4F45-9708-019B960494DF}">
              <a14:hiddenLine xmlns:a14="http://schemas.microsoft.com/office/drawing/2010/main" w="9525" cap="flat" cmpd="sng" algn="ctr">
                <a:solidFill>
                  <a:schemeClr val="accent4"/>
                </a:solidFill>
                <a:prstDash val="solid"/>
              </a14:hiddenLine>
            </a:ext>
          </a:ex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328" name="Rectangle 327"/>
          <p:cNvSpPr>
            <a:spLocks/>
          </p:cNvSpPr>
          <p:nvPr/>
        </p:nvSpPr>
        <p:spPr>
          <a:xfrm>
            <a:off x="8591600" y="6183871"/>
            <a:ext cx="1762770" cy="428982"/>
          </a:xfrm>
          <a:prstGeom prst="rect">
            <a:avLst/>
          </a:prstGeom>
          <a:solidFill>
            <a:srgbClr val="85CEDF"/>
          </a:solidFill>
          <a:ln w="9525" cap="flat" cmpd="sng" algn="ctr">
            <a:noFill/>
            <a:prstDash val="solid"/>
          </a:ln>
          <a:effectLst/>
          <a:extLst>
            <a:ext uri="{91240B29-F687-4F45-9708-019B960494DF}">
              <a14:hiddenLine xmlns:a14="http://schemas.microsoft.com/office/drawing/2010/main" w="9525" cap="flat" cmpd="sng" algn="ctr">
                <a:solidFill>
                  <a:schemeClr val="accent4"/>
                </a:solidFill>
                <a:prstDash val="solid"/>
              </a14:hiddenLine>
            </a:ext>
          </a:ex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329" name="Rectangle 328"/>
          <p:cNvSpPr>
            <a:spLocks/>
          </p:cNvSpPr>
          <p:nvPr/>
        </p:nvSpPr>
        <p:spPr>
          <a:xfrm>
            <a:off x="8591600" y="6848855"/>
            <a:ext cx="1762770" cy="428982"/>
          </a:xfrm>
          <a:prstGeom prst="rect">
            <a:avLst/>
          </a:prstGeom>
          <a:solidFill>
            <a:srgbClr val="FFFFFF"/>
          </a:solidFill>
          <a:ln w="9525" cap="flat" cmpd="sng" algn="ctr">
            <a:solidFill>
              <a:srgbClr val="00AAC9"/>
            </a:solidFill>
            <a:prstDash val="solid"/>
          </a:ln>
          <a:effec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330" name="Rectangle 329"/>
          <p:cNvSpPr>
            <a:spLocks/>
          </p:cNvSpPr>
          <p:nvPr/>
        </p:nvSpPr>
        <p:spPr>
          <a:xfrm>
            <a:off x="8591600" y="8178827"/>
            <a:ext cx="1762770" cy="428982"/>
          </a:xfrm>
          <a:prstGeom prst="rect">
            <a:avLst/>
          </a:prstGeom>
          <a:solidFill>
            <a:srgbClr val="156C9C"/>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331" name="Rectangle 330"/>
          <p:cNvSpPr>
            <a:spLocks/>
          </p:cNvSpPr>
          <p:nvPr/>
        </p:nvSpPr>
        <p:spPr>
          <a:xfrm>
            <a:off x="8591600" y="7513841"/>
            <a:ext cx="1762770" cy="428982"/>
          </a:xfrm>
          <a:prstGeom prst="rect">
            <a:avLst/>
          </a:prstGeom>
          <a:solidFill>
            <a:srgbClr val="FFFFFF"/>
          </a:solidFill>
          <a:ln w="9525" cap="flat" cmpd="sng" algn="ctr">
            <a:solidFill>
              <a:srgbClr val="00AAC9"/>
            </a:solidFill>
            <a:prstDash val="solid"/>
          </a:ln>
          <a:effectLst/>
          <a:ex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332" name="Rectangle 331"/>
          <p:cNvSpPr>
            <a:spLocks/>
          </p:cNvSpPr>
          <p:nvPr/>
        </p:nvSpPr>
        <p:spPr>
          <a:xfrm>
            <a:off x="8591600" y="9508797"/>
            <a:ext cx="1762770" cy="428982"/>
          </a:xfrm>
          <a:prstGeom prst="rect">
            <a:avLst/>
          </a:prstGeom>
          <a:solidFill>
            <a:srgbClr val="85CEDF"/>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85CEDF">
                  <a:lumMod val="100000"/>
                </a:srgbClr>
              </a:solidFill>
              <a:effectLst/>
              <a:uLnTx/>
              <a:uFillTx/>
              <a:latin typeface="Arial Narrow"/>
              <a:ea typeface="+mn-ea"/>
              <a:cs typeface="Arial" pitchFamily="34" charset="0"/>
              <a:sym typeface="Gill Sans" charset="0"/>
            </a:endParaRPr>
          </a:p>
        </p:txBody>
      </p:sp>
      <p:sp>
        <p:nvSpPr>
          <p:cNvPr id="333" name="Rectangle 332"/>
          <p:cNvSpPr>
            <a:spLocks/>
          </p:cNvSpPr>
          <p:nvPr/>
        </p:nvSpPr>
        <p:spPr>
          <a:xfrm>
            <a:off x="8591600" y="10173783"/>
            <a:ext cx="1762770" cy="428982"/>
          </a:xfrm>
          <a:prstGeom prst="rect">
            <a:avLst/>
          </a:prstGeom>
          <a:solidFill>
            <a:srgbClr val="FFFFFF"/>
          </a:solidFill>
          <a:ln w="9525" cap="flat" cmpd="sng" algn="ctr">
            <a:solidFill>
              <a:srgbClr val="00AAC9"/>
            </a:solidFill>
            <a:prstDash val="solid"/>
          </a:ln>
          <a:effec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334" name="Rectangle 333"/>
          <p:cNvSpPr>
            <a:spLocks/>
          </p:cNvSpPr>
          <p:nvPr/>
        </p:nvSpPr>
        <p:spPr>
          <a:xfrm>
            <a:off x="8591600" y="8843811"/>
            <a:ext cx="1762770" cy="428982"/>
          </a:xfrm>
          <a:prstGeom prst="rect">
            <a:avLst/>
          </a:prstGeom>
          <a:solidFill>
            <a:srgbClr val="85CEDF"/>
          </a:solidFill>
          <a:ln w="9525" cap="flat" cmpd="sng" algn="ctr">
            <a:noFill/>
            <a:prstDash val="solid"/>
          </a:ln>
          <a:effectLst/>
          <a:extLst>
            <a:ext uri="{91240B29-F687-4F45-9708-019B960494DF}">
              <a14:hiddenLine xmlns:a14="http://schemas.microsoft.com/office/drawing/2010/main" w="9525" cap="flat" cmpd="sng" algn="ctr">
                <a:solidFill>
                  <a:schemeClr val="accent4"/>
                </a:solidFill>
                <a:prstDash val="solid"/>
              </a14:hiddenLine>
            </a:ext>
          </a:ex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sp>
        <p:nvSpPr>
          <p:cNvPr id="335" name="Rectangle 334"/>
          <p:cNvSpPr>
            <a:spLocks/>
          </p:cNvSpPr>
          <p:nvPr/>
        </p:nvSpPr>
        <p:spPr>
          <a:xfrm>
            <a:off x="8591600" y="11569885"/>
            <a:ext cx="1762770" cy="428982"/>
          </a:xfrm>
          <a:prstGeom prst="rect">
            <a:avLst/>
          </a:prstGeom>
          <a:solidFill>
            <a:srgbClr val="FFFFFF"/>
          </a:solidFill>
          <a:ln w="9525" cap="flat" cmpd="sng" algn="ctr">
            <a:solidFill>
              <a:srgbClr val="00AAC9"/>
            </a:solidFill>
            <a:prstDash val="solid"/>
          </a:ln>
          <a:effectLst/>
        </p:spPr>
        <p:txBody>
          <a:bodyPr lIns="144000" tIns="0" rIns="144000" bIns="0" rtlCol="0" anchor="ctr"/>
          <a:lstStyle/>
          <a:p>
            <a:pPr marL="0" marR="0" lvl="0" indent="0" algn="ctr" defTabSz="1828800" rtl="0" eaLnBrk="1" fontAlgn="auto" latinLnBrk="0" hangingPunct="1">
              <a:lnSpc>
                <a:spcPct val="90000"/>
              </a:lnSpc>
              <a:spcBef>
                <a:spcPts val="600"/>
              </a:spcBef>
              <a:spcAft>
                <a:spcPts val="0"/>
              </a:spcAft>
              <a:buClrTx/>
              <a:buSzTx/>
              <a:buFontTx/>
              <a:buNone/>
              <a:tabLst/>
              <a:defRPr/>
            </a:pPr>
            <a:endParaRPr kumimoji="0" lang="en-GB" sz="1800" b="0" i="0" u="none" strike="noStrike" kern="0" cap="none" spc="0" normalizeH="0" baseline="0" noProof="0" dirty="0" smtClean="0">
              <a:ln>
                <a:noFill/>
              </a:ln>
              <a:solidFill>
                <a:srgbClr val="000000"/>
              </a:solidFill>
              <a:effectLst/>
              <a:uLnTx/>
              <a:uFillTx/>
              <a:latin typeface="Arial Narrow"/>
              <a:ea typeface="+mn-ea"/>
              <a:cs typeface="Arial" pitchFamily="34" charset="0"/>
              <a:sym typeface="Gill Sans" charset="0"/>
            </a:endParaRPr>
          </a:p>
        </p:txBody>
      </p:sp>
      <p:cxnSp>
        <p:nvCxnSpPr>
          <p:cNvPr id="336" name="LeanLine Vertical 634987054704941966"/>
          <p:cNvCxnSpPr>
            <a:cxnSpLocks/>
          </p:cNvCxnSpPr>
          <p:nvPr/>
        </p:nvCxnSpPr>
        <p:spPr>
          <a:xfrm>
            <a:off x="3234541" y="9389218"/>
            <a:ext cx="17059476" cy="0"/>
          </a:xfrm>
          <a:prstGeom prst="line">
            <a:avLst/>
          </a:prstGeom>
          <a:noFill/>
          <a:ln w="9525" cap="flat" cmpd="sng" algn="ctr">
            <a:solidFill>
              <a:srgbClr val="8D9399"/>
            </a:solidFill>
            <a:prstDash val="solid"/>
          </a:ln>
          <a:effectLst/>
        </p:spPr>
      </p:cxnSp>
      <p:sp>
        <p:nvSpPr>
          <p:cNvPr id="337" name="ListLeanHorizontalTextDetail0"/>
          <p:cNvSpPr txBox="1">
            <a:spLocks/>
          </p:cNvSpPr>
          <p:nvPr/>
        </p:nvSpPr>
        <p:spPr>
          <a:xfrm>
            <a:off x="4595285" y="10933976"/>
            <a:ext cx="2016000" cy="304699"/>
          </a:xfrm>
          <a:prstGeom prst="rect">
            <a:avLst/>
          </a:prstGeom>
          <a:noFill/>
          <a:ln w="9525">
            <a:noFill/>
          </a:ln>
        </p:spPr>
        <p:txBody>
          <a:bodyPr vert="horz" wrap="square" lIns="0" tIns="0" rIns="0" bIns="0" rtlCol="0" anchor="ctr" anchorCtr="0">
            <a:spAutoFit/>
          </a:bodyPr>
          <a:lstStyle/>
          <a:p>
            <a:pPr marL="0" marR="0" lvl="0" indent="0" algn="l" defTabSz="1828800" rtl="0" eaLnBrk="1" fontAlgn="base" latinLnBrk="0" hangingPunct="1">
              <a:lnSpc>
                <a:spcPct val="90000"/>
              </a:lnSpc>
              <a:spcBef>
                <a:spcPts val="600"/>
              </a:spcBef>
              <a:spcAft>
                <a:spcPct val="0"/>
              </a:spcAft>
              <a:buClr>
                <a:srgbClr val="000000"/>
              </a:buClr>
              <a:buSzPct val="100000"/>
              <a:buFontTx/>
              <a:buNone/>
              <a:tabLst/>
              <a:defRPr/>
            </a:pPr>
            <a:r>
              <a:rPr kumimoji="0" lang="en-GB" sz="2200" b="0" i="0" u="none" strike="noStrike" kern="1200" cap="none" spc="0" normalizeH="0" baseline="0" noProof="0" dirty="0">
                <a:ln>
                  <a:noFill/>
                </a:ln>
                <a:solidFill>
                  <a:srgbClr val="1B69AC">
                    <a:lumMod val="50000"/>
                  </a:srgbClr>
                </a:solidFill>
                <a:effectLst/>
                <a:uLnTx/>
                <a:uFillTx/>
                <a:latin typeface="Calibri" panose="020F0502020204030204" pitchFamily="34" charset="0"/>
                <a:ea typeface="+mn-ea"/>
                <a:cs typeface="Calibri" panose="020F0502020204030204" pitchFamily="34" charset="0"/>
                <a:sym typeface="Gill Sans" charset="0"/>
              </a:rPr>
              <a:t>Residential mCHP</a:t>
            </a:r>
          </a:p>
        </p:txBody>
      </p:sp>
      <p:sp>
        <p:nvSpPr>
          <p:cNvPr id="338" name="TextBox 337"/>
          <p:cNvSpPr txBox="1"/>
          <p:nvPr/>
        </p:nvSpPr>
        <p:spPr>
          <a:xfrm>
            <a:off x="3246954" y="10035258"/>
            <a:ext cx="1203654" cy="914096"/>
          </a:xfrm>
          <a:prstGeom prst="rect">
            <a:avLst/>
          </a:prstGeom>
          <a:noFill/>
          <a:ln w="9525">
            <a:noFill/>
          </a:ln>
        </p:spPr>
        <p:txBody>
          <a:bodyPr wrap="square" lIns="0" tIns="0" rIns="0" bIns="0" rtlCol="0" anchor="t" anchorCtr="0">
            <a:spAutoFit/>
          </a:bodyPr>
          <a:lstStyle/>
          <a:p>
            <a:pPr marL="0" marR="0" lvl="0" indent="0" algn="l" defTabSz="1828800" rtl="0" eaLnBrk="1" fontAlgn="base" latinLnBrk="0" hangingPunct="1">
              <a:lnSpc>
                <a:spcPct val="90000"/>
              </a:lnSpc>
              <a:spcBef>
                <a:spcPts val="0"/>
              </a:spcBef>
              <a:spcAft>
                <a:spcPct val="0"/>
              </a:spcAft>
              <a:buClrTx/>
              <a:buSzTx/>
              <a:buFontTx/>
              <a:buNone/>
              <a:tabLst/>
              <a:defRPr/>
            </a:pPr>
            <a:r>
              <a:rPr kumimoji="0" lang="en-GB" sz="2200" b="1" i="0" u="none" strike="noStrike" kern="1200" cap="none" spc="0" normalizeH="0" baseline="0" noProof="0" dirty="0">
                <a:ln>
                  <a:noFill/>
                </a:ln>
                <a:solidFill>
                  <a:srgbClr val="1B69AC">
                    <a:lumMod val="50000"/>
                  </a:srgbClr>
                </a:solidFill>
                <a:effectLst/>
                <a:uLnTx/>
                <a:uFillTx/>
                <a:latin typeface="Calibri" panose="020F0502020204030204" pitchFamily="34" charset="0"/>
                <a:ea typeface="+mn-ea"/>
                <a:cs typeface="Calibri" panose="020F0502020204030204" pitchFamily="34" charset="0"/>
                <a:sym typeface="Gill Sans" charset="0"/>
              </a:rPr>
              <a:t>Stationary appli-cations</a:t>
            </a:r>
          </a:p>
        </p:txBody>
      </p:sp>
      <p:sp>
        <p:nvSpPr>
          <p:cNvPr id="339" name="TextBox 338"/>
          <p:cNvSpPr txBox="1">
            <a:spLocks/>
          </p:cNvSpPr>
          <p:nvPr/>
        </p:nvSpPr>
        <p:spPr>
          <a:xfrm>
            <a:off x="3234540" y="6045347"/>
            <a:ext cx="1203654" cy="914096"/>
          </a:xfrm>
          <a:prstGeom prst="rect">
            <a:avLst/>
          </a:prstGeom>
          <a:noFill/>
          <a:ln w="9525">
            <a:noFill/>
          </a:ln>
        </p:spPr>
        <p:txBody>
          <a:bodyPr wrap="square" lIns="0" tIns="0" rIns="0" bIns="0" rtlCol="0" anchor="t" anchorCtr="0">
            <a:spAutoFit/>
          </a:bodyPr>
          <a:lstStyle/>
          <a:p>
            <a:pPr marL="0" marR="0" lvl="0" indent="0" algn="l" defTabSz="1828800" rtl="0" eaLnBrk="1" fontAlgn="base" latinLnBrk="0" hangingPunct="1">
              <a:lnSpc>
                <a:spcPct val="90000"/>
              </a:lnSpc>
              <a:spcBef>
                <a:spcPts val="0"/>
              </a:spcBef>
              <a:spcAft>
                <a:spcPct val="0"/>
              </a:spcAft>
              <a:buClrTx/>
              <a:buSzTx/>
              <a:buFontTx/>
              <a:buNone/>
              <a:tabLst/>
              <a:defRPr/>
            </a:pPr>
            <a:r>
              <a:rPr kumimoji="0" lang="en-GB" sz="2200" b="1" i="0" u="none" strike="noStrike" kern="1200" cap="none" spc="0" normalizeH="0" baseline="0" noProof="0" dirty="0">
                <a:ln>
                  <a:noFill/>
                </a:ln>
                <a:solidFill>
                  <a:srgbClr val="1B69AC">
                    <a:lumMod val="50000"/>
                  </a:srgbClr>
                </a:solidFill>
                <a:effectLst/>
                <a:uLnTx/>
                <a:uFillTx/>
                <a:latin typeface="Calibri" panose="020F0502020204030204" pitchFamily="34" charset="0"/>
                <a:ea typeface="+mn-ea"/>
                <a:cs typeface="Calibri" panose="020F0502020204030204" pitchFamily="34" charset="0"/>
                <a:sym typeface="Gill Sans" charset="0"/>
              </a:rPr>
              <a:t>Transport appli-cations</a:t>
            </a:r>
          </a:p>
        </p:txBody>
      </p:sp>
      <p:sp>
        <p:nvSpPr>
          <p:cNvPr id="340" name="ListLeanHorizontalTextDetail0"/>
          <p:cNvSpPr txBox="1">
            <a:spLocks/>
          </p:cNvSpPr>
          <p:nvPr/>
        </p:nvSpPr>
        <p:spPr>
          <a:xfrm>
            <a:off x="4595285" y="5581028"/>
            <a:ext cx="2016000" cy="304699"/>
          </a:xfrm>
          <a:prstGeom prst="rect">
            <a:avLst/>
          </a:prstGeom>
          <a:noFill/>
          <a:ln w="9525">
            <a:noFill/>
          </a:ln>
        </p:spPr>
        <p:txBody>
          <a:bodyPr vert="horz" wrap="square" lIns="0" tIns="0" rIns="0" bIns="0" rtlCol="0" anchor="ctr" anchorCtr="0">
            <a:spAutoFit/>
          </a:bodyPr>
          <a:lstStyle/>
          <a:p>
            <a:pPr marL="0" marR="0" lvl="0" indent="0" algn="l" defTabSz="1828800" rtl="0" eaLnBrk="1" fontAlgn="base" latinLnBrk="0" hangingPunct="1">
              <a:lnSpc>
                <a:spcPct val="90000"/>
              </a:lnSpc>
              <a:spcBef>
                <a:spcPts val="600"/>
              </a:spcBef>
              <a:spcAft>
                <a:spcPct val="0"/>
              </a:spcAft>
              <a:buClr>
                <a:srgbClr val="000000"/>
              </a:buClr>
              <a:buSzPct val="100000"/>
              <a:buFontTx/>
              <a:buNone/>
              <a:tabLst/>
              <a:defRPr/>
            </a:pPr>
            <a:r>
              <a:rPr kumimoji="0" lang="en-GB" sz="2200" b="0" i="0" u="none" strike="noStrike" kern="1200" cap="none" spc="0" normalizeH="0" baseline="0" noProof="0" dirty="0">
                <a:ln>
                  <a:noFill/>
                </a:ln>
                <a:solidFill>
                  <a:srgbClr val="1B69AC">
                    <a:lumMod val="50000"/>
                  </a:srgbClr>
                </a:solidFill>
                <a:effectLst/>
                <a:uLnTx/>
                <a:uFillTx/>
                <a:latin typeface="Calibri" panose="020F0502020204030204" pitchFamily="34" charset="0"/>
                <a:ea typeface="+mn-ea"/>
                <a:cs typeface="Calibri" panose="020F0502020204030204" pitchFamily="34" charset="0"/>
                <a:sym typeface="Gill Sans" charset="0"/>
              </a:rPr>
              <a:t>(Urban) Buses</a:t>
            </a:r>
          </a:p>
        </p:txBody>
      </p:sp>
      <p:sp>
        <p:nvSpPr>
          <p:cNvPr id="341" name="ListLeanHorizontalTextDetail0"/>
          <p:cNvSpPr txBox="1">
            <a:spLocks/>
          </p:cNvSpPr>
          <p:nvPr/>
        </p:nvSpPr>
        <p:spPr>
          <a:xfrm>
            <a:off x="4595285" y="6246014"/>
            <a:ext cx="2016000" cy="304699"/>
          </a:xfrm>
          <a:prstGeom prst="rect">
            <a:avLst/>
          </a:prstGeom>
          <a:noFill/>
          <a:ln w="9525">
            <a:noFill/>
          </a:ln>
        </p:spPr>
        <p:txBody>
          <a:bodyPr vert="horz" wrap="square" lIns="0" tIns="0" rIns="0" bIns="0" rtlCol="0" anchor="ctr" anchorCtr="0">
            <a:spAutoFit/>
          </a:bodyPr>
          <a:lstStyle/>
          <a:p>
            <a:pPr marL="0" marR="0" lvl="0" indent="0" algn="l" defTabSz="1828800" rtl="0" eaLnBrk="1" fontAlgn="base" latinLnBrk="0" hangingPunct="1">
              <a:lnSpc>
                <a:spcPct val="90000"/>
              </a:lnSpc>
              <a:spcBef>
                <a:spcPts val="600"/>
              </a:spcBef>
              <a:spcAft>
                <a:spcPct val="0"/>
              </a:spcAft>
              <a:buClr>
                <a:srgbClr val="000000"/>
              </a:buClr>
              <a:buSzPct val="100000"/>
              <a:buFontTx/>
              <a:buNone/>
              <a:tabLst/>
              <a:defRPr/>
            </a:pPr>
            <a:r>
              <a:rPr kumimoji="0" lang="en-GB" sz="2200" b="0" i="0" u="none" strike="noStrike" kern="1200" cap="none" spc="0" normalizeH="0" baseline="0" noProof="0" dirty="0">
                <a:ln>
                  <a:noFill/>
                </a:ln>
                <a:solidFill>
                  <a:srgbClr val="1B69AC">
                    <a:lumMod val="50000"/>
                  </a:srgbClr>
                </a:solidFill>
                <a:effectLst/>
                <a:uLnTx/>
                <a:uFillTx/>
                <a:latin typeface="Calibri" panose="020F0502020204030204" pitchFamily="34" charset="0"/>
                <a:ea typeface="+mn-ea"/>
                <a:cs typeface="Calibri" panose="020F0502020204030204" pitchFamily="34" charset="0"/>
                <a:sym typeface="Gill Sans" charset="0"/>
              </a:rPr>
              <a:t>Cars</a:t>
            </a:r>
            <a:endParaRPr kumimoji="0" lang="en-GB" sz="2200" b="0" i="0" u="none" strike="noStrike" kern="1200" cap="none" spc="0" normalizeH="0" baseline="30000" noProof="0" dirty="0">
              <a:ln>
                <a:noFill/>
              </a:ln>
              <a:solidFill>
                <a:srgbClr val="1B69AC">
                  <a:lumMod val="50000"/>
                </a:srgbClr>
              </a:solidFill>
              <a:effectLst/>
              <a:uLnTx/>
              <a:uFillTx/>
              <a:latin typeface="Calibri" panose="020F0502020204030204" pitchFamily="34" charset="0"/>
              <a:ea typeface="+mn-ea"/>
              <a:cs typeface="Calibri" panose="020F0502020204030204" pitchFamily="34" charset="0"/>
              <a:sym typeface="Gill Sans" charset="0"/>
            </a:endParaRPr>
          </a:p>
        </p:txBody>
      </p:sp>
      <p:sp>
        <p:nvSpPr>
          <p:cNvPr id="342" name="ListLeanHorizontalTextDetail0"/>
          <p:cNvSpPr txBox="1">
            <a:spLocks/>
          </p:cNvSpPr>
          <p:nvPr/>
        </p:nvSpPr>
        <p:spPr>
          <a:xfrm>
            <a:off x="4595285" y="6911000"/>
            <a:ext cx="2016000" cy="304699"/>
          </a:xfrm>
          <a:prstGeom prst="rect">
            <a:avLst/>
          </a:prstGeom>
          <a:noFill/>
          <a:ln w="9525">
            <a:noFill/>
          </a:ln>
        </p:spPr>
        <p:txBody>
          <a:bodyPr vert="horz" wrap="square" lIns="0" tIns="0" rIns="0" bIns="0" rtlCol="0" anchor="ctr" anchorCtr="0">
            <a:spAutoFit/>
          </a:bodyPr>
          <a:lstStyle/>
          <a:p>
            <a:pPr marL="0" marR="0" lvl="0" indent="0" algn="l" defTabSz="1828800" rtl="0" eaLnBrk="1" fontAlgn="base" latinLnBrk="0" hangingPunct="1">
              <a:lnSpc>
                <a:spcPct val="90000"/>
              </a:lnSpc>
              <a:spcBef>
                <a:spcPts val="600"/>
              </a:spcBef>
              <a:spcAft>
                <a:spcPct val="0"/>
              </a:spcAft>
              <a:buClr>
                <a:srgbClr val="000000"/>
              </a:buClr>
              <a:buSzPct val="100000"/>
              <a:buFontTx/>
              <a:buNone/>
              <a:tabLst/>
              <a:defRPr/>
            </a:pPr>
            <a:r>
              <a:rPr kumimoji="0" lang="en-GB" sz="2200" b="0" i="0" u="none" strike="noStrike" kern="1200" cap="none" spc="0" normalizeH="0" baseline="0" noProof="0" dirty="0">
                <a:ln>
                  <a:noFill/>
                </a:ln>
                <a:solidFill>
                  <a:srgbClr val="1B69AC">
                    <a:lumMod val="50000"/>
                  </a:srgbClr>
                </a:solidFill>
                <a:effectLst/>
                <a:uLnTx/>
                <a:uFillTx/>
                <a:latin typeface="Calibri" panose="020F0502020204030204" pitchFamily="34" charset="0"/>
                <a:ea typeface="+mn-ea"/>
                <a:cs typeface="Calibri" panose="020F0502020204030204" pitchFamily="34" charset="0"/>
                <a:sym typeface="Gill Sans" charset="0"/>
              </a:rPr>
              <a:t>Delivery vans</a:t>
            </a:r>
          </a:p>
        </p:txBody>
      </p:sp>
      <p:sp>
        <p:nvSpPr>
          <p:cNvPr id="343" name="ListLeanHorizontalTextDetail0"/>
          <p:cNvSpPr txBox="1">
            <a:spLocks/>
          </p:cNvSpPr>
          <p:nvPr/>
        </p:nvSpPr>
        <p:spPr>
          <a:xfrm>
            <a:off x="4595285" y="8240970"/>
            <a:ext cx="2016000" cy="304699"/>
          </a:xfrm>
          <a:prstGeom prst="rect">
            <a:avLst/>
          </a:prstGeom>
          <a:noFill/>
          <a:ln w="9525">
            <a:noFill/>
          </a:ln>
        </p:spPr>
        <p:txBody>
          <a:bodyPr vert="horz" wrap="square" lIns="0" tIns="0" rIns="0" bIns="0" rtlCol="0" anchor="ctr" anchorCtr="0">
            <a:spAutoFit/>
          </a:bodyPr>
          <a:lstStyle>
            <a:defPPr>
              <a:defRPr lang="de-DE"/>
            </a:defPPr>
            <a:lvl1pPr>
              <a:lnSpc>
                <a:spcPct val="90000"/>
              </a:lnSpc>
              <a:spcBef>
                <a:spcPts val="300"/>
              </a:spcBef>
              <a:buClr>
                <a:schemeClr val="tx1"/>
              </a:buClr>
              <a:buSzPct val="100000"/>
              <a:defRPr sz="900" b="0">
                <a:latin typeface="+mn-lt"/>
                <a:cs typeface="Arial" pitchFamily="34" charset="0"/>
              </a:defRPr>
            </a:lvl1pPr>
          </a:lstStyle>
          <a:p>
            <a:pPr marL="0" marR="0" lvl="0" indent="0" algn="l" defTabSz="1828800" rtl="0" eaLnBrk="1" fontAlgn="base" latinLnBrk="0" hangingPunct="1">
              <a:lnSpc>
                <a:spcPct val="90000"/>
              </a:lnSpc>
              <a:spcBef>
                <a:spcPts val="600"/>
              </a:spcBef>
              <a:spcAft>
                <a:spcPct val="0"/>
              </a:spcAft>
              <a:buClr>
                <a:srgbClr val="000000"/>
              </a:buClr>
              <a:buSzPct val="100000"/>
              <a:buFontTx/>
              <a:buNone/>
              <a:tabLst/>
              <a:defRPr/>
            </a:pPr>
            <a:r>
              <a:rPr kumimoji="0" lang="en-GB" sz="2200" b="0" i="0" u="none" strike="noStrike" kern="1200" cap="none" spc="0" normalizeH="0" baseline="0" noProof="0" dirty="0">
                <a:ln>
                  <a:noFill/>
                </a:ln>
                <a:solidFill>
                  <a:srgbClr val="1B69AC">
                    <a:lumMod val="50000"/>
                  </a:srgbClr>
                </a:solidFill>
                <a:effectLst/>
                <a:uLnTx/>
                <a:uFillTx/>
                <a:latin typeface="Calibri" panose="020F0502020204030204" pitchFamily="34" charset="0"/>
                <a:ea typeface="+mn-ea"/>
                <a:cs typeface="Calibri" panose="020F0502020204030204" pitchFamily="34" charset="0"/>
                <a:sym typeface="Gill Sans" charset="0"/>
              </a:rPr>
              <a:t>Trains</a:t>
            </a:r>
          </a:p>
        </p:txBody>
      </p:sp>
      <p:sp>
        <p:nvSpPr>
          <p:cNvPr id="344" name="TextBox 343"/>
          <p:cNvSpPr txBox="1">
            <a:spLocks/>
          </p:cNvSpPr>
          <p:nvPr/>
        </p:nvSpPr>
        <p:spPr>
          <a:xfrm>
            <a:off x="4595285" y="7423635"/>
            <a:ext cx="2016000" cy="609398"/>
          </a:xfrm>
          <a:prstGeom prst="rect">
            <a:avLst/>
          </a:prstGeom>
          <a:noFill/>
          <a:ln w="9525">
            <a:noFill/>
          </a:ln>
        </p:spPr>
        <p:txBody>
          <a:bodyPr wrap="square" lIns="0" tIns="0" rIns="0" bIns="0" rtlCol="0" anchor="ctr" anchorCtr="0">
            <a:spAutoFit/>
          </a:bodyPr>
          <a:lstStyle/>
          <a:p>
            <a:pPr marL="0" marR="0" lvl="0" indent="0" algn="l" defTabSz="1828800" rtl="0" eaLnBrk="1" fontAlgn="base" latinLnBrk="0" hangingPunct="1">
              <a:lnSpc>
                <a:spcPct val="90000"/>
              </a:lnSpc>
              <a:spcBef>
                <a:spcPts val="600"/>
              </a:spcBef>
              <a:spcAft>
                <a:spcPct val="0"/>
              </a:spcAft>
              <a:buClrTx/>
              <a:buSzTx/>
              <a:buFontTx/>
              <a:buNone/>
              <a:tabLst/>
              <a:defRPr/>
            </a:pPr>
            <a:r>
              <a:rPr kumimoji="0" lang="en-GB" sz="2200" b="0" i="0" u="none" strike="noStrike" kern="1200" cap="none" spc="0" normalizeH="0" baseline="0" noProof="0" dirty="0">
                <a:ln>
                  <a:noFill/>
                </a:ln>
                <a:solidFill>
                  <a:srgbClr val="1B69AC">
                    <a:lumMod val="50000"/>
                  </a:srgbClr>
                </a:solidFill>
                <a:effectLst/>
                <a:uLnTx/>
                <a:uFillTx/>
                <a:latin typeface="Calibri" panose="020F0502020204030204" pitchFamily="34" charset="0"/>
                <a:ea typeface="+mn-ea"/>
                <a:cs typeface="Calibri" panose="020F0502020204030204" pitchFamily="34" charset="0"/>
                <a:sym typeface="Gill Sans" charset="0"/>
              </a:rPr>
              <a:t>Heavy-duty trucks</a:t>
            </a:r>
          </a:p>
        </p:txBody>
      </p:sp>
      <p:sp>
        <p:nvSpPr>
          <p:cNvPr id="345" name="ListLeanHorizontalTextDetail0"/>
          <p:cNvSpPr txBox="1">
            <a:spLocks/>
          </p:cNvSpPr>
          <p:nvPr/>
        </p:nvSpPr>
        <p:spPr>
          <a:xfrm>
            <a:off x="4595285" y="9570940"/>
            <a:ext cx="2016000" cy="304699"/>
          </a:xfrm>
          <a:prstGeom prst="rect">
            <a:avLst/>
          </a:prstGeom>
          <a:noFill/>
          <a:ln w="9525">
            <a:noFill/>
          </a:ln>
        </p:spPr>
        <p:txBody>
          <a:bodyPr vert="horz" wrap="square" lIns="0" tIns="0" rIns="0" bIns="0" rtlCol="0" anchor="ctr" anchorCtr="0">
            <a:spAutoFit/>
          </a:bodyPr>
          <a:lstStyle/>
          <a:p>
            <a:pPr marL="0" marR="0" lvl="0" indent="0" algn="l" defTabSz="1828800" rtl="0" eaLnBrk="1" fontAlgn="base" latinLnBrk="0" hangingPunct="1">
              <a:lnSpc>
                <a:spcPct val="90000"/>
              </a:lnSpc>
              <a:spcBef>
                <a:spcPts val="600"/>
              </a:spcBef>
              <a:spcAft>
                <a:spcPct val="0"/>
              </a:spcAft>
              <a:buClr>
                <a:srgbClr val="000000"/>
              </a:buClr>
              <a:buSzPct val="100000"/>
              <a:buFontTx/>
              <a:buNone/>
              <a:tabLst/>
              <a:defRPr/>
            </a:pPr>
            <a:r>
              <a:rPr kumimoji="0" lang="en-GB" sz="2200" b="0" i="0" u="none" strike="noStrike" kern="1200" cap="none" spc="0" normalizeH="0" baseline="0" noProof="0" dirty="0">
                <a:ln>
                  <a:noFill/>
                </a:ln>
                <a:solidFill>
                  <a:srgbClr val="1B69AC">
                    <a:lumMod val="50000"/>
                  </a:srgbClr>
                </a:solidFill>
                <a:effectLst/>
                <a:uLnTx/>
                <a:uFillTx/>
                <a:latin typeface="Calibri" panose="020F0502020204030204" pitchFamily="34" charset="0"/>
                <a:ea typeface="+mn-ea"/>
                <a:cs typeface="Calibri" panose="020F0502020204030204" pitchFamily="34" charset="0"/>
                <a:sym typeface="Gill Sans" charset="0"/>
              </a:rPr>
              <a:t>Power to H</a:t>
            </a:r>
            <a:r>
              <a:rPr kumimoji="0" lang="en-GB" sz="2200" b="0" i="0" u="none" strike="noStrike" kern="1200" cap="none" spc="0" normalizeH="0" baseline="-25000" noProof="0" dirty="0">
                <a:ln>
                  <a:noFill/>
                </a:ln>
                <a:solidFill>
                  <a:srgbClr val="1B69AC">
                    <a:lumMod val="50000"/>
                  </a:srgbClr>
                </a:solidFill>
                <a:effectLst/>
                <a:uLnTx/>
                <a:uFillTx/>
                <a:latin typeface="Calibri" panose="020F0502020204030204" pitchFamily="34" charset="0"/>
                <a:ea typeface="+mn-ea"/>
                <a:cs typeface="Calibri" panose="020F0502020204030204" pitchFamily="34" charset="0"/>
                <a:sym typeface="Gill Sans" charset="0"/>
              </a:rPr>
              <a:t>2</a:t>
            </a:r>
          </a:p>
        </p:txBody>
      </p:sp>
      <p:sp>
        <p:nvSpPr>
          <p:cNvPr id="346" name="ListLeanHorizontalTextDetail0"/>
          <p:cNvSpPr txBox="1">
            <a:spLocks/>
          </p:cNvSpPr>
          <p:nvPr/>
        </p:nvSpPr>
        <p:spPr>
          <a:xfrm>
            <a:off x="4595285" y="10083577"/>
            <a:ext cx="2016000" cy="609398"/>
          </a:xfrm>
          <a:prstGeom prst="rect">
            <a:avLst/>
          </a:prstGeom>
          <a:noFill/>
          <a:ln w="9525">
            <a:noFill/>
          </a:ln>
        </p:spPr>
        <p:txBody>
          <a:bodyPr vert="horz" wrap="square" lIns="0" tIns="0" rIns="0" bIns="0" rtlCol="0" anchor="ctr" anchorCtr="0">
            <a:spAutoFit/>
          </a:bodyPr>
          <a:lstStyle/>
          <a:p>
            <a:pPr marL="0" marR="0" lvl="0" indent="0" algn="l" defTabSz="1828800" rtl="0" eaLnBrk="1" fontAlgn="base" latinLnBrk="0" hangingPunct="1">
              <a:lnSpc>
                <a:spcPct val="90000"/>
              </a:lnSpc>
              <a:spcBef>
                <a:spcPts val="600"/>
              </a:spcBef>
              <a:spcAft>
                <a:spcPct val="0"/>
              </a:spcAft>
              <a:buClr>
                <a:srgbClr val="000000"/>
              </a:buClr>
              <a:buSzPct val="100000"/>
              <a:buFontTx/>
              <a:buNone/>
              <a:tabLst/>
              <a:defRPr/>
            </a:pPr>
            <a:r>
              <a:rPr kumimoji="0" lang="en-GB" sz="2200" b="0" i="0" u="none" strike="noStrike" kern="1200" cap="none" spc="0" normalizeH="0" baseline="0" noProof="0" dirty="0">
                <a:ln>
                  <a:noFill/>
                </a:ln>
                <a:solidFill>
                  <a:srgbClr val="1B69AC">
                    <a:lumMod val="50000"/>
                  </a:srgbClr>
                </a:solidFill>
                <a:effectLst/>
                <a:uLnTx/>
                <a:uFillTx/>
                <a:latin typeface="Calibri" panose="020F0502020204030204" pitchFamily="34" charset="0"/>
                <a:ea typeface="+mn-ea"/>
                <a:cs typeface="Calibri" panose="020F0502020204030204" pitchFamily="34" charset="0"/>
                <a:sym typeface="Gill Sans" charset="0"/>
              </a:rPr>
              <a:t>H</a:t>
            </a:r>
            <a:r>
              <a:rPr kumimoji="0" lang="en-GB" sz="2200" b="0" i="0" u="none" strike="noStrike" kern="1200" cap="none" spc="0" normalizeH="0" baseline="-25000" noProof="0" dirty="0">
                <a:ln>
                  <a:noFill/>
                </a:ln>
                <a:solidFill>
                  <a:srgbClr val="1B69AC">
                    <a:lumMod val="50000"/>
                  </a:srgbClr>
                </a:solidFill>
                <a:effectLst/>
                <a:uLnTx/>
                <a:uFillTx/>
                <a:latin typeface="Calibri" panose="020F0502020204030204" pitchFamily="34" charset="0"/>
                <a:ea typeface="+mn-ea"/>
                <a:cs typeface="Calibri" panose="020F0502020204030204" pitchFamily="34" charset="0"/>
                <a:sym typeface="Gill Sans" charset="0"/>
              </a:rPr>
              <a:t>2</a:t>
            </a:r>
            <a:r>
              <a:rPr kumimoji="0" lang="en-GB" sz="2200" b="0" i="0" u="none" strike="noStrike" kern="1200" cap="none" spc="0" normalizeH="0" baseline="0" noProof="0" dirty="0">
                <a:ln>
                  <a:noFill/>
                </a:ln>
                <a:solidFill>
                  <a:srgbClr val="1B69AC">
                    <a:lumMod val="50000"/>
                  </a:srgbClr>
                </a:solidFill>
                <a:effectLst/>
                <a:uLnTx/>
                <a:uFillTx/>
                <a:latin typeface="Calibri" panose="020F0502020204030204" pitchFamily="34" charset="0"/>
                <a:ea typeface="+mn-ea"/>
                <a:cs typeface="Calibri" panose="020F0502020204030204" pitchFamily="34" charset="0"/>
                <a:sym typeface="Gill Sans" charset="0"/>
              </a:rPr>
              <a:t> injection into gas grid</a:t>
            </a:r>
          </a:p>
        </p:txBody>
      </p:sp>
      <p:sp>
        <p:nvSpPr>
          <p:cNvPr id="347" name="ListLeanHorizontalTextDetail0"/>
          <p:cNvSpPr txBox="1">
            <a:spLocks/>
          </p:cNvSpPr>
          <p:nvPr/>
        </p:nvSpPr>
        <p:spPr>
          <a:xfrm>
            <a:off x="4595285" y="8912370"/>
            <a:ext cx="2016000" cy="304699"/>
          </a:xfrm>
          <a:prstGeom prst="rect">
            <a:avLst/>
          </a:prstGeom>
          <a:noFill/>
          <a:ln w="9525">
            <a:noFill/>
          </a:ln>
        </p:spPr>
        <p:txBody>
          <a:bodyPr vert="horz" wrap="square" lIns="0" tIns="0" rIns="0" bIns="0" rtlCol="0" anchor="ctr" anchorCtr="0">
            <a:spAutoFit/>
          </a:bodyPr>
          <a:lstStyle/>
          <a:p>
            <a:pPr marL="0" marR="0" lvl="0" indent="0" algn="l" defTabSz="1828800" rtl="0" eaLnBrk="1" fontAlgn="base" latinLnBrk="0" hangingPunct="1">
              <a:lnSpc>
                <a:spcPct val="90000"/>
              </a:lnSpc>
              <a:spcBef>
                <a:spcPts val="600"/>
              </a:spcBef>
              <a:spcAft>
                <a:spcPct val="0"/>
              </a:spcAft>
              <a:buClr>
                <a:srgbClr val="000000"/>
              </a:buClr>
              <a:buSzPct val="100000"/>
              <a:buFontTx/>
              <a:buNone/>
              <a:tabLst/>
              <a:defRPr/>
            </a:pPr>
            <a:r>
              <a:rPr kumimoji="0" lang="en-GB" sz="2200" b="0" i="0" u="none" strike="noStrike" kern="1200" cap="none" spc="0" normalizeH="0" baseline="0" noProof="0" dirty="0">
                <a:ln>
                  <a:noFill/>
                </a:ln>
                <a:solidFill>
                  <a:srgbClr val="1B69AC">
                    <a:lumMod val="50000"/>
                  </a:srgbClr>
                </a:solidFill>
                <a:effectLst/>
                <a:uLnTx/>
                <a:uFillTx/>
                <a:latin typeface="Calibri" panose="020F0502020204030204" pitchFamily="34" charset="0"/>
                <a:ea typeface="+mn-ea"/>
                <a:cs typeface="Calibri" panose="020F0502020204030204" pitchFamily="34" charset="0"/>
                <a:sym typeface="Gill Sans" charset="0"/>
              </a:rPr>
              <a:t>Port operations</a:t>
            </a:r>
          </a:p>
        </p:txBody>
      </p:sp>
      <p:sp>
        <p:nvSpPr>
          <p:cNvPr id="348" name="ListLeanHorizontalTextDetail0"/>
          <p:cNvSpPr txBox="1">
            <a:spLocks/>
          </p:cNvSpPr>
          <p:nvPr/>
        </p:nvSpPr>
        <p:spPr>
          <a:xfrm>
            <a:off x="4595285" y="11632030"/>
            <a:ext cx="2016000" cy="304699"/>
          </a:xfrm>
          <a:prstGeom prst="rect">
            <a:avLst/>
          </a:prstGeom>
          <a:noFill/>
          <a:ln w="9525">
            <a:noFill/>
          </a:ln>
        </p:spPr>
        <p:txBody>
          <a:bodyPr vert="horz" wrap="square" lIns="0" tIns="0" rIns="0" bIns="0" rtlCol="0" anchor="ctr" anchorCtr="0">
            <a:spAutoFit/>
          </a:bodyPr>
          <a:lstStyle/>
          <a:p>
            <a:pPr marL="0" marR="0" lvl="0" indent="0" algn="l" defTabSz="1828800" rtl="0" eaLnBrk="1" fontAlgn="base" latinLnBrk="0" hangingPunct="1">
              <a:lnSpc>
                <a:spcPct val="90000"/>
              </a:lnSpc>
              <a:spcBef>
                <a:spcPts val="600"/>
              </a:spcBef>
              <a:spcAft>
                <a:spcPct val="0"/>
              </a:spcAft>
              <a:buClr>
                <a:srgbClr val="000000"/>
              </a:buClr>
              <a:buSzPct val="100000"/>
              <a:buFontTx/>
              <a:buNone/>
              <a:tabLst/>
              <a:defRPr/>
            </a:pPr>
            <a:r>
              <a:rPr kumimoji="0" lang="en-GB" sz="2200" b="0" i="0" u="none" strike="noStrike" kern="1200" cap="none" spc="0" normalizeH="0" baseline="0" noProof="0" dirty="0">
                <a:ln>
                  <a:noFill/>
                </a:ln>
                <a:solidFill>
                  <a:srgbClr val="1B69AC">
                    <a:lumMod val="50000"/>
                  </a:srgbClr>
                </a:solidFill>
                <a:effectLst/>
                <a:uLnTx/>
                <a:uFillTx/>
                <a:latin typeface="Calibri" panose="020F0502020204030204" pitchFamily="34" charset="0"/>
                <a:ea typeface="+mn-ea"/>
                <a:cs typeface="Calibri" panose="020F0502020204030204" pitchFamily="34" charset="0"/>
                <a:sym typeface="Gill Sans" charset="0"/>
              </a:rPr>
              <a:t>Off-grid power</a:t>
            </a:r>
          </a:p>
        </p:txBody>
      </p:sp>
      <p:cxnSp>
        <p:nvCxnSpPr>
          <p:cNvPr id="349" name="LeanLine Vertical 634987054704941966"/>
          <p:cNvCxnSpPr>
            <a:cxnSpLocks/>
          </p:cNvCxnSpPr>
          <p:nvPr/>
        </p:nvCxnSpPr>
        <p:spPr>
          <a:xfrm>
            <a:off x="4624473" y="11450306"/>
            <a:ext cx="15669544" cy="0"/>
          </a:xfrm>
          <a:prstGeom prst="line">
            <a:avLst/>
          </a:prstGeom>
          <a:noFill/>
          <a:ln w="9525" cap="flat" cmpd="sng" algn="ctr">
            <a:solidFill>
              <a:srgbClr val="8D9399"/>
            </a:solidFill>
            <a:prstDash val="solid"/>
          </a:ln>
          <a:effectLst/>
        </p:spPr>
      </p:cxnSp>
      <p:cxnSp>
        <p:nvCxnSpPr>
          <p:cNvPr id="350" name="LeanLine Vertical 634987054704941966"/>
          <p:cNvCxnSpPr>
            <a:cxnSpLocks/>
          </p:cNvCxnSpPr>
          <p:nvPr/>
        </p:nvCxnSpPr>
        <p:spPr>
          <a:xfrm>
            <a:off x="4595285" y="10054202"/>
            <a:ext cx="15698732" cy="0"/>
          </a:xfrm>
          <a:prstGeom prst="line">
            <a:avLst/>
          </a:prstGeom>
          <a:noFill/>
          <a:ln w="9525" cap="flat" cmpd="sng" algn="ctr">
            <a:solidFill>
              <a:srgbClr val="8D9399"/>
            </a:solidFill>
            <a:prstDash val="solid"/>
          </a:ln>
          <a:effectLst/>
        </p:spPr>
      </p:cxnSp>
      <p:cxnSp>
        <p:nvCxnSpPr>
          <p:cNvPr id="351" name="LeanLine Vertical 634987054704941966"/>
          <p:cNvCxnSpPr>
            <a:cxnSpLocks/>
          </p:cNvCxnSpPr>
          <p:nvPr/>
        </p:nvCxnSpPr>
        <p:spPr>
          <a:xfrm>
            <a:off x="4595285" y="10711882"/>
            <a:ext cx="15698732" cy="0"/>
          </a:xfrm>
          <a:prstGeom prst="line">
            <a:avLst/>
          </a:prstGeom>
          <a:noFill/>
          <a:ln w="9525" cap="flat" cmpd="sng" algn="ctr">
            <a:solidFill>
              <a:srgbClr val="8D9399"/>
            </a:solidFill>
            <a:prstDash val="solid"/>
          </a:ln>
          <a:effectLst/>
        </p:spPr>
      </p:cxnSp>
      <p:cxnSp>
        <p:nvCxnSpPr>
          <p:cNvPr id="352" name="LeanLine Vertical 634987054704941966"/>
          <p:cNvCxnSpPr>
            <a:cxnSpLocks/>
          </p:cNvCxnSpPr>
          <p:nvPr/>
        </p:nvCxnSpPr>
        <p:spPr>
          <a:xfrm>
            <a:off x="4624473" y="8724232"/>
            <a:ext cx="15669544" cy="0"/>
          </a:xfrm>
          <a:prstGeom prst="line">
            <a:avLst/>
          </a:prstGeom>
          <a:noFill/>
          <a:ln w="9525" cap="flat" cmpd="sng" algn="ctr">
            <a:solidFill>
              <a:srgbClr val="8D9399"/>
            </a:solidFill>
            <a:prstDash val="solid"/>
          </a:ln>
          <a:effectLst/>
        </p:spPr>
      </p:cxnSp>
      <p:cxnSp>
        <p:nvCxnSpPr>
          <p:cNvPr id="353" name="LeanLine Vertical 634987054704941966"/>
          <p:cNvCxnSpPr>
            <a:cxnSpLocks/>
          </p:cNvCxnSpPr>
          <p:nvPr/>
        </p:nvCxnSpPr>
        <p:spPr>
          <a:xfrm>
            <a:off x="4595285" y="8059248"/>
            <a:ext cx="15698732" cy="0"/>
          </a:xfrm>
          <a:prstGeom prst="line">
            <a:avLst/>
          </a:prstGeom>
          <a:noFill/>
          <a:ln w="9525" cap="flat" cmpd="sng" algn="ctr">
            <a:solidFill>
              <a:srgbClr val="8D9399"/>
            </a:solidFill>
            <a:prstDash val="solid"/>
          </a:ln>
          <a:effectLst/>
        </p:spPr>
      </p:cxnSp>
      <p:cxnSp>
        <p:nvCxnSpPr>
          <p:cNvPr id="354" name="LeanLine Vertical 634987054704941966"/>
          <p:cNvCxnSpPr>
            <a:cxnSpLocks/>
          </p:cNvCxnSpPr>
          <p:nvPr/>
        </p:nvCxnSpPr>
        <p:spPr>
          <a:xfrm>
            <a:off x="4624473" y="6729276"/>
            <a:ext cx="15669544" cy="0"/>
          </a:xfrm>
          <a:prstGeom prst="line">
            <a:avLst/>
          </a:prstGeom>
          <a:noFill/>
          <a:ln w="9525" cap="flat" cmpd="sng" algn="ctr">
            <a:solidFill>
              <a:srgbClr val="8D9399"/>
            </a:solidFill>
            <a:prstDash val="solid"/>
          </a:ln>
          <a:effectLst/>
        </p:spPr>
      </p:cxnSp>
      <p:cxnSp>
        <p:nvCxnSpPr>
          <p:cNvPr id="355" name="LeanLine Vertical 634987054704941966"/>
          <p:cNvCxnSpPr>
            <a:cxnSpLocks/>
          </p:cNvCxnSpPr>
          <p:nvPr/>
        </p:nvCxnSpPr>
        <p:spPr>
          <a:xfrm>
            <a:off x="4595285" y="6064292"/>
            <a:ext cx="15698732" cy="0"/>
          </a:xfrm>
          <a:prstGeom prst="line">
            <a:avLst/>
          </a:prstGeom>
          <a:noFill/>
          <a:ln w="9525" cap="flat" cmpd="sng" algn="ctr">
            <a:solidFill>
              <a:srgbClr val="8D9399"/>
            </a:solidFill>
            <a:prstDash val="solid"/>
          </a:ln>
          <a:effectLst/>
        </p:spPr>
      </p:cxnSp>
      <p:cxnSp>
        <p:nvCxnSpPr>
          <p:cNvPr id="356" name="LeanLine Vertical 634987054704941966"/>
          <p:cNvCxnSpPr>
            <a:cxnSpLocks/>
          </p:cNvCxnSpPr>
          <p:nvPr/>
        </p:nvCxnSpPr>
        <p:spPr>
          <a:xfrm>
            <a:off x="4595285" y="7400538"/>
            <a:ext cx="15698732" cy="0"/>
          </a:xfrm>
          <a:prstGeom prst="line">
            <a:avLst/>
          </a:prstGeom>
          <a:noFill/>
          <a:ln w="9525" cap="flat" cmpd="sng" algn="ctr">
            <a:solidFill>
              <a:srgbClr val="8D9399"/>
            </a:solidFill>
            <a:prstDash val="solid"/>
          </a:ln>
          <a:effectLst/>
        </p:spPr>
      </p:cxnSp>
      <p:sp>
        <p:nvSpPr>
          <p:cNvPr id="357" name="Elipsa 146"/>
          <p:cNvSpPr/>
          <p:nvPr/>
        </p:nvSpPr>
        <p:spPr bwMode="auto">
          <a:xfrm>
            <a:off x="6611288" y="4392805"/>
            <a:ext cx="435618" cy="435618"/>
          </a:xfrm>
          <a:prstGeom prst="rect">
            <a:avLst/>
          </a:prstGeom>
          <a:solidFill>
            <a:srgbClr val="8D9399"/>
          </a:solidFill>
          <a:ln w="9525">
            <a:solidFill>
              <a:srgbClr val="8D9399"/>
            </a:solidFill>
            <a:round/>
            <a:headEnd/>
            <a:tailEnd/>
          </a:ln>
        </p:spPr>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en-GB" sz="2200" b="1" i="0" u="none" strike="noStrike" kern="0" cap="none" spc="0" normalizeH="0" baseline="0" noProof="0" dirty="0" smtClean="0">
                <a:ln>
                  <a:noFill/>
                </a:ln>
                <a:solidFill>
                  <a:srgbClr val="1B69AC">
                    <a:lumMod val="50000"/>
                  </a:srgbClr>
                </a:solidFill>
                <a:effectLst/>
                <a:uLnTx/>
                <a:uFillTx/>
                <a:latin typeface="Calibri" panose="020F0502020204030204" pitchFamily="34" charset="0"/>
                <a:ea typeface="+mn-ea"/>
                <a:cs typeface="Calibri" panose="020F0502020204030204" pitchFamily="34" charset="0"/>
                <a:sym typeface="Gill Sans" charset="0"/>
              </a:rPr>
              <a:t>1</a:t>
            </a:r>
          </a:p>
        </p:txBody>
      </p:sp>
      <p:sp>
        <p:nvSpPr>
          <p:cNvPr id="358" name="Elipsa 147"/>
          <p:cNvSpPr/>
          <p:nvPr/>
        </p:nvSpPr>
        <p:spPr bwMode="auto">
          <a:xfrm>
            <a:off x="8591598" y="4392805"/>
            <a:ext cx="435618" cy="435618"/>
          </a:xfrm>
          <a:prstGeom prst="rect">
            <a:avLst/>
          </a:prstGeom>
          <a:solidFill>
            <a:srgbClr val="8D9399"/>
          </a:solidFill>
          <a:ln w="9525">
            <a:solidFill>
              <a:srgbClr val="8D9399"/>
            </a:solidFill>
            <a:round/>
            <a:headEnd/>
            <a:tailEnd/>
          </a:ln>
        </p:spPr>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en-GB" sz="2200" b="1" i="0" u="none" strike="noStrike" kern="0" cap="none" spc="0" normalizeH="0" baseline="0" noProof="0" dirty="0" smtClean="0">
                <a:ln>
                  <a:noFill/>
                </a:ln>
                <a:solidFill>
                  <a:srgbClr val="1B69AC">
                    <a:lumMod val="50000"/>
                  </a:srgbClr>
                </a:solidFill>
                <a:effectLst/>
                <a:uLnTx/>
                <a:uFillTx/>
                <a:latin typeface="Calibri" panose="020F0502020204030204" pitchFamily="34" charset="0"/>
                <a:ea typeface="+mn-ea"/>
                <a:cs typeface="Calibri" panose="020F0502020204030204" pitchFamily="34" charset="0"/>
                <a:sym typeface="Gill Sans" charset="0"/>
              </a:rPr>
              <a:t>2</a:t>
            </a:r>
          </a:p>
        </p:txBody>
      </p:sp>
      <p:sp>
        <p:nvSpPr>
          <p:cNvPr id="359" name="Elipsa 148"/>
          <p:cNvSpPr/>
          <p:nvPr/>
        </p:nvSpPr>
        <p:spPr bwMode="auto">
          <a:xfrm>
            <a:off x="10571908" y="4392805"/>
            <a:ext cx="435618" cy="435618"/>
          </a:xfrm>
          <a:prstGeom prst="rect">
            <a:avLst/>
          </a:prstGeom>
          <a:solidFill>
            <a:srgbClr val="8D9399"/>
          </a:solidFill>
          <a:ln w="9525">
            <a:solidFill>
              <a:srgbClr val="8D9399"/>
            </a:solidFill>
            <a:round/>
            <a:headEnd/>
            <a:tailEnd/>
          </a:ln>
        </p:spPr>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en-GB" sz="2200" b="1" i="0" u="none" strike="noStrike" kern="0" cap="none" spc="0" normalizeH="0" baseline="0" noProof="0" dirty="0" smtClean="0">
                <a:ln>
                  <a:noFill/>
                </a:ln>
                <a:solidFill>
                  <a:srgbClr val="1B69AC">
                    <a:lumMod val="50000"/>
                  </a:srgbClr>
                </a:solidFill>
                <a:effectLst/>
                <a:uLnTx/>
                <a:uFillTx/>
                <a:latin typeface="Calibri" panose="020F0502020204030204" pitchFamily="34" charset="0"/>
                <a:ea typeface="+mn-ea"/>
                <a:cs typeface="Calibri" panose="020F0502020204030204" pitchFamily="34" charset="0"/>
                <a:sym typeface="Gill Sans" charset="0"/>
              </a:rPr>
              <a:t>3</a:t>
            </a:r>
          </a:p>
        </p:txBody>
      </p:sp>
      <p:sp>
        <p:nvSpPr>
          <p:cNvPr id="360" name="Elipsa 149"/>
          <p:cNvSpPr/>
          <p:nvPr/>
        </p:nvSpPr>
        <p:spPr bwMode="auto">
          <a:xfrm>
            <a:off x="12552218" y="4392805"/>
            <a:ext cx="435618" cy="435618"/>
          </a:xfrm>
          <a:prstGeom prst="rect">
            <a:avLst/>
          </a:prstGeom>
          <a:solidFill>
            <a:srgbClr val="8D9399"/>
          </a:solidFill>
          <a:ln w="9525">
            <a:solidFill>
              <a:srgbClr val="8D9399"/>
            </a:solidFill>
            <a:round/>
            <a:headEnd/>
            <a:tailEnd/>
          </a:ln>
        </p:spPr>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en-GB" sz="2200" b="1" i="0" u="none" strike="noStrike" kern="0" cap="none" spc="0" normalizeH="0" baseline="0" noProof="0" dirty="0" smtClean="0">
                <a:ln>
                  <a:noFill/>
                </a:ln>
                <a:solidFill>
                  <a:srgbClr val="1B69AC">
                    <a:lumMod val="50000"/>
                  </a:srgbClr>
                </a:solidFill>
                <a:effectLst/>
                <a:uLnTx/>
                <a:uFillTx/>
                <a:latin typeface="Calibri" panose="020F0502020204030204" pitchFamily="34" charset="0"/>
                <a:ea typeface="+mn-ea"/>
                <a:cs typeface="Calibri" panose="020F0502020204030204" pitchFamily="34" charset="0"/>
                <a:sym typeface="Gill Sans" charset="0"/>
              </a:rPr>
              <a:t>4</a:t>
            </a:r>
          </a:p>
        </p:txBody>
      </p:sp>
      <p:sp>
        <p:nvSpPr>
          <p:cNvPr id="361" name="Elipsa 150"/>
          <p:cNvSpPr/>
          <p:nvPr/>
        </p:nvSpPr>
        <p:spPr bwMode="auto">
          <a:xfrm>
            <a:off x="14532528" y="4392805"/>
            <a:ext cx="435618" cy="435618"/>
          </a:xfrm>
          <a:prstGeom prst="rect">
            <a:avLst/>
          </a:prstGeom>
          <a:solidFill>
            <a:srgbClr val="8D9399"/>
          </a:solidFill>
          <a:ln w="9525">
            <a:solidFill>
              <a:srgbClr val="8D9399"/>
            </a:solidFill>
            <a:round/>
            <a:headEnd/>
            <a:tailEnd/>
          </a:ln>
        </p:spPr>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en-GB" sz="2200" b="1" i="0" u="none" strike="noStrike" kern="0" cap="none" spc="0" normalizeH="0" baseline="0" noProof="0" dirty="0" smtClean="0">
                <a:ln>
                  <a:noFill/>
                </a:ln>
                <a:solidFill>
                  <a:srgbClr val="1B69AC">
                    <a:lumMod val="50000"/>
                  </a:srgbClr>
                </a:solidFill>
                <a:effectLst/>
                <a:uLnTx/>
                <a:uFillTx/>
                <a:latin typeface="Calibri" panose="020F0502020204030204" pitchFamily="34" charset="0"/>
                <a:ea typeface="+mn-ea"/>
                <a:cs typeface="Calibri" panose="020F0502020204030204" pitchFamily="34" charset="0"/>
                <a:sym typeface="Gill Sans" charset="0"/>
              </a:rPr>
              <a:t>5</a:t>
            </a:r>
          </a:p>
        </p:txBody>
      </p:sp>
      <p:sp>
        <p:nvSpPr>
          <p:cNvPr id="362" name="Elipsa 151"/>
          <p:cNvSpPr/>
          <p:nvPr/>
        </p:nvSpPr>
        <p:spPr bwMode="auto">
          <a:xfrm>
            <a:off x="16512838" y="4392805"/>
            <a:ext cx="435618" cy="435618"/>
          </a:xfrm>
          <a:prstGeom prst="rect">
            <a:avLst/>
          </a:prstGeom>
          <a:solidFill>
            <a:srgbClr val="8D9399"/>
          </a:solidFill>
          <a:ln w="9525">
            <a:solidFill>
              <a:srgbClr val="8D9399"/>
            </a:solidFill>
            <a:round/>
            <a:headEnd/>
            <a:tailEnd/>
          </a:ln>
        </p:spPr>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en-GB" sz="2200" b="1" i="0" u="none" strike="noStrike" kern="0" cap="none" spc="0" normalizeH="0" baseline="0" noProof="0" dirty="0" smtClean="0">
                <a:ln>
                  <a:noFill/>
                </a:ln>
                <a:solidFill>
                  <a:srgbClr val="1B69AC">
                    <a:lumMod val="50000"/>
                  </a:srgbClr>
                </a:solidFill>
                <a:effectLst/>
                <a:uLnTx/>
                <a:uFillTx/>
                <a:latin typeface="Calibri" panose="020F0502020204030204" pitchFamily="34" charset="0"/>
                <a:ea typeface="+mn-ea"/>
                <a:cs typeface="Calibri" panose="020F0502020204030204" pitchFamily="34" charset="0"/>
                <a:sym typeface="Gill Sans" charset="0"/>
              </a:rPr>
              <a:t>6</a:t>
            </a:r>
          </a:p>
        </p:txBody>
      </p:sp>
      <p:sp>
        <p:nvSpPr>
          <p:cNvPr id="363" name="Elipsa 152"/>
          <p:cNvSpPr/>
          <p:nvPr/>
        </p:nvSpPr>
        <p:spPr bwMode="auto">
          <a:xfrm>
            <a:off x="18493150" y="4392805"/>
            <a:ext cx="435618" cy="435618"/>
          </a:xfrm>
          <a:prstGeom prst="rect">
            <a:avLst/>
          </a:prstGeom>
          <a:solidFill>
            <a:srgbClr val="8D9399"/>
          </a:solidFill>
          <a:ln w="9525">
            <a:solidFill>
              <a:srgbClr val="8D9399"/>
            </a:solidFill>
            <a:round/>
            <a:headEnd/>
            <a:tailEnd/>
          </a:ln>
        </p:spPr>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r>
              <a:rPr kumimoji="0" lang="en-GB" sz="2200" b="1" i="0" u="none" strike="noStrike" kern="0" cap="none" spc="0" normalizeH="0" baseline="0" noProof="0" dirty="0" smtClean="0">
                <a:ln>
                  <a:noFill/>
                </a:ln>
                <a:solidFill>
                  <a:srgbClr val="1B69AC">
                    <a:lumMod val="50000"/>
                  </a:srgbClr>
                </a:solidFill>
                <a:effectLst/>
                <a:uLnTx/>
                <a:uFillTx/>
                <a:latin typeface="Calibri" panose="020F0502020204030204" pitchFamily="34" charset="0"/>
                <a:ea typeface="+mn-ea"/>
                <a:cs typeface="Calibri" panose="020F0502020204030204" pitchFamily="34" charset="0"/>
                <a:sym typeface="Gill Sans" charset="0"/>
              </a:rPr>
              <a:t>7</a:t>
            </a:r>
          </a:p>
        </p:txBody>
      </p:sp>
      <p:grpSp>
        <p:nvGrpSpPr>
          <p:cNvPr id="364" name="Gruppieren 84"/>
          <p:cNvGrpSpPr/>
          <p:nvPr/>
        </p:nvGrpSpPr>
        <p:grpSpPr>
          <a:xfrm flipV="1">
            <a:off x="3231568" y="5620337"/>
            <a:ext cx="1146178" cy="319206"/>
            <a:chOff x="-1088970" y="4949623"/>
            <a:chExt cx="1344670" cy="374485"/>
          </a:xfrm>
          <a:solidFill>
            <a:srgbClr val="8D9399"/>
          </a:solidFill>
        </p:grpSpPr>
        <p:sp>
          <p:nvSpPr>
            <p:cNvPr id="365" name="Freeform 9"/>
            <p:cNvSpPr>
              <a:spLocks/>
            </p:cNvSpPr>
            <p:nvPr/>
          </p:nvSpPr>
          <p:spPr bwMode="auto">
            <a:xfrm rot="5400000">
              <a:off x="-116923" y="4922845"/>
              <a:ext cx="317207" cy="428038"/>
            </a:xfrm>
            <a:custGeom>
              <a:avLst/>
              <a:gdLst>
                <a:gd name="T0" fmla="*/ 513 w 1245"/>
                <a:gd name="T1" fmla="*/ 1680 h 1680"/>
                <a:gd name="T2" fmla="*/ 513 w 1245"/>
                <a:gd name="T3" fmla="*/ 417 h 1680"/>
                <a:gd name="T4" fmla="*/ 153 w 1245"/>
                <a:gd name="T5" fmla="*/ 775 h 1680"/>
                <a:gd name="T6" fmla="*/ 0 w 1245"/>
                <a:gd name="T7" fmla="*/ 623 h 1680"/>
                <a:gd name="T8" fmla="*/ 622 w 1245"/>
                <a:gd name="T9" fmla="*/ 0 h 1680"/>
                <a:gd name="T10" fmla="*/ 1245 w 1245"/>
                <a:gd name="T11" fmla="*/ 623 h 1680"/>
                <a:gd name="T12" fmla="*/ 1092 w 1245"/>
                <a:gd name="T13" fmla="*/ 775 h 1680"/>
                <a:gd name="T14" fmla="*/ 731 w 1245"/>
                <a:gd name="T15" fmla="*/ 417 h 1680"/>
                <a:gd name="T16" fmla="*/ 731 w 1245"/>
                <a:gd name="T17" fmla="*/ 1680 h 1680"/>
                <a:gd name="T18" fmla="*/ 513 w 1245"/>
                <a:gd name="T19" fmla="*/ 1680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45" h="1680">
                  <a:moveTo>
                    <a:pt x="513" y="1680"/>
                  </a:moveTo>
                  <a:lnTo>
                    <a:pt x="513" y="417"/>
                  </a:lnTo>
                  <a:lnTo>
                    <a:pt x="153" y="775"/>
                  </a:lnTo>
                  <a:lnTo>
                    <a:pt x="0" y="623"/>
                  </a:lnTo>
                  <a:lnTo>
                    <a:pt x="622" y="0"/>
                  </a:lnTo>
                  <a:lnTo>
                    <a:pt x="1245" y="623"/>
                  </a:lnTo>
                  <a:lnTo>
                    <a:pt x="1092" y="775"/>
                  </a:lnTo>
                  <a:lnTo>
                    <a:pt x="731" y="417"/>
                  </a:lnTo>
                  <a:lnTo>
                    <a:pt x="731" y="1680"/>
                  </a:lnTo>
                  <a:lnTo>
                    <a:pt x="513" y="16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2600" b="1" i="0" u="none" strike="noStrike" kern="0" cap="none" spc="0" normalizeH="0" baseline="0" noProof="0" dirty="0" smtClean="0">
                <a:ln>
                  <a:noFill/>
                </a:ln>
                <a:solidFill>
                  <a:srgbClr val="1B69AC">
                    <a:lumMod val="50000"/>
                  </a:srgbClr>
                </a:solidFill>
                <a:effectLst/>
                <a:uLnTx/>
                <a:uFillTx/>
                <a:latin typeface="Calibri" panose="020F0502020204030204" pitchFamily="34" charset="0"/>
                <a:ea typeface="+mn-ea"/>
                <a:cs typeface="Calibri" panose="020F0502020204030204" pitchFamily="34" charset="0"/>
                <a:sym typeface="+mn-lt"/>
              </a:endParaRPr>
            </a:p>
          </p:txBody>
        </p:sp>
        <p:sp>
          <p:nvSpPr>
            <p:cNvPr id="366" name="Oval 10"/>
            <p:cNvSpPr>
              <a:spLocks noChangeArrowheads="1"/>
            </p:cNvSpPr>
            <p:nvPr/>
          </p:nvSpPr>
          <p:spPr bwMode="auto">
            <a:xfrm>
              <a:off x="-604092" y="4949623"/>
              <a:ext cx="374915" cy="3744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2600" b="1" i="0" u="none" strike="noStrike" kern="0" cap="none" spc="0" normalizeH="0" baseline="0" noProof="0" dirty="0" smtClean="0">
                <a:ln>
                  <a:noFill/>
                </a:ln>
                <a:solidFill>
                  <a:srgbClr val="1B69AC">
                    <a:lumMod val="50000"/>
                  </a:srgbClr>
                </a:solidFill>
                <a:effectLst/>
                <a:uLnTx/>
                <a:uFillTx/>
                <a:latin typeface="Calibri" panose="020F0502020204030204" pitchFamily="34" charset="0"/>
                <a:ea typeface="+mn-ea"/>
                <a:cs typeface="Calibri" panose="020F0502020204030204" pitchFamily="34" charset="0"/>
                <a:sym typeface="+mn-lt"/>
              </a:endParaRPr>
            </a:p>
          </p:txBody>
        </p:sp>
        <p:sp>
          <p:nvSpPr>
            <p:cNvPr id="367" name="Freeform 9"/>
            <p:cNvSpPr>
              <a:spLocks/>
            </p:cNvSpPr>
            <p:nvPr/>
          </p:nvSpPr>
          <p:spPr bwMode="auto">
            <a:xfrm rot="16200000" flipH="1">
              <a:off x="-1033555" y="4922845"/>
              <a:ext cx="317207" cy="428038"/>
            </a:xfrm>
            <a:custGeom>
              <a:avLst/>
              <a:gdLst>
                <a:gd name="T0" fmla="*/ 513 w 1245"/>
                <a:gd name="T1" fmla="*/ 1680 h 1680"/>
                <a:gd name="T2" fmla="*/ 513 w 1245"/>
                <a:gd name="T3" fmla="*/ 417 h 1680"/>
                <a:gd name="T4" fmla="*/ 153 w 1245"/>
                <a:gd name="T5" fmla="*/ 775 h 1680"/>
                <a:gd name="T6" fmla="*/ 0 w 1245"/>
                <a:gd name="T7" fmla="*/ 623 h 1680"/>
                <a:gd name="T8" fmla="*/ 622 w 1245"/>
                <a:gd name="T9" fmla="*/ 0 h 1680"/>
                <a:gd name="T10" fmla="*/ 1245 w 1245"/>
                <a:gd name="T11" fmla="*/ 623 h 1680"/>
                <a:gd name="T12" fmla="*/ 1092 w 1245"/>
                <a:gd name="T13" fmla="*/ 775 h 1680"/>
                <a:gd name="T14" fmla="*/ 731 w 1245"/>
                <a:gd name="T15" fmla="*/ 417 h 1680"/>
                <a:gd name="T16" fmla="*/ 731 w 1245"/>
                <a:gd name="T17" fmla="*/ 1680 h 1680"/>
                <a:gd name="T18" fmla="*/ 513 w 1245"/>
                <a:gd name="T19" fmla="*/ 1680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45" h="1680">
                  <a:moveTo>
                    <a:pt x="513" y="1680"/>
                  </a:moveTo>
                  <a:lnTo>
                    <a:pt x="513" y="417"/>
                  </a:lnTo>
                  <a:lnTo>
                    <a:pt x="153" y="775"/>
                  </a:lnTo>
                  <a:lnTo>
                    <a:pt x="0" y="623"/>
                  </a:lnTo>
                  <a:lnTo>
                    <a:pt x="622" y="0"/>
                  </a:lnTo>
                  <a:lnTo>
                    <a:pt x="1245" y="623"/>
                  </a:lnTo>
                  <a:lnTo>
                    <a:pt x="1092" y="775"/>
                  </a:lnTo>
                  <a:lnTo>
                    <a:pt x="731" y="417"/>
                  </a:lnTo>
                  <a:lnTo>
                    <a:pt x="731" y="1680"/>
                  </a:lnTo>
                  <a:lnTo>
                    <a:pt x="513" y="16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2600" b="1" i="0" u="none" strike="noStrike" kern="0" cap="none" spc="0" normalizeH="0" baseline="0" noProof="0" dirty="0" smtClean="0">
                <a:ln>
                  <a:noFill/>
                </a:ln>
                <a:solidFill>
                  <a:srgbClr val="1B69AC">
                    <a:lumMod val="50000"/>
                  </a:srgbClr>
                </a:solidFill>
                <a:effectLst/>
                <a:uLnTx/>
                <a:uFillTx/>
                <a:latin typeface="Calibri" panose="020F0502020204030204" pitchFamily="34" charset="0"/>
                <a:ea typeface="+mn-ea"/>
                <a:cs typeface="Calibri" panose="020F0502020204030204" pitchFamily="34" charset="0"/>
                <a:sym typeface="+mn-lt"/>
              </a:endParaRPr>
            </a:p>
          </p:txBody>
        </p:sp>
      </p:grpSp>
      <p:grpSp>
        <p:nvGrpSpPr>
          <p:cNvPr id="368" name="Gruppieren 79"/>
          <p:cNvGrpSpPr/>
          <p:nvPr/>
        </p:nvGrpSpPr>
        <p:grpSpPr>
          <a:xfrm flipV="1">
            <a:off x="3231568" y="9603259"/>
            <a:ext cx="1146178" cy="319206"/>
            <a:chOff x="-1088970" y="5583744"/>
            <a:chExt cx="1344670" cy="374485"/>
          </a:xfrm>
          <a:solidFill>
            <a:srgbClr val="8D9399"/>
          </a:solidFill>
        </p:grpSpPr>
        <p:sp>
          <p:nvSpPr>
            <p:cNvPr id="369" name="Freeform 9"/>
            <p:cNvSpPr>
              <a:spLocks/>
            </p:cNvSpPr>
            <p:nvPr/>
          </p:nvSpPr>
          <p:spPr bwMode="auto">
            <a:xfrm rot="16200000" flipH="1">
              <a:off x="-116923" y="5556966"/>
              <a:ext cx="317207" cy="428038"/>
            </a:xfrm>
            <a:custGeom>
              <a:avLst/>
              <a:gdLst>
                <a:gd name="T0" fmla="*/ 513 w 1245"/>
                <a:gd name="T1" fmla="*/ 1680 h 1680"/>
                <a:gd name="T2" fmla="*/ 513 w 1245"/>
                <a:gd name="T3" fmla="*/ 417 h 1680"/>
                <a:gd name="T4" fmla="*/ 153 w 1245"/>
                <a:gd name="T5" fmla="*/ 775 h 1680"/>
                <a:gd name="T6" fmla="*/ 0 w 1245"/>
                <a:gd name="T7" fmla="*/ 623 h 1680"/>
                <a:gd name="T8" fmla="*/ 622 w 1245"/>
                <a:gd name="T9" fmla="*/ 0 h 1680"/>
                <a:gd name="T10" fmla="*/ 1245 w 1245"/>
                <a:gd name="T11" fmla="*/ 623 h 1680"/>
                <a:gd name="T12" fmla="*/ 1092 w 1245"/>
                <a:gd name="T13" fmla="*/ 775 h 1680"/>
                <a:gd name="T14" fmla="*/ 731 w 1245"/>
                <a:gd name="T15" fmla="*/ 417 h 1680"/>
                <a:gd name="T16" fmla="*/ 731 w 1245"/>
                <a:gd name="T17" fmla="*/ 1680 h 1680"/>
                <a:gd name="T18" fmla="*/ 513 w 1245"/>
                <a:gd name="T19" fmla="*/ 1680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45" h="1680">
                  <a:moveTo>
                    <a:pt x="513" y="1680"/>
                  </a:moveTo>
                  <a:lnTo>
                    <a:pt x="513" y="417"/>
                  </a:lnTo>
                  <a:lnTo>
                    <a:pt x="153" y="775"/>
                  </a:lnTo>
                  <a:lnTo>
                    <a:pt x="0" y="623"/>
                  </a:lnTo>
                  <a:lnTo>
                    <a:pt x="622" y="0"/>
                  </a:lnTo>
                  <a:lnTo>
                    <a:pt x="1245" y="623"/>
                  </a:lnTo>
                  <a:lnTo>
                    <a:pt x="1092" y="775"/>
                  </a:lnTo>
                  <a:lnTo>
                    <a:pt x="731" y="417"/>
                  </a:lnTo>
                  <a:lnTo>
                    <a:pt x="731" y="1680"/>
                  </a:lnTo>
                  <a:lnTo>
                    <a:pt x="513" y="16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2600" b="1" i="0" u="none" strike="noStrike" kern="0" cap="none" spc="0" normalizeH="0" baseline="0" noProof="0" dirty="0" smtClean="0">
                <a:ln>
                  <a:noFill/>
                </a:ln>
                <a:solidFill>
                  <a:srgbClr val="1B69AC">
                    <a:lumMod val="50000"/>
                  </a:srgbClr>
                </a:solidFill>
                <a:effectLst/>
                <a:uLnTx/>
                <a:uFillTx/>
                <a:latin typeface="Calibri" panose="020F0502020204030204" pitchFamily="34" charset="0"/>
                <a:ea typeface="+mn-ea"/>
                <a:cs typeface="Calibri" panose="020F0502020204030204" pitchFamily="34" charset="0"/>
                <a:sym typeface="+mn-lt"/>
              </a:endParaRPr>
            </a:p>
          </p:txBody>
        </p:sp>
        <p:sp>
          <p:nvSpPr>
            <p:cNvPr id="370" name="Oval 10"/>
            <p:cNvSpPr>
              <a:spLocks noChangeArrowheads="1"/>
            </p:cNvSpPr>
            <p:nvPr/>
          </p:nvSpPr>
          <p:spPr bwMode="auto">
            <a:xfrm>
              <a:off x="-604092" y="5583744"/>
              <a:ext cx="374915" cy="37448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2600" b="1" i="0" u="none" strike="noStrike" kern="0" cap="none" spc="0" normalizeH="0" baseline="0" noProof="0" dirty="0" smtClean="0">
                <a:ln>
                  <a:noFill/>
                </a:ln>
                <a:solidFill>
                  <a:srgbClr val="1B69AC">
                    <a:lumMod val="50000"/>
                  </a:srgbClr>
                </a:solidFill>
                <a:effectLst/>
                <a:uLnTx/>
                <a:uFillTx/>
                <a:latin typeface="Calibri" panose="020F0502020204030204" pitchFamily="34" charset="0"/>
                <a:ea typeface="+mn-ea"/>
                <a:cs typeface="Calibri" panose="020F0502020204030204" pitchFamily="34" charset="0"/>
                <a:sym typeface="+mn-lt"/>
              </a:endParaRPr>
            </a:p>
          </p:txBody>
        </p:sp>
        <p:sp>
          <p:nvSpPr>
            <p:cNvPr id="371" name="Freeform 9"/>
            <p:cNvSpPr>
              <a:spLocks/>
            </p:cNvSpPr>
            <p:nvPr/>
          </p:nvSpPr>
          <p:spPr bwMode="auto">
            <a:xfrm rot="5400000">
              <a:off x="-1033555" y="5556966"/>
              <a:ext cx="317207" cy="428038"/>
            </a:xfrm>
            <a:custGeom>
              <a:avLst/>
              <a:gdLst>
                <a:gd name="T0" fmla="*/ 513 w 1245"/>
                <a:gd name="T1" fmla="*/ 1680 h 1680"/>
                <a:gd name="T2" fmla="*/ 513 w 1245"/>
                <a:gd name="T3" fmla="*/ 417 h 1680"/>
                <a:gd name="T4" fmla="*/ 153 w 1245"/>
                <a:gd name="T5" fmla="*/ 775 h 1680"/>
                <a:gd name="T6" fmla="*/ 0 w 1245"/>
                <a:gd name="T7" fmla="*/ 623 h 1680"/>
                <a:gd name="T8" fmla="*/ 622 w 1245"/>
                <a:gd name="T9" fmla="*/ 0 h 1680"/>
                <a:gd name="T10" fmla="*/ 1245 w 1245"/>
                <a:gd name="T11" fmla="*/ 623 h 1680"/>
                <a:gd name="T12" fmla="*/ 1092 w 1245"/>
                <a:gd name="T13" fmla="*/ 775 h 1680"/>
                <a:gd name="T14" fmla="*/ 731 w 1245"/>
                <a:gd name="T15" fmla="*/ 417 h 1680"/>
                <a:gd name="T16" fmla="*/ 731 w 1245"/>
                <a:gd name="T17" fmla="*/ 1680 h 1680"/>
                <a:gd name="T18" fmla="*/ 513 w 1245"/>
                <a:gd name="T19" fmla="*/ 1680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45" h="1680">
                  <a:moveTo>
                    <a:pt x="513" y="1680"/>
                  </a:moveTo>
                  <a:lnTo>
                    <a:pt x="513" y="417"/>
                  </a:lnTo>
                  <a:lnTo>
                    <a:pt x="153" y="775"/>
                  </a:lnTo>
                  <a:lnTo>
                    <a:pt x="0" y="623"/>
                  </a:lnTo>
                  <a:lnTo>
                    <a:pt x="622" y="0"/>
                  </a:lnTo>
                  <a:lnTo>
                    <a:pt x="1245" y="623"/>
                  </a:lnTo>
                  <a:lnTo>
                    <a:pt x="1092" y="775"/>
                  </a:lnTo>
                  <a:lnTo>
                    <a:pt x="731" y="417"/>
                  </a:lnTo>
                  <a:lnTo>
                    <a:pt x="731" y="1680"/>
                  </a:lnTo>
                  <a:lnTo>
                    <a:pt x="513" y="16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82880" tIns="91440" rIns="182880" bIns="91440" numCol="1" anchor="t" anchorCtr="0" compatLnSpc="1">
              <a:prstTxWarp prst="textNoShape">
                <a:avLst/>
              </a:prstTxWarp>
            </a:bodyP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GB" sz="2600" b="1" i="0" u="none" strike="noStrike" kern="0" cap="none" spc="0" normalizeH="0" baseline="0" noProof="0" dirty="0" smtClean="0">
                <a:ln>
                  <a:noFill/>
                </a:ln>
                <a:solidFill>
                  <a:srgbClr val="1B69AC">
                    <a:lumMod val="50000"/>
                  </a:srgbClr>
                </a:solidFill>
                <a:effectLst/>
                <a:uLnTx/>
                <a:uFillTx/>
                <a:latin typeface="Calibri" panose="020F0502020204030204" pitchFamily="34" charset="0"/>
                <a:ea typeface="+mn-ea"/>
                <a:cs typeface="Calibri" panose="020F0502020204030204" pitchFamily="34" charset="0"/>
                <a:sym typeface="+mn-lt"/>
              </a:endParaRPr>
            </a:p>
          </p:txBody>
        </p:sp>
      </p:grpSp>
      <p:sp>
        <p:nvSpPr>
          <p:cNvPr id="373" name="Subtitle"/>
          <p:cNvSpPr txBox="1">
            <a:spLocks/>
          </p:cNvSpPr>
          <p:nvPr/>
        </p:nvSpPr>
        <p:spPr>
          <a:xfrm>
            <a:off x="4478119" y="2416331"/>
            <a:ext cx="15137808" cy="581698"/>
          </a:xfrm>
          <a:prstGeom prst="rect">
            <a:avLst/>
          </a:prstGeom>
          <a:noFill/>
          <a:ln w="9525">
            <a:noFill/>
          </a:ln>
        </p:spPr>
        <p:txBody>
          <a:bodyPr vert="horz" wrap="square" lIns="0" tIns="0" rIns="0" bIns="0" rtlCol="0">
            <a:spAutoFit/>
          </a:bodyPr>
          <a:lstStyle/>
          <a:p>
            <a:pPr marL="0" marR="0" lvl="0" indent="0" algn="l" defTabSz="1828800" rtl="0" eaLnBrk="1" fontAlgn="base" latinLnBrk="0" hangingPunct="1">
              <a:lnSpc>
                <a:spcPct val="90000"/>
              </a:lnSpc>
              <a:spcBef>
                <a:spcPct val="0"/>
              </a:spcBef>
              <a:spcAft>
                <a:spcPct val="0"/>
              </a:spcAft>
              <a:buClr>
                <a:srgbClr val="000000"/>
              </a:buClr>
              <a:buSzPct val="100000"/>
              <a:buFontTx/>
              <a:buNone/>
              <a:tabLst/>
              <a:defRPr/>
            </a:pPr>
            <a:r>
              <a:rPr kumimoji="0" lang="en-GB" sz="4200" b="0" i="0" u="none" strike="noStrike" kern="1200" cap="none" spc="0" normalizeH="0" baseline="0" noProof="0" dirty="0">
                <a:ln>
                  <a:noFill/>
                </a:ln>
                <a:solidFill>
                  <a:srgbClr val="8D9399"/>
                </a:solidFill>
                <a:effectLst/>
                <a:uLnTx/>
                <a:uFillTx/>
                <a:latin typeface="Arial Narrow" charset="0"/>
                <a:ea typeface="+mn-ea"/>
                <a:cs typeface="+mn-cs"/>
                <a:sym typeface="+mn-lt"/>
              </a:rPr>
              <a:t>Evaluation results of 10 FCH applications</a:t>
            </a:r>
            <a:r>
              <a:rPr kumimoji="0" lang="en-GB" sz="4200" b="0" i="0" u="none" strike="noStrike" kern="1200" cap="none" spc="0" normalizeH="0" baseline="30000" noProof="0" dirty="0">
                <a:ln>
                  <a:noFill/>
                </a:ln>
                <a:solidFill>
                  <a:srgbClr val="8D9399"/>
                </a:solidFill>
                <a:effectLst/>
                <a:uLnTx/>
                <a:uFillTx/>
                <a:latin typeface="Arial Narrow" charset="0"/>
                <a:ea typeface="+mn-ea"/>
                <a:cs typeface="+mn-cs"/>
                <a:sym typeface="+mn-lt"/>
              </a:rPr>
              <a:t>1 </a:t>
            </a:r>
            <a:r>
              <a:rPr kumimoji="0" lang="en-GB" sz="4200" b="0" i="0" u="none" strike="noStrike" kern="1200" cap="none" spc="0" normalizeH="0" baseline="0" noProof="0" dirty="0">
                <a:ln>
                  <a:noFill/>
                </a:ln>
                <a:solidFill>
                  <a:srgbClr val="8D9399"/>
                </a:solidFill>
                <a:effectLst/>
                <a:uLnTx/>
                <a:uFillTx/>
                <a:latin typeface="Arial Narrow" charset="0"/>
                <a:ea typeface="+mn-ea"/>
                <a:cs typeface="+mn-cs"/>
                <a:sym typeface="+mn-lt"/>
              </a:rPr>
              <a:t>on seven key dimensions</a:t>
            </a:r>
          </a:p>
        </p:txBody>
      </p:sp>
      <p:sp>
        <p:nvSpPr>
          <p:cNvPr id="375" name="Notes"/>
          <p:cNvSpPr txBox="1"/>
          <p:nvPr/>
        </p:nvSpPr>
        <p:spPr>
          <a:xfrm>
            <a:off x="4703044" y="13083877"/>
            <a:ext cx="17071598" cy="553998"/>
          </a:xfrm>
          <a:prstGeom prst="rect">
            <a:avLst/>
          </a:prstGeom>
          <a:noFill/>
          <a:ln w="9525">
            <a:noFill/>
          </a:ln>
        </p:spPr>
        <p:txBody>
          <a:bodyPr vert="horz" wrap="square" lIns="0" tIns="0" rIns="0" bIns="0" rtlCol="0" anchor="b" anchorCtr="0">
            <a:spAutoFit/>
          </a:bodyPr>
          <a:lstStyle/>
          <a:p>
            <a:pPr marL="0" marR="0" lvl="0" indent="0" algn="l" defTabSz="1828800" rtl="0" eaLnBrk="1" fontAlgn="base" latinLnBrk="0" hangingPunct="1">
              <a:lnSpc>
                <a:spcPct val="90000"/>
              </a:lnSpc>
              <a:spcBef>
                <a:spcPct val="0"/>
              </a:spcBef>
              <a:spcAft>
                <a:spcPct val="0"/>
              </a:spcAft>
              <a:buClrTx/>
              <a:buSzPct val="100000"/>
              <a:buFontTx/>
              <a:buNone/>
              <a:tabLst/>
              <a:defRPr/>
            </a:pPr>
            <a:r>
              <a:rPr kumimoji="0" lang="en-GB" sz="2000" b="0" i="0" u="none" strike="noStrike" kern="1200" cap="none" spc="0" normalizeH="0" baseline="0" noProof="0" dirty="0">
                <a:ln>
                  <a:noFill/>
                </a:ln>
                <a:solidFill>
                  <a:srgbClr val="000000"/>
                </a:solidFill>
                <a:effectLst/>
                <a:uLnTx/>
                <a:uFillTx/>
                <a:latin typeface="Arial Narrow"/>
                <a:ea typeface="+mn-ea"/>
                <a:cs typeface="+mn-cs"/>
                <a:sym typeface="+mn-lt"/>
              </a:rPr>
              <a:t>1) Please note that the selection only contains the ten top-ranked applications as stated by the Regions and Cities in the initial self-assessment survey (June 2017)</a:t>
            </a:r>
          </a:p>
          <a:p>
            <a:pPr marL="0" marR="0" lvl="0" indent="0" algn="l" defTabSz="1828800" rtl="0" eaLnBrk="1" fontAlgn="base" latinLnBrk="0" hangingPunct="1">
              <a:lnSpc>
                <a:spcPct val="90000"/>
              </a:lnSpc>
              <a:spcBef>
                <a:spcPct val="0"/>
              </a:spcBef>
              <a:spcAft>
                <a:spcPct val="0"/>
              </a:spcAft>
              <a:buClrTx/>
              <a:buSzPct val="100000"/>
              <a:buFontTx/>
              <a:buNone/>
              <a:tabLst/>
              <a:defRPr/>
            </a:pPr>
            <a:r>
              <a:rPr kumimoji="0" lang="en-GB" sz="2000" b="0" i="0" u="none" strike="noStrike" kern="1200" cap="none" spc="0" normalizeH="0" baseline="0" noProof="0" dirty="0">
                <a:ln>
                  <a:noFill/>
                </a:ln>
                <a:solidFill>
                  <a:srgbClr val="000000"/>
                </a:solidFill>
                <a:effectLst/>
                <a:uLnTx/>
                <a:uFillTx/>
                <a:latin typeface="Arial Narrow"/>
                <a:ea typeface="+mn-ea"/>
                <a:cs typeface="+mn-cs"/>
                <a:sym typeface="+mn-lt"/>
              </a:rPr>
              <a:t>2) Results differ depending on location, time horizon, benchmark technology as well as specific use case under consideration</a:t>
            </a:r>
          </a:p>
        </p:txBody>
      </p:sp>
    </p:spTree>
    <p:extLst>
      <p:ext uri="{BB962C8B-B14F-4D97-AF65-F5344CB8AC3E}">
        <p14:creationId xmlns:p14="http://schemas.microsoft.com/office/powerpoint/2010/main" val="3309684994"/>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D1E7C23-2AAD-0D45-B01B-5A673730BB06}" type="slidenum">
              <a:rPr kumimoji="0" lang="en-US" sz="2400" b="0" i="0" u="none" strike="noStrike" kern="1200" cap="none" spc="0" normalizeH="0" baseline="0" noProof="0" smtClean="0">
                <a:ln>
                  <a:noFill/>
                </a:ln>
                <a:solidFill>
                  <a:srgbClr val="004494"/>
                </a:solidFill>
                <a:effectLst/>
                <a:uLnTx/>
                <a:uFillTx/>
                <a:latin typeface="Calibri" charset="0"/>
                <a:cs typeface="Calibri" charset="0"/>
                <a:sym typeface="Gill Sans" charset="0"/>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US" sz="2400" b="0" i="0" u="none" strike="noStrike" kern="1200" cap="none" spc="0" normalizeH="0" baseline="0" noProof="0" dirty="0">
              <a:ln>
                <a:noFill/>
              </a:ln>
              <a:solidFill>
                <a:srgbClr val="004494"/>
              </a:solidFill>
              <a:effectLst/>
              <a:uLnTx/>
              <a:uFillTx/>
              <a:latin typeface="Calibri" charset="0"/>
              <a:cs typeface="Calibri" charset="0"/>
              <a:sym typeface="Gill Sans" charset="0"/>
            </a:endParaRPr>
          </a:p>
        </p:txBody>
      </p:sp>
      <p:sp>
        <p:nvSpPr>
          <p:cNvPr id="3" name="Content Placeholder 2"/>
          <p:cNvSpPr>
            <a:spLocks noGrp="1"/>
          </p:cNvSpPr>
          <p:nvPr>
            <p:ph sz="quarter" idx="20"/>
          </p:nvPr>
        </p:nvSpPr>
        <p:spPr/>
        <p:txBody>
          <a:bodyPr/>
          <a:lstStyle/>
          <a:p>
            <a:r>
              <a:rPr lang="en-GB" dirty="0"/>
              <a:t>Considerable future FCH projects are planned all over Europe (2017-2022), especially in Central Europe, Nordics and UK</a:t>
            </a:r>
          </a:p>
        </p:txBody>
      </p:sp>
      <p:sp>
        <p:nvSpPr>
          <p:cNvPr id="331" name="Rectangle 330"/>
          <p:cNvSpPr/>
          <p:nvPr/>
        </p:nvSpPr>
        <p:spPr bwMode="auto">
          <a:xfrm>
            <a:off x="3263008" y="3738994"/>
            <a:ext cx="16921880" cy="9211278"/>
          </a:xfrm>
          <a:prstGeom prst="rect">
            <a:avLst/>
          </a:prstGeom>
          <a:solidFill>
            <a:schemeClr val="bg1"/>
          </a:solidFill>
          <a:ln w="254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5600" b="0" i="0" u="none" strike="noStrike" kern="1200" cap="none" spc="0" normalizeH="0" baseline="0" noProof="0" smtClean="0">
              <a:ln>
                <a:noFill/>
              </a:ln>
              <a:solidFill>
                <a:srgbClr val="000000"/>
              </a:solidFill>
              <a:effectLst/>
              <a:uLnTx/>
              <a:uFillTx/>
              <a:latin typeface="Gill Sans" charset="0"/>
              <a:ea typeface="Heiti SC Light" charset="0"/>
              <a:cs typeface="Heiti SC Light" charset="0"/>
              <a:sym typeface="Gill Sans" charset="0"/>
            </a:endParaRPr>
          </a:p>
        </p:txBody>
      </p:sp>
      <p:graphicFrame>
        <p:nvGraphicFramePr>
          <p:cNvPr id="332" name="Object 331"/>
          <p:cNvGraphicFramePr>
            <a:graphicFrameLocks/>
          </p:cNvGraphicFramePr>
          <p:nvPr>
            <p:custDataLst>
              <p:tags r:id="rId2"/>
            </p:custDataLst>
            <p:extLst/>
          </p:nvPr>
        </p:nvGraphicFramePr>
        <p:xfrm>
          <a:off x="3848546" y="5720191"/>
          <a:ext cx="2762380" cy="2038500"/>
        </p:xfrm>
        <a:graphic>
          <a:graphicData uri="http://schemas.openxmlformats.org/presentationml/2006/ole">
            <mc:AlternateContent xmlns:mc="http://schemas.openxmlformats.org/markup-compatibility/2006">
              <mc:Choice xmlns:v="urn:schemas-microsoft-com:vml" Requires="v">
                <p:oleObj spid="_x0000_s17655" name="Chart" r:id="rId47" imgW="1381071" imgH="1019051" progId="MSGraph.Chart.8">
                  <p:embed followColorScheme="full"/>
                </p:oleObj>
              </mc:Choice>
              <mc:Fallback>
                <p:oleObj name="Chart" r:id="rId47" imgW="1381071" imgH="1019051" progId="MSGraph.Chart.8">
                  <p:embed followColorScheme="full"/>
                  <p:pic>
                    <p:nvPicPr>
                      <p:cNvPr id="332" name="Object 331"/>
                      <p:cNvPicPr/>
                      <p:nvPr/>
                    </p:nvPicPr>
                    <p:blipFill>
                      <a:blip r:embed="rId48"/>
                      <a:stretch>
                        <a:fillRect/>
                      </a:stretch>
                    </p:blipFill>
                    <p:spPr>
                      <a:xfrm>
                        <a:off x="3848546" y="5720191"/>
                        <a:ext cx="2762380" cy="2038500"/>
                      </a:xfrm>
                      <a:prstGeom prst="rect">
                        <a:avLst/>
                      </a:prstGeom>
                    </p:spPr>
                  </p:pic>
                </p:oleObj>
              </mc:Fallback>
            </mc:AlternateContent>
          </a:graphicData>
        </a:graphic>
      </p:graphicFrame>
      <p:sp>
        <p:nvSpPr>
          <p:cNvPr id="333" name="Text Placeholder"/>
          <p:cNvSpPr>
            <a:spLocks noGrp="1"/>
          </p:cNvSpPr>
          <p:nvPr>
            <p:custDataLst>
              <p:tags r:id="rId3"/>
            </p:custDataLst>
          </p:nvPr>
        </p:nvSpPr>
        <p:spPr bwMode="gray">
          <a:xfrm>
            <a:off x="4680396" y="6837794"/>
            <a:ext cx="469900" cy="301626"/>
          </a:xfrm>
          <a:prstGeom prst="rect">
            <a:avLst/>
          </a:prstGeom>
          <a:solidFill>
            <a:srgbClr val="156C9C"/>
          </a:solidFill>
        </p:spPr>
        <p:txBody>
          <a:bodyPr vert="horz" wrap="none" lIns="44450" tIns="0" rIns="4445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marR="0" lvl="0" indent="0" algn="ctr" defTabSz="1828800" rtl="0" eaLnBrk="1" fontAlgn="auto" latinLnBrk="0" hangingPunct="1">
              <a:lnSpc>
                <a:spcPct val="90000"/>
              </a:lnSpc>
              <a:spcBef>
                <a:spcPct val="0"/>
              </a:spcBef>
              <a:spcAft>
                <a:spcPts val="0"/>
              </a:spcAft>
              <a:buClrTx/>
              <a:buSzTx/>
              <a:buFont typeface="Arial Narrow" pitchFamily="34" charset="0"/>
              <a:buNone/>
              <a:tabLst/>
              <a:defRPr/>
            </a:pPr>
            <a:fld id="{4951F58A-2374-4270-A823-AF7BE5DD577A}" type="datetime'''''''''''''''''''''''''''''''''''''''10''1'''''''''''''''">
              <a:rPr kumimoji="0" lang="en-US" altLang="en-US" sz="2200" b="1" i="0" u="none" strike="noStrike" kern="1200" cap="none" spc="0" normalizeH="0" baseline="0" noProof="0">
                <a:ln>
                  <a:noFill/>
                </a:ln>
                <a:solidFill>
                  <a:srgbClr val="FFFFFF"/>
                </a:solidFill>
                <a:effectLst/>
                <a:uLnTx/>
                <a:uFillTx/>
                <a:latin typeface="Arial Narrow"/>
                <a:ea typeface="+mn-ea"/>
                <a:cs typeface="+mn-cs"/>
                <a:sym typeface="+mn-lt"/>
              </a:rPr>
              <a:pPr marL="0" marR="0" lvl="0" indent="0" algn="ctr" defTabSz="1828800" rtl="0" eaLnBrk="1" fontAlgn="auto" latinLnBrk="0" hangingPunct="1">
                <a:lnSpc>
                  <a:spcPct val="90000"/>
                </a:lnSpc>
                <a:spcBef>
                  <a:spcPct val="0"/>
                </a:spcBef>
                <a:spcAft>
                  <a:spcPts val="0"/>
                </a:spcAft>
                <a:buClrTx/>
                <a:buSzTx/>
                <a:buFont typeface="Arial Narrow" pitchFamily="34" charset="0"/>
                <a:buNone/>
                <a:tabLst/>
                <a:defRPr/>
              </a:pPr>
              <a:t>101</a:t>
            </a:fld>
            <a:endParaRPr kumimoji="0" lang="en-US" sz="2200" b="1" i="0" u="none" strike="noStrike" kern="1200" cap="none" spc="0" normalizeH="0" baseline="0" noProof="0" dirty="0">
              <a:ln>
                <a:noFill/>
              </a:ln>
              <a:solidFill>
                <a:srgbClr val="FFFFFF"/>
              </a:solidFill>
              <a:effectLst/>
              <a:uLnTx/>
              <a:uFillTx/>
              <a:latin typeface="Arial Narrow"/>
              <a:ea typeface="+mn-ea"/>
              <a:cs typeface="+mn-cs"/>
              <a:sym typeface="+mn-lt"/>
            </a:endParaRPr>
          </a:p>
        </p:txBody>
      </p:sp>
      <p:sp>
        <p:nvSpPr>
          <p:cNvPr id="334" name="Text Placeholder"/>
          <p:cNvSpPr>
            <a:spLocks noGrp="1"/>
          </p:cNvSpPr>
          <p:nvPr>
            <p:custDataLst>
              <p:tags r:id="rId4"/>
            </p:custDataLst>
          </p:nvPr>
        </p:nvSpPr>
        <p:spPr bwMode="gray">
          <a:xfrm>
            <a:off x="4200972" y="7342620"/>
            <a:ext cx="342900" cy="301626"/>
          </a:xfrm>
          <a:prstGeom prst="rect">
            <a:avLst/>
          </a:prstGeom>
          <a:solidFill>
            <a:srgbClr val="00AAC9"/>
          </a:solidFill>
        </p:spPr>
        <p:txBody>
          <a:bodyPr vert="horz" wrap="none" lIns="44450" tIns="0" rIns="4445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marR="0" lvl="0" indent="0" algn="ctr" defTabSz="1828800" rtl="0" eaLnBrk="1" fontAlgn="auto" latinLnBrk="0" hangingPunct="1">
              <a:lnSpc>
                <a:spcPct val="90000"/>
              </a:lnSpc>
              <a:spcBef>
                <a:spcPct val="0"/>
              </a:spcBef>
              <a:spcAft>
                <a:spcPts val="0"/>
              </a:spcAft>
              <a:buClrTx/>
              <a:buSzTx/>
              <a:buFont typeface="Arial Narrow" pitchFamily="34" charset="0"/>
              <a:buNone/>
              <a:tabLst/>
              <a:defRPr/>
            </a:pPr>
            <a:fld id="{45ED1904-E7B0-408C-BB09-73A054F879B8}" type="datetime'''''''''''''''''''''1''''''''''''''3'''''''''''''''''''''">
              <a:rPr kumimoji="0" lang="en-US" altLang="en-US" sz="2200" b="1" i="0" u="none" strike="noStrike" kern="1200" cap="none" spc="0" normalizeH="0" baseline="0" noProof="0">
                <a:ln>
                  <a:noFill/>
                </a:ln>
                <a:solidFill>
                  <a:srgbClr val="FFFFFF"/>
                </a:solidFill>
                <a:effectLst/>
                <a:uLnTx/>
                <a:uFillTx/>
                <a:latin typeface="Arial Narrow"/>
                <a:ea typeface="+mn-ea"/>
                <a:cs typeface="+mn-cs"/>
                <a:sym typeface="+mn-lt"/>
              </a:rPr>
              <a:pPr marL="0" marR="0" lvl="0" indent="0" algn="ctr" defTabSz="1828800" rtl="0" eaLnBrk="1" fontAlgn="auto" latinLnBrk="0" hangingPunct="1">
                <a:lnSpc>
                  <a:spcPct val="90000"/>
                </a:lnSpc>
                <a:spcBef>
                  <a:spcPct val="0"/>
                </a:spcBef>
                <a:spcAft>
                  <a:spcPts val="0"/>
                </a:spcAft>
                <a:buClrTx/>
                <a:buSzTx/>
                <a:buFont typeface="Arial Narrow" pitchFamily="34" charset="0"/>
                <a:buNone/>
                <a:tabLst/>
                <a:defRPr/>
              </a:pPr>
              <a:t>13</a:t>
            </a:fld>
            <a:endParaRPr kumimoji="0" lang="en-US" sz="2200" b="1" i="0" u="none" strike="noStrike" kern="1200" cap="none" spc="0" normalizeH="0" baseline="0" noProof="0" dirty="0">
              <a:ln>
                <a:noFill/>
              </a:ln>
              <a:solidFill>
                <a:srgbClr val="FFFFFF"/>
              </a:solidFill>
              <a:effectLst/>
              <a:uLnTx/>
              <a:uFillTx/>
              <a:latin typeface="Arial Narrow"/>
              <a:ea typeface="+mn-ea"/>
              <a:cs typeface="+mn-cs"/>
              <a:sym typeface="+mn-lt"/>
            </a:endParaRPr>
          </a:p>
        </p:txBody>
      </p:sp>
      <p:grpSp>
        <p:nvGrpSpPr>
          <p:cNvPr id="335" name="Group 334"/>
          <p:cNvGrpSpPr/>
          <p:nvPr/>
        </p:nvGrpSpPr>
        <p:grpSpPr>
          <a:xfrm>
            <a:off x="7439472" y="4072370"/>
            <a:ext cx="7811072" cy="8199622"/>
            <a:chOff x="2439759" y="1544703"/>
            <a:chExt cx="4854439" cy="5095916"/>
          </a:xfrm>
        </p:grpSpPr>
        <p:sp>
          <p:nvSpPr>
            <p:cNvPr id="336" name="Freeform 2577"/>
            <p:cNvSpPr>
              <a:spLocks/>
            </p:cNvSpPr>
            <p:nvPr>
              <p:custDataLst>
                <p:tags r:id="rId19"/>
              </p:custDataLst>
            </p:nvPr>
          </p:nvSpPr>
          <p:spPr bwMode="auto">
            <a:xfrm>
              <a:off x="5440964" y="5109351"/>
              <a:ext cx="463788" cy="521264"/>
            </a:xfrm>
            <a:custGeom>
              <a:avLst/>
              <a:gdLst>
                <a:gd name="T0" fmla="*/ 100 w 242"/>
                <a:gd name="T1" fmla="*/ 238 h 306"/>
                <a:gd name="T2" fmla="*/ 91 w 242"/>
                <a:gd name="T3" fmla="*/ 242 h 306"/>
                <a:gd name="T4" fmla="*/ 95 w 242"/>
                <a:gd name="T5" fmla="*/ 249 h 306"/>
                <a:gd name="T6" fmla="*/ 95 w 242"/>
                <a:gd name="T7" fmla="*/ 256 h 306"/>
                <a:gd name="T8" fmla="*/ 98 w 242"/>
                <a:gd name="T9" fmla="*/ 264 h 306"/>
                <a:gd name="T10" fmla="*/ 104 w 242"/>
                <a:gd name="T11" fmla="*/ 270 h 306"/>
                <a:gd name="T12" fmla="*/ 122 w 242"/>
                <a:gd name="T13" fmla="*/ 278 h 306"/>
                <a:gd name="T14" fmla="*/ 126 w 242"/>
                <a:gd name="T15" fmla="*/ 290 h 306"/>
                <a:gd name="T16" fmla="*/ 136 w 242"/>
                <a:gd name="T17" fmla="*/ 297 h 306"/>
                <a:gd name="T18" fmla="*/ 164 w 242"/>
                <a:gd name="T19" fmla="*/ 276 h 306"/>
                <a:gd name="T20" fmla="*/ 178 w 242"/>
                <a:gd name="T21" fmla="*/ 269 h 306"/>
                <a:gd name="T22" fmla="*/ 221 w 242"/>
                <a:gd name="T23" fmla="*/ 257 h 306"/>
                <a:gd name="T24" fmla="*/ 224 w 242"/>
                <a:gd name="T25" fmla="*/ 228 h 306"/>
                <a:gd name="T26" fmla="*/ 224 w 242"/>
                <a:gd name="T27" fmla="*/ 216 h 306"/>
                <a:gd name="T28" fmla="*/ 233 w 242"/>
                <a:gd name="T29" fmla="*/ 209 h 306"/>
                <a:gd name="T30" fmla="*/ 240 w 242"/>
                <a:gd name="T31" fmla="*/ 201 h 306"/>
                <a:gd name="T32" fmla="*/ 242 w 242"/>
                <a:gd name="T33" fmla="*/ 195 h 306"/>
                <a:gd name="T34" fmla="*/ 236 w 242"/>
                <a:gd name="T35" fmla="*/ 185 h 306"/>
                <a:gd name="T36" fmla="*/ 215 w 242"/>
                <a:gd name="T37" fmla="*/ 176 h 306"/>
                <a:gd name="T38" fmla="*/ 209 w 242"/>
                <a:gd name="T39" fmla="*/ 159 h 306"/>
                <a:gd name="T40" fmla="*/ 209 w 242"/>
                <a:gd name="T41" fmla="*/ 134 h 306"/>
                <a:gd name="T42" fmla="*/ 210 w 242"/>
                <a:gd name="T43" fmla="*/ 110 h 306"/>
                <a:gd name="T44" fmla="*/ 199 w 242"/>
                <a:gd name="T45" fmla="*/ 87 h 306"/>
                <a:gd name="T46" fmla="*/ 185 w 242"/>
                <a:gd name="T47" fmla="*/ 93 h 306"/>
                <a:gd name="T48" fmla="*/ 157 w 242"/>
                <a:gd name="T49" fmla="*/ 92 h 306"/>
                <a:gd name="T50" fmla="*/ 139 w 242"/>
                <a:gd name="T51" fmla="*/ 90 h 306"/>
                <a:gd name="T52" fmla="*/ 138 w 242"/>
                <a:gd name="T53" fmla="*/ 62 h 306"/>
                <a:gd name="T54" fmla="*/ 116 w 242"/>
                <a:gd name="T55" fmla="*/ 54 h 306"/>
                <a:gd name="T56" fmla="*/ 103 w 242"/>
                <a:gd name="T57" fmla="*/ 38 h 306"/>
                <a:gd name="T58" fmla="*/ 91 w 242"/>
                <a:gd name="T59" fmla="*/ 24 h 306"/>
                <a:gd name="T60" fmla="*/ 83 w 242"/>
                <a:gd name="T61" fmla="*/ 15 h 306"/>
                <a:gd name="T62" fmla="*/ 73 w 242"/>
                <a:gd name="T63" fmla="*/ 12 h 306"/>
                <a:gd name="T64" fmla="*/ 63 w 242"/>
                <a:gd name="T65" fmla="*/ 1 h 306"/>
                <a:gd name="T66" fmla="*/ 32 w 242"/>
                <a:gd name="T67" fmla="*/ 0 h 306"/>
                <a:gd name="T68" fmla="*/ 18 w 242"/>
                <a:gd name="T69" fmla="*/ 14 h 306"/>
                <a:gd name="T70" fmla="*/ 12 w 242"/>
                <a:gd name="T71" fmla="*/ 13 h 306"/>
                <a:gd name="T72" fmla="*/ 8 w 242"/>
                <a:gd name="T73" fmla="*/ 16 h 306"/>
                <a:gd name="T74" fmla="*/ 0 w 242"/>
                <a:gd name="T75" fmla="*/ 25 h 306"/>
                <a:gd name="T76" fmla="*/ 6 w 242"/>
                <a:gd name="T77" fmla="*/ 46 h 306"/>
                <a:gd name="T78" fmla="*/ 7 w 242"/>
                <a:gd name="T79" fmla="*/ 55 h 306"/>
                <a:gd name="T80" fmla="*/ 13 w 242"/>
                <a:gd name="T81" fmla="*/ 60 h 306"/>
                <a:gd name="T82" fmla="*/ 24 w 242"/>
                <a:gd name="T83" fmla="*/ 67 h 306"/>
                <a:gd name="T84" fmla="*/ 32 w 242"/>
                <a:gd name="T85" fmla="*/ 73 h 306"/>
                <a:gd name="T86" fmla="*/ 21 w 242"/>
                <a:gd name="T87" fmla="*/ 80 h 306"/>
                <a:gd name="T88" fmla="*/ 24 w 242"/>
                <a:gd name="T89" fmla="*/ 91 h 306"/>
                <a:gd name="T90" fmla="*/ 29 w 242"/>
                <a:gd name="T91" fmla="*/ 100 h 306"/>
                <a:gd name="T92" fmla="*/ 33 w 242"/>
                <a:gd name="T93" fmla="*/ 141 h 306"/>
                <a:gd name="T94" fmla="*/ 51 w 242"/>
                <a:gd name="T95" fmla="*/ 152 h 306"/>
                <a:gd name="T96" fmla="*/ 36 w 242"/>
                <a:gd name="T97" fmla="*/ 163 h 306"/>
                <a:gd name="T98" fmla="*/ 49 w 242"/>
                <a:gd name="T99" fmla="*/ 176 h 306"/>
                <a:gd name="T100" fmla="*/ 39 w 242"/>
                <a:gd name="T101" fmla="*/ 194 h 306"/>
                <a:gd name="T102" fmla="*/ 54 w 242"/>
                <a:gd name="T103" fmla="*/ 202 h 306"/>
                <a:gd name="T104" fmla="*/ 58 w 242"/>
                <a:gd name="T105" fmla="*/ 208 h 306"/>
                <a:gd name="T106" fmla="*/ 76 w 242"/>
                <a:gd name="T107" fmla="*/ 220 h 306"/>
                <a:gd name="T108" fmla="*/ 89 w 242"/>
                <a:gd name="T109" fmla="*/ 221 h 306"/>
                <a:gd name="T110" fmla="*/ 107 w 242"/>
                <a:gd name="T111" fmla="*/ 229 h 306"/>
                <a:gd name="T112" fmla="*/ 100 w 242"/>
                <a:gd name="T113" fmla="*/ 238 h 30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42"/>
                <a:gd name="T172" fmla="*/ 0 h 306"/>
                <a:gd name="T173" fmla="*/ 242 w 242"/>
                <a:gd name="T174" fmla="*/ 306 h 306"/>
                <a:gd name="connsiteX0" fmla="*/ 4132 w 10000"/>
                <a:gd name="connsiteY0" fmla="*/ 7778 h 10000"/>
                <a:gd name="connsiteX1" fmla="*/ 3760 w 10000"/>
                <a:gd name="connsiteY1" fmla="*/ 7908 h 10000"/>
                <a:gd name="connsiteX2" fmla="*/ 3926 w 10000"/>
                <a:gd name="connsiteY2" fmla="*/ 8137 h 10000"/>
                <a:gd name="connsiteX3" fmla="*/ 3926 w 10000"/>
                <a:gd name="connsiteY3" fmla="*/ 8366 h 10000"/>
                <a:gd name="connsiteX4" fmla="*/ 4050 w 10000"/>
                <a:gd name="connsiteY4" fmla="*/ 8627 h 10000"/>
                <a:gd name="connsiteX5" fmla="*/ 4298 w 10000"/>
                <a:gd name="connsiteY5" fmla="*/ 8824 h 10000"/>
                <a:gd name="connsiteX6" fmla="*/ 5041 w 10000"/>
                <a:gd name="connsiteY6" fmla="*/ 9085 h 10000"/>
                <a:gd name="connsiteX7" fmla="*/ 5207 w 10000"/>
                <a:gd name="connsiteY7" fmla="*/ 9477 h 10000"/>
                <a:gd name="connsiteX8" fmla="*/ 5620 w 10000"/>
                <a:gd name="connsiteY8" fmla="*/ 9706 h 10000"/>
                <a:gd name="connsiteX9" fmla="*/ 7211 w 10000"/>
                <a:gd name="connsiteY9" fmla="*/ 8089 h 10000"/>
                <a:gd name="connsiteX10" fmla="*/ 7355 w 10000"/>
                <a:gd name="connsiteY10" fmla="*/ 8791 h 10000"/>
                <a:gd name="connsiteX11" fmla="*/ 9132 w 10000"/>
                <a:gd name="connsiteY11" fmla="*/ 8399 h 10000"/>
                <a:gd name="connsiteX12" fmla="*/ 9256 w 10000"/>
                <a:gd name="connsiteY12" fmla="*/ 7451 h 10000"/>
                <a:gd name="connsiteX13" fmla="*/ 9256 w 10000"/>
                <a:gd name="connsiteY13" fmla="*/ 7059 h 10000"/>
                <a:gd name="connsiteX14" fmla="*/ 9628 w 10000"/>
                <a:gd name="connsiteY14" fmla="*/ 6830 h 10000"/>
                <a:gd name="connsiteX15" fmla="*/ 9917 w 10000"/>
                <a:gd name="connsiteY15" fmla="*/ 6569 h 10000"/>
                <a:gd name="connsiteX16" fmla="*/ 10000 w 10000"/>
                <a:gd name="connsiteY16" fmla="*/ 6373 h 10000"/>
                <a:gd name="connsiteX17" fmla="*/ 9752 w 10000"/>
                <a:gd name="connsiteY17" fmla="*/ 6046 h 10000"/>
                <a:gd name="connsiteX18" fmla="*/ 8884 w 10000"/>
                <a:gd name="connsiteY18" fmla="*/ 5752 h 10000"/>
                <a:gd name="connsiteX19" fmla="*/ 8636 w 10000"/>
                <a:gd name="connsiteY19" fmla="*/ 5196 h 10000"/>
                <a:gd name="connsiteX20" fmla="*/ 8636 w 10000"/>
                <a:gd name="connsiteY20" fmla="*/ 4379 h 10000"/>
                <a:gd name="connsiteX21" fmla="*/ 8678 w 10000"/>
                <a:gd name="connsiteY21" fmla="*/ 3595 h 10000"/>
                <a:gd name="connsiteX22" fmla="*/ 8223 w 10000"/>
                <a:gd name="connsiteY22" fmla="*/ 2843 h 10000"/>
                <a:gd name="connsiteX23" fmla="*/ 7645 w 10000"/>
                <a:gd name="connsiteY23" fmla="*/ 3039 h 10000"/>
                <a:gd name="connsiteX24" fmla="*/ 6488 w 10000"/>
                <a:gd name="connsiteY24" fmla="*/ 3007 h 10000"/>
                <a:gd name="connsiteX25" fmla="*/ 5744 w 10000"/>
                <a:gd name="connsiteY25" fmla="*/ 2941 h 10000"/>
                <a:gd name="connsiteX26" fmla="*/ 5702 w 10000"/>
                <a:gd name="connsiteY26" fmla="*/ 2026 h 10000"/>
                <a:gd name="connsiteX27" fmla="*/ 4793 w 10000"/>
                <a:gd name="connsiteY27" fmla="*/ 1765 h 10000"/>
                <a:gd name="connsiteX28" fmla="*/ 4256 w 10000"/>
                <a:gd name="connsiteY28" fmla="*/ 1242 h 10000"/>
                <a:gd name="connsiteX29" fmla="*/ 3760 w 10000"/>
                <a:gd name="connsiteY29" fmla="*/ 784 h 10000"/>
                <a:gd name="connsiteX30" fmla="*/ 3430 w 10000"/>
                <a:gd name="connsiteY30" fmla="*/ 490 h 10000"/>
                <a:gd name="connsiteX31" fmla="*/ 3017 w 10000"/>
                <a:gd name="connsiteY31" fmla="*/ 392 h 10000"/>
                <a:gd name="connsiteX32" fmla="*/ 2603 w 10000"/>
                <a:gd name="connsiteY32" fmla="*/ 33 h 10000"/>
                <a:gd name="connsiteX33" fmla="*/ 1322 w 10000"/>
                <a:gd name="connsiteY33" fmla="*/ 0 h 10000"/>
                <a:gd name="connsiteX34" fmla="*/ 744 w 10000"/>
                <a:gd name="connsiteY34" fmla="*/ 458 h 10000"/>
                <a:gd name="connsiteX35" fmla="*/ 496 w 10000"/>
                <a:gd name="connsiteY35" fmla="*/ 425 h 10000"/>
                <a:gd name="connsiteX36" fmla="*/ 331 w 10000"/>
                <a:gd name="connsiteY36" fmla="*/ 523 h 10000"/>
                <a:gd name="connsiteX37" fmla="*/ 0 w 10000"/>
                <a:gd name="connsiteY37" fmla="*/ 817 h 10000"/>
                <a:gd name="connsiteX38" fmla="*/ 248 w 10000"/>
                <a:gd name="connsiteY38" fmla="*/ 1503 h 10000"/>
                <a:gd name="connsiteX39" fmla="*/ 289 w 10000"/>
                <a:gd name="connsiteY39" fmla="*/ 1797 h 10000"/>
                <a:gd name="connsiteX40" fmla="*/ 537 w 10000"/>
                <a:gd name="connsiteY40" fmla="*/ 1961 h 10000"/>
                <a:gd name="connsiteX41" fmla="*/ 992 w 10000"/>
                <a:gd name="connsiteY41" fmla="*/ 2190 h 10000"/>
                <a:gd name="connsiteX42" fmla="*/ 1322 w 10000"/>
                <a:gd name="connsiteY42" fmla="*/ 2386 h 10000"/>
                <a:gd name="connsiteX43" fmla="*/ 868 w 10000"/>
                <a:gd name="connsiteY43" fmla="*/ 2614 h 10000"/>
                <a:gd name="connsiteX44" fmla="*/ 992 w 10000"/>
                <a:gd name="connsiteY44" fmla="*/ 2974 h 10000"/>
                <a:gd name="connsiteX45" fmla="*/ 1198 w 10000"/>
                <a:gd name="connsiteY45" fmla="*/ 3268 h 10000"/>
                <a:gd name="connsiteX46" fmla="*/ 1364 w 10000"/>
                <a:gd name="connsiteY46" fmla="*/ 4608 h 10000"/>
                <a:gd name="connsiteX47" fmla="*/ 2107 w 10000"/>
                <a:gd name="connsiteY47" fmla="*/ 4967 h 10000"/>
                <a:gd name="connsiteX48" fmla="*/ 1488 w 10000"/>
                <a:gd name="connsiteY48" fmla="*/ 5327 h 10000"/>
                <a:gd name="connsiteX49" fmla="*/ 2025 w 10000"/>
                <a:gd name="connsiteY49" fmla="*/ 5752 h 10000"/>
                <a:gd name="connsiteX50" fmla="*/ 1612 w 10000"/>
                <a:gd name="connsiteY50" fmla="*/ 6340 h 10000"/>
                <a:gd name="connsiteX51" fmla="*/ 2231 w 10000"/>
                <a:gd name="connsiteY51" fmla="*/ 6601 h 10000"/>
                <a:gd name="connsiteX52" fmla="*/ 2397 w 10000"/>
                <a:gd name="connsiteY52" fmla="*/ 6797 h 10000"/>
                <a:gd name="connsiteX53" fmla="*/ 3140 w 10000"/>
                <a:gd name="connsiteY53" fmla="*/ 7190 h 10000"/>
                <a:gd name="connsiteX54" fmla="*/ 3678 w 10000"/>
                <a:gd name="connsiteY54" fmla="*/ 7222 h 10000"/>
                <a:gd name="connsiteX55" fmla="*/ 4421 w 10000"/>
                <a:gd name="connsiteY55" fmla="*/ 7484 h 10000"/>
                <a:gd name="connsiteX56" fmla="*/ 4132 w 10000"/>
                <a:gd name="connsiteY56" fmla="*/ 7778 h 10000"/>
                <a:gd name="connsiteX0" fmla="*/ 4132 w 10000"/>
                <a:gd name="connsiteY0" fmla="*/ 7778 h 10000"/>
                <a:gd name="connsiteX1" fmla="*/ 3760 w 10000"/>
                <a:gd name="connsiteY1" fmla="*/ 7908 h 10000"/>
                <a:gd name="connsiteX2" fmla="*/ 3926 w 10000"/>
                <a:gd name="connsiteY2" fmla="*/ 8137 h 10000"/>
                <a:gd name="connsiteX3" fmla="*/ 3926 w 10000"/>
                <a:gd name="connsiteY3" fmla="*/ 8366 h 10000"/>
                <a:gd name="connsiteX4" fmla="*/ 4050 w 10000"/>
                <a:gd name="connsiteY4" fmla="*/ 8627 h 10000"/>
                <a:gd name="connsiteX5" fmla="*/ 4298 w 10000"/>
                <a:gd name="connsiteY5" fmla="*/ 8824 h 10000"/>
                <a:gd name="connsiteX6" fmla="*/ 5041 w 10000"/>
                <a:gd name="connsiteY6" fmla="*/ 9085 h 10000"/>
                <a:gd name="connsiteX7" fmla="*/ 5207 w 10000"/>
                <a:gd name="connsiteY7" fmla="*/ 9477 h 10000"/>
                <a:gd name="connsiteX8" fmla="*/ 6364 w 10000"/>
                <a:gd name="connsiteY8" fmla="*/ 7745 h 10000"/>
                <a:gd name="connsiteX9" fmla="*/ 7211 w 10000"/>
                <a:gd name="connsiteY9" fmla="*/ 8089 h 10000"/>
                <a:gd name="connsiteX10" fmla="*/ 7355 w 10000"/>
                <a:gd name="connsiteY10" fmla="*/ 8791 h 10000"/>
                <a:gd name="connsiteX11" fmla="*/ 9132 w 10000"/>
                <a:gd name="connsiteY11" fmla="*/ 8399 h 10000"/>
                <a:gd name="connsiteX12" fmla="*/ 9256 w 10000"/>
                <a:gd name="connsiteY12" fmla="*/ 7451 h 10000"/>
                <a:gd name="connsiteX13" fmla="*/ 9256 w 10000"/>
                <a:gd name="connsiteY13" fmla="*/ 7059 h 10000"/>
                <a:gd name="connsiteX14" fmla="*/ 9628 w 10000"/>
                <a:gd name="connsiteY14" fmla="*/ 6830 h 10000"/>
                <a:gd name="connsiteX15" fmla="*/ 9917 w 10000"/>
                <a:gd name="connsiteY15" fmla="*/ 6569 h 10000"/>
                <a:gd name="connsiteX16" fmla="*/ 10000 w 10000"/>
                <a:gd name="connsiteY16" fmla="*/ 6373 h 10000"/>
                <a:gd name="connsiteX17" fmla="*/ 9752 w 10000"/>
                <a:gd name="connsiteY17" fmla="*/ 6046 h 10000"/>
                <a:gd name="connsiteX18" fmla="*/ 8884 w 10000"/>
                <a:gd name="connsiteY18" fmla="*/ 5752 h 10000"/>
                <a:gd name="connsiteX19" fmla="*/ 8636 w 10000"/>
                <a:gd name="connsiteY19" fmla="*/ 5196 h 10000"/>
                <a:gd name="connsiteX20" fmla="*/ 8636 w 10000"/>
                <a:gd name="connsiteY20" fmla="*/ 4379 h 10000"/>
                <a:gd name="connsiteX21" fmla="*/ 8678 w 10000"/>
                <a:gd name="connsiteY21" fmla="*/ 3595 h 10000"/>
                <a:gd name="connsiteX22" fmla="*/ 8223 w 10000"/>
                <a:gd name="connsiteY22" fmla="*/ 2843 h 10000"/>
                <a:gd name="connsiteX23" fmla="*/ 7645 w 10000"/>
                <a:gd name="connsiteY23" fmla="*/ 3039 h 10000"/>
                <a:gd name="connsiteX24" fmla="*/ 6488 w 10000"/>
                <a:gd name="connsiteY24" fmla="*/ 3007 h 10000"/>
                <a:gd name="connsiteX25" fmla="*/ 5744 w 10000"/>
                <a:gd name="connsiteY25" fmla="*/ 2941 h 10000"/>
                <a:gd name="connsiteX26" fmla="*/ 5702 w 10000"/>
                <a:gd name="connsiteY26" fmla="*/ 2026 h 10000"/>
                <a:gd name="connsiteX27" fmla="*/ 4793 w 10000"/>
                <a:gd name="connsiteY27" fmla="*/ 1765 h 10000"/>
                <a:gd name="connsiteX28" fmla="*/ 4256 w 10000"/>
                <a:gd name="connsiteY28" fmla="*/ 1242 h 10000"/>
                <a:gd name="connsiteX29" fmla="*/ 3760 w 10000"/>
                <a:gd name="connsiteY29" fmla="*/ 784 h 10000"/>
                <a:gd name="connsiteX30" fmla="*/ 3430 w 10000"/>
                <a:gd name="connsiteY30" fmla="*/ 490 h 10000"/>
                <a:gd name="connsiteX31" fmla="*/ 3017 w 10000"/>
                <a:gd name="connsiteY31" fmla="*/ 392 h 10000"/>
                <a:gd name="connsiteX32" fmla="*/ 2603 w 10000"/>
                <a:gd name="connsiteY32" fmla="*/ 33 h 10000"/>
                <a:gd name="connsiteX33" fmla="*/ 1322 w 10000"/>
                <a:gd name="connsiteY33" fmla="*/ 0 h 10000"/>
                <a:gd name="connsiteX34" fmla="*/ 744 w 10000"/>
                <a:gd name="connsiteY34" fmla="*/ 458 h 10000"/>
                <a:gd name="connsiteX35" fmla="*/ 496 w 10000"/>
                <a:gd name="connsiteY35" fmla="*/ 425 h 10000"/>
                <a:gd name="connsiteX36" fmla="*/ 331 w 10000"/>
                <a:gd name="connsiteY36" fmla="*/ 523 h 10000"/>
                <a:gd name="connsiteX37" fmla="*/ 0 w 10000"/>
                <a:gd name="connsiteY37" fmla="*/ 817 h 10000"/>
                <a:gd name="connsiteX38" fmla="*/ 248 w 10000"/>
                <a:gd name="connsiteY38" fmla="*/ 1503 h 10000"/>
                <a:gd name="connsiteX39" fmla="*/ 289 w 10000"/>
                <a:gd name="connsiteY39" fmla="*/ 1797 h 10000"/>
                <a:gd name="connsiteX40" fmla="*/ 537 w 10000"/>
                <a:gd name="connsiteY40" fmla="*/ 1961 h 10000"/>
                <a:gd name="connsiteX41" fmla="*/ 992 w 10000"/>
                <a:gd name="connsiteY41" fmla="*/ 2190 h 10000"/>
                <a:gd name="connsiteX42" fmla="*/ 1322 w 10000"/>
                <a:gd name="connsiteY42" fmla="*/ 2386 h 10000"/>
                <a:gd name="connsiteX43" fmla="*/ 868 w 10000"/>
                <a:gd name="connsiteY43" fmla="*/ 2614 h 10000"/>
                <a:gd name="connsiteX44" fmla="*/ 992 w 10000"/>
                <a:gd name="connsiteY44" fmla="*/ 2974 h 10000"/>
                <a:gd name="connsiteX45" fmla="*/ 1198 w 10000"/>
                <a:gd name="connsiteY45" fmla="*/ 3268 h 10000"/>
                <a:gd name="connsiteX46" fmla="*/ 1364 w 10000"/>
                <a:gd name="connsiteY46" fmla="*/ 4608 h 10000"/>
                <a:gd name="connsiteX47" fmla="*/ 2107 w 10000"/>
                <a:gd name="connsiteY47" fmla="*/ 4967 h 10000"/>
                <a:gd name="connsiteX48" fmla="*/ 1488 w 10000"/>
                <a:gd name="connsiteY48" fmla="*/ 5327 h 10000"/>
                <a:gd name="connsiteX49" fmla="*/ 2025 w 10000"/>
                <a:gd name="connsiteY49" fmla="*/ 5752 h 10000"/>
                <a:gd name="connsiteX50" fmla="*/ 1612 w 10000"/>
                <a:gd name="connsiteY50" fmla="*/ 6340 h 10000"/>
                <a:gd name="connsiteX51" fmla="*/ 2231 w 10000"/>
                <a:gd name="connsiteY51" fmla="*/ 6601 h 10000"/>
                <a:gd name="connsiteX52" fmla="*/ 2397 w 10000"/>
                <a:gd name="connsiteY52" fmla="*/ 6797 h 10000"/>
                <a:gd name="connsiteX53" fmla="*/ 3140 w 10000"/>
                <a:gd name="connsiteY53" fmla="*/ 7190 h 10000"/>
                <a:gd name="connsiteX54" fmla="*/ 3678 w 10000"/>
                <a:gd name="connsiteY54" fmla="*/ 7222 h 10000"/>
                <a:gd name="connsiteX55" fmla="*/ 4421 w 10000"/>
                <a:gd name="connsiteY55" fmla="*/ 7484 h 10000"/>
                <a:gd name="connsiteX56" fmla="*/ 4132 w 10000"/>
                <a:gd name="connsiteY56" fmla="*/ 7778 h 10000"/>
                <a:gd name="connsiteX0" fmla="*/ 4132 w 10000"/>
                <a:gd name="connsiteY0" fmla="*/ 7778 h 9216"/>
                <a:gd name="connsiteX1" fmla="*/ 3760 w 10000"/>
                <a:gd name="connsiteY1" fmla="*/ 7908 h 9216"/>
                <a:gd name="connsiteX2" fmla="*/ 3926 w 10000"/>
                <a:gd name="connsiteY2" fmla="*/ 8137 h 9216"/>
                <a:gd name="connsiteX3" fmla="*/ 3926 w 10000"/>
                <a:gd name="connsiteY3" fmla="*/ 8366 h 9216"/>
                <a:gd name="connsiteX4" fmla="*/ 4050 w 10000"/>
                <a:gd name="connsiteY4" fmla="*/ 8627 h 9216"/>
                <a:gd name="connsiteX5" fmla="*/ 4298 w 10000"/>
                <a:gd name="connsiteY5" fmla="*/ 8824 h 9216"/>
                <a:gd name="connsiteX6" fmla="*/ 5041 w 10000"/>
                <a:gd name="connsiteY6" fmla="*/ 9085 h 9216"/>
                <a:gd name="connsiteX7" fmla="*/ 5765 w 10000"/>
                <a:gd name="connsiteY7" fmla="*/ 7075 h 9216"/>
                <a:gd name="connsiteX8" fmla="*/ 6364 w 10000"/>
                <a:gd name="connsiteY8" fmla="*/ 7745 h 9216"/>
                <a:gd name="connsiteX9" fmla="*/ 7211 w 10000"/>
                <a:gd name="connsiteY9" fmla="*/ 8089 h 9216"/>
                <a:gd name="connsiteX10" fmla="*/ 7355 w 10000"/>
                <a:gd name="connsiteY10" fmla="*/ 8791 h 9216"/>
                <a:gd name="connsiteX11" fmla="*/ 9132 w 10000"/>
                <a:gd name="connsiteY11" fmla="*/ 8399 h 9216"/>
                <a:gd name="connsiteX12" fmla="*/ 9256 w 10000"/>
                <a:gd name="connsiteY12" fmla="*/ 7451 h 9216"/>
                <a:gd name="connsiteX13" fmla="*/ 9256 w 10000"/>
                <a:gd name="connsiteY13" fmla="*/ 7059 h 9216"/>
                <a:gd name="connsiteX14" fmla="*/ 9628 w 10000"/>
                <a:gd name="connsiteY14" fmla="*/ 6830 h 9216"/>
                <a:gd name="connsiteX15" fmla="*/ 9917 w 10000"/>
                <a:gd name="connsiteY15" fmla="*/ 6569 h 9216"/>
                <a:gd name="connsiteX16" fmla="*/ 10000 w 10000"/>
                <a:gd name="connsiteY16" fmla="*/ 6373 h 9216"/>
                <a:gd name="connsiteX17" fmla="*/ 9752 w 10000"/>
                <a:gd name="connsiteY17" fmla="*/ 6046 h 9216"/>
                <a:gd name="connsiteX18" fmla="*/ 8884 w 10000"/>
                <a:gd name="connsiteY18" fmla="*/ 5752 h 9216"/>
                <a:gd name="connsiteX19" fmla="*/ 8636 w 10000"/>
                <a:gd name="connsiteY19" fmla="*/ 5196 h 9216"/>
                <a:gd name="connsiteX20" fmla="*/ 8636 w 10000"/>
                <a:gd name="connsiteY20" fmla="*/ 4379 h 9216"/>
                <a:gd name="connsiteX21" fmla="*/ 8678 w 10000"/>
                <a:gd name="connsiteY21" fmla="*/ 3595 h 9216"/>
                <a:gd name="connsiteX22" fmla="*/ 8223 w 10000"/>
                <a:gd name="connsiteY22" fmla="*/ 2843 h 9216"/>
                <a:gd name="connsiteX23" fmla="*/ 7645 w 10000"/>
                <a:gd name="connsiteY23" fmla="*/ 3039 h 9216"/>
                <a:gd name="connsiteX24" fmla="*/ 6488 w 10000"/>
                <a:gd name="connsiteY24" fmla="*/ 3007 h 9216"/>
                <a:gd name="connsiteX25" fmla="*/ 5744 w 10000"/>
                <a:gd name="connsiteY25" fmla="*/ 2941 h 9216"/>
                <a:gd name="connsiteX26" fmla="*/ 5702 w 10000"/>
                <a:gd name="connsiteY26" fmla="*/ 2026 h 9216"/>
                <a:gd name="connsiteX27" fmla="*/ 4793 w 10000"/>
                <a:gd name="connsiteY27" fmla="*/ 1765 h 9216"/>
                <a:gd name="connsiteX28" fmla="*/ 4256 w 10000"/>
                <a:gd name="connsiteY28" fmla="*/ 1242 h 9216"/>
                <a:gd name="connsiteX29" fmla="*/ 3760 w 10000"/>
                <a:gd name="connsiteY29" fmla="*/ 784 h 9216"/>
                <a:gd name="connsiteX30" fmla="*/ 3430 w 10000"/>
                <a:gd name="connsiteY30" fmla="*/ 490 h 9216"/>
                <a:gd name="connsiteX31" fmla="*/ 3017 w 10000"/>
                <a:gd name="connsiteY31" fmla="*/ 392 h 9216"/>
                <a:gd name="connsiteX32" fmla="*/ 2603 w 10000"/>
                <a:gd name="connsiteY32" fmla="*/ 33 h 9216"/>
                <a:gd name="connsiteX33" fmla="*/ 1322 w 10000"/>
                <a:gd name="connsiteY33" fmla="*/ 0 h 9216"/>
                <a:gd name="connsiteX34" fmla="*/ 744 w 10000"/>
                <a:gd name="connsiteY34" fmla="*/ 458 h 9216"/>
                <a:gd name="connsiteX35" fmla="*/ 496 w 10000"/>
                <a:gd name="connsiteY35" fmla="*/ 425 h 9216"/>
                <a:gd name="connsiteX36" fmla="*/ 331 w 10000"/>
                <a:gd name="connsiteY36" fmla="*/ 523 h 9216"/>
                <a:gd name="connsiteX37" fmla="*/ 0 w 10000"/>
                <a:gd name="connsiteY37" fmla="*/ 817 h 9216"/>
                <a:gd name="connsiteX38" fmla="*/ 248 w 10000"/>
                <a:gd name="connsiteY38" fmla="*/ 1503 h 9216"/>
                <a:gd name="connsiteX39" fmla="*/ 289 w 10000"/>
                <a:gd name="connsiteY39" fmla="*/ 1797 h 9216"/>
                <a:gd name="connsiteX40" fmla="*/ 537 w 10000"/>
                <a:gd name="connsiteY40" fmla="*/ 1961 h 9216"/>
                <a:gd name="connsiteX41" fmla="*/ 992 w 10000"/>
                <a:gd name="connsiteY41" fmla="*/ 2190 h 9216"/>
                <a:gd name="connsiteX42" fmla="*/ 1322 w 10000"/>
                <a:gd name="connsiteY42" fmla="*/ 2386 h 9216"/>
                <a:gd name="connsiteX43" fmla="*/ 868 w 10000"/>
                <a:gd name="connsiteY43" fmla="*/ 2614 h 9216"/>
                <a:gd name="connsiteX44" fmla="*/ 992 w 10000"/>
                <a:gd name="connsiteY44" fmla="*/ 2974 h 9216"/>
                <a:gd name="connsiteX45" fmla="*/ 1198 w 10000"/>
                <a:gd name="connsiteY45" fmla="*/ 3268 h 9216"/>
                <a:gd name="connsiteX46" fmla="*/ 1364 w 10000"/>
                <a:gd name="connsiteY46" fmla="*/ 4608 h 9216"/>
                <a:gd name="connsiteX47" fmla="*/ 2107 w 10000"/>
                <a:gd name="connsiteY47" fmla="*/ 4967 h 9216"/>
                <a:gd name="connsiteX48" fmla="*/ 1488 w 10000"/>
                <a:gd name="connsiteY48" fmla="*/ 5327 h 9216"/>
                <a:gd name="connsiteX49" fmla="*/ 2025 w 10000"/>
                <a:gd name="connsiteY49" fmla="*/ 5752 h 9216"/>
                <a:gd name="connsiteX50" fmla="*/ 1612 w 10000"/>
                <a:gd name="connsiteY50" fmla="*/ 6340 h 9216"/>
                <a:gd name="connsiteX51" fmla="*/ 2231 w 10000"/>
                <a:gd name="connsiteY51" fmla="*/ 6601 h 9216"/>
                <a:gd name="connsiteX52" fmla="*/ 2397 w 10000"/>
                <a:gd name="connsiteY52" fmla="*/ 6797 h 9216"/>
                <a:gd name="connsiteX53" fmla="*/ 3140 w 10000"/>
                <a:gd name="connsiteY53" fmla="*/ 7190 h 9216"/>
                <a:gd name="connsiteX54" fmla="*/ 3678 w 10000"/>
                <a:gd name="connsiteY54" fmla="*/ 7222 h 9216"/>
                <a:gd name="connsiteX55" fmla="*/ 4421 w 10000"/>
                <a:gd name="connsiteY55" fmla="*/ 7484 h 9216"/>
                <a:gd name="connsiteX56" fmla="*/ 4132 w 10000"/>
                <a:gd name="connsiteY56" fmla="*/ 7778 h 9216"/>
                <a:gd name="connsiteX0" fmla="*/ 4132 w 10000"/>
                <a:gd name="connsiteY0" fmla="*/ 8440 h 9752"/>
                <a:gd name="connsiteX1" fmla="*/ 3760 w 10000"/>
                <a:gd name="connsiteY1" fmla="*/ 8581 h 9752"/>
                <a:gd name="connsiteX2" fmla="*/ 3926 w 10000"/>
                <a:gd name="connsiteY2" fmla="*/ 8829 h 9752"/>
                <a:gd name="connsiteX3" fmla="*/ 3926 w 10000"/>
                <a:gd name="connsiteY3" fmla="*/ 9078 h 9752"/>
                <a:gd name="connsiteX4" fmla="*/ 4050 w 10000"/>
                <a:gd name="connsiteY4" fmla="*/ 9361 h 9752"/>
                <a:gd name="connsiteX5" fmla="*/ 4298 w 10000"/>
                <a:gd name="connsiteY5" fmla="*/ 9575 h 9752"/>
                <a:gd name="connsiteX6" fmla="*/ 5413 w 10000"/>
                <a:gd name="connsiteY6" fmla="*/ 7784 h 9752"/>
                <a:gd name="connsiteX7" fmla="*/ 5765 w 10000"/>
                <a:gd name="connsiteY7" fmla="*/ 7677 h 9752"/>
                <a:gd name="connsiteX8" fmla="*/ 6364 w 10000"/>
                <a:gd name="connsiteY8" fmla="*/ 8404 h 9752"/>
                <a:gd name="connsiteX9" fmla="*/ 7211 w 10000"/>
                <a:gd name="connsiteY9" fmla="*/ 8777 h 9752"/>
                <a:gd name="connsiteX10" fmla="*/ 7355 w 10000"/>
                <a:gd name="connsiteY10" fmla="*/ 9539 h 9752"/>
                <a:gd name="connsiteX11" fmla="*/ 9132 w 10000"/>
                <a:gd name="connsiteY11" fmla="*/ 9113 h 9752"/>
                <a:gd name="connsiteX12" fmla="*/ 9256 w 10000"/>
                <a:gd name="connsiteY12" fmla="*/ 8085 h 9752"/>
                <a:gd name="connsiteX13" fmla="*/ 9256 w 10000"/>
                <a:gd name="connsiteY13" fmla="*/ 7660 h 9752"/>
                <a:gd name="connsiteX14" fmla="*/ 9628 w 10000"/>
                <a:gd name="connsiteY14" fmla="*/ 7411 h 9752"/>
                <a:gd name="connsiteX15" fmla="*/ 9917 w 10000"/>
                <a:gd name="connsiteY15" fmla="*/ 7128 h 9752"/>
                <a:gd name="connsiteX16" fmla="*/ 10000 w 10000"/>
                <a:gd name="connsiteY16" fmla="*/ 6915 h 9752"/>
                <a:gd name="connsiteX17" fmla="*/ 9752 w 10000"/>
                <a:gd name="connsiteY17" fmla="*/ 6560 h 9752"/>
                <a:gd name="connsiteX18" fmla="*/ 8884 w 10000"/>
                <a:gd name="connsiteY18" fmla="*/ 6241 h 9752"/>
                <a:gd name="connsiteX19" fmla="*/ 8636 w 10000"/>
                <a:gd name="connsiteY19" fmla="*/ 5638 h 9752"/>
                <a:gd name="connsiteX20" fmla="*/ 8636 w 10000"/>
                <a:gd name="connsiteY20" fmla="*/ 4752 h 9752"/>
                <a:gd name="connsiteX21" fmla="*/ 8678 w 10000"/>
                <a:gd name="connsiteY21" fmla="*/ 3901 h 9752"/>
                <a:gd name="connsiteX22" fmla="*/ 8223 w 10000"/>
                <a:gd name="connsiteY22" fmla="*/ 3085 h 9752"/>
                <a:gd name="connsiteX23" fmla="*/ 7645 w 10000"/>
                <a:gd name="connsiteY23" fmla="*/ 3298 h 9752"/>
                <a:gd name="connsiteX24" fmla="*/ 6488 w 10000"/>
                <a:gd name="connsiteY24" fmla="*/ 3263 h 9752"/>
                <a:gd name="connsiteX25" fmla="*/ 5744 w 10000"/>
                <a:gd name="connsiteY25" fmla="*/ 3191 h 9752"/>
                <a:gd name="connsiteX26" fmla="*/ 5702 w 10000"/>
                <a:gd name="connsiteY26" fmla="*/ 2198 h 9752"/>
                <a:gd name="connsiteX27" fmla="*/ 4793 w 10000"/>
                <a:gd name="connsiteY27" fmla="*/ 1915 h 9752"/>
                <a:gd name="connsiteX28" fmla="*/ 4256 w 10000"/>
                <a:gd name="connsiteY28" fmla="*/ 1348 h 9752"/>
                <a:gd name="connsiteX29" fmla="*/ 3760 w 10000"/>
                <a:gd name="connsiteY29" fmla="*/ 851 h 9752"/>
                <a:gd name="connsiteX30" fmla="*/ 3430 w 10000"/>
                <a:gd name="connsiteY30" fmla="*/ 532 h 9752"/>
                <a:gd name="connsiteX31" fmla="*/ 3017 w 10000"/>
                <a:gd name="connsiteY31" fmla="*/ 425 h 9752"/>
                <a:gd name="connsiteX32" fmla="*/ 2603 w 10000"/>
                <a:gd name="connsiteY32" fmla="*/ 36 h 9752"/>
                <a:gd name="connsiteX33" fmla="*/ 1322 w 10000"/>
                <a:gd name="connsiteY33" fmla="*/ 0 h 9752"/>
                <a:gd name="connsiteX34" fmla="*/ 744 w 10000"/>
                <a:gd name="connsiteY34" fmla="*/ 497 h 9752"/>
                <a:gd name="connsiteX35" fmla="*/ 496 w 10000"/>
                <a:gd name="connsiteY35" fmla="*/ 461 h 9752"/>
                <a:gd name="connsiteX36" fmla="*/ 331 w 10000"/>
                <a:gd name="connsiteY36" fmla="*/ 567 h 9752"/>
                <a:gd name="connsiteX37" fmla="*/ 0 w 10000"/>
                <a:gd name="connsiteY37" fmla="*/ 887 h 9752"/>
                <a:gd name="connsiteX38" fmla="*/ 248 w 10000"/>
                <a:gd name="connsiteY38" fmla="*/ 1631 h 9752"/>
                <a:gd name="connsiteX39" fmla="*/ 289 w 10000"/>
                <a:gd name="connsiteY39" fmla="*/ 1950 h 9752"/>
                <a:gd name="connsiteX40" fmla="*/ 537 w 10000"/>
                <a:gd name="connsiteY40" fmla="*/ 2128 h 9752"/>
                <a:gd name="connsiteX41" fmla="*/ 992 w 10000"/>
                <a:gd name="connsiteY41" fmla="*/ 2376 h 9752"/>
                <a:gd name="connsiteX42" fmla="*/ 1322 w 10000"/>
                <a:gd name="connsiteY42" fmla="*/ 2589 h 9752"/>
                <a:gd name="connsiteX43" fmla="*/ 868 w 10000"/>
                <a:gd name="connsiteY43" fmla="*/ 2836 h 9752"/>
                <a:gd name="connsiteX44" fmla="*/ 992 w 10000"/>
                <a:gd name="connsiteY44" fmla="*/ 3227 h 9752"/>
                <a:gd name="connsiteX45" fmla="*/ 1198 w 10000"/>
                <a:gd name="connsiteY45" fmla="*/ 3546 h 9752"/>
                <a:gd name="connsiteX46" fmla="*/ 1364 w 10000"/>
                <a:gd name="connsiteY46" fmla="*/ 5000 h 9752"/>
                <a:gd name="connsiteX47" fmla="*/ 2107 w 10000"/>
                <a:gd name="connsiteY47" fmla="*/ 5390 h 9752"/>
                <a:gd name="connsiteX48" fmla="*/ 1488 w 10000"/>
                <a:gd name="connsiteY48" fmla="*/ 5780 h 9752"/>
                <a:gd name="connsiteX49" fmla="*/ 2025 w 10000"/>
                <a:gd name="connsiteY49" fmla="*/ 6241 h 9752"/>
                <a:gd name="connsiteX50" fmla="*/ 1612 w 10000"/>
                <a:gd name="connsiteY50" fmla="*/ 6879 h 9752"/>
                <a:gd name="connsiteX51" fmla="*/ 2231 w 10000"/>
                <a:gd name="connsiteY51" fmla="*/ 7163 h 9752"/>
                <a:gd name="connsiteX52" fmla="*/ 2397 w 10000"/>
                <a:gd name="connsiteY52" fmla="*/ 7375 h 9752"/>
                <a:gd name="connsiteX53" fmla="*/ 3140 w 10000"/>
                <a:gd name="connsiteY53" fmla="*/ 7802 h 9752"/>
                <a:gd name="connsiteX54" fmla="*/ 3678 w 10000"/>
                <a:gd name="connsiteY54" fmla="*/ 7836 h 9752"/>
                <a:gd name="connsiteX55" fmla="*/ 4421 w 10000"/>
                <a:gd name="connsiteY55" fmla="*/ 8121 h 9752"/>
                <a:gd name="connsiteX56" fmla="*/ 4132 w 10000"/>
                <a:gd name="connsiteY56" fmla="*/ 8440 h 9752"/>
                <a:gd name="connsiteX0" fmla="*/ 4132 w 10000"/>
                <a:gd name="connsiteY0" fmla="*/ 8655 h 9890"/>
                <a:gd name="connsiteX1" fmla="*/ 3760 w 10000"/>
                <a:gd name="connsiteY1" fmla="*/ 8799 h 9890"/>
                <a:gd name="connsiteX2" fmla="*/ 3926 w 10000"/>
                <a:gd name="connsiteY2" fmla="*/ 9054 h 9890"/>
                <a:gd name="connsiteX3" fmla="*/ 3926 w 10000"/>
                <a:gd name="connsiteY3" fmla="*/ 9309 h 9890"/>
                <a:gd name="connsiteX4" fmla="*/ 4050 w 10000"/>
                <a:gd name="connsiteY4" fmla="*/ 9599 h 9890"/>
                <a:gd name="connsiteX5" fmla="*/ 5042 w 10000"/>
                <a:gd name="connsiteY5" fmla="*/ 7636 h 9890"/>
                <a:gd name="connsiteX6" fmla="*/ 5413 w 10000"/>
                <a:gd name="connsiteY6" fmla="*/ 7982 h 9890"/>
                <a:gd name="connsiteX7" fmla="*/ 5765 w 10000"/>
                <a:gd name="connsiteY7" fmla="*/ 7872 h 9890"/>
                <a:gd name="connsiteX8" fmla="*/ 6364 w 10000"/>
                <a:gd name="connsiteY8" fmla="*/ 8618 h 9890"/>
                <a:gd name="connsiteX9" fmla="*/ 7211 w 10000"/>
                <a:gd name="connsiteY9" fmla="*/ 9000 h 9890"/>
                <a:gd name="connsiteX10" fmla="*/ 7355 w 10000"/>
                <a:gd name="connsiteY10" fmla="*/ 9782 h 9890"/>
                <a:gd name="connsiteX11" fmla="*/ 9132 w 10000"/>
                <a:gd name="connsiteY11" fmla="*/ 9345 h 9890"/>
                <a:gd name="connsiteX12" fmla="*/ 9256 w 10000"/>
                <a:gd name="connsiteY12" fmla="*/ 8291 h 9890"/>
                <a:gd name="connsiteX13" fmla="*/ 9256 w 10000"/>
                <a:gd name="connsiteY13" fmla="*/ 7855 h 9890"/>
                <a:gd name="connsiteX14" fmla="*/ 9628 w 10000"/>
                <a:gd name="connsiteY14" fmla="*/ 7599 h 9890"/>
                <a:gd name="connsiteX15" fmla="*/ 9917 w 10000"/>
                <a:gd name="connsiteY15" fmla="*/ 7309 h 9890"/>
                <a:gd name="connsiteX16" fmla="*/ 10000 w 10000"/>
                <a:gd name="connsiteY16" fmla="*/ 7091 h 9890"/>
                <a:gd name="connsiteX17" fmla="*/ 9752 w 10000"/>
                <a:gd name="connsiteY17" fmla="*/ 6727 h 9890"/>
                <a:gd name="connsiteX18" fmla="*/ 8884 w 10000"/>
                <a:gd name="connsiteY18" fmla="*/ 6400 h 9890"/>
                <a:gd name="connsiteX19" fmla="*/ 8636 w 10000"/>
                <a:gd name="connsiteY19" fmla="*/ 5781 h 9890"/>
                <a:gd name="connsiteX20" fmla="*/ 8636 w 10000"/>
                <a:gd name="connsiteY20" fmla="*/ 4873 h 9890"/>
                <a:gd name="connsiteX21" fmla="*/ 8678 w 10000"/>
                <a:gd name="connsiteY21" fmla="*/ 4000 h 9890"/>
                <a:gd name="connsiteX22" fmla="*/ 8223 w 10000"/>
                <a:gd name="connsiteY22" fmla="*/ 3163 h 9890"/>
                <a:gd name="connsiteX23" fmla="*/ 7645 w 10000"/>
                <a:gd name="connsiteY23" fmla="*/ 3382 h 9890"/>
                <a:gd name="connsiteX24" fmla="*/ 6488 w 10000"/>
                <a:gd name="connsiteY24" fmla="*/ 3346 h 9890"/>
                <a:gd name="connsiteX25" fmla="*/ 5744 w 10000"/>
                <a:gd name="connsiteY25" fmla="*/ 3272 h 9890"/>
                <a:gd name="connsiteX26" fmla="*/ 5702 w 10000"/>
                <a:gd name="connsiteY26" fmla="*/ 2254 h 9890"/>
                <a:gd name="connsiteX27" fmla="*/ 4793 w 10000"/>
                <a:gd name="connsiteY27" fmla="*/ 1964 h 9890"/>
                <a:gd name="connsiteX28" fmla="*/ 4256 w 10000"/>
                <a:gd name="connsiteY28" fmla="*/ 1382 h 9890"/>
                <a:gd name="connsiteX29" fmla="*/ 3760 w 10000"/>
                <a:gd name="connsiteY29" fmla="*/ 873 h 9890"/>
                <a:gd name="connsiteX30" fmla="*/ 3430 w 10000"/>
                <a:gd name="connsiteY30" fmla="*/ 546 h 9890"/>
                <a:gd name="connsiteX31" fmla="*/ 3017 w 10000"/>
                <a:gd name="connsiteY31" fmla="*/ 436 h 9890"/>
                <a:gd name="connsiteX32" fmla="*/ 2603 w 10000"/>
                <a:gd name="connsiteY32" fmla="*/ 37 h 9890"/>
                <a:gd name="connsiteX33" fmla="*/ 1322 w 10000"/>
                <a:gd name="connsiteY33" fmla="*/ 0 h 9890"/>
                <a:gd name="connsiteX34" fmla="*/ 744 w 10000"/>
                <a:gd name="connsiteY34" fmla="*/ 510 h 9890"/>
                <a:gd name="connsiteX35" fmla="*/ 496 w 10000"/>
                <a:gd name="connsiteY35" fmla="*/ 473 h 9890"/>
                <a:gd name="connsiteX36" fmla="*/ 331 w 10000"/>
                <a:gd name="connsiteY36" fmla="*/ 581 h 9890"/>
                <a:gd name="connsiteX37" fmla="*/ 0 w 10000"/>
                <a:gd name="connsiteY37" fmla="*/ 910 h 9890"/>
                <a:gd name="connsiteX38" fmla="*/ 248 w 10000"/>
                <a:gd name="connsiteY38" fmla="*/ 1672 h 9890"/>
                <a:gd name="connsiteX39" fmla="*/ 289 w 10000"/>
                <a:gd name="connsiteY39" fmla="*/ 2000 h 9890"/>
                <a:gd name="connsiteX40" fmla="*/ 537 w 10000"/>
                <a:gd name="connsiteY40" fmla="*/ 2182 h 9890"/>
                <a:gd name="connsiteX41" fmla="*/ 992 w 10000"/>
                <a:gd name="connsiteY41" fmla="*/ 2436 h 9890"/>
                <a:gd name="connsiteX42" fmla="*/ 1322 w 10000"/>
                <a:gd name="connsiteY42" fmla="*/ 2655 h 9890"/>
                <a:gd name="connsiteX43" fmla="*/ 868 w 10000"/>
                <a:gd name="connsiteY43" fmla="*/ 2908 h 9890"/>
                <a:gd name="connsiteX44" fmla="*/ 992 w 10000"/>
                <a:gd name="connsiteY44" fmla="*/ 3309 h 9890"/>
                <a:gd name="connsiteX45" fmla="*/ 1198 w 10000"/>
                <a:gd name="connsiteY45" fmla="*/ 3636 h 9890"/>
                <a:gd name="connsiteX46" fmla="*/ 1364 w 10000"/>
                <a:gd name="connsiteY46" fmla="*/ 5127 h 9890"/>
                <a:gd name="connsiteX47" fmla="*/ 2107 w 10000"/>
                <a:gd name="connsiteY47" fmla="*/ 5527 h 9890"/>
                <a:gd name="connsiteX48" fmla="*/ 1488 w 10000"/>
                <a:gd name="connsiteY48" fmla="*/ 5927 h 9890"/>
                <a:gd name="connsiteX49" fmla="*/ 2025 w 10000"/>
                <a:gd name="connsiteY49" fmla="*/ 6400 h 9890"/>
                <a:gd name="connsiteX50" fmla="*/ 1612 w 10000"/>
                <a:gd name="connsiteY50" fmla="*/ 7054 h 9890"/>
                <a:gd name="connsiteX51" fmla="*/ 2231 w 10000"/>
                <a:gd name="connsiteY51" fmla="*/ 7345 h 9890"/>
                <a:gd name="connsiteX52" fmla="*/ 2397 w 10000"/>
                <a:gd name="connsiteY52" fmla="*/ 7563 h 9890"/>
                <a:gd name="connsiteX53" fmla="*/ 3140 w 10000"/>
                <a:gd name="connsiteY53" fmla="*/ 8000 h 9890"/>
                <a:gd name="connsiteX54" fmla="*/ 3678 w 10000"/>
                <a:gd name="connsiteY54" fmla="*/ 8035 h 9890"/>
                <a:gd name="connsiteX55" fmla="*/ 4421 w 10000"/>
                <a:gd name="connsiteY55" fmla="*/ 8328 h 9890"/>
                <a:gd name="connsiteX56" fmla="*/ 4132 w 10000"/>
                <a:gd name="connsiteY56" fmla="*/ 8655 h 9890"/>
                <a:gd name="connsiteX0" fmla="*/ 4132 w 10000"/>
                <a:gd name="connsiteY0" fmla="*/ 8751 h 10000"/>
                <a:gd name="connsiteX1" fmla="*/ 3760 w 10000"/>
                <a:gd name="connsiteY1" fmla="*/ 8897 h 10000"/>
                <a:gd name="connsiteX2" fmla="*/ 3926 w 10000"/>
                <a:gd name="connsiteY2" fmla="*/ 9155 h 10000"/>
                <a:gd name="connsiteX3" fmla="*/ 3926 w 10000"/>
                <a:gd name="connsiteY3" fmla="*/ 9413 h 10000"/>
                <a:gd name="connsiteX4" fmla="*/ 4608 w 10000"/>
                <a:gd name="connsiteY4" fmla="*/ 7886 h 10000"/>
                <a:gd name="connsiteX5" fmla="*/ 5042 w 10000"/>
                <a:gd name="connsiteY5" fmla="*/ 7721 h 10000"/>
                <a:gd name="connsiteX6" fmla="*/ 5413 w 10000"/>
                <a:gd name="connsiteY6" fmla="*/ 8071 h 10000"/>
                <a:gd name="connsiteX7" fmla="*/ 5765 w 10000"/>
                <a:gd name="connsiteY7" fmla="*/ 7960 h 10000"/>
                <a:gd name="connsiteX8" fmla="*/ 6364 w 10000"/>
                <a:gd name="connsiteY8" fmla="*/ 8714 h 10000"/>
                <a:gd name="connsiteX9" fmla="*/ 7211 w 10000"/>
                <a:gd name="connsiteY9" fmla="*/ 9100 h 10000"/>
                <a:gd name="connsiteX10" fmla="*/ 7355 w 10000"/>
                <a:gd name="connsiteY10" fmla="*/ 9891 h 10000"/>
                <a:gd name="connsiteX11" fmla="*/ 9132 w 10000"/>
                <a:gd name="connsiteY11" fmla="*/ 9449 h 10000"/>
                <a:gd name="connsiteX12" fmla="*/ 9256 w 10000"/>
                <a:gd name="connsiteY12" fmla="*/ 8383 h 10000"/>
                <a:gd name="connsiteX13" fmla="*/ 9256 w 10000"/>
                <a:gd name="connsiteY13" fmla="*/ 7942 h 10000"/>
                <a:gd name="connsiteX14" fmla="*/ 9628 w 10000"/>
                <a:gd name="connsiteY14" fmla="*/ 7684 h 10000"/>
                <a:gd name="connsiteX15" fmla="*/ 9917 w 10000"/>
                <a:gd name="connsiteY15" fmla="*/ 7390 h 10000"/>
                <a:gd name="connsiteX16" fmla="*/ 10000 w 10000"/>
                <a:gd name="connsiteY16" fmla="*/ 7170 h 10000"/>
                <a:gd name="connsiteX17" fmla="*/ 9752 w 10000"/>
                <a:gd name="connsiteY17" fmla="*/ 6802 h 10000"/>
                <a:gd name="connsiteX18" fmla="*/ 8884 w 10000"/>
                <a:gd name="connsiteY18" fmla="*/ 6471 h 10000"/>
                <a:gd name="connsiteX19" fmla="*/ 8636 w 10000"/>
                <a:gd name="connsiteY19" fmla="*/ 5845 h 10000"/>
                <a:gd name="connsiteX20" fmla="*/ 8636 w 10000"/>
                <a:gd name="connsiteY20" fmla="*/ 4927 h 10000"/>
                <a:gd name="connsiteX21" fmla="*/ 8678 w 10000"/>
                <a:gd name="connsiteY21" fmla="*/ 4044 h 10000"/>
                <a:gd name="connsiteX22" fmla="*/ 8223 w 10000"/>
                <a:gd name="connsiteY22" fmla="*/ 3198 h 10000"/>
                <a:gd name="connsiteX23" fmla="*/ 7645 w 10000"/>
                <a:gd name="connsiteY23" fmla="*/ 3420 h 10000"/>
                <a:gd name="connsiteX24" fmla="*/ 6488 w 10000"/>
                <a:gd name="connsiteY24" fmla="*/ 3383 h 10000"/>
                <a:gd name="connsiteX25" fmla="*/ 5744 w 10000"/>
                <a:gd name="connsiteY25" fmla="*/ 3308 h 10000"/>
                <a:gd name="connsiteX26" fmla="*/ 5702 w 10000"/>
                <a:gd name="connsiteY26" fmla="*/ 2279 h 10000"/>
                <a:gd name="connsiteX27" fmla="*/ 4793 w 10000"/>
                <a:gd name="connsiteY27" fmla="*/ 1986 h 10000"/>
                <a:gd name="connsiteX28" fmla="*/ 4256 w 10000"/>
                <a:gd name="connsiteY28" fmla="*/ 1397 h 10000"/>
                <a:gd name="connsiteX29" fmla="*/ 3760 w 10000"/>
                <a:gd name="connsiteY29" fmla="*/ 883 h 10000"/>
                <a:gd name="connsiteX30" fmla="*/ 3430 w 10000"/>
                <a:gd name="connsiteY30" fmla="*/ 552 h 10000"/>
                <a:gd name="connsiteX31" fmla="*/ 3017 w 10000"/>
                <a:gd name="connsiteY31" fmla="*/ 441 h 10000"/>
                <a:gd name="connsiteX32" fmla="*/ 2603 w 10000"/>
                <a:gd name="connsiteY32" fmla="*/ 37 h 10000"/>
                <a:gd name="connsiteX33" fmla="*/ 1322 w 10000"/>
                <a:gd name="connsiteY33" fmla="*/ 0 h 10000"/>
                <a:gd name="connsiteX34" fmla="*/ 744 w 10000"/>
                <a:gd name="connsiteY34" fmla="*/ 516 h 10000"/>
                <a:gd name="connsiteX35" fmla="*/ 496 w 10000"/>
                <a:gd name="connsiteY35" fmla="*/ 478 h 10000"/>
                <a:gd name="connsiteX36" fmla="*/ 331 w 10000"/>
                <a:gd name="connsiteY36" fmla="*/ 587 h 10000"/>
                <a:gd name="connsiteX37" fmla="*/ 0 w 10000"/>
                <a:gd name="connsiteY37" fmla="*/ 920 h 10000"/>
                <a:gd name="connsiteX38" fmla="*/ 248 w 10000"/>
                <a:gd name="connsiteY38" fmla="*/ 1691 h 10000"/>
                <a:gd name="connsiteX39" fmla="*/ 289 w 10000"/>
                <a:gd name="connsiteY39" fmla="*/ 2022 h 10000"/>
                <a:gd name="connsiteX40" fmla="*/ 537 w 10000"/>
                <a:gd name="connsiteY40" fmla="*/ 2206 h 10000"/>
                <a:gd name="connsiteX41" fmla="*/ 992 w 10000"/>
                <a:gd name="connsiteY41" fmla="*/ 2463 h 10000"/>
                <a:gd name="connsiteX42" fmla="*/ 1322 w 10000"/>
                <a:gd name="connsiteY42" fmla="*/ 2685 h 10000"/>
                <a:gd name="connsiteX43" fmla="*/ 868 w 10000"/>
                <a:gd name="connsiteY43" fmla="*/ 2940 h 10000"/>
                <a:gd name="connsiteX44" fmla="*/ 992 w 10000"/>
                <a:gd name="connsiteY44" fmla="*/ 3346 h 10000"/>
                <a:gd name="connsiteX45" fmla="*/ 1198 w 10000"/>
                <a:gd name="connsiteY45" fmla="*/ 3676 h 10000"/>
                <a:gd name="connsiteX46" fmla="*/ 1364 w 10000"/>
                <a:gd name="connsiteY46" fmla="*/ 5184 h 10000"/>
                <a:gd name="connsiteX47" fmla="*/ 2107 w 10000"/>
                <a:gd name="connsiteY47" fmla="*/ 5588 h 10000"/>
                <a:gd name="connsiteX48" fmla="*/ 1488 w 10000"/>
                <a:gd name="connsiteY48" fmla="*/ 5993 h 10000"/>
                <a:gd name="connsiteX49" fmla="*/ 2025 w 10000"/>
                <a:gd name="connsiteY49" fmla="*/ 6471 h 10000"/>
                <a:gd name="connsiteX50" fmla="*/ 1612 w 10000"/>
                <a:gd name="connsiteY50" fmla="*/ 7132 h 10000"/>
                <a:gd name="connsiteX51" fmla="*/ 2231 w 10000"/>
                <a:gd name="connsiteY51" fmla="*/ 7427 h 10000"/>
                <a:gd name="connsiteX52" fmla="*/ 2397 w 10000"/>
                <a:gd name="connsiteY52" fmla="*/ 7647 h 10000"/>
                <a:gd name="connsiteX53" fmla="*/ 3140 w 10000"/>
                <a:gd name="connsiteY53" fmla="*/ 8089 h 10000"/>
                <a:gd name="connsiteX54" fmla="*/ 3678 w 10000"/>
                <a:gd name="connsiteY54" fmla="*/ 8124 h 10000"/>
                <a:gd name="connsiteX55" fmla="*/ 4421 w 10000"/>
                <a:gd name="connsiteY55" fmla="*/ 8421 h 10000"/>
                <a:gd name="connsiteX56" fmla="*/ 4132 w 10000"/>
                <a:gd name="connsiteY56" fmla="*/ 8751 h 10000"/>
                <a:gd name="connsiteX0" fmla="*/ 4132 w 10000"/>
                <a:gd name="connsiteY0" fmla="*/ 8751 h 10000"/>
                <a:gd name="connsiteX1" fmla="*/ 3760 w 10000"/>
                <a:gd name="connsiteY1" fmla="*/ 8897 h 10000"/>
                <a:gd name="connsiteX2" fmla="*/ 3926 w 10000"/>
                <a:gd name="connsiteY2" fmla="*/ 9155 h 10000"/>
                <a:gd name="connsiteX3" fmla="*/ 4732 w 10000"/>
                <a:gd name="connsiteY3" fmla="*/ 8255 h 10000"/>
                <a:gd name="connsiteX4" fmla="*/ 4608 w 10000"/>
                <a:gd name="connsiteY4" fmla="*/ 7886 h 10000"/>
                <a:gd name="connsiteX5" fmla="*/ 5042 w 10000"/>
                <a:gd name="connsiteY5" fmla="*/ 7721 h 10000"/>
                <a:gd name="connsiteX6" fmla="*/ 5413 w 10000"/>
                <a:gd name="connsiteY6" fmla="*/ 8071 h 10000"/>
                <a:gd name="connsiteX7" fmla="*/ 5765 w 10000"/>
                <a:gd name="connsiteY7" fmla="*/ 7960 h 10000"/>
                <a:gd name="connsiteX8" fmla="*/ 6364 w 10000"/>
                <a:gd name="connsiteY8" fmla="*/ 8714 h 10000"/>
                <a:gd name="connsiteX9" fmla="*/ 7211 w 10000"/>
                <a:gd name="connsiteY9" fmla="*/ 9100 h 10000"/>
                <a:gd name="connsiteX10" fmla="*/ 7355 w 10000"/>
                <a:gd name="connsiteY10" fmla="*/ 9891 h 10000"/>
                <a:gd name="connsiteX11" fmla="*/ 9132 w 10000"/>
                <a:gd name="connsiteY11" fmla="*/ 9449 h 10000"/>
                <a:gd name="connsiteX12" fmla="*/ 9256 w 10000"/>
                <a:gd name="connsiteY12" fmla="*/ 8383 h 10000"/>
                <a:gd name="connsiteX13" fmla="*/ 9256 w 10000"/>
                <a:gd name="connsiteY13" fmla="*/ 7942 h 10000"/>
                <a:gd name="connsiteX14" fmla="*/ 9628 w 10000"/>
                <a:gd name="connsiteY14" fmla="*/ 7684 h 10000"/>
                <a:gd name="connsiteX15" fmla="*/ 9917 w 10000"/>
                <a:gd name="connsiteY15" fmla="*/ 7390 h 10000"/>
                <a:gd name="connsiteX16" fmla="*/ 10000 w 10000"/>
                <a:gd name="connsiteY16" fmla="*/ 7170 h 10000"/>
                <a:gd name="connsiteX17" fmla="*/ 9752 w 10000"/>
                <a:gd name="connsiteY17" fmla="*/ 6802 h 10000"/>
                <a:gd name="connsiteX18" fmla="*/ 8884 w 10000"/>
                <a:gd name="connsiteY18" fmla="*/ 6471 h 10000"/>
                <a:gd name="connsiteX19" fmla="*/ 8636 w 10000"/>
                <a:gd name="connsiteY19" fmla="*/ 5845 h 10000"/>
                <a:gd name="connsiteX20" fmla="*/ 8636 w 10000"/>
                <a:gd name="connsiteY20" fmla="*/ 4927 h 10000"/>
                <a:gd name="connsiteX21" fmla="*/ 8678 w 10000"/>
                <a:gd name="connsiteY21" fmla="*/ 4044 h 10000"/>
                <a:gd name="connsiteX22" fmla="*/ 8223 w 10000"/>
                <a:gd name="connsiteY22" fmla="*/ 3198 h 10000"/>
                <a:gd name="connsiteX23" fmla="*/ 7645 w 10000"/>
                <a:gd name="connsiteY23" fmla="*/ 3420 h 10000"/>
                <a:gd name="connsiteX24" fmla="*/ 6488 w 10000"/>
                <a:gd name="connsiteY24" fmla="*/ 3383 h 10000"/>
                <a:gd name="connsiteX25" fmla="*/ 5744 w 10000"/>
                <a:gd name="connsiteY25" fmla="*/ 3308 h 10000"/>
                <a:gd name="connsiteX26" fmla="*/ 5702 w 10000"/>
                <a:gd name="connsiteY26" fmla="*/ 2279 h 10000"/>
                <a:gd name="connsiteX27" fmla="*/ 4793 w 10000"/>
                <a:gd name="connsiteY27" fmla="*/ 1986 h 10000"/>
                <a:gd name="connsiteX28" fmla="*/ 4256 w 10000"/>
                <a:gd name="connsiteY28" fmla="*/ 1397 h 10000"/>
                <a:gd name="connsiteX29" fmla="*/ 3760 w 10000"/>
                <a:gd name="connsiteY29" fmla="*/ 883 h 10000"/>
                <a:gd name="connsiteX30" fmla="*/ 3430 w 10000"/>
                <a:gd name="connsiteY30" fmla="*/ 552 h 10000"/>
                <a:gd name="connsiteX31" fmla="*/ 3017 w 10000"/>
                <a:gd name="connsiteY31" fmla="*/ 441 h 10000"/>
                <a:gd name="connsiteX32" fmla="*/ 2603 w 10000"/>
                <a:gd name="connsiteY32" fmla="*/ 37 h 10000"/>
                <a:gd name="connsiteX33" fmla="*/ 1322 w 10000"/>
                <a:gd name="connsiteY33" fmla="*/ 0 h 10000"/>
                <a:gd name="connsiteX34" fmla="*/ 744 w 10000"/>
                <a:gd name="connsiteY34" fmla="*/ 516 h 10000"/>
                <a:gd name="connsiteX35" fmla="*/ 496 w 10000"/>
                <a:gd name="connsiteY35" fmla="*/ 478 h 10000"/>
                <a:gd name="connsiteX36" fmla="*/ 331 w 10000"/>
                <a:gd name="connsiteY36" fmla="*/ 587 h 10000"/>
                <a:gd name="connsiteX37" fmla="*/ 0 w 10000"/>
                <a:gd name="connsiteY37" fmla="*/ 920 h 10000"/>
                <a:gd name="connsiteX38" fmla="*/ 248 w 10000"/>
                <a:gd name="connsiteY38" fmla="*/ 1691 h 10000"/>
                <a:gd name="connsiteX39" fmla="*/ 289 w 10000"/>
                <a:gd name="connsiteY39" fmla="*/ 2022 h 10000"/>
                <a:gd name="connsiteX40" fmla="*/ 537 w 10000"/>
                <a:gd name="connsiteY40" fmla="*/ 2206 h 10000"/>
                <a:gd name="connsiteX41" fmla="*/ 992 w 10000"/>
                <a:gd name="connsiteY41" fmla="*/ 2463 h 10000"/>
                <a:gd name="connsiteX42" fmla="*/ 1322 w 10000"/>
                <a:gd name="connsiteY42" fmla="*/ 2685 h 10000"/>
                <a:gd name="connsiteX43" fmla="*/ 868 w 10000"/>
                <a:gd name="connsiteY43" fmla="*/ 2940 h 10000"/>
                <a:gd name="connsiteX44" fmla="*/ 992 w 10000"/>
                <a:gd name="connsiteY44" fmla="*/ 3346 h 10000"/>
                <a:gd name="connsiteX45" fmla="*/ 1198 w 10000"/>
                <a:gd name="connsiteY45" fmla="*/ 3676 h 10000"/>
                <a:gd name="connsiteX46" fmla="*/ 1364 w 10000"/>
                <a:gd name="connsiteY46" fmla="*/ 5184 h 10000"/>
                <a:gd name="connsiteX47" fmla="*/ 2107 w 10000"/>
                <a:gd name="connsiteY47" fmla="*/ 5588 h 10000"/>
                <a:gd name="connsiteX48" fmla="*/ 1488 w 10000"/>
                <a:gd name="connsiteY48" fmla="*/ 5993 h 10000"/>
                <a:gd name="connsiteX49" fmla="*/ 2025 w 10000"/>
                <a:gd name="connsiteY49" fmla="*/ 6471 h 10000"/>
                <a:gd name="connsiteX50" fmla="*/ 1612 w 10000"/>
                <a:gd name="connsiteY50" fmla="*/ 7132 h 10000"/>
                <a:gd name="connsiteX51" fmla="*/ 2231 w 10000"/>
                <a:gd name="connsiteY51" fmla="*/ 7427 h 10000"/>
                <a:gd name="connsiteX52" fmla="*/ 2397 w 10000"/>
                <a:gd name="connsiteY52" fmla="*/ 7647 h 10000"/>
                <a:gd name="connsiteX53" fmla="*/ 3140 w 10000"/>
                <a:gd name="connsiteY53" fmla="*/ 8089 h 10000"/>
                <a:gd name="connsiteX54" fmla="*/ 3678 w 10000"/>
                <a:gd name="connsiteY54" fmla="*/ 8124 h 10000"/>
                <a:gd name="connsiteX55" fmla="*/ 4421 w 10000"/>
                <a:gd name="connsiteY55" fmla="*/ 8421 h 10000"/>
                <a:gd name="connsiteX56" fmla="*/ 4132 w 10000"/>
                <a:gd name="connsiteY56" fmla="*/ 8751 h 10000"/>
                <a:gd name="connsiteX0" fmla="*/ 4132 w 10000"/>
                <a:gd name="connsiteY0" fmla="*/ 8751 h 10000"/>
                <a:gd name="connsiteX1" fmla="*/ 3760 w 10000"/>
                <a:gd name="connsiteY1" fmla="*/ 8897 h 10000"/>
                <a:gd name="connsiteX2" fmla="*/ 4732 w 10000"/>
                <a:gd name="connsiteY2" fmla="*/ 8255 h 10000"/>
                <a:gd name="connsiteX3" fmla="*/ 4608 w 10000"/>
                <a:gd name="connsiteY3" fmla="*/ 7886 h 10000"/>
                <a:gd name="connsiteX4" fmla="*/ 5042 w 10000"/>
                <a:gd name="connsiteY4" fmla="*/ 7721 h 10000"/>
                <a:gd name="connsiteX5" fmla="*/ 5413 w 10000"/>
                <a:gd name="connsiteY5" fmla="*/ 8071 h 10000"/>
                <a:gd name="connsiteX6" fmla="*/ 5765 w 10000"/>
                <a:gd name="connsiteY6" fmla="*/ 7960 h 10000"/>
                <a:gd name="connsiteX7" fmla="*/ 6364 w 10000"/>
                <a:gd name="connsiteY7" fmla="*/ 8714 h 10000"/>
                <a:gd name="connsiteX8" fmla="*/ 7211 w 10000"/>
                <a:gd name="connsiteY8" fmla="*/ 9100 h 10000"/>
                <a:gd name="connsiteX9" fmla="*/ 7355 w 10000"/>
                <a:gd name="connsiteY9" fmla="*/ 9891 h 10000"/>
                <a:gd name="connsiteX10" fmla="*/ 9132 w 10000"/>
                <a:gd name="connsiteY10" fmla="*/ 9449 h 10000"/>
                <a:gd name="connsiteX11" fmla="*/ 9256 w 10000"/>
                <a:gd name="connsiteY11" fmla="*/ 8383 h 10000"/>
                <a:gd name="connsiteX12" fmla="*/ 9256 w 10000"/>
                <a:gd name="connsiteY12" fmla="*/ 7942 h 10000"/>
                <a:gd name="connsiteX13" fmla="*/ 9628 w 10000"/>
                <a:gd name="connsiteY13" fmla="*/ 7684 h 10000"/>
                <a:gd name="connsiteX14" fmla="*/ 9917 w 10000"/>
                <a:gd name="connsiteY14" fmla="*/ 7390 h 10000"/>
                <a:gd name="connsiteX15" fmla="*/ 10000 w 10000"/>
                <a:gd name="connsiteY15" fmla="*/ 7170 h 10000"/>
                <a:gd name="connsiteX16" fmla="*/ 9752 w 10000"/>
                <a:gd name="connsiteY16" fmla="*/ 6802 h 10000"/>
                <a:gd name="connsiteX17" fmla="*/ 8884 w 10000"/>
                <a:gd name="connsiteY17" fmla="*/ 6471 h 10000"/>
                <a:gd name="connsiteX18" fmla="*/ 8636 w 10000"/>
                <a:gd name="connsiteY18" fmla="*/ 5845 h 10000"/>
                <a:gd name="connsiteX19" fmla="*/ 8636 w 10000"/>
                <a:gd name="connsiteY19" fmla="*/ 4927 h 10000"/>
                <a:gd name="connsiteX20" fmla="*/ 8678 w 10000"/>
                <a:gd name="connsiteY20" fmla="*/ 4044 h 10000"/>
                <a:gd name="connsiteX21" fmla="*/ 8223 w 10000"/>
                <a:gd name="connsiteY21" fmla="*/ 3198 h 10000"/>
                <a:gd name="connsiteX22" fmla="*/ 7645 w 10000"/>
                <a:gd name="connsiteY22" fmla="*/ 3420 h 10000"/>
                <a:gd name="connsiteX23" fmla="*/ 6488 w 10000"/>
                <a:gd name="connsiteY23" fmla="*/ 3383 h 10000"/>
                <a:gd name="connsiteX24" fmla="*/ 5744 w 10000"/>
                <a:gd name="connsiteY24" fmla="*/ 3308 h 10000"/>
                <a:gd name="connsiteX25" fmla="*/ 5702 w 10000"/>
                <a:gd name="connsiteY25" fmla="*/ 2279 h 10000"/>
                <a:gd name="connsiteX26" fmla="*/ 4793 w 10000"/>
                <a:gd name="connsiteY26" fmla="*/ 1986 h 10000"/>
                <a:gd name="connsiteX27" fmla="*/ 4256 w 10000"/>
                <a:gd name="connsiteY27" fmla="*/ 1397 h 10000"/>
                <a:gd name="connsiteX28" fmla="*/ 3760 w 10000"/>
                <a:gd name="connsiteY28" fmla="*/ 883 h 10000"/>
                <a:gd name="connsiteX29" fmla="*/ 3430 w 10000"/>
                <a:gd name="connsiteY29" fmla="*/ 552 h 10000"/>
                <a:gd name="connsiteX30" fmla="*/ 3017 w 10000"/>
                <a:gd name="connsiteY30" fmla="*/ 441 h 10000"/>
                <a:gd name="connsiteX31" fmla="*/ 2603 w 10000"/>
                <a:gd name="connsiteY31" fmla="*/ 37 h 10000"/>
                <a:gd name="connsiteX32" fmla="*/ 1322 w 10000"/>
                <a:gd name="connsiteY32" fmla="*/ 0 h 10000"/>
                <a:gd name="connsiteX33" fmla="*/ 744 w 10000"/>
                <a:gd name="connsiteY33" fmla="*/ 516 h 10000"/>
                <a:gd name="connsiteX34" fmla="*/ 496 w 10000"/>
                <a:gd name="connsiteY34" fmla="*/ 478 h 10000"/>
                <a:gd name="connsiteX35" fmla="*/ 331 w 10000"/>
                <a:gd name="connsiteY35" fmla="*/ 587 h 10000"/>
                <a:gd name="connsiteX36" fmla="*/ 0 w 10000"/>
                <a:gd name="connsiteY36" fmla="*/ 920 h 10000"/>
                <a:gd name="connsiteX37" fmla="*/ 248 w 10000"/>
                <a:gd name="connsiteY37" fmla="*/ 1691 h 10000"/>
                <a:gd name="connsiteX38" fmla="*/ 289 w 10000"/>
                <a:gd name="connsiteY38" fmla="*/ 2022 h 10000"/>
                <a:gd name="connsiteX39" fmla="*/ 537 w 10000"/>
                <a:gd name="connsiteY39" fmla="*/ 2206 h 10000"/>
                <a:gd name="connsiteX40" fmla="*/ 992 w 10000"/>
                <a:gd name="connsiteY40" fmla="*/ 2463 h 10000"/>
                <a:gd name="connsiteX41" fmla="*/ 1322 w 10000"/>
                <a:gd name="connsiteY41" fmla="*/ 2685 h 10000"/>
                <a:gd name="connsiteX42" fmla="*/ 868 w 10000"/>
                <a:gd name="connsiteY42" fmla="*/ 2940 h 10000"/>
                <a:gd name="connsiteX43" fmla="*/ 992 w 10000"/>
                <a:gd name="connsiteY43" fmla="*/ 3346 h 10000"/>
                <a:gd name="connsiteX44" fmla="*/ 1198 w 10000"/>
                <a:gd name="connsiteY44" fmla="*/ 3676 h 10000"/>
                <a:gd name="connsiteX45" fmla="*/ 1364 w 10000"/>
                <a:gd name="connsiteY45" fmla="*/ 5184 h 10000"/>
                <a:gd name="connsiteX46" fmla="*/ 2107 w 10000"/>
                <a:gd name="connsiteY46" fmla="*/ 5588 h 10000"/>
                <a:gd name="connsiteX47" fmla="*/ 1488 w 10000"/>
                <a:gd name="connsiteY47" fmla="*/ 5993 h 10000"/>
                <a:gd name="connsiteX48" fmla="*/ 2025 w 10000"/>
                <a:gd name="connsiteY48" fmla="*/ 6471 h 10000"/>
                <a:gd name="connsiteX49" fmla="*/ 1612 w 10000"/>
                <a:gd name="connsiteY49" fmla="*/ 7132 h 10000"/>
                <a:gd name="connsiteX50" fmla="*/ 2231 w 10000"/>
                <a:gd name="connsiteY50" fmla="*/ 7427 h 10000"/>
                <a:gd name="connsiteX51" fmla="*/ 2397 w 10000"/>
                <a:gd name="connsiteY51" fmla="*/ 7647 h 10000"/>
                <a:gd name="connsiteX52" fmla="*/ 3140 w 10000"/>
                <a:gd name="connsiteY52" fmla="*/ 8089 h 10000"/>
                <a:gd name="connsiteX53" fmla="*/ 3678 w 10000"/>
                <a:gd name="connsiteY53" fmla="*/ 8124 h 10000"/>
                <a:gd name="connsiteX54" fmla="*/ 4421 w 10000"/>
                <a:gd name="connsiteY54" fmla="*/ 8421 h 10000"/>
                <a:gd name="connsiteX55" fmla="*/ 4132 w 10000"/>
                <a:gd name="connsiteY55" fmla="*/ 8751 h 10000"/>
                <a:gd name="connsiteX0" fmla="*/ 4132 w 10000"/>
                <a:gd name="connsiteY0" fmla="*/ 8751 h 10000"/>
                <a:gd name="connsiteX1" fmla="*/ 4732 w 10000"/>
                <a:gd name="connsiteY1" fmla="*/ 8255 h 10000"/>
                <a:gd name="connsiteX2" fmla="*/ 4608 w 10000"/>
                <a:gd name="connsiteY2" fmla="*/ 7886 h 10000"/>
                <a:gd name="connsiteX3" fmla="*/ 5042 w 10000"/>
                <a:gd name="connsiteY3" fmla="*/ 7721 h 10000"/>
                <a:gd name="connsiteX4" fmla="*/ 5413 w 10000"/>
                <a:gd name="connsiteY4" fmla="*/ 8071 h 10000"/>
                <a:gd name="connsiteX5" fmla="*/ 5765 w 10000"/>
                <a:gd name="connsiteY5" fmla="*/ 7960 h 10000"/>
                <a:gd name="connsiteX6" fmla="*/ 6364 w 10000"/>
                <a:gd name="connsiteY6" fmla="*/ 8714 h 10000"/>
                <a:gd name="connsiteX7" fmla="*/ 7211 w 10000"/>
                <a:gd name="connsiteY7" fmla="*/ 9100 h 10000"/>
                <a:gd name="connsiteX8" fmla="*/ 7355 w 10000"/>
                <a:gd name="connsiteY8" fmla="*/ 9891 h 10000"/>
                <a:gd name="connsiteX9" fmla="*/ 9132 w 10000"/>
                <a:gd name="connsiteY9" fmla="*/ 9449 h 10000"/>
                <a:gd name="connsiteX10" fmla="*/ 9256 w 10000"/>
                <a:gd name="connsiteY10" fmla="*/ 8383 h 10000"/>
                <a:gd name="connsiteX11" fmla="*/ 9256 w 10000"/>
                <a:gd name="connsiteY11" fmla="*/ 7942 h 10000"/>
                <a:gd name="connsiteX12" fmla="*/ 9628 w 10000"/>
                <a:gd name="connsiteY12" fmla="*/ 7684 h 10000"/>
                <a:gd name="connsiteX13" fmla="*/ 9917 w 10000"/>
                <a:gd name="connsiteY13" fmla="*/ 7390 h 10000"/>
                <a:gd name="connsiteX14" fmla="*/ 10000 w 10000"/>
                <a:gd name="connsiteY14" fmla="*/ 7170 h 10000"/>
                <a:gd name="connsiteX15" fmla="*/ 9752 w 10000"/>
                <a:gd name="connsiteY15" fmla="*/ 6802 h 10000"/>
                <a:gd name="connsiteX16" fmla="*/ 8884 w 10000"/>
                <a:gd name="connsiteY16" fmla="*/ 6471 h 10000"/>
                <a:gd name="connsiteX17" fmla="*/ 8636 w 10000"/>
                <a:gd name="connsiteY17" fmla="*/ 5845 h 10000"/>
                <a:gd name="connsiteX18" fmla="*/ 8636 w 10000"/>
                <a:gd name="connsiteY18" fmla="*/ 4927 h 10000"/>
                <a:gd name="connsiteX19" fmla="*/ 8678 w 10000"/>
                <a:gd name="connsiteY19" fmla="*/ 4044 h 10000"/>
                <a:gd name="connsiteX20" fmla="*/ 8223 w 10000"/>
                <a:gd name="connsiteY20" fmla="*/ 3198 h 10000"/>
                <a:gd name="connsiteX21" fmla="*/ 7645 w 10000"/>
                <a:gd name="connsiteY21" fmla="*/ 3420 h 10000"/>
                <a:gd name="connsiteX22" fmla="*/ 6488 w 10000"/>
                <a:gd name="connsiteY22" fmla="*/ 3383 h 10000"/>
                <a:gd name="connsiteX23" fmla="*/ 5744 w 10000"/>
                <a:gd name="connsiteY23" fmla="*/ 3308 h 10000"/>
                <a:gd name="connsiteX24" fmla="*/ 5702 w 10000"/>
                <a:gd name="connsiteY24" fmla="*/ 2279 h 10000"/>
                <a:gd name="connsiteX25" fmla="*/ 4793 w 10000"/>
                <a:gd name="connsiteY25" fmla="*/ 1986 h 10000"/>
                <a:gd name="connsiteX26" fmla="*/ 4256 w 10000"/>
                <a:gd name="connsiteY26" fmla="*/ 1397 h 10000"/>
                <a:gd name="connsiteX27" fmla="*/ 3760 w 10000"/>
                <a:gd name="connsiteY27" fmla="*/ 883 h 10000"/>
                <a:gd name="connsiteX28" fmla="*/ 3430 w 10000"/>
                <a:gd name="connsiteY28" fmla="*/ 552 h 10000"/>
                <a:gd name="connsiteX29" fmla="*/ 3017 w 10000"/>
                <a:gd name="connsiteY29" fmla="*/ 441 h 10000"/>
                <a:gd name="connsiteX30" fmla="*/ 2603 w 10000"/>
                <a:gd name="connsiteY30" fmla="*/ 37 h 10000"/>
                <a:gd name="connsiteX31" fmla="*/ 1322 w 10000"/>
                <a:gd name="connsiteY31" fmla="*/ 0 h 10000"/>
                <a:gd name="connsiteX32" fmla="*/ 744 w 10000"/>
                <a:gd name="connsiteY32" fmla="*/ 516 h 10000"/>
                <a:gd name="connsiteX33" fmla="*/ 496 w 10000"/>
                <a:gd name="connsiteY33" fmla="*/ 478 h 10000"/>
                <a:gd name="connsiteX34" fmla="*/ 331 w 10000"/>
                <a:gd name="connsiteY34" fmla="*/ 587 h 10000"/>
                <a:gd name="connsiteX35" fmla="*/ 0 w 10000"/>
                <a:gd name="connsiteY35" fmla="*/ 920 h 10000"/>
                <a:gd name="connsiteX36" fmla="*/ 248 w 10000"/>
                <a:gd name="connsiteY36" fmla="*/ 1691 h 10000"/>
                <a:gd name="connsiteX37" fmla="*/ 289 w 10000"/>
                <a:gd name="connsiteY37" fmla="*/ 2022 h 10000"/>
                <a:gd name="connsiteX38" fmla="*/ 537 w 10000"/>
                <a:gd name="connsiteY38" fmla="*/ 2206 h 10000"/>
                <a:gd name="connsiteX39" fmla="*/ 992 w 10000"/>
                <a:gd name="connsiteY39" fmla="*/ 2463 h 10000"/>
                <a:gd name="connsiteX40" fmla="*/ 1322 w 10000"/>
                <a:gd name="connsiteY40" fmla="*/ 2685 h 10000"/>
                <a:gd name="connsiteX41" fmla="*/ 868 w 10000"/>
                <a:gd name="connsiteY41" fmla="*/ 2940 h 10000"/>
                <a:gd name="connsiteX42" fmla="*/ 992 w 10000"/>
                <a:gd name="connsiteY42" fmla="*/ 3346 h 10000"/>
                <a:gd name="connsiteX43" fmla="*/ 1198 w 10000"/>
                <a:gd name="connsiteY43" fmla="*/ 3676 h 10000"/>
                <a:gd name="connsiteX44" fmla="*/ 1364 w 10000"/>
                <a:gd name="connsiteY44" fmla="*/ 5184 h 10000"/>
                <a:gd name="connsiteX45" fmla="*/ 2107 w 10000"/>
                <a:gd name="connsiteY45" fmla="*/ 5588 h 10000"/>
                <a:gd name="connsiteX46" fmla="*/ 1488 w 10000"/>
                <a:gd name="connsiteY46" fmla="*/ 5993 h 10000"/>
                <a:gd name="connsiteX47" fmla="*/ 2025 w 10000"/>
                <a:gd name="connsiteY47" fmla="*/ 6471 h 10000"/>
                <a:gd name="connsiteX48" fmla="*/ 1612 w 10000"/>
                <a:gd name="connsiteY48" fmla="*/ 7132 h 10000"/>
                <a:gd name="connsiteX49" fmla="*/ 2231 w 10000"/>
                <a:gd name="connsiteY49" fmla="*/ 7427 h 10000"/>
                <a:gd name="connsiteX50" fmla="*/ 2397 w 10000"/>
                <a:gd name="connsiteY50" fmla="*/ 7647 h 10000"/>
                <a:gd name="connsiteX51" fmla="*/ 3140 w 10000"/>
                <a:gd name="connsiteY51" fmla="*/ 8089 h 10000"/>
                <a:gd name="connsiteX52" fmla="*/ 3678 w 10000"/>
                <a:gd name="connsiteY52" fmla="*/ 8124 h 10000"/>
                <a:gd name="connsiteX53" fmla="*/ 4421 w 10000"/>
                <a:gd name="connsiteY53" fmla="*/ 8421 h 10000"/>
                <a:gd name="connsiteX54" fmla="*/ 4132 w 10000"/>
                <a:gd name="connsiteY54" fmla="*/ 8751 h 10000"/>
                <a:gd name="connsiteX0" fmla="*/ 4421 w 10000"/>
                <a:gd name="connsiteY0" fmla="*/ 8421 h 10000"/>
                <a:gd name="connsiteX1" fmla="*/ 4732 w 10000"/>
                <a:gd name="connsiteY1" fmla="*/ 8255 h 10000"/>
                <a:gd name="connsiteX2" fmla="*/ 4608 w 10000"/>
                <a:gd name="connsiteY2" fmla="*/ 7886 h 10000"/>
                <a:gd name="connsiteX3" fmla="*/ 5042 w 10000"/>
                <a:gd name="connsiteY3" fmla="*/ 7721 h 10000"/>
                <a:gd name="connsiteX4" fmla="*/ 5413 w 10000"/>
                <a:gd name="connsiteY4" fmla="*/ 8071 h 10000"/>
                <a:gd name="connsiteX5" fmla="*/ 5765 w 10000"/>
                <a:gd name="connsiteY5" fmla="*/ 7960 h 10000"/>
                <a:gd name="connsiteX6" fmla="*/ 6364 w 10000"/>
                <a:gd name="connsiteY6" fmla="*/ 8714 h 10000"/>
                <a:gd name="connsiteX7" fmla="*/ 7211 w 10000"/>
                <a:gd name="connsiteY7" fmla="*/ 9100 h 10000"/>
                <a:gd name="connsiteX8" fmla="*/ 7355 w 10000"/>
                <a:gd name="connsiteY8" fmla="*/ 9891 h 10000"/>
                <a:gd name="connsiteX9" fmla="*/ 9132 w 10000"/>
                <a:gd name="connsiteY9" fmla="*/ 9449 h 10000"/>
                <a:gd name="connsiteX10" fmla="*/ 9256 w 10000"/>
                <a:gd name="connsiteY10" fmla="*/ 8383 h 10000"/>
                <a:gd name="connsiteX11" fmla="*/ 9256 w 10000"/>
                <a:gd name="connsiteY11" fmla="*/ 7942 h 10000"/>
                <a:gd name="connsiteX12" fmla="*/ 9628 w 10000"/>
                <a:gd name="connsiteY12" fmla="*/ 7684 h 10000"/>
                <a:gd name="connsiteX13" fmla="*/ 9917 w 10000"/>
                <a:gd name="connsiteY13" fmla="*/ 7390 h 10000"/>
                <a:gd name="connsiteX14" fmla="*/ 10000 w 10000"/>
                <a:gd name="connsiteY14" fmla="*/ 7170 h 10000"/>
                <a:gd name="connsiteX15" fmla="*/ 9752 w 10000"/>
                <a:gd name="connsiteY15" fmla="*/ 6802 h 10000"/>
                <a:gd name="connsiteX16" fmla="*/ 8884 w 10000"/>
                <a:gd name="connsiteY16" fmla="*/ 6471 h 10000"/>
                <a:gd name="connsiteX17" fmla="*/ 8636 w 10000"/>
                <a:gd name="connsiteY17" fmla="*/ 5845 h 10000"/>
                <a:gd name="connsiteX18" fmla="*/ 8636 w 10000"/>
                <a:gd name="connsiteY18" fmla="*/ 4927 h 10000"/>
                <a:gd name="connsiteX19" fmla="*/ 8678 w 10000"/>
                <a:gd name="connsiteY19" fmla="*/ 4044 h 10000"/>
                <a:gd name="connsiteX20" fmla="*/ 8223 w 10000"/>
                <a:gd name="connsiteY20" fmla="*/ 3198 h 10000"/>
                <a:gd name="connsiteX21" fmla="*/ 7645 w 10000"/>
                <a:gd name="connsiteY21" fmla="*/ 3420 h 10000"/>
                <a:gd name="connsiteX22" fmla="*/ 6488 w 10000"/>
                <a:gd name="connsiteY22" fmla="*/ 3383 h 10000"/>
                <a:gd name="connsiteX23" fmla="*/ 5744 w 10000"/>
                <a:gd name="connsiteY23" fmla="*/ 3308 h 10000"/>
                <a:gd name="connsiteX24" fmla="*/ 5702 w 10000"/>
                <a:gd name="connsiteY24" fmla="*/ 2279 h 10000"/>
                <a:gd name="connsiteX25" fmla="*/ 4793 w 10000"/>
                <a:gd name="connsiteY25" fmla="*/ 1986 h 10000"/>
                <a:gd name="connsiteX26" fmla="*/ 4256 w 10000"/>
                <a:gd name="connsiteY26" fmla="*/ 1397 h 10000"/>
                <a:gd name="connsiteX27" fmla="*/ 3760 w 10000"/>
                <a:gd name="connsiteY27" fmla="*/ 883 h 10000"/>
                <a:gd name="connsiteX28" fmla="*/ 3430 w 10000"/>
                <a:gd name="connsiteY28" fmla="*/ 552 h 10000"/>
                <a:gd name="connsiteX29" fmla="*/ 3017 w 10000"/>
                <a:gd name="connsiteY29" fmla="*/ 441 h 10000"/>
                <a:gd name="connsiteX30" fmla="*/ 2603 w 10000"/>
                <a:gd name="connsiteY30" fmla="*/ 37 h 10000"/>
                <a:gd name="connsiteX31" fmla="*/ 1322 w 10000"/>
                <a:gd name="connsiteY31" fmla="*/ 0 h 10000"/>
                <a:gd name="connsiteX32" fmla="*/ 744 w 10000"/>
                <a:gd name="connsiteY32" fmla="*/ 516 h 10000"/>
                <a:gd name="connsiteX33" fmla="*/ 496 w 10000"/>
                <a:gd name="connsiteY33" fmla="*/ 478 h 10000"/>
                <a:gd name="connsiteX34" fmla="*/ 331 w 10000"/>
                <a:gd name="connsiteY34" fmla="*/ 587 h 10000"/>
                <a:gd name="connsiteX35" fmla="*/ 0 w 10000"/>
                <a:gd name="connsiteY35" fmla="*/ 920 h 10000"/>
                <a:gd name="connsiteX36" fmla="*/ 248 w 10000"/>
                <a:gd name="connsiteY36" fmla="*/ 1691 h 10000"/>
                <a:gd name="connsiteX37" fmla="*/ 289 w 10000"/>
                <a:gd name="connsiteY37" fmla="*/ 2022 h 10000"/>
                <a:gd name="connsiteX38" fmla="*/ 537 w 10000"/>
                <a:gd name="connsiteY38" fmla="*/ 2206 h 10000"/>
                <a:gd name="connsiteX39" fmla="*/ 992 w 10000"/>
                <a:gd name="connsiteY39" fmla="*/ 2463 h 10000"/>
                <a:gd name="connsiteX40" fmla="*/ 1322 w 10000"/>
                <a:gd name="connsiteY40" fmla="*/ 2685 h 10000"/>
                <a:gd name="connsiteX41" fmla="*/ 868 w 10000"/>
                <a:gd name="connsiteY41" fmla="*/ 2940 h 10000"/>
                <a:gd name="connsiteX42" fmla="*/ 992 w 10000"/>
                <a:gd name="connsiteY42" fmla="*/ 3346 h 10000"/>
                <a:gd name="connsiteX43" fmla="*/ 1198 w 10000"/>
                <a:gd name="connsiteY43" fmla="*/ 3676 h 10000"/>
                <a:gd name="connsiteX44" fmla="*/ 1364 w 10000"/>
                <a:gd name="connsiteY44" fmla="*/ 5184 h 10000"/>
                <a:gd name="connsiteX45" fmla="*/ 2107 w 10000"/>
                <a:gd name="connsiteY45" fmla="*/ 5588 h 10000"/>
                <a:gd name="connsiteX46" fmla="*/ 1488 w 10000"/>
                <a:gd name="connsiteY46" fmla="*/ 5993 h 10000"/>
                <a:gd name="connsiteX47" fmla="*/ 2025 w 10000"/>
                <a:gd name="connsiteY47" fmla="*/ 6471 h 10000"/>
                <a:gd name="connsiteX48" fmla="*/ 1612 w 10000"/>
                <a:gd name="connsiteY48" fmla="*/ 7132 h 10000"/>
                <a:gd name="connsiteX49" fmla="*/ 2231 w 10000"/>
                <a:gd name="connsiteY49" fmla="*/ 7427 h 10000"/>
                <a:gd name="connsiteX50" fmla="*/ 2397 w 10000"/>
                <a:gd name="connsiteY50" fmla="*/ 7647 h 10000"/>
                <a:gd name="connsiteX51" fmla="*/ 3140 w 10000"/>
                <a:gd name="connsiteY51" fmla="*/ 8089 h 10000"/>
                <a:gd name="connsiteX52" fmla="*/ 3678 w 10000"/>
                <a:gd name="connsiteY52" fmla="*/ 8124 h 10000"/>
                <a:gd name="connsiteX53" fmla="*/ 4421 w 10000"/>
                <a:gd name="connsiteY53" fmla="*/ 8421 h 10000"/>
                <a:gd name="connsiteX0" fmla="*/ 3678 w 10000"/>
                <a:gd name="connsiteY0" fmla="*/ 8124 h 10000"/>
                <a:gd name="connsiteX1" fmla="*/ 4732 w 10000"/>
                <a:gd name="connsiteY1" fmla="*/ 8255 h 10000"/>
                <a:gd name="connsiteX2" fmla="*/ 4608 w 10000"/>
                <a:gd name="connsiteY2" fmla="*/ 7886 h 10000"/>
                <a:gd name="connsiteX3" fmla="*/ 5042 w 10000"/>
                <a:gd name="connsiteY3" fmla="*/ 7721 h 10000"/>
                <a:gd name="connsiteX4" fmla="*/ 5413 w 10000"/>
                <a:gd name="connsiteY4" fmla="*/ 8071 h 10000"/>
                <a:gd name="connsiteX5" fmla="*/ 5765 w 10000"/>
                <a:gd name="connsiteY5" fmla="*/ 7960 h 10000"/>
                <a:gd name="connsiteX6" fmla="*/ 6364 w 10000"/>
                <a:gd name="connsiteY6" fmla="*/ 8714 h 10000"/>
                <a:gd name="connsiteX7" fmla="*/ 7211 w 10000"/>
                <a:gd name="connsiteY7" fmla="*/ 9100 h 10000"/>
                <a:gd name="connsiteX8" fmla="*/ 7355 w 10000"/>
                <a:gd name="connsiteY8" fmla="*/ 9891 h 10000"/>
                <a:gd name="connsiteX9" fmla="*/ 9132 w 10000"/>
                <a:gd name="connsiteY9" fmla="*/ 9449 h 10000"/>
                <a:gd name="connsiteX10" fmla="*/ 9256 w 10000"/>
                <a:gd name="connsiteY10" fmla="*/ 8383 h 10000"/>
                <a:gd name="connsiteX11" fmla="*/ 9256 w 10000"/>
                <a:gd name="connsiteY11" fmla="*/ 7942 h 10000"/>
                <a:gd name="connsiteX12" fmla="*/ 9628 w 10000"/>
                <a:gd name="connsiteY12" fmla="*/ 7684 h 10000"/>
                <a:gd name="connsiteX13" fmla="*/ 9917 w 10000"/>
                <a:gd name="connsiteY13" fmla="*/ 7390 h 10000"/>
                <a:gd name="connsiteX14" fmla="*/ 10000 w 10000"/>
                <a:gd name="connsiteY14" fmla="*/ 7170 h 10000"/>
                <a:gd name="connsiteX15" fmla="*/ 9752 w 10000"/>
                <a:gd name="connsiteY15" fmla="*/ 6802 h 10000"/>
                <a:gd name="connsiteX16" fmla="*/ 8884 w 10000"/>
                <a:gd name="connsiteY16" fmla="*/ 6471 h 10000"/>
                <a:gd name="connsiteX17" fmla="*/ 8636 w 10000"/>
                <a:gd name="connsiteY17" fmla="*/ 5845 h 10000"/>
                <a:gd name="connsiteX18" fmla="*/ 8636 w 10000"/>
                <a:gd name="connsiteY18" fmla="*/ 4927 h 10000"/>
                <a:gd name="connsiteX19" fmla="*/ 8678 w 10000"/>
                <a:gd name="connsiteY19" fmla="*/ 4044 h 10000"/>
                <a:gd name="connsiteX20" fmla="*/ 8223 w 10000"/>
                <a:gd name="connsiteY20" fmla="*/ 3198 h 10000"/>
                <a:gd name="connsiteX21" fmla="*/ 7645 w 10000"/>
                <a:gd name="connsiteY21" fmla="*/ 3420 h 10000"/>
                <a:gd name="connsiteX22" fmla="*/ 6488 w 10000"/>
                <a:gd name="connsiteY22" fmla="*/ 3383 h 10000"/>
                <a:gd name="connsiteX23" fmla="*/ 5744 w 10000"/>
                <a:gd name="connsiteY23" fmla="*/ 3308 h 10000"/>
                <a:gd name="connsiteX24" fmla="*/ 5702 w 10000"/>
                <a:gd name="connsiteY24" fmla="*/ 2279 h 10000"/>
                <a:gd name="connsiteX25" fmla="*/ 4793 w 10000"/>
                <a:gd name="connsiteY25" fmla="*/ 1986 h 10000"/>
                <a:gd name="connsiteX26" fmla="*/ 4256 w 10000"/>
                <a:gd name="connsiteY26" fmla="*/ 1397 h 10000"/>
                <a:gd name="connsiteX27" fmla="*/ 3760 w 10000"/>
                <a:gd name="connsiteY27" fmla="*/ 883 h 10000"/>
                <a:gd name="connsiteX28" fmla="*/ 3430 w 10000"/>
                <a:gd name="connsiteY28" fmla="*/ 552 h 10000"/>
                <a:gd name="connsiteX29" fmla="*/ 3017 w 10000"/>
                <a:gd name="connsiteY29" fmla="*/ 441 h 10000"/>
                <a:gd name="connsiteX30" fmla="*/ 2603 w 10000"/>
                <a:gd name="connsiteY30" fmla="*/ 37 h 10000"/>
                <a:gd name="connsiteX31" fmla="*/ 1322 w 10000"/>
                <a:gd name="connsiteY31" fmla="*/ 0 h 10000"/>
                <a:gd name="connsiteX32" fmla="*/ 744 w 10000"/>
                <a:gd name="connsiteY32" fmla="*/ 516 h 10000"/>
                <a:gd name="connsiteX33" fmla="*/ 496 w 10000"/>
                <a:gd name="connsiteY33" fmla="*/ 478 h 10000"/>
                <a:gd name="connsiteX34" fmla="*/ 331 w 10000"/>
                <a:gd name="connsiteY34" fmla="*/ 587 h 10000"/>
                <a:gd name="connsiteX35" fmla="*/ 0 w 10000"/>
                <a:gd name="connsiteY35" fmla="*/ 920 h 10000"/>
                <a:gd name="connsiteX36" fmla="*/ 248 w 10000"/>
                <a:gd name="connsiteY36" fmla="*/ 1691 h 10000"/>
                <a:gd name="connsiteX37" fmla="*/ 289 w 10000"/>
                <a:gd name="connsiteY37" fmla="*/ 2022 h 10000"/>
                <a:gd name="connsiteX38" fmla="*/ 537 w 10000"/>
                <a:gd name="connsiteY38" fmla="*/ 2206 h 10000"/>
                <a:gd name="connsiteX39" fmla="*/ 992 w 10000"/>
                <a:gd name="connsiteY39" fmla="*/ 2463 h 10000"/>
                <a:gd name="connsiteX40" fmla="*/ 1322 w 10000"/>
                <a:gd name="connsiteY40" fmla="*/ 2685 h 10000"/>
                <a:gd name="connsiteX41" fmla="*/ 868 w 10000"/>
                <a:gd name="connsiteY41" fmla="*/ 2940 h 10000"/>
                <a:gd name="connsiteX42" fmla="*/ 992 w 10000"/>
                <a:gd name="connsiteY42" fmla="*/ 3346 h 10000"/>
                <a:gd name="connsiteX43" fmla="*/ 1198 w 10000"/>
                <a:gd name="connsiteY43" fmla="*/ 3676 h 10000"/>
                <a:gd name="connsiteX44" fmla="*/ 1364 w 10000"/>
                <a:gd name="connsiteY44" fmla="*/ 5184 h 10000"/>
                <a:gd name="connsiteX45" fmla="*/ 2107 w 10000"/>
                <a:gd name="connsiteY45" fmla="*/ 5588 h 10000"/>
                <a:gd name="connsiteX46" fmla="*/ 1488 w 10000"/>
                <a:gd name="connsiteY46" fmla="*/ 5993 h 10000"/>
                <a:gd name="connsiteX47" fmla="*/ 2025 w 10000"/>
                <a:gd name="connsiteY47" fmla="*/ 6471 h 10000"/>
                <a:gd name="connsiteX48" fmla="*/ 1612 w 10000"/>
                <a:gd name="connsiteY48" fmla="*/ 7132 h 10000"/>
                <a:gd name="connsiteX49" fmla="*/ 2231 w 10000"/>
                <a:gd name="connsiteY49" fmla="*/ 7427 h 10000"/>
                <a:gd name="connsiteX50" fmla="*/ 2397 w 10000"/>
                <a:gd name="connsiteY50" fmla="*/ 7647 h 10000"/>
                <a:gd name="connsiteX51" fmla="*/ 3140 w 10000"/>
                <a:gd name="connsiteY51" fmla="*/ 8089 h 10000"/>
                <a:gd name="connsiteX52" fmla="*/ 3678 w 10000"/>
                <a:gd name="connsiteY52" fmla="*/ 8124 h 10000"/>
                <a:gd name="connsiteX0" fmla="*/ 3678 w 10000"/>
                <a:gd name="connsiteY0" fmla="*/ 8124 h 10000"/>
                <a:gd name="connsiteX1" fmla="*/ 4732 w 10000"/>
                <a:gd name="connsiteY1" fmla="*/ 8255 h 10000"/>
                <a:gd name="connsiteX2" fmla="*/ 4608 w 10000"/>
                <a:gd name="connsiteY2" fmla="*/ 7886 h 10000"/>
                <a:gd name="connsiteX3" fmla="*/ 4608 w 10000"/>
                <a:gd name="connsiteY3" fmla="*/ 8328 h 10000"/>
                <a:gd name="connsiteX4" fmla="*/ 5413 w 10000"/>
                <a:gd name="connsiteY4" fmla="*/ 8071 h 10000"/>
                <a:gd name="connsiteX5" fmla="*/ 5765 w 10000"/>
                <a:gd name="connsiteY5" fmla="*/ 7960 h 10000"/>
                <a:gd name="connsiteX6" fmla="*/ 6364 w 10000"/>
                <a:gd name="connsiteY6" fmla="*/ 8714 h 10000"/>
                <a:gd name="connsiteX7" fmla="*/ 7211 w 10000"/>
                <a:gd name="connsiteY7" fmla="*/ 9100 h 10000"/>
                <a:gd name="connsiteX8" fmla="*/ 7355 w 10000"/>
                <a:gd name="connsiteY8" fmla="*/ 9891 h 10000"/>
                <a:gd name="connsiteX9" fmla="*/ 9132 w 10000"/>
                <a:gd name="connsiteY9" fmla="*/ 9449 h 10000"/>
                <a:gd name="connsiteX10" fmla="*/ 9256 w 10000"/>
                <a:gd name="connsiteY10" fmla="*/ 8383 h 10000"/>
                <a:gd name="connsiteX11" fmla="*/ 9256 w 10000"/>
                <a:gd name="connsiteY11" fmla="*/ 7942 h 10000"/>
                <a:gd name="connsiteX12" fmla="*/ 9628 w 10000"/>
                <a:gd name="connsiteY12" fmla="*/ 7684 h 10000"/>
                <a:gd name="connsiteX13" fmla="*/ 9917 w 10000"/>
                <a:gd name="connsiteY13" fmla="*/ 7390 h 10000"/>
                <a:gd name="connsiteX14" fmla="*/ 10000 w 10000"/>
                <a:gd name="connsiteY14" fmla="*/ 7170 h 10000"/>
                <a:gd name="connsiteX15" fmla="*/ 9752 w 10000"/>
                <a:gd name="connsiteY15" fmla="*/ 6802 h 10000"/>
                <a:gd name="connsiteX16" fmla="*/ 8884 w 10000"/>
                <a:gd name="connsiteY16" fmla="*/ 6471 h 10000"/>
                <a:gd name="connsiteX17" fmla="*/ 8636 w 10000"/>
                <a:gd name="connsiteY17" fmla="*/ 5845 h 10000"/>
                <a:gd name="connsiteX18" fmla="*/ 8636 w 10000"/>
                <a:gd name="connsiteY18" fmla="*/ 4927 h 10000"/>
                <a:gd name="connsiteX19" fmla="*/ 8678 w 10000"/>
                <a:gd name="connsiteY19" fmla="*/ 4044 h 10000"/>
                <a:gd name="connsiteX20" fmla="*/ 8223 w 10000"/>
                <a:gd name="connsiteY20" fmla="*/ 3198 h 10000"/>
                <a:gd name="connsiteX21" fmla="*/ 7645 w 10000"/>
                <a:gd name="connsiteY21" fmla="*/ 3420 h 10000"/>
                <a:gd name="connsiteX22" fmla="*/ 6488 w 10000"/>
                <a:gd name="connsiteY22" fmla="*/ 3383 h 10000"/>
                <a:gd name="connsiteX23" fmla="*/ 5744 w 10000"/>
                <a:gd name="connsiteY23" fmla="*/ 3308 h 10000"/>
                <a:gd name="connsiteX24" fmla="*/ 5702 w 10000"/>
                <a:gd name="connsiteY24" fmla="*/ 2279 h 10000"/>
                <a:gd name="connsiteX25" fmla="*/ 4793 w 10000"/>
                <a:gd name="connsiteY25" fmla="*/ 1986 h 10000"/>
                <a:gd name="connsiteX26" fmla="*/ 4256 w 10000"/>
                <a:gd name="connsiteY26" fmla="*/ 1397 h 10000"/>
                <a:gd name="connsiteX27" fmla="*/ 3760 w 10000"/>
                <a:gd name="connsiteY27" fmla="*/ 883 h 10000"/>
                <a:gd name="connsiteX28" fmla="*/ 3430 w 10000"/>
                <a:gd name="connsiteY28" fmla="*/ 552 h 10000"/>
                <a:gd name="connsiteX29" fmla="*/ 3017 w 10000"/>
                <a:gd name="connsiteY29" fmla="*/ 441 h 10000"/>
                <a:gd name="connsiteX30" fmla="*/ 2603 w 10000"/>
                <a:gd name="connsiteY30" fmla="*/ 37 h 10000"/>
                <a:gd name="connsiteX31" fmla="*/ 1322 w 10000"/>
                <a:gd name="connsiteY31" fmla="*/ 0 h 10000"/>
                <a:gd name="connsiteX32" fmla="*/ 744 w 10000"/>
                <a:gd name="connsiteY32" fmla="*/ 516 h 10000"/>
                <a:gd name="connsiteX33" fmla="*/ 496 w 10000"/>
                <a:gd name="connsiteY33" fmla="*/ 478 h 10000"/>
                <a:gd name="connsiteX34" fmla="*/ 331 w 10000"/>
                <a:gd name="connsiteY34" fmla="*/ 587 h 10000"/>
                <a:gd name="connsiteX35" fmla="*/ 0 w 10000"/>
                <a:gd name="connsiteY35" fmla="*/ 920 h 10000"/>
                <a:gd name="connsiteX36" fmla="*/ 248 w 10000"/>
                <a:gd name="connsiteY36" fmla="*/ 1691 h 10000"/>
                <a:gd name="connsiteX37" fmla="*/ 289 w 10000"/>
                <a:gd name="connsiteY37" fmla="*/ 2022 h 10000"/>
                <a:gd name="connsiteX38" fmla="*/ 537 w 10000"/>
                <a:gd name="connsiteY38" fmla="*/ 2206 h 10000"/>
                <a:gd name="connsiteX39" fmla="*/ 992 w 10000"/>
                <a:gd name="connsiteY39" fmla="*/ 2463 h 10000"/>
                <a:gd name="connsiteX40" fmla="*/ 1322 w 10000"/>
                <a:gd name="connsiteY40" fmla="*/ 2685 h 10000"/>
                <a:gd name="connsiteX41" fmla="*/ 868 w 10000"/>
                <a:gd name="connsiteY41" fmla="*/ 2940 h 10000"/>
                <a:gd name="connsiteX42" fmla="*/ 992 w 10000"/>
                <a:gd name="connsiteY42" fmla="*/ 3346 h 10000"/>
                <a:gd name="connsiteX43" fmla="*/ 1198 w 10000"/>
                <a:gd name="connsiteY43" fmla="*/ 3676 h 10000"/>
                <a:gd name="connsiteX44" fmla="*/ 1364 w 10000"/>
                <a:gd name="connsiteY44" fmla="*/ 5184 h 10000"/>
                <a:gd name="connsiteX45" fmla="*/ 2107 w 10000"/>
                <a:gd name="connsiteY45" fmla="*/ 5588 h 10000"/>
                <a:gd name="connsiteX46" fmla="*/ 1488 w 10000"/>
                <a:gd name="connsiteY46" fmla="*/ 5993 h 10000"/>
                <a:gd name="connsiteX47" fmla="*/ 2025 w 10000"/>
                <a:gd name="connsiteY47" fmla="*/ 6471 h 10000"/>
                <a:gd name="connsiteX48" fmla="*/ 1612 w 10000"/>
                <a:gd name="connsiteY48" fmla="*/ 7132 h 10000"/>
                <a:gd name="connsiteX49" fmla="*/ 2231 w 10000"/>
                <a:gd name="connsiteY49" fmla="*/ 7427 h 10000"/>
                <a:gd name="connsiteX50" fmla="*/ 2397 w 10000"/>
                <a:gd name="connsiteY50" fmla="*/ 7647 h 10000"/>
                <a:gd name="connsiteX51" fmla="*/ 3140 w 10000"/>
                <a:gd name="connsiteY51" fmla="*/ 8089 h 10000"/>
                <a:gd name="connsiteX52" fmla="*/ 3678 w 10000"/>
                <a:gd name="connsiteY52" fmla="*/ 8124 h 10000"/>
                <a:gd name="connsiteX0" fmla="*/ 3678 w 10000"/>
                <a:gd name="connsiteY0" fmla="*/ 8124 h 10000"/>
                <a:gd name="connsiteX1" fmla="*/ 4732 w 10000"/>
                <a:gd name="connsiteY1" fmla="*/ 8255 h 10000"/>
                <a:gd name="connsiteX2" fmla="*/ 4608 w 10000"/>
                <a:gd name="connsiteY2" fmla="*/ 7886 h 10000"/>
                <a:gd name="connsiteX3" fmla="*/ 5413 w 10000"/>
                <a:gd name="connsiteY3" fmla="*/ 8071 h 10000"/>
                <a:gd name="connsiteX4" fmla="*/ 5765 w 10000"/>
                <a:gd name="connsiteY4" fmla="*/ 7960 h 10000"/>
                <a:gd name="connsiteX5" fmla="*/ 6364 w 10000"/>
                <a:gd name="connsiteY5" fmla="*/ 8714 h 10000"/>
                <a:gd name="connsiteX6" fmla="*/ 7211 w 10000"/>
                <a:gd name="connsiteY6" fmla="*/ 9100 h 10000"/>
                <a:gd name="connsiteX7" fmla="*/ 7355 w 10000"/>
                <a:gd name="connsiteY7" fmla="*/ 9891 h 10000"/>
                <a:gd name="connsiteX8" fmla="*/ 9132 w 10000"/>
                <a:gd name="connsiteY8" fmla="*/ 9449 h 10000"/>
                <a:gd name="connsiteX9" fmla="*/ 9256 w 10000"/>
                <a:gd name="connsiteY9" fmla="*/ 8383 h 10000"/>
                <a:gd name="connsiteX10" fmla="*/ 9256 w 10000"/>
                <a:gd name="connsiteY10" fmla="*/ 7942 h 10000"/>
                <a:gd name="connsiteX11" fmla="*/ 9628 w 10000"/>
                <a:gd name="connsiteY11" fmla="*/ 7684 h 10000"/>
                <a:gd name="connsiteX12" fmla="*/ 9917 w 10000"/>
                <a:gd name="connsiteY12" fmla="*/ 7390 h 10000"/>
                <a:gd name="connsiteX13" fmla="*/ 10000 w 10000"/>
                <a:gd name="connsiteY13" fmla="*/ 7170 h 10000"/>
                <a:gd name="connsiteX14" fmla="*/ 9752 w 10000"/>
                <a:gd name="connsiteY14" fmla="*/ 6802 h 10000"/>
                <a:gd name="connsiteX15" fmla="*/ 8884 w 10000"/>
                <a:gd name="connsiteY15" fmla="*/ 6471 h 10000"/>
                <a:gd name="connsiteX16" fmla="*/ 8636 w 10000"/>
                <a:gd name="connsiteY16" fmla="*/ 5845 h 10000"/>
                <a:gd name="connsiteX17" fmla="*/ 8636 w 10000"/>
                <a:gd name="connsiteY17" fmla="*/ 4927 h 10000"/>
                <a:gd name="connsiteX18" fmla="*/ 8678 w 10000"/>
                <a:gd name="connsiteY18" fmla="*/ 4044 h 10000"/>
                <a:gd name="connsiteX19" fmla="*/ 8223 w 10000"/>
                <a:gd name="connsiteY19" fmla="*/ 3198 h 10000"/>
                <a:gd name="connsiteX20" fmla="*/ 7645 w 10000"/>
                <a:gd name="connsiteY20" fmla="*/ 3420 h 10000"/>
                <a:gd name="connsiteX21" fmla="*/ 6488 w 10000"/>
                <a:gd name="connsiteY21" fmla="*/ 3383 h 10000"/>
                <a:gd name="connsiteX22" fmla="*/ 5744 w 10000"/>
                <a:gd name="connsiteY22" fmla="*/ 3308 h 10000"/>
                <a:gd name="connsiteX23" fmla="*/ 5702 w 10000"/>
                <a:gd name="connsiteY23" fmla="*/ 2279 h 10000"/>
                <a:gd name="connsiteX24" fmla="*/ 4793 w 10000"/>
                <a:gd name="connsiteY24" fmla="*/ 1986 h 10000"/>
                <a:gd name="connsiteX25" fmla="*/ 4256 w 10000"/>
                <a:gd name="connsiteY25" fmla="*/ 1397 h 10000"/>
                <a:gd name="connsiteX26" fmla="*/ 3760 w 10000"/>
                <a:gd name="connsiteY26" fmla="*/ 883 h 10000"/>
                <a:gd name="connsiteX27" fmla="*/ 3430 w 10000"/>
                <a:gd name="connsiteY27" fmla="*/ 552 h 10000"/>
                <a:gd name="connsiteX28" fmla="*/ 3017 w 10000"/>
                <a:gd name="connsiteY28" fmla="*/ 441 h 10000"/>
                <a:gd name="connsiteX29" fmla="*/ 2603 w 10000"/>
                <a:gd name="connsiteY29" fmla="*/ 37 h 10000"/>
                <a:gd name="connsiteX30" fmla="*/ 1322 w 10000"/>
                <a:gd name="connsiteY30" fmla="*/ 0 h 10000"/>
                <a:gd name="connsiteX31" fmla="*/ 744 w 10000"/>
                <a:gd name="connsiteY31" fmla="*/ 516 h 10000"/>
                <a:gd name="connsiteX32" fmla="*/ 496 w 10000"/>
                <a:gd name="connsiteY32" fmla="*/ 478 h 10000"/>
                <a:gd name="connsiteX33" fmla="*/ 331 w 10000"/>
                <a:gd name="connsiteY33" fmla="*/ 587 h 10000"/>
                <a:gd name="connsiteX34" fmla="*/ 0 w 10000"/>
                <a:gd name="connsiteY34" fmla="*/ 920 h 10000"/>
                <a:gd name="connsiteX35" fmla="*/ 248 w 10000"/>
                <a:gd name="connsiteY35" fmla="*/ 1691 h 10000"/>
                <a:gd name="connsiteX36" fmla="*/ 289 w 10000"/>
                <a:gd name="connsiteY36" fmla="*/ 2022 h 10000"/>
                <a:gd name="connsiteX37" fmla="*/ 537 w 10000"/>
                <a:gd name="connsiteY37" fmla="*/ 2206 h 10000"/>
                <a:gd name="connsiteX38" fmla="*/ 992 w 10000"/>
                <a:gd name="connsiteY38" fmla="*/ 2463 h 10000"/>
                <a:gd name="connsiteX39" fmla="*/ 1322 w 10000"/>
                <a:gd name="connsiteY39" fmla="*/ 2685 h 10000"/>
                <a:gd name="connsiteX40" fmla="*/ 868 w 10000"/>
                <a:gd name="connsiteY40" fmla="*/ 2940 h 10000"/>
                <a:gd name="connsiteX41" fmla="*/ 992 w 10000"/>
                <a:gd name="connsiteY41" fmla="*/ 3346 h 10000"/>
                <a:gd name="connsiteX42" fmla="*/ 1198 w 10000"/>
                <a:gd name="connsiteY42" fmla="*/ 3676 h 10000"/>
                <a:gd name="connsiteX43" fmla="*/ 1364 w 10000"/>
                <a:gd name="connsiteY43" fmla="*/ 5184 h 10000"/>
                <a:gd name="connsiteX44" fmla="*/ 2107 w 10000"/>
                <a:gd name="connsiteY44" fmla="*/ 5588 h 10000"/>
                <a:gd name="connsiteX45" fmla="*/ 1488 w 10000"/>
                <a:gd name="connsiteY45" fmla="*/ 5993 h 10000"/>
                <a:gd name="connsiteX46" fmla="*/ 2025 w 10000"/>
                <a:gd name="connsiteY46" fmla="*/ 6471 h 10000"/>
                <a:gd name="connsiteX47" fmla="*/ 1612 w 10000"/>
                <a:gd name="connsiteY47" fmla="*/ 7132 h 10000"/>
                <a:gd name="connsiteX48" fmla="*/ 2231 w 10000"/>
                <a:gd name="connsiteY48" fmla="*/ 7427 h 10000"/>
                <a:gd name="connsiteX49" fmla="*/ 2397 w 10000"/>
                <a:gd name="connsiteY49" fmla="*/ 7647 h 10000"/>
                <a:gd name="connsiteX50" fmla="*/ 3140 w 10000"/>
                <a:gd name="connsiteY50" fmla="*/ 8089 h 10000"/>
                <a:gd name="connsiteX51" fmla="*/ 3678 w 10000"/>
                <a:gd name="connsiteY51" fmla="*/ 8124 h 10000"/>
                <a:gd name="connsiteX0" fmla="*/ 3678 w 10000"/>
                <a:gd name="connsiteY0" fmla="*/ 8124 h 10000"/>
                <a:gd name="connsiteX1" fmla="*/ 4732 w 10000"/>
                <a:gd name="connsiteY1" fmla="*/ 8255 h 10000"/>
                <a:gd name="connsiteX2" fmla="*/ 5413 w 10000"/>
                <a:gd name="connsiteY2" fmla="*/ 8071 h 10000"/>
                <a:gd name="connsiteX3" fmla="*/ 5765 w 10000"/>
                <a:gd name="connsiteY3" fmla="*/ 7960 h 10000"/>
                <a:gd name="connsiteX4" fmla="*/ 6364 w 10000"/>
                <a:gd name="connsiteY4" fmla="*/ 8714 h 10000"/>
                <a:gd name="connsiteX5" fmla="*/ 7211 w 10000"/>
                <a:gd name="connsiteY5" fmla="*/ 9100 h 10000"/>
                <a:gd name="connsiteX6" fmla="*/ 7355 w 10000"/>
                <a:gd name="connsiteY6" fmla="*/ 9891 h 10000"/>
                <a:gd name="connsiteX7" fmla="*/ 9132 w 10000"/>
                <a:gd name="connsiteY7" fmla="*/ 9449 h 10000"/>
                <a:gd name="connsiteX8" fmla="*/ 9256 w 10000"/>
                <a:gd name="connsiteY8" fmla="*/ 8383 h 10000"/>
                <a:gd name="connsiteX9" fmla="*/ 9256 w 10000"/>
                <a:gd name="connsiteY9" fmla="*/ 7942 h 10000"/>
                <a:gd name="connsiteX10" fmla="*/ 9628 w 10000"/>
                <a:gd name="connsiteY10" fmla="*/ 7684 h 10000"/>
                <a:gd name="connsiteX11" fmla="*/ 9917 w 10000"/>
                <a:gd name="connsiteY11" fmla="*/ 7390 h 10000"/>
                <a:gd name="connsiteX12" fmla="*/ 10000 w 10000"/>
                <a:gd name="connsiteY12" fmla="*/ 7170 h 10000"/>
                <a:gd name="connsiteX13" fmla="*/ 9752 w 10000"/>
                <a:gd name="connsiteY13" fmla="*/ 6802 h 10000"/>
                <a:gd name="connsiteX14" fmla="*/ 8884 w 10000"/>
                <a:gd name="connsiteY14" fmla="*/ 6471 h 10000"/>
                <a:gd name="connsiteX15" fmla="*/ 8636 w 10000"/>
                <a:gd name="connsiteY15" fmla="*/ 5845 h 10000"/>
                <a:gd name="connsiteX16" fmla="*/ 8636 w 10000"/>
                <a:gd name="connsiteY16" fmla="*/ 4927 h 10000"/>
                <a:gd name="connsiteX17" fmla="*/ 8678 w 10000"/>
                <a:gd name="connsiteY17" fmla="*/ 4044 h 10000"/>
                <a:gd name="connsiteX18" fmla="*/ 8223 w 10000"/>
                <a:gd name="connsiteY18" fmla="*/ 3198 h 10000"/>
                <a:gd name="connsiteX19" fmla="*/ 7645 w 10000"/>
                <a:gd name="connsiteY19" fmla="*/ 3420 h 10000"/>
                <a:gd name="connsiteX20" fmla="*/ 6488 w 10000"/>
                <a:gd name="connsiteY20" fmla="*/ 3383 h 10000"/>
                <a:gd name="connsiteX21" fmla="*/ 5744 w 10000"/>
                <a:gd name="connsiteY21" fmla="*/ 3308 h 10000"/>
                <a:gd name="connsiteX22" fmla="*/ 5702 w 10000"/>
                <a:gd name="connsiteY22" fmla="*/ 2279 h 10000"/>
                <a:gd name="connsiteX23" fmla="*/ 4793 w 10000"/>
                <a:gd name="connsiteY23" fmla="*/ 1986 h 10000"/>
                <a:gd name="connsiteX24" fmla="*/ 4256 w 10000"/>
                <a:gd name="connsiteY24" fmla="*/ 1397 h 10000"/>
                <a:gd name="connsiteX25" fmla="*/ 3760 w 10000"/>
                <a:gd name="connsiteY25" fmla="*/ 883 h 10000"/>
                <a:gd name="connsiteX26" fmla="*/ 3430 w 10000"/>
                <a:gd name="connsiteY26" fmla="*/ 552 h 10000"/>
                <a:gd name="connsiteX27" fmla="*/ 3017 w 10000"/>
                <a:gd name="connsiteY27" fmla="*/ 441 h 10000"/>
                <a:gd name="connsiteX28" fmla="*/ 2603 w 10000"/>
                <a:gd name="connsiteY28" fmla="*/ 37 h 10000"/>
                <a:gd name="connsiteX29" fmla="*/ 1322 w 10000"/>
                <a:gd name="connsiteY29" fmla="*/ 0 h 10000"/>
                <a:gd name="connsiteX30" fmla="*/ 744 w 10000"/>
                <a:gd name="connsiteY30" fmla="*/ 516 h 10000"/>
                <a:gd name="connsiteX31" fmla="*/ 496 w 10000"/>
                <a:gd name="connsiteY31" fmla="*/ 478 h 10000"/>
                <a:gd name="connsiteX32" fmla="*/ 331 w 10000"/>
                <a:gd name="connsiteY32" fmla="*/ 587 h 10000"/>
                <a:gd name="connsiteX33" fmla="*/ 0 w 10000"/>
                <a:gd name="connsiteY33" fmla="*/ 920 h 10000"/>
                <a:gd name="connsiteX34" fmla="*/ 248 w 10000"/>
                <a:gd name="connsiteY34" fmla="*/ 1691 h 10000"/>
                <a:gd name="connsiteX35" fmla="*/ 289 w 10000"/>
                <a:gd name="connsiteY35" fmla="*/ 2022 h 10000"/>
                <a:gd name="connsiteX36" fmla="*/ 537 w 10000"/>
                <a:gd name="connsiteY36" fmla="*/ 2206 h 10000"/>
                <a:gd name="connsiteX37" fmla="*/ 992 w 10000"/>
                <a:gd name="connsiteY37" fmla="*/ 2463 h 10000"/>
                <a:gd name="connsiteX38" fmla="*/ 1322 w 10000"/>
                <a:gd name="connsiteY38" fmla="*/ 2685 h 10000"/>
                <a:gd name="connsiteX39" fmla="*/ 868 w 10000"/>
                <a:gd name="connsiteY39" fmla="*/ 2940 h 10000"/>
                <a:gd name="connsiteX40" fmla="*/ 992 w 10000"/>
                <a:gd name="connsiteY40" fmla="*/ 3346 h 10000"/>
                <a:gd name="connsiteX41" fmla="*/ 1198 w 10000"/>
                <a:gd name="connsiteY41" fmla="*/ 3676 h 10000"/>
                <a:gd name="connsiteX42" fmla="*/ 1364 w 10000"/>
                <a:gd name="connsiteY42" fmla="*/ 5184 h 10000"/>
                <a:gd name="connsiteX43" fmla="*/ 2107 w 10000"/>
                <a:gd name="connsiteY43" fmla="*/ 5588 h 10000"/>
                <a:gd name="connsiteX44" fmla="*/ 1488 w 10000"/>
                <a:gd name="connsiteY44" fmla="*/ 5993 h 10000"/>
                <a:gd name="connsiteX45" fmla="*/ 2025 w 10000"/>
                <a:gd name="connsiteY45" fmla="*/ 6471 h 10000"/>
                <a:gd name="connsiteX46" fmla="*/ 1612 w 10000"/>
                <a:gd name="connsiteY46" fmla="*/ 7132 h 10000"/>
                <a:gd name="connsiteX47" fmla="*/ 2231 w 10000"/>
                <a:gd name="connsiteY47" fmla="*/ 7427 h 10000"/>
                <a:gd name="connsiteX48" fmla="*/ 2397 w 10000"/>
                <a:gd name="connsiteY48" fmla="*/ 7647 h 10000"/>
                <a:gd name="connsiteX49" fmla="*/ 3140 w 10000"/>
                <a:gd name="connsiteY49" fmla="*/ 8089 h 10000"/>
                <a:gd name="connsiteX50" fmla="*/ 3678 w 10000"/>
                <a:gd name="connsiteY50" fmla="*/ 8124 h 10000"/>
                <a:gd name="connsiteX0" fmla="*/ 3678 w 10000"/>
                <a:gd name="connsiteY0" fmla="*/ 8124 h 10000"/>
                <a:gd name="connsiteX1" fmla="*/ 4608 w 10000"/>
                <a:gd name="connsiteY1" fmla="*/ 8586 h 10000"/>
                <a:gd name="connsiteX2" fmla="*/ 5413 w 10000"/>
                <a:gd name="connsiteY2" fmla="*/ 8071 h 10000"/>
                <a:gd name="connsiteX3" fmla="*/ 5765 w 10000"/>
                <a:gd name="connsiteY3" fmla="*/ 7960 h 10000"/>
                <a:gd name="connsiteX4" fmla="*/ 6364 w 10000"/>
                <a:gd name="connsiteY4" fmla="*/ 8714 h 10000"/>
                <a:gd name="connsiteX5" fmla="*/ 7211 w 10000"/>
                <a:gd name="connsiteY5" fmla="*/ 9100 h 10000"/>
                <a:gd name="connsiteX6" fmla="*/ 7355 w 10000"/>
                <a:gd name="connsiteY6" fmla="*/ 9891 h 10000"/>
                <a:gd name="connsiteX7" fmla="*/ 9132 w 10000"/>
                <a:gd name="connsiteY7" fmla="*/ 9449 h 10000"/>
                <a:gd name="connsiteX8" fmla="*/ 9256 w 10000"/>
                <a:gd name="connsiteY8" fmla="*/ 8383 h 10000"/>
                <a:gd name="connsiteX9" fmla="*/ 9256 w 10000"/>
                <a:gd name="connsiteY9" fmla="*/ 7942 h 10000"/>
                <a:gd name="connsiteX10" fmla="*/ 9628 w 10000"/>
                <a:gd name="connsiteY10" fmla="*/ 7684 h 10000"/>
                <a:gd name="connsiteX11" fmla="*/ 9917 w 10000"/>
                <a:gd name="connsiteY11" fmla="*/ 7390 h 10000"/>
                <a:gd name="connsiteX12" fmla="*/ 10000 w 10000"/>
                <a:gd name="connsiteY12" fmla="*/ 7170 h 10000"/>
                <a:gd name="connsiteX13" fmla="*/ 9752 w 10000"/>
                <a:gd name="connsiteY13" fmla="*/ 6802 h 10000"/>
                <a:gd name="connsiteX14" fmla="*/ 8884 w 10000"/>
                <a:gd name="connsiteY14" fmla="*/ 6471 h 10000"/>
                <a:gd name="connsiteX15" fmla="*/ 8636 w 10000"/>
                <a:gd name="connsiteY15" fmla="*/ 5845 h 10000"/>
                <a:gd name="connsiteX16" fmla="*/ 8636 w 10000"/>
                <a:gd name="connsiteY16" fmla="*/ 4927 h 10000"/>
                <a:gd name="connsiteX17" fmla="*/ 8678 w 10000"/>
                <a:gd name="connsiteY17" fmla="*/ 4044 h 10000"/>
                <a:gd name="connsiteX18" fmla="*/ 8223 w 10000"/>
                <a:gd name="connsiteY18" fmla="*/ 3198 h 10000"/>
                <a:gd name="connsiteX19" fmla="*/ 7645 w 10000"/>
                <a:gd name="connsiteY19" fmla="*/ 3420 h 10000"/>
                <a:gd name="connsiteX20" fmla="*/ 6488 w 10000"/>
                <a:gd name="connsiteY20" fmla="*/ 3383 h 10000"/>
                <a:gd name="connsiteX21" fmla="*/ 5744 w 10000"/>
                <a:gd name="connsiteY21" fmla="*/ 3308 h 10000"/>
                <a:gd name="connsiteX22" fmla="*/ 5702 w 10000"/>
                <a:gd name="connsiteY22" fmla="*/ 2279 h 10000"/>
                <a:gd name="connsiteX23" fmla="*/ 4793 w 10000"/>
                <a:gd name="connsiteY23" fmla="*/ 1986 h 10000"/>
                <a:gd name="connsiteX24" fmla="*/ 4256 w 10000"/>
                <a:gd name="connsiteY24" fmla="*/ 1397 h 10000"/>
                <a:gd name="connsiteX25" fmla="*/ 3760 w 10000"/>
                <a:gd name="connsiteY25" fmla="*/ 883 h 10000"/>
                <a:gd name="connsiteX26" fmla="*/ 3430 w 10000"/>
                <a:gd name="connsiteY26" fmla="*/ 552 h 10000"/>
                <a:gd name="connsiteX27" fmla="*/ 3017 w 10000"/>
                <a:gd name="connsiteY27" fmla="*/ 441 h 10000"/>
                <a:gd name="connsiteX28" fmla="*/ 2603 w 10000"/>
                <a:gd name="connsiteY28" fmla="*/ 37 h 10000"/>
                <a:gd name="connsiteX29" fmla="*/ 1322 w 10000"/>
                <a:gd name="connsiteY29" fmla="*/ 0 h 10000"/>
                <a:gd name="connsiteX30" fmla="*/ 744 w 10000"/>
                <a:gd name="connsiteY30" fmla="*/ 516 h 10000"/>
                <a:gd name="connsiteX31" fmla="*/ 496 w 10000"/>
                <a:gd name="connsiteY31" fmla="*/ 478 h 10000"/>
                <a:gd name="connsiteX32" fmla="*/ 331 w 10000"/>
                <a:gd name="connsiteY32" fmla="*/ 587 h 10000"/>
                <a:gd name="connsiteX33" fmla="*/ 0 w 10000"/>
                <a:gd name="connsiteY33" fmla="*/ 920 h 10000"/>
                <a:gd name="connsiteX34" fmla="*/ 248 w 10000"/>
                <a:gd name="connsiteY34" fmla="*/ 1691 h 10000"/>
                <a:gd name="connsiteX35" fmla="*/ 289 w 10000"/>
                <a:gd name="connsiteY35" fmla="*/ 2022 h 10000"/>
                <a:gd name="connsiteX36" fmla="*/ 537 w 10000"/>
                <a:gd name="connsiteY36" fmla="*/ 2206 h 10000"/>
                <a:gd name="connsiteX37" fmla="*/ 992 w 10000"/>
                <a:gd name="connsiteY37" fmla="*/ 2463 h 10000"/>
                <a:gd name="connsiteX38" fmla="*/ 1322 w 10000"/>
                <a:gd name="connsiteY38" fmla="*/ 2685 h 10000"/>
                <a:gd name="connsiteX39" fmla="*/ 868 w 10000"/>
                <a:gd name="connsiteY39" fmla="*/ 2940 h 10000"/>
                <a:gd name="connsiteX40" fmla="*/ 992 w 10000"/>
                <a:gd name="connsiteY40" fmla="*/ 3346 h 10000"/>
                <a:gd name="connsiteX41" fmla="*/ 1198 w 10000"/>
                <a:gd name="connsiteY41" fmla="*/ 3676 h 10000"/>
                <a:gd name="connsiteX42" fmla="*/ 1364 w 10000"/>
                <a:gd name="connsiteY42" fmla="*/ 5184 h 10000"/>
                <a:gd name="connsiteX43" fmla="*/ 2107 w 10000"/>
                <a:gd name="connsiteY43" fmla="*/ 5588 h 10000"/>
                <a:gd name="connsiteX44" fmla="*/ 1488 w 10000"/>
                <a:gd name="connsiteY44" fmla="*/ 5993 h 10000"/>
                <a:gd name="connsiteX45" fmla="*/ 2025 w 10000"/>
                <a:gd name="connsiteY45" fmla="*/ 6471 h 10000"/>
                <a:gd name="connsiteX46" fmla="*/ 1612 w 10000"/>
                <a:gd name="connsiteY46" fmla="*/ 7132 h 10000"/>
                <a:gd name="connsiteX47" fmla="*/ 2231 w 10000"/>
                <a:gd name="connsiteY47" fmla="*/ 7427 h 10000"/>
                <a:gd name="connsiteX48" fmla="*/ 2397 w 10000"/>
                <a:gd name="connsiteY48" fmla="*/ 7647 h 10000"/>
                <a:gd name="connsiteX49" fmla="*/ 3140 w 10000"/>
                <a:gd name="connsiteY49" fmla="*/ 8089 h 10000"/>
                <a:gd name="connsiteX50" fmla="*/ 3678 w 10000"/>
                <a:gd name="connsiteY50" fmla="*/ 8124 h 10000"/>
                <a:gd name="connsiteX0" fmla="*/ 3678 w 10000"/>
                <a:gd name="connsiteY0" fmla="*/ 8124 h 10000"/>
                <a:gd name="connsiteX1" fmla="*/ 4608 w 10000"/>
                <a:gd name="connsiteY1" fmla="*/ 8586 h 10000"/>
                <a:gd name="connsiteX2" fmla="*/ 5413 w 10000"/>
                <a:gd name="connsiteY2" fmla="*/ 8071 h 10000"/>
                <a:gd name="connsiteX3" fmla="*/ 5765 w 10000"/>
                <a:gd name="connsiteY3" fmla="*/ 7960 h 10000"/>
                <a:gd name="connsiteX4" fmla="*/ 6364 w 10000"/>
                <a:gd name="connsiteY4" fmla="*/ 8714 h 10000"/>
                <a:gd name="connsiteX5" fmla="*/ 7211 w 10000"/>
                <a:gd name="connsiteY5" fmla="*/ 9100 h 10000"/>
                <a:gd name="connsiteX6" fmla="*/ 7355 w 10000"/>
                <a:gd name="connsiteY6" fmla="*/ 9891 h 10000"/>
                <a:gd name="connsiteX7" fmla="*/ 9132 w 10000"/>
                <a:gd name="connsiteY7" fmla="*/ 9449 h 10000"/>
                <a:gd name="connsiteX8" fmla="*/ 9256 w 10000"/>
                <a:gd name="connsiteY8" fmla="*/ 8383 h 10000"/>
                <a:gd name="connsiteX9" fmla="*/ 9256 w 10000"/>
                <a:gd name="connsiteY9" fmla="*/ 7942 h 10000"/>
                <a:gd name="connsiteX10" fmla="*/ 9628 w 10000"/>
                <a:gd name="connsiteY10" fmla="*/ 7684 h 10000"/>
                <a:gd name="connsiteX11" fmla="*/ 9917 w 10000"/>
                <a:gd name="connsiteY11" fmla="*/ 7390 h 10000"/>
                <a:gd name="connsiteX12" fmla="*/ 10000 w 10000"/>
                <a:gd name="connsiteY12" fmla="*/ 7170 h 10000"/>
                <a:gd name="connsiteX13" fmla="*/ 9752 w 10000"/>
                <a:gd name="connsiteY13" fmla="*/ 6802 h 10000"/>
                <a:gd name="connsiteX14" fmla="*/ 8884 w 10000"/>
                <a:gd name="connsiteY14" fmla="*/ 6471 h 10000"/>
                <a:gd name="connsiteX15" fmla="*/ 8636 w 10000"/>
                <a:gd name="connsiteY15" fmla="*/ 5845 h 10000"/>
                <a:gd name="connsiteX16" fmla="*/ 8636 w 10000"/>
                <a:gd name="connsiteY16" fmla="*/ 4927 h 10000"/>
                <a:gd name="connsiteX17" fmla="*/ 8678 w 10000"/>
                <a:gd name="connsiteY17" fmla="*/ 4044 h 10000"/>
                <a:gd name="connsiteX18" fmla="*/ 8223 w 10000"/>
                <a:gd name="connsiteY18" fmla="*/ 3198 h 10000"/>
                <a:gd name="connsiteX19" fmla="*/ 7645 w 10000"/>
                <a:gd name="connsiteY19" fmla="*/ 3420 h 10000"/>
                <a:gd name="connsiteX20" fmla="*/ 6488 w 10000"/>
                <a:gd name="connsiteY20" fmla="*/ 3383 h 10000"/>
                <a:gd name="connsiteX21" fmla="*/ 5744 w 10000"/>
                <a:gd name="connsiteY21" fmla="*/ 3308 h 10000"/>
                <a:gd name="connsiteX22" fmla="*/ 5702 w 10000"/>
                <a:gd name="connsiteY22" fmla="*/ 2279 h 10000"/>
                <a:gd name="connsiteX23" fmla="*/ 4793 w 10000"/>
                <a:gd name="connsiteY23" fmla="*/ 1986 h 10000"/>
                <a:gd name="connsiteX24" fmla="*/ 4256 w 10000"/>
                <a:gd name="connsiteY24" fmla="*/ 1397 h 10000"/>
                <a:gd name="connsiteX25" fmla="*/ 3760 w 10000"/>
                <a:gd name="connsiteY25" fmla="*/ 883 h 10000"/>
                <a:gd name="connsiteX26" fmla="*/ 3430 w 10000"/>
                <a:gd name="connsiteY26" fmla="*/ 552 h 10000"/>
                <a:gd name="connsiteX27" fmla="*/ 3017 w 10000"/>
                <a:gd name="connsiteY27" fmla="*/ 441 h 10000"/>
                <a:gd name="connsiteX28" fmla="*/ 2603 w 10000"/>
                <a:gd name="connsiteY28" fmla="*/ 37 h 10000"/>
                <a:gd name="connsiteX29" fmla="*/ 1322 w 10000"/>
                <a:gd name="connsiteY29" fmla="*/ 0 h 10000"/>
                <a:gd name="connsiteX30" fmla="*/ 744 w 10000"/>
                <a:gd name="connsiteY30" fmla="*/ 516 h 10000"/>
                <a:gd name="connsiteX31" fmla="*/ 496 w 10000"/>
                <a:gd name="connsiteY31" fmla="*/ 478 h 10000"/>
                <a:gd name="connsiteX32" fmla="*/ 331 w 10000"/>
                <a:gd name="connsiteY32" fmla="*/ 587 h 10000"/>
                <a:gd name="connsiteX33" fmla="*/ 0 w 10000"/>
                <a:gd name="connsiteY33" fmla="*/ 920 h 10000"/>
                <a:gd name="connsiteX34" fmla="*/ 248 w 10000"/>
                <a:gd name="connsiteY34" fmla="*/ 1691 h 10000"/>
                <a:gd name="connsiteX35" fmla="*/ 289 w 10000"/>
                <a:gd name="connsiteY35" fmla="*/ 2022 h 10000"/>
                <a:gd name="connsiteX36" fmla="*/ 537 w 10000"/>
                <a:gd name="connsiteY36" fmla="*/ 2206 h 10000"/>
                <a:gd name="connsiteX37" fmla="*/ 992 w 10000"/>
                <a:gd name="connsiteY37" fmla="*/ 2463 h 10000"/>
                <a:gd name="connsiteX38" fmla="*/ 1322 w 10000"/>
                <a:gd name="connsiteY38" fmla="*/ 2685 h 10000"/>
                <a:gd name="connsiteX39" fmla="*/ 868 w 10000"/>
                <a:gd name="connsiteY39" fmla="*/ 2940 h 10000"/>
                <a:gd name="connsiteX40" fmla="*/ 992 w 10000"/>
                <a:gd name="connsiteY40" fmla="*/ 3346 h 10000"/>
                <a:gd name="connsiteX41" fmla="*/ 1198 w 10000"/>
                <a:gd name="connsiteY41" fmla="*/ 3676 h 10000"/>
                <a:gd name="connsiteX42" fmla="*/ 1364 w 10000"/>
                <a:gd name="connsiteY42" fmla="*/ 5184 h 10000"/>
                <a:gd name="connsiteX43" fmla="*/ 2107 w 10000"/>
                <a:gd name="connsiteY43" fmla="*/ 5588 h 10000"/>
                <a:gd name="connsiteX44" fmla="*/ 1488 w 10000"/>
                <a:gd name="connsiteY44" fmla="*/ 5993 h 10000"/>
                <a:gd name="connsiteX45" fmla="*/ 2025 w 10000"/>
                <a:gd name="connsiteY45" fmla="*/ 6471 h 10000"/>
                <a:gd name="connsiteX46" fmla="*/ 1612 w 10000"/>
                <a:gd name="connsiteY46" fmla="*/ 7132 h 10000"/>
                <a:gd name="connsiteX47" fmla="*/ 2231 w 10000"/>
                <a:gd name="connsiteY47" fmla="*/ 7427 h 10000"/>
                <a:gd name="connsiteX48" fmla="*/ 2397 w 10000"/>
                <a:gd name="connsiteY48" fmla="*/ 7647 h 10000"/>
                <a:gd name="connsiteX49" fmla="*/ 3140 w 10000"/>
                <a:gd name="connsiteY49" fmla="*/ 8089 h 10000"/>
                <a:gd name="connsiteX50" fmla="*/ 3678 w 10000"/>
                <a:gd name="connsiteY50" fmla="*/ 8124 h 10000"/>
                <a:gd name="connsiteX0" fmla="*/ 3678 w 10000"/>
                <a:gd name="connsiteY0" fmla="*/ 8124 h 10000"/>
                <a:gd name="connsiteX1" fmla="*/ 4608 w 10000"/>
                <a:gd name="connsiteY1" fmla="*/ 8586 h 10000"/>
                <a:gd name="connsiteX2" fmla="*/ 5413 w 10000"/>
                <a:gd name="connsiteY2" fmla="*/ 8071 h 10000"/>
                <a:gd name="connsiteX3" fmla="*/ 5765 w 10000"/>
                <a:gd name="connsiteY3" fmla="*/ 7960 h 10000"/>
                <a:gd name="connsiteX4" fmla="*/ 6364 w 10000"/>
                <a:gd name="connsiteY4" fmla="*/ 8714 h 10000"/>
                <a:gd name="connsiteX5" fmla="*/ 7211 w 10000"/>
                <a:gd name="connsiteY5" fmla="*/ 9100 h 10000"/>
                <a:gd name="connsiteX6" fmla="*/ 7355 w 10000"/>
                <a:gd name="connsiteY6" fmla="*/ 9891 h 10000"/>
                <a:gd name="connsiteX7" fmla="*/ 9132 w 10000"/>
                <a:gd name="connsiteY7" fmla="*/ 9449 h 10000"/>
                <a:gd name="connsiteX8" fmla="*/ 9256 w 10000"/>
                <a:gd name="connsiteY8" fmla="*/ 8383 h 10000"/>
                <a:gd name="connsiteX9" fmla="*/ 9256 w 10000"/>
                <a:gd name="connsiteY9" fmla="*/ 7942 h 10000"/>
                <a:gd name="connsiteX10" fmla="*/ 9628 w 10000"/>
                <a:gd name="connsiteY10" fmla="*/ 7684 h 10000"/>
                <a:gd name="connsiteX11" fmla="*/ 9917 w 10000"/>
                <a:gd name="connsiteY11" fmla="*/ 7390 h 10000"/>
                <a:gd name="connsiteX12" fmla="*/ 10000 w 10000"/>
                <a:gd name="connsiteY12" fmla="*/ 7170 h 10000"/>
                <a:gd name="connsiteX13" fmla="*/ 9752 w 10000"/>
                <a:gd name="connsiteY13" fmla="*/ 6802 h 10000"/>
                <a:gd name="connsiteX14" fmla="*/ 8884 w 10000"/>
                <a:gd name="connsiteY14" fmla="*/ 6471 h 10000"/>
                <a:gd name="connsiteX15" fmla="*/ 8636 w 10000"/>
                <a:gd name="connsiteY15" fmla="*/ 5845 h 10000"/>
                <a:gd name="connsiteX16" fmla="*/ 8636 w 10000"/>
                <a:gd name="connsiteY16" fmla="*/ 4927 h 10000"/>
                <a:gd name="connsiteX17" fmla="*/ 8678 w 10000"/>
                <a:gd name="connsiteY17" fmla="*/ 4044 h 10000"/>
                <a:gd name="connsiteX18" fmla="*/ 8223 w 10000"/>
                <a:gd name="connsiteY18" fmla="*/ 3198 h 10000"/>
                <a:gd name="connsiteX19" fmla="*/ 7645 w 10000"/>
                <a:gd name="connsiteY19" fmla="*/ 3420 h 10000"/>
                <a:gd name="connsiteX20" fmla="*/ 6488 w 10000"/>
                <a:gd name="connsiteY20" fmla="*/ 3383 h 10000"/>
                <a:gd name="connsiteX21" fmla="*/ 5744 w 10000"/>
                <a:gd name="connsiteY21" fmla="*/ 3308 h 10000"/>
                <a:gd name="connsiteX22" fmla="*/ 5702 w 10000"/>
                <a:gd name="connsiteY22" fmla="*/ 2279 h 10000"/>
                <a:gd name="connsiteX23" fmla="*/ 4793 w 10000"/>
                <a:gd name="connsiteY23" fmla="*/ 1986 h 10000"/>
                <a:gd name="connsiteX24" fmla="*/ 4256 w 10000"/>
                <a:gd name="connsiteY24" fmla="*/ 1397 h 10000"/>
                <a:gd name="connsiteX25" fmla="*/ 3760 w 10000"/>
                <a:gd name="connsiteY25" fmla="*/ 883 h 10000"/>
                <a:gd name="connsiteX26" fmla="*/ 3430 w 10000"/>
                <a:gd name="connsiteY26" fmla="*/ 552 h 10000"/>
                <a:gd name="connsiteX27" fmla="*/ 3017 w 10000"/>
                <a:gd name="connsiteY27" fmla="*/ 441 h 10000"/>
                <a:gd name="connsiteX28" fmla="*/ 2603 w 10000"/>
                <a:gd name="connsiteY28" fmla="*/ 37 h 10000"/>
                <a:gd name="connsiteX29" fmla="*/ 1322 w 10000"/>
                <a:gd name="connsiteY29" fmla="*/ 0 h 10000"/>
                <a:gd name="connsiteX30" fmla="*/ 744 w 10000"/>
                <a:gd name="connsiteY30" fmla="*/ 516 h 10000"/>
                <a:gd name="connsiteX31" fmla="*/ 496 w 10000"/>
                <a:gd name="connsiteY31" fmla="*/ 478 h 10000"/>
                <a:gd name="connsiteX32" fmla="*/ 331 w 10000"/>
                <a:gd name="connsiteY32" fmla="*/ 587 h 10000"/>
                <a:gd name="connsiteX33" fmla="*/ 0 w 10000"/>
                <a:gd name="connsiteY33" fmla="*/ 920 h 10000"/>
                <a:gd name="connsiteX34" fmla="*/ 248 w 10000"/>
                <a:gd name="connsiteY34" fmla="*/ 1691 h 10000"/>
                <a:gd name="connsiteX35" fmla="*/ 289 w 10000"/>
                <a:gd name="connsiteY35" fmla="*/ 2022 h 10000"/>
                <a:gd name="connsiteX36" fmla="*/ 537 w 10000"/>
                <a:gd name="connsiteY36" fmla="*/ 2206 h 10000"/>
                <a:gd name="connsiteX37" fmla="*/ 992 w 10000"/>
                <a:gd name="connsiteY37" fmla="*/ 2463 h 10000"/>
                <a:gd name="connsiteX38" fmla="*/ 1322 w 10000"/>
                <a:gd name="connsiteY38" fmla="*/ 2685 h 10000"/>
                <a:gd name="connsiteX39" fmla="*/ 868 w 10000"/>
                <a:gd name="connsiteY39" fmla="*/ 2940 h 10000"/>
                <a:gd name="connsiteX40" fmla="*/ 992 w 10000"/>
                <a:gd name="connsiteY40" fmla="*/ 3346 h 10000"/>
                <a:gd name="connsiteX41" fmla="*/ 1198 w 10000"/>
                <a:gd name="connsiteY41" fmla="*/ 3676 h 10000"/>
                <a:gd name="connsiteX42" fmla="*/ 1364 w 10000"/>
                <a:gd name="connsiteY42" fmla="*/ 5184 h 10000"/>
                <a:gd name="connsiteX43" fmla="*/ 2107 w 10000"/>
                <a:gd name="connsiteY43" fmla="*/ 5588 h 10000"/>
                <a:gd name="connsiteX44" fmla="*/ 1488 w 10000"/>
                <a:gd name="connsiteY44" fmla="*/ 5993 h 10000"/>
                <a:gd name="connsiteX45" fmla="*/ 2025 w 10000"/>
                <a:gd name="connsiteY45" fmla="*/ 6471 h 10000"/>
                <a:gd name="connsiteX46" fmla="*/ 1612 w 10000"/>
                <a:gd name="connsiteY46" fmla="*/ 7132 h 10000"/>
                <a:gd name="connsiteX47" fmla="*/ 2231 w 10000"/>
                <a:gd name="connsiteY47" fmla="*/ 7427 h 10000"/>
                <a:gd name="connsiteX48" fmla="*/ 2397 w 10000"/>
                <a:gd name="connsiteY48" fmla="*/ 7647 h 10000"/>
                <a:gd name="connsiteX49" fmla="*/ 3140 w 10000"/>
                <a:gd name="connsiteY49" fmla="*/ 8089 h 10000"/>
                <a:gd name="connsiteX50" fmla="*/ 3678 w 10000"/>
                <a:gd name="connsiteY50" fmla="*/ 8124 h 10000"/>
                <a:gd name="connsiteX0" fmla="*/ 3678 w 10000"/>
                <a:gd name="connsiteY0" fmla="*/ 8124 h 10000"/>
                <a:gd name="connsiteX1" fmla="*/ 4608 w 10000"/>
                <a:gd name="connsiteY1" fmla="*/ 8586 h 10000"/>
                <a:gd name="connsiteX2" fmla="*/ 5413 w 10000"/>
                <a:gd name="connsiteY2" fmla="*/ 8071 h 10000"/>
                <a:gd name="connsiteX3" fmla="*/ 5765 w 10000"/>
                <a:gd name="connsiteY3" fmla="*/ 7960 h 10000"/>
                <a:gd name="connsiteX4" fmla="*/ 6550 w 10000"/>
                <a:gd name="connsiteY4" fmla="*/ 8604 h 10000"/>
                <a:gd name="connsiteX5" fmla="*/ 7211 w 10000"/>
                <a:gd name="connsiteY5" fmla="*/ 9100 h 10000"/>
                <a:gd name="connsiteX6" fmla="*/ 7355 w 10000"/>
                <a:gd name="connsiteY6" fmla="*/ 9891 h 10000"/>
                <a:gd name="connsiteX7" fmla="*/ 9132 w 10000"/>
                <a:gd name="connsiteY7" fmla="*/ 9449 h 10000"/>
                <a:gd name="connsiteX8" fmla="*/ 9256 w 10000"/>
                <a:gd name="connsiteY8" fmla="*/ 8383 h 10000"/>
                <a:gd name="connsiteX9" fmla="*/ 9256 w 10000"/>
                <a:gd name="connsiteY9" fmla="*/ 7942 h 10000"/>
                <a:gd name="connsiteX10" fmla="*/ 9628 w 10000"/>
                <a:gd name="connsiteY10" fmla="*/ 7684 h 10000"/>
                <a:gd name="connsiteX11" fmla="*/ 9917 w 10000"/>
                <a:gd name="connsiteY11" fmla="*/ 7390 h 10000"/>
                <a:gd name="connsiteX12" fmla="*/ 10000 w 10000"/>
                <a:gd name="connsiteY12" fmla="*/ 7170 h 10000"/>
                <a:gd name="connsiteX13" fmla="*/ 9752 w 10000"/>
                <a:gd name="connsiteY13" fmla="*/ 6802 h 10000"/>
                <a:gd name="connsiteX14" fmla="*/ 8884 w 10000"/>
                <a:gd name="connsiteY14" fmla="*/ 6471 h 10000"/>
                <a:gd name="connsiteX15" fmla="*/ 8636 w 10000"/>
                <a:gd name="connsiteY15" fmla="*/ 5845 h 10000"/>
                <a:gd name="connsiteX16" fmla="*/ 8636 w 10000"/>
                <a:gd name="connsiteY16" fmla="*/ 4927 h 10000"/>
                <a:gd name="connsiteX17" fmla="*/ 8678 w 10000"/>
                <a:gd name="connsiteY17" fmla="*/ 4044 h 10000"/>
                <a:gd name="connsiteX18" fmla="*/ 8223 w 10000"/>
                <a:gd name="connsiteY18" fmla="*/ 3198 h 10000"/>
                <a:gd name="connsiteX19" fmla="*/ 7645 w 10000"/>
                <a:gd name="connsiteY19" fmla="*/ 3420 h 10000"/>
                <a:gd name="connsiteX20" fmla="*/ 6488 w 10000"/>
                <a:gd name="connsiteY20" fmla="*/ 3383 h 10000"/>
                <a:gd name="connsiteX21" fmla="*/ 5744 w 10000"/>
                <a:gd name="connsiteY21" fmla="*/ 3308 h 10000"/>
                <a:gd name="connsiteX22" fmla="*/ 5702 w 10000"/>
                <a:gd name="connsiteY22" fmla="*/ 2279 h 10000"/>
                <a:gd name="connsiteX23" fmla="*/ 4793 w 10000"/>
                <a:gd name="connsiteY23" fmla="*/ 1986 h 10000"/>
                <a:gd name="connsiteX24" fmla="*/ 4256 w 10000"/>
                <a:gd name="connsiteY24" fmla="*/ 1397 h 10000"/>
                <a:gd name="connsiteX25" fmla="*/ 3760 w 10000"/>
                <a:gd name="connsiteY25" fmla="*/ 883 h 10000"/>
                <a:gd name="connsiteX26" fmla="*/ 3430 w 10000"/>
                <a:gd name="connsiteY26" fmla="*/ 552 h 10000"/>
                <a:gd name="connsiteX27" fmla="*/ 3017 w 10000"/>
                <a:gd name="connsiteY27" fmla="*/ 441 h 10000"/>
                <a:gd name="connsiteX28" fmla="*/ 2603 w 10000"/>
                <a:gd name="connsiteY28" fmla="*/ 37 h 10000"/>
                <a:gd name="connsiteX29" fmla="*/ 1322 w 10000"/>
                <a:gd name="connsiteY29" fmla="*/ 0 h 10000"/>
                <a:gd name="connsiteX30" fmla="*/ 744 w 10000"/>
                <a:gd name="connsiteY30" fmla="*/ 516 h 10000"/>
                <a:gd name="connsiteX31" fmla="*/ 496 w 10000"/>
                <a:gd name="connsiteY31" fmla="*/ 478 h 10000"/>
                <a:gd name="connsiteX32" fmla="*/ 331 w 10000"/>
                <a:gd name="connsiteY32" fmla="*/ 587 h 10000"/>
                <a:gd name="connsiteX33" fmla="*/ 0 w 10000"/>
                <a:gd name="connsiteY33" fmla="*/ 920 h 10000"/>
                <a:gd name="connsiteX34" fmla="*/ 248 w 10000"/>
                <a:gd name="connsiteY34" fmla="*/ 1691 h 10000"/>
                <a:gd name="connsiteX35" fmla="*/ 289 w 10000"/>
                <a:gd name="connsiteY35" fmla="*/ 2022 h 10000"/>
                <a:gd name="connsiteX36" fmla="*/ 537 w 10000"/>
                <a:gd name="connsiteY36" fmla="*/ 2206 h 10000"/>
                <a:gd name="connsiteX37" fmla="*/ 992 w 10000"/>
                <a:gd name="connsiteY37" fmla="*/ 2463 h 10000"/>
                <a:gd name="connsiteX38" fmla="*/ 1322 w 10000"/>
                <a:gd name="connsiteY38" fmla="*/ 2685 h 10000"/>
                <a:gd name="connsiteX39" fmla="*/ 868 w 10000"/>
                <a:gd name="connsiteY39" fmla="*/ 2940 h 10000"/>
                <a:gd name="connsiteX40" fmla="*/ 992 w 10000"/>
                <a:gd name="connsiteY40" fmla="*/ 3346 h 10000"/>
                <a:gd name="connsiteX41" fmla="*/ 1198 w 10000"/>
                <a:gd name="connsiteY41" fmla="*/ 3676 h 10000"/>
                <a:gd name="connsiteX42" fmla="*/ 1364 w 10000"/>
                <a:gd name="connsiteY42" fmla="*/ 5184 h 10000"/>
                <a:gd name="connsiteX43" fmla="*/ 2107 w 10000"/>
                <a:gd name="connsiteY43" fmla="*/ 5588 h 10000"/>
                <a:gd name="connsiteX44" fmla="*/ 1488 w 10000"/>
                <a:gd name="connsiteY44" fmla="*/ 5993 h 10000"/>
                <a:gd name="connsiteX45" fmla="*/ 2025 w 10000"/>
                <a:gd name="connsiteY45" fmla="*/ 6471 h 10000"/>
                <a:gd name="connsiteX46" fmla="*/ 1612 w 10000"/>
                <a:gd name="connsiteY46" fmla="*/ 7132 h 10000"/>
                <a:gd name="connsiteX47" fmla="*/ 2231 w 10000"/>
                <a:gd name="connsiteY47" fmla="*/ 7427 h 10000"/>
                <a:gd name="connsiteX48" fmla="*/ 2397 w 10000"/>
                <a:gd name="connsiteY48" fmla="*/ 7647 h 10000"/>
                <a:gd name="connsiteX49" fmla="*/ 3140 w 10000"/>
                <a:gd name="connsiteY49" fmla="*/ 8089 h 10000"/>
                <a:gd name="connsiteX50" fmla="*/ 3678 w 10000"/>
                <a:gd name="connsiteY50" fmla="*/ 812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0000" h="10000">
                  <a:moveTo>
                    <a:pt x="3678" y="8124"/>
                  </a:moveTo>
                  <a:cubicBezTo>
                    <a:pt x="3943" y="8152"/>
                    <a:pt x="4453" y="8626"/>
                    <a:pt x="4608" y="8586"/>
                  </a:cubicBezTo>
                  <a:cubicBezTo>
                    <a:pt x="4897" y="8577"/>
                    <a:pt x="5241" y="8120"/>
                    <a:pt x="5413" y="8071"/>
                  </a:cubicBezTo>
                  <a:cubicBezTo>
                    <a:pt x="5496" y="8218"/>
                    <a:pt x="5765" y="7960"/>
                    <a:pt x="5765" y="7960"/>
                  </a:cubicBezTo>
                  <a:cubicBezTo>
                    <a:pt x="5806" y="8548"/>
                    <a:pt x="6488" y="8566"/>
                    <a:pt x="6550" y="8604"/>
                  </a:cubicBezTo>
                  <a:cubicBezTo>
                    <a:pt x="6364" y="8750"/>
                    <a:pt x="6467" y="9210"/>
                    <a:pt x="7211" y="9100"/>
                  </a:cubicBezTo>
                  <a:cubicBezTo>
                    <a:pt x="7376" y="8916"/>
                    <a:pt x="7149" y="10000"/>
                    <a:pt x="7355" y="9891"/>
                  </a:cubicBezTo>
                  <a:cubicBezTo>
                    <a:pt x="7810" y="9632"/>
                    <a:pt x="8595" y="9523"/>
                    <a:pt x="9132" y="9449"/>
                  </a:cubicBezTo>
                  <a:cubicBezTo>
                    <a:pt x="9380" y="9118"/>
                    <a:pt x="9174" y="8751"/>
                    <a:pt x="9256" y="8383"/>
                  </a:cubicBezTo>
                  <a:cubicBezTo>
                    <a:pt x="9215" y="8199"/>
                    <a:pt x="9132" y="8089"/>
                    <a:pt x="9256" y="7942"/>
                  </a:cubicBezTo>
                  <a:cubicBezTo>
                    <a:pt x="9339" y="7831"/>
                    <a:pt x="9628" y="7684"/>
                    <a:pt x="9628" y="7684"/>
                  </a:cubicBezTo>
                  <a:cubicBezTo>
                    <a:pt x="9711" y="7574"/>
                    <a:pt x="9835" y="7501"/>
                    <a:pt x="9917" y="7390"/>
                  </a:cubicBezTo>
                  <a:cubicBezTo>
                    <a:pt x="9959" y="7315"/>
                    <a:pt x="10000" y="7170"/>
                    <a:pt x="10000" y="7170"/>
                  </a:cubicBezTo>
                  <a:cubicBezTo>
                    <a:pt x="9959" y="6985"/>
                    <a:pt x="10000" y="6876"/>
                    <a:pt x="9752" y="6802"/>
                  </a:cubicBezTo>
                  <a:cubicBezTo>
                    <a:pt x="9380" y="6545"/>
                    <a:pt x="9421" y="6508"/>
                    <a:pt x="8884" y="6471"/>
                  </a:cubicBezTo>
                  <a:cubicBezTo>
                    <a:pt x="8678" y="6361"/>
                    <a:pt x="8760" y="6029"/>
                    <a:pt x="8636" y="5845"/>
                  </a:cubicBezTo>
                  <a:cubicBezTo>
                    <a:pt x="8554" y="5515"/>
                    <a:pt x="8264" y="5147"/>
                    <a:pt x="8636" y="4927"/>
                  </a:cubicBezTo>
                  <a:cubicBezTo>
                    <a:pt x="8719" y="4523"/>
                    <a:pt x="9215" y="4117"/>
                    <a:pt x="8678" y="4044"/>
                  </a:cubicBezTo>
                  <a:cubicBezTo>
                    <a:pt x="8843" y="3824"/>
                    <a:pt x="8554" y="3308"/>
                    <a:pt x="8223" y="3198"/>
                  </a:cubicBezTo>
                  <a:cubicBezTo>
                    <a:pt x="8017" y="3236"/>
                    <a:pt x="7810" y="3308"/>
                    <a:pt x="7645" y="3420"/>
                  </a:cubicBezTo>
                  <a:cubicBezTo>
                    <a:pt x="7479" y="3824"/>
                    <a:pt x="7025" y="3420"/>
                    <a:pt x="6488" y="3383"/>
                  </a:cubicBezTo>
                  <a:cubicBezTo>
                    <a:pt x="6198" y="3383"/>
                    <a:pt x="5950" y="3530"/>
                    <a:pt x="5744" y="3308"/>
                  </a:cubicBezTo>
                  <a:cubicBezTo>
                    <a:pt x="5661" y="3089"/>
                    <a:pt x="5744" y="2537"/>
                    <a:pt x="5702" y="2279"/>
                  </a:cubicBezTo>
                  <a:cubicBezTo>
                    <a:pt x="5496" y="1986"/>
                    <a:pt x="4876" y="2060"/>
                    <a:pt x="4793" y="1986"/>
                  </a:cubicBezTo>
                  <a:cubicBezTo>
                    <a:pt x="4669" y="1764"/>
                    <a:pt x="4421" y="1508"/>
                    <a:pt x="4256" y="1397"/>
                  </a:cubicBezTo>
                  <a:cubicBezTo>
                    <a:pt x="4132" y="1213"/>
                    <a:pt x="3967" y="956"/>
                    <a:pt x="3760" y="883"/>
                  </a:cubicBezTo>
                  <a:cubicBezTo>
                    <a:pt x="3678" y="771"/>
                    <a:pt x="3554" y="625"/>
                    <a:pt x="3430" y="552"/>
                  </a:cubicBezTo>
                  <a:cubicBezTo>
                    <a:pt x="3306" y="478"/>
                    <a:pt x="3017" y="441"/>
                    <a:pt x="3017" y="441"/>
                  </a:cubicBezTo>
                  <a:cubicBezTo>
                    <a:pt x="2893" y="293"/>
                    <a:pt x="2769" y="110"/>
                    <a:pt x="2603" y="37"/>
                  </a:cubicBezTo>
                  <a:cubicBezTo>
                    <a:pt x="2066" y="0"/>
                    <a:pt x="1777" y="37"/>
                    <a:pt x="1322" y="0"/>
                  </a:cubicBezTo>
                  <a:cubicBezTo>
                    <a:pt x="1074" y="110"/>
                    <a:pt x="950" y="293"/>
                    <a:pt x="744" y="516"/>
                  </a:cubicBezTo>
                  <a:cubicBezTo>
                    <a:pt x="620" y="587"/>
                    <a:pt x="579" y="478"/>
                    <a:pt x="496" y="478"/>
                  </a:cubicBezTo>
                  <a:cubicBezTo>
                    <a:pt x="413" y="478"/>
                    <a:pt x="413" y="516"/>
                    <a:pt x="331" y="587"/>
                  </a:cubicBezTo>
                  <a:cubicBezTo>
                    <a:pt x="289" y="771"/>
                    <a:pt x="0" y="736"/>
                    <a:pt x="0" y="920"/>
                  </a:cubicBezTo>
                  <a:cubicBezTo>
                    <a:pt x="0" y="1102"/>
                    <a:pt x="83" y="1470"/>
                    <a:pt x="248" y="1691"/>
                  </a:cubicBezTo>
                  <a:cubicBezTo>
                    <a:pt x="289" y="1838"/>
                    <a:pt x="331" y="1838"/>
                    <a:pt x="289" y="2022"/>
                  </a:cubicBezTo>
                  <a:cubicBezTo>
                    <a:pt x="331" y="2095"/>
                    <a:pt x="537" y="2060"/>
                    <a:pt x="537" y="2206"/>
                  </a:cubicBezTo>
                  <a:cubicBezTo>
                    <a:pt x="826" y="2243"/>
                    <a:pt x="868" y="2390"/>
                    <a:pt x="992" y="2463"/>
                  </a:cubicBezTo>
                  <a:cubicBezTo>
                    <a:pt x="1116" y="2537"/>
                    <a:pt x="1322" y="2610"/>
                    <a:pt x="1322" y="2685"/>
                  </a:cubicBezTo>
                  <a:cubicBezTo>
                    <a:pt x="1074" y="2905"/>
                    <a:pt x="1116" y="2795"/>
                    <a:pt x="868" y="2940"/>
                  </a:cubicBezTo>
                  <a:cubicBezTo>
                    <a:pt x="785" y="3125"/>
                    <a:pt x="744" y="3271"/>
                    <a:pt x="992" y="3346"/>
                  </a:cubicBezTo>
                  <a:cubicBezTo>
                    <a:pt x="1033" y="3456"/>
                    <a:pt x="1198" y="3676"/>
                    <a:pt x="1198" y="3676"/>
                  </a:cubicBezTo>
                  <a:cubicBezTo>
                    <a:pt x="1157" y="4081"/>
                    <a:pt x="909" y="4927"/>
                    <a:pt x="1364" y="5184"/>
                  </a:cubicBezTo>
                  <a:cubicBezTo>
                    <a:pt x="1446" y="5441"/>
                    <a:pt x="1818" y="5515"/>
                    <a:pt x="2107" y="5588"/>
                  </a:cubicBezTo>
                  <a:cubicBezTo>
                    <a:pt x="2273" y="5993"/>
                    <a:pt x="1818" y="5993"/>
                    <a:pt x="1488" y="5993"/>
                  </a:cubicBezTo>
                  <a:cubicBezTo>
                    <a:pt x="1529" y="6213"/>
                    <a:pt x="1818" y="6361"/>
                    <a:pt x="2025" y="6471"/>
                  </a:cubicBezTo>
                  <a:cubicBezTo>
                    <a:pt x="2149" y="6692"/>
                    <a:pt x="2521" y="6802"/>
                    <a:pt x="1612" y="7132"/>
                  </a:cubicBezTo>
                  <a:cubicBezTo>
                    <a:pt x="1612" y="7280"/>
                    <a:pt x="2107" y="7353"/>
                    <a:pt x="2231" y="7427"/>
                  </a:cubicBezTo>
                  <a:cubicBezTo>
                    <a:pt x="2355" y="7537"/>
                    <a:pt x="2273" y="7574"/>
                    <a:pt x="2397" y="7647"/>
                  </a:cubicBezTo>
                  <a:cubicBezTo>
                    <a:pt x="2438" y="7905"/>
                    <a:pt x="3264" y="7868"/>
                    <a:pt x="3140" y="8089"/>
                  </a:cubicBezTo>
                  <a:cubicBezTo>
                    <a:pt x="3719" y="7905"/>
                    <a:pt x="3512" y="8124"/>
                    <a:pt x="3678" y="8124"/>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337" name="Freeform 2578"/>
            <p:cNvSpPr>
              <a:spLocks/>
            </p:cNvSpPr>
            <p:nvPr>
              <p:custDataLst>
                <p:tags r:id="rId20"/>
              </p:custDataLst>
            </p:nvPr>
          </p:nvSpPr>
          <p:spPr bwMode="auto">
            <a:xfrm>
              <a:off x="5446713" y="5479233"/>
              <a:ext cx="203147" cy="229977"/>
            </a:xfrm>
            <a:custGeom>
              <a:avLst/>
              <a:gdLst>
                <a:gd name="T0" fmla="*/ 98 w 106"/>
                <a:gd name="T1" fmla="*/ 45 h 120"/>
                <a:gd name="T2" fmla="*/ 88 w 106"/>
                <a:gd name="T3" fmla="*/ 48 h 120"/>
                <a:gd name="T4" fmla="*/ 92 w 106"/>
                <a:gd name="T5" fmla="*/ 56 h 120"/>
                <a:gd name="T6" fmla="*/ 92 w 106"/>
                <a:gd name="T7" fmla="*/ 70 h 120"/>
                <a:gd name="T8" fmla="*/ 80 w 106"/>
                <a:gd name="T9" fmla="*/ 71 h 120"/>
                <a:gd name="T10" fmla="*/ 73 w 106"/>
                <a:gd name="T11" fmla="*/ 61 h 120"/>
                <a:gd name="T12" fmla="*/ 67 w 106"/>
                <a:gd name="T13" fmla="*/ 70 h 120"/>
                <a:gd name="T14" fmla="*/ 60 w 106"/>
                <a:gd name="T15" fmla="*/ 82 h 120"/>
                <a:gd name="T16" fmla="*/ 53 w 106"/>
                <a:gd name="T17" fmla="*/ 97 h 120"/>
                <a:gd name="T18" fmla="*/ 60 w 106"/>
                <a:gd name="T19" fmla="*/ 101 h 120"/>
                <a:gd name="T20" fmla="*/ 61 w 106"/>
                <a:gd name="T21" fmla="*/ 120 h 120"/>
                <a:gd name="T22" fmla="*/ 41 w 106"/>
                <a:gd name="T23" fmla="*/ 107 h 120"/>
                <a:gd name="T24" fmla="*/ 14 w 106"/>
                <a:gd name="T25" fmla="*/ 88 h 120"/>
                <a:gd name="T26" fmla="*/ 2 w 106"/>
                <a:gd name="T27" fmla="*/ 83 h 120"/>
                <a:gd name="T28" fmla="*/ 2 w 106"/>
                <a:gd name="T29" fmla="*/ 64 h 120"/>
                <a:gd name="T30" fmla="*/ 2 w 106"/>
                <a:gd name="T31" fmla="*/ 46 h 120"/>
                <a:gd name="T32" fmla="*/ 8 w 106"/>
                <a:gd name="T33" fmla="*/ 37 h 120"/>
                <a:gd name="T34" fmla="*/ 12 w 106"/>
                <a:gd name="T35" fmla="*/ 27 h 120"/>
                <a:gd name="T36" fmla="*/ 19 w 106"/>
                <a:gd name="T37" fmla="*/ 19 h 120"/>
                <a:gd name="T38" fmla="*/ 27 w 106"/>
                <a:gd name="T39" fmla="*/ 21 h 120"/>
                <a:gd name="T40" fmla="*/ 30 w 106"/>
                <a:gd name="T41" fmla="*/ 16 h 120"/>
                <a:gd name="T42" fmla="*/ 21 w 106"/>
                <a:gd name="T43" fmla="*/ 6 h 120"/>
                <a:gd name="T44" fmla="*/ 36 w 106"/>
                <a:gd name="T45" fmla="*/ 0 h 120"/>
                <a:gd name="T46" fmla="*/ 51 w 106"/>
                <a:gd name="T47" fmla="*/ 9 h 120"/>
                <a:gd name="T48" fmla="*/ 55 w 106"/>
                <a:gd name="T49" fmla="*/ 15 h 120"/>
                <a:gd name="T50" fmla="*/ 73 w 106"/>
                <a:gd name="T51" fmla="*/ 27 h 120"/>
                <a:gd name="T52" fmla="*/ 86 w 106"/>
                <a:gd name="T53" fmla="*/ 28 h 120"/>
                <a:gd name="T54" fmla="*/ 104 w 106"/>
                <a:gd name="T55" fmla="*/ 36 h 120"/>
                <a:gd name="T56" fmla="*/ 98 w 106"/>
                <a:gd name="T57" fmla="*/ 45 h 12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06"/>
                <a:gd name="T88" fmla="*/ 0 h 120"/>
                <a:gd name="T89" fmla="*/ 106 w 106"/>
                <a:gd name="T90" fmla="*/ 120 h 120"/>
                <a:gd name="connsiteX0" fmla="*/ 9245 w 10000"/>
                <a:gd name="connsiteY0" fmla="*/ 3750 h 10000"/>
                <a:gd name="connsiteX1" fmla="*/ 8679 w 10000"/>
                <a:gd name="connsiteY1" fmla="*/ 4667 h 10000"/>
                <a:gd name="connsiteX2" fmla="*/ 8679 w 10000"/>
                <a:gd name="connsiteY2" fmla="*/ 5833 h 10000"/>
                <a:gd name="connsiteX3" fmla="*/ 7547 w 10000"/>
                <a:gd name="connsiteY3" fmla="*/ 5917 h 10000"/>
                <a:gd name="connsiteX4" fmla="*/ 6887 w 10000"/>
                <a:gd name="connsiteY4" fmla="*/ 5083 h 10000"/>
                <a:gd name="connsiteX5" fmla="*/ 6321 w 10000"/>
                <a:gd name="connsiteY5" fmla="*/ 5833 h 10000"/>
                <a:gd name="connsiteX6" fmla="*/ 5660 w 10000"/>
                <a:gd name="connsiteY6" fmla="*/ 6833 h 10000"/>
                <a:gd name="connsiteX7" fmla="*/ 5000 w 10000"/>
                <a:gd name="connsiteY7" fmla="*/ 8083 h 10000"/>
                <a:gd name="connsiteX8" fmla="*/ 5660 w 10000"/>
                <a:gd name="connsiteY8" fmla="*/ 8417 h 10000"/>
                <a:gd name="connsiteX9" fmla="*/ 5755 w 10000"/>
                <a:gd name="connsiteY9" fmla="*/ 10000 h 10000"/>
                <a:gd name="connsiteX10" fmla="*/ 3868 w 10000"/>
                <a:gd name="connsiteY10" fmla="*/ 8917 h 10000"/>
                <a:gd name="connsiteX11" fmla="*/ 1321 w 10000"/>
                <a:gd name="connsiteY11" fmla="*/ 7333 h 10000"/>
                <a:gd name="connsiteX12" fmla="*/ 189 w 10000"/>
                <a:gd name="connsiteY12" fmla="*/ 6917 h 10000"/>
                <a:gd name="connsiteX13" fmla="*/ 189 w 10000"/>
                <a:gd name="connsiteY13" fmla="*/ 5333 h 10000"/>
                <a:gd name="connsiteX14" fmla="*/ 189 w 10000"/>
                <a:gd name="connsiteY14" fmla="*/ 3833 h 10000"/>
                <a:gd name="connsiteX15" fmla="*/ 755 w 10000"/>
                <a:gd name="connsiteY15" fmla="*/ 3083 h 10000"/>
                <a:gd name="connsiteX16" fmla="*/ 1132 w 10000"/>
                <a:gd name="connsiteY16" fmla="*/ 2250 h 10000"/>
                <a:gd name="connsiteX17" fmla="*/ 1792 w 10000"/>
                <a:gd name="connsiteY17" fmla="*/ 1583 h 10000"/>
                <a:gd name="connsiteX18" fmla="*/ 2547 w 10000"/>
                <a:gd name="connsiteY18" fmla="*/ 1750 h 10000"/>
                <a:gd name="connsiteX19" fmla="*/ 2830 w 10000"/>
                <a:gd name="connsiteY19" fmla="*/ 1333 h 10000"/>
                <a:gd name="connsiteX20" fmla="*/ 1981 w 10000"/>
                <a:gd name="connsiteY20" fmla="*/ 500 h 10000"/>
                <a:gd name="connsiteX21" fmla="*/ 3396 w 10000"/>
                <a:gd name="connsiteY21" fmla="*/ 0 h 10000"/>
                <a:gd name="connsiteX22" fmla="*/ 4811 w 10000"/>
                <a:gd name="connsiteY22" fmla="*/ 750 h 10000"/>
                <a:gd name="connsiteX23" fmla="*/ 5189 w 10000"/>
                <a:gd name="connsiteY23" fmla="*/ 1250 h 10000"/>
                <a:gd name="connsiteX24" fmla="*/ 6887 w 10000"/>
                <a:gd name="connsiteY24" fmla="*/ 2250 h 10000"/>
                <a:gd name="connsiteX25" fmla="*/ 8113 w 10000"/>
                <a:gd name="connsiteY25" fmla="*/ 2333 h 10000"/>
                <a:gd name="connsiteX26" fmla="*/ 9811 w 10000"/>
                <a:gd name="connsiteY26" fmla="*/ 3000 h 10000"/>
                <a:gd name="connsiteX27" fmla="*/ 9245 w 10000"/>
                <a:gd name="connsiteY27" fmla="*/ 375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000" h="10000">
                  <a:moveTo>
                    <a:pt x="9245" y="3750"/>
                  </a:moveTo>
                  <a:cubicBezTo>
                    <a:pt x="9056" y="4028"/>
                    <a:pt x="8773" y="4320"/>
                    <a:pt x="8679" y="4667"/>
                  </a:cubicBezTo>
                  <a:lnTo>
                    <a:pt x="8679" y="5833"/>
                  </a:lnTo>
                  <a:cubicBezTo>
                    <a:pt x="8491" y="6083"/>
                    <a:pt x="7830" y="6000"/>
                    <a:pt x="7547" y="5917"/>
                  </a:cubicBezTo>
                  <a:cubicBezTo>
                    <a:pt x="7264" y="5833"/>
                    <a:pt x="7075" y="5083"/>
                    <a:pt x="6887" y="5083"/>
                  </a:cubicBezTo>
                  <a:cubicBezTo>
                    <a:pt x="6698" y="5083"/>
                    <a:pt x="6509" y="5583"/>
                    <a:pt x="6321" y="5833"/>
                  </a:cubicBezTo>
                  <a:cubicBezTo>
                    <a:pt x="6132" y="6083"/>
                    <a:pt x="5849" y="6500"/>
                    <a:pt x="5660" y="6833"/>
                  </a:cubicBezTo>
                  <a:cubicBezTo>
                    <a:pt x="5377" y="7250"/>
                    <a:pt x="5000" y="7750"/>
                    <a:pt x="5000" y="8083"/>
                  </a:cubicBezTo>
                  <a:cubicBezTo>
                    <a:pt x="5000" y="8333"/>
                    <a:pt x="5566" y="8083"/>
                    <a:pt x="5660" y="8417"/>
                  </a:cubicBezTo>
                  <a:cubicBezTo>
                    <a:pt x="5755" y="8750"/>
                    <a:pt x="6038" y="9917"/>
                    <a:pt x="5755" y="10000"/>
                  </a:cubicBezTo>
                  <a:cubicBezTo>
                    <a:pt x="4340" y="9583"/>
                    <a:pt x="4528" y="9417"/>
                    <a:pt x="3868" y="8917"/>
                  </a:cubicBezTo>
                  <a:cubicBezTo>
                    <a:pt x="3113" y="8500"/>
                    <a:pt x="1887" y="7667"/>
                    <a:pt x="1321" y="7333"/>
                  </a:cubicBezTo>
                  <a:cubicBezTo>
                    <a:pt x="755" y="7000"/>
                    <a:pt x="377" y="7250"/>
                    <a:pt x="189" y="6917"/>
                  </a:cubicBezTo>
                  <a:cubicBezTo>
                    <a:pt x="0" y="6583"/>
                    <a:pt x="189" y="5833"/>
                    <a:pt x="189" y="5333"/>
                  </a:cubicBezTo>
                  <a:cubicBezTo>
                    <a:pt x="189" y="4833"/>
                    <a:pt x="94" y="4167"/>
                    <a:pt x="189" y="3833"/>
                  </a:cubicBezTo>
                  <a:cubicBezTo>
                    <a:pt x="283" y="3500"/>
                    <a:pt x="566" y="3333"/>
                    <a:pt x="755" y="3083"/>
                  </a:cubicBezTo>
                  <a:cubicBezTo>
                    <a:pt x="943" y="2833"/>
                    <a:pt x="943" y="2500"/>
                    <a:pt x="1132" y="2250"/>
                  </a:cubicBezTo>
                  <a:cubicBezTo>
                    <a:pt x="1321" y="2000"/>
                    <a:pt x="1509" y="1667"/>
                    <a:pt x="1792" y="1583"/>
                  </a:cubicBezTo>
                  <a:cubicBezTo>
                    <a:pt x="1981" y="1500"/>
                    <a:pt x="2358" y="1750"/>
                    <a:pt x="2547" y="1750"/>
                  </a:cubicBezTo>
                  <a:cubicBezTo>
                    <a:pt x="2736" y="1750"/>
                    <a:pt x="2925" y="1500"/>
                    <a:pt x="2830" y="1333"/>
                  </a:cubicBezTo>
                  <a:cubicBezTo>
                    <a:pt x="2736" y="1083"/>
                    <a:pt x="1887" y="750"/>
                    <a:pt x="1981" y="500"/>
                  </a:cubicBezTo>
                  <a:cubicBezTo>
                    <a:pt x="2075" y="333"/>
                    <a:pt x="3019" y="0"/>
                    <a:pt x="3396" y="0"/>
                  </a:cubicBezTo>
                  <a:cubicBezTo>
                    <a:pt x="3396" y="417"/>
                    <a:pt x="4528" y="500"/>
                    <a:pt x="4811" y="750"/>
                  </a:cubicBezTo>
                  <a:cubicBezTo>
                    <a:pt x="5094" y="917"/>
                    <a:pt x="4906" y="1000"/>
                    <a:pt x="5189" y="1250"/>
                  </a:cubicBezTo>
                  <a:cubicBezTo>
                    <a:pt x="5283" y="1833"/>
                    <a:pt x="7264" y="1750"/>
                    <a:pt x="6887" y="2250"/>
                  </a:cubicBezTo>
                  <a:cubicBezTo>
                    <a:pt x="8208" y="1833"/>
                    <a:pt x="7736" y="2333"/>
                    <a:pt x="8113" y="2333"/>
                  </a:cubicBezTo>
                  <a:cubicBezTo>
                    <a:pt x="8491" y="2500"/>
                    <a:pt x="9623" y="2750"/>
                    <a:pt x="9811" y="3000"/>
                  </a:cubicBezTo>
                  <a:cubicBezTo>
                    <a:pt x="10000" y="3167"/>
                    <a:pt x="9340" y="3583"/>
                    <a:pt x="9245" y="3750"/>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338" name="Freeform 337"/>
            <p:cNvSpPr/>
            <p:nvPr>
              <p:custDataLst>
                <p:tags r:id="rId21"/>
              </p:custDataLst>
            </p:nvPr>
          </p:nvSpPr>
          <p:spPr bwMode="auto">
            <a:xfrm>
              <a:off x="5620153" y="5514688"/>
              <a:ext cx="169611" cy="195482"/>
            </a:xfrm>
            <a:custGeom>
              <a:avLst/>
              <a:gdLst>
                <a:gd name="connsiteX0" fmla="*/ 21431 w 128587"/>
                <a:gd name="connsiteY0" fmla="*/ 88106 h 130969"/>
                <a:gd name="connsiteX1" fmla="*/ 50006 w 128587"/>
                <a:gd name="connsiteY1" fmla="*/ 88106 h 130969"/>
                <a:gd name="connsiteX2" fmla="*/ 52387 w 128587"/>
                <a:gd name="connsiteY2" fmla="*/ 130969 h 130969"/>
                <a:gd name="connsiteX3" fmla="*/ 88106 w 128587"/>
                <a:gd name="connsiteY3" fmla="*/ 92869 h 130969"/>
                <a:gd name="connsiteX4" fmla="*/ 121444 w 128587"/>
                <a:gd name="connsiteY4" fmla="*/ 92869 h 130969"/>
                <a:gd name="connsiteX5" fmla="*/ 128587 w 128587"/>
                <a:gd name="connsiteY5" fmla="*/ 47625 h 130969"/>
                <a:gd name="connsiteX6" fmla="*/ 100012 w 128587"/>
                <a:gd name="connsiteY6" fmla="*/ 45244 h 130969"/>
                <a:gd name="connsiteX7" fmla="*/ 100012 w 128587"/>
                <a:gd name="connsiteY7" fmla="*/ 19050 h 130969"/>
                <a:gd name="connsiteX8" fmla="*/ 66675 w 128587"/>
                <a:gd name="connsiteY8" fmla="*/ 0 h 130969"/>
                <a:gd name="connsiteX9" fmla="*/ 38100 w 128587"/>
                <a:gd name="connsiteY9" fmla="*/ 16669 h 130969"/>
                <a:gd name="connsiteX10" fmla="*/ 0 w 128587"/>
                <a:gd name="connsiteY10" fmla="*/ 40481 h 130969"/>
                <a:gd name="connsiteX11" fmla="*/ 21431 w 128587"/>
                <a:gd name="connsiteY11" fmla="*/ 88106 h 130969"/>
                <a:gd name="connsiteX0" fmla="*/ 21431 w 128587"/>
                <a:gd name="connsiteY0" fmla="*/ 88106 h 130969"/>
                <a:gd name="connsiteX1" fmla="*/ 50006 w 128587"/>
                <a:gd name="connsiteY1" fmla="*/ 88106 h 130969"/>
                <a:gd name="connsiteX2" fmla="*/ 52387 w 128587"/>
                <a:gd name="connsiteY2" fmla="*/ 130969 h 130969"/>
                <a:gd name="connsiteX3" fmla="*/ 88106 w 128587"/>
                <a:gd name="connsiteY3" fmla="*/ 92869 h 130969"/>
                <a:gd name="connsiteX4" fmla="*/ 121444 w 128587"/>
                <a:gd name="connsiteY4" fmla="*/ 92869 h 130969"/>
                <a:gd name="connsiteX5" fmla="*/ 128587 w 128587"/>
                <a:gd name="connsiteY5" fmla="*/ 47625 h 130969"/>
                <a:gd name="connsiteX6" fmla="*/ 104775 w 128587"/>
                <a:gd name="connsiteY6" fmla="*/ 33338 h 130969"/>
                <a:gd name="connsiteX7" fmla="*/ 100012 w 128587"/>
                <a:gd name="connsiteY7" fmla="*/ 19050 h 130969"/>
                <a:gd name="connsiteX8" fmla="*/ 66675 w 128587"/>
                <a:gd name="connsiteY8" fmla="*/ 0 h 130969"/>
                <a:gd name="connsiteX9" fmla="*/ 38100 w 128587"/>
                <a:gd name="connsiteY9" fmla="*/ 16669 h 130969"/>
                <a:gd name="connsiteX10" fmla="*/ 0 w 128587"/>
                <a:gd name="connsiteY10" fmla="*/ 40481 h 130969"/>
                <a:gd name="connsiteX11" fmla="*/ 21431 w 128587"/>
                <a:gd name="connsiteY11" fmla="*/ 88106 h 130969"/>
                <a:gd name="connsiteX0" fmla="*/ 21431 w 133350"/>
                <a:gd name="connsiteY0" fmla="*/ 88106 h 130969"/>
                <a:gd name="connsiteX1" fmla="*/ 50006 w 133350"/>
                <a:gd name="connsiteY1" fmla="*/ 88106 h 130969"/>
                <a:gd name="connsiteX2" fmla="*/ 52387 w 133350"/>
                <a:gd name="connsiteY2" fmla="*/ 130969 h 130969"/>
                <a:gd name="connsiteX3" fmla="*/ 88106 w 133350"/>
                <a:gd name="connsiteY3" fmla="*/ 92869 h 130969"/>
                <a:gd name="connsiteX4" fmla="*/ 133350 w 133350"/>
                <a:gd name="connsiteY4" fmla="*/ 80963 h 130969"/>
                <a:gd name="connsiteX5" fmla="*/ 128587 w 133350"/>
                <a:gd name="connsiteY5" fmla="*/ 47625 h 130969"/>
                <a:gd name="connsiteX6" fmla="*/ 104775 w 133350"/>
                <a:gd name="connsiteY6" fmla="*/ 33338 h 130969"/>
                <a:gd name="connsiteX7" fmla="*/ 100012 w 133350"/>
                <a:gd name="connsiteY7" fmla="*/ 19050 h 130969"/>
                <a:gd name="connsiteX8" fmla="*/ 66675 w 133350"/>
                <a:gd name="connsiteY8" fmla="*/ 0 h 130969"/>
                <a:gd name="connsiteX9" fmla="*/ 38100 w 133350"/>
                <a:gd name="connsiteY9" fmla="*/ 16669 h 130969"/>
                <a:gd name="connsiteX10" fmla="*/ 0 w 133350"/>
                <a:gd name="connsiteY10" fmla="*/ 40481 h 130969"/>
                <a:gd name="connsiteX11" fmla="*/ 21431 w 133350"/>
                <a:gd name="connsiteY11" fmla="*/ 88106 h 130969"/>
                <a:gd name="connsiteX0" fmla="*/ 21431 w 133350"/>
                <a:gd name="connsiteY0" fmla="*/ 88106 h 130969"/>
                <a:gd name="connsiteX1" fmla="*/ 50006 w 133350"/>
                <a:gd name="connsiteY1" fmla="*/ 88106 h 130969"/>
                <a:gd name="connsiteX2" fmla="*/ 52387 w 133350"/>
                <a:gd name="connsiteY2" fmla="*/ 130969 h 130969"/>
                <a:gd name="connsiteX3" fmla="*/ 88106 w 133350"/>
                <a:gd name="connsiteY3" fmla="*/ 92869 h 130969"/>
                <a:gd name="connsiteX4" fmla="*/ 133350 w 133350"/>
                <a:gd name="connsiteY4" fmla="*/ 80963 h 130969"/>
                <a:gd name="connsiteX5" fmla="*/ 128587 w 133350"/>
                <a:gd name="connsiteY5" fmla="*/ 47625 h 130969"/>
                <a:gd name="connsiteX6" fmla="*/ 104775 w 133350"/>
                <a:gd name="connsiteY6" fmla="*/ 33338 h 130969"/>
                <a:gd name="connsiteX7" fmla="*/ 100012 w 133350"/>
                <a:gd name="connsiteY7" fmla="*/ 19050 h 130969"/>
                <a:gd name="connsiteX8" fmla="*/ 66675 w 133350"/>
                <a:gd name="connsiteY8" fmla="*/ 0 h 130969"/>
                <a:gd name="connsiteX9" fmla="*/ 16669 w 133350"/>
                <a:gd name="connsiteY9" fmla="*/ 16669 h 130969"/>
                <a:gd name="connsiteX10" fmla="*/ 0 w 133350"/>
                <a:gd name="connsiteY10" fmla="*/ 40481 h 130969"/>
                <a:gd name="connsiteX11" fmla="*/ 21431 w 133350"/>
                <a:gd name="connsiteY11" fmla="*/ 88106 h 130969"/>
                <a:gd name="connsiteX0" fmla="*/ 21431 w 133350"/>
                <a:gd name="connsiteY0" fmla="*/ 88106 h 130969"/>
                <a:gd name="connsiteX1" fmla="*/ 50006 w 133350"/>
                <a:gd name="connsiteY1" fmla="*/ 88106 h 130969"/>
                <a:gd name="connsiteX2" fmla="*/ 52387 w 133350"/>
                <a:gd name="connsiteY2" fmla="*/ 130969 h 130969"/>
                <a:gd name="connsiteX3" fmla="*/ 88106 w 133350"/>
                <a:gd name="connsiteY3" fmla="*/ 92869 h 130969"/>
                <a:gd name="connsiteX4" fmla="*/ 133350 w 133350"/>
                <a:gd name="connsiteY4" fmla="*/ 80963 h 130969"/>
                <a:gd name="connsiteX5" fmla="*/ 128587 w 133350"/>
                <a:gd name="connsiteY5" fmla="*/ 47625 h 130969"/>
                <a:gd name="connsiteX6" fmla="*/ 104775 w 133350"/>
                <a:gd name="connsiteY6" fmla="*/ 33338 h 130969"/>
                <a:gd name="connsiteX7" fmla="*/ 100012 w 133350"/>
                <a:gd name="connsiteY7" fmla="*/ 19050 h 130969"/>
                <a:gd name="connsiteX8" fmla="*/ 66675 w 133350"/>
                <a:gd name="connsiteY8" fmla="*/ 0 h 130969"/>
                <a:gd name="connsiteX9" fmla="*/ 16669 w 133350"/>
                <a:gd name="connsiteY9" fmla="*/ 16669 h 130969"/>
                <a:gd name="connsiteX10" fmla="*/ 0 w 133350"/>
                <a:gd name="connsiteY10" fmla="*/ 40481 h 130969"/>
                <a:gd name="connsiteX11" fmla="*/ 14286 w 133350"/>
                <a:gd name="connsiteY11" fmla="*/ 69056 h 130969"/>
                <a:gd name="connsiteX12" fmla="*/ 21431 w 133350"/>
                <a:gd name="connsiteY12" fmla="*/ 88106 h 130969"/>
                <a:gd name="connsiteX0" fmla="*/ 21433 w 133352"/>
                <a:gd name="connsiteY0" fmla="*/ 88106 h 130969"/>
                <a:gd name="connsiteX1" fmla="*/ 50008 w 133352"/>
                <a:gd name="connsiteY1" fmla="*/ 88106 h 130969"/>
                <a:gd name="connsiteX2" fmla="*/ 52389 w 133352"/>
                <a:gd name="connsiteY2" fmla="*/ 130969 h 130969"/>
                <a:gd name="connsiteX3" fmla="*/ 88108 w 133352"/>
                <a:gd name="connsiteY3" fmla="*/ 92869 h 130969"/>
                <a:gd name="connsiteX4" fmla="*/ 133352 w 133352"/>
                <a:gd name="connsiteY4" fmla="*/ 80963 h 130969"/>
                <a:gd name="connsiteX5" fmla="*/ 128589 w 133352"/>
                <a:gd name="connsiteY5" fmla="*/ 47625 h 130969"/>
                <a:gd name="connsiteX6" fmla="*/ 104777 w 133352"/>
                <a:gd name="connsiteY6" fmla="*/ 33338 h 130969"/>
                <a:gd name="connsiteX7" fmla="*/ 100014 w 133352"/>
                <a:gd name="connsiteY7" fmla="*/ 19050 h 130969"/>
                <a:gd name="connsiteX8" fmla="*/ 66677 w 133352"/>
                <a:gd name="connsiteY8" fmla="*/ 0 h 130969"/>
                <a:gd name="connsiteX9" fmla="*/ 16671 w 133352"/>
                <a:gd name="connsiteY9" fmla="*/ 16669 h 130969"/>
                <a:gd name="connsiteX10" fmla="*/ 2 w 133352"/>
                <a:gd name="connsiteY10" fmla="*/ 40481 h 130969"/>
                <a:gd name="connsiteX11" fmla="*/ 0 w 133352"/>
                <a:gd name="connsiteY11" fmla="*/ 61912 h 130969"/>
                <a:gd name="connsiteX12" fmla="*/ 21433 w 133352"/>
                <a:gd name="connsiteY12" fmla="*/ 88106 h 130969"/>
                <a:gd name="connsiteX0" fmla="*/ 21433 w 133352"/>
                <a:gd name="connsiteY0" fmla="*/ 88106 h 147638"/>
                <a:gd name="connsiteX1" fmla="*/ 50008 w 133352"/>
                <a:gd name="connsiteY1" fmla="*/ 88106 h 147638"/>
                <a:gd name="connsiteX2" fmla="*/ 54770 w 133352"/>
                <a:gd name="connsiteY2" fmla="*/ 147638 h 147638"/>
                <a:gd name="connsiteX3" fmla="*/ 88108 w 133352"/>
                <a:gd name="connsiteY3" fmla="*/ 92869 h 147638"/>
                <a:gd name="connsiteX4" fmla="*/ 133352 w 133352"/>
                <a:gd name="connsiteY4" fmla="*/ 80963 h 147638"/>
                <a:gd name="connsiteX5" fmla="*/ 128589 w 133352"/>
                <a:gd name="connsiteY5" fmla="*/ 47625 h 147638"/>
                <a:gd name="connsiteX6" fmla="*/ 104777 w 133352"/>
                <a:gd name="connsiteY6" fmla="*/ 33338 h 147638"/>
                <a:gd name="connsiteX7" fmla="*/ 100014 w 133352"/>
                <a:gd name="connsiteY7" fmla="*/ 19050 h 147638"/>
                <a:gd name="connsiteX8" fmla="*/ 66677 w 133352"/>
                <a:gd name="connsiteY8" fmla="*/ 0 h 147638"/>
                <a:gd name="connsiteX9" fmla="*/ 16671 w 133352"/>
                <a:gd name="connsiteY9" fmla="*/ 16669 h 147638"/>
                <a:gd name="connsiteX10" fmla="*/ 2 w 133352"/>
                <a:gd name="connsiteY10" fmla="*/ 40481 h 147638"/>
                <a:gd name="connsiteX11" fmla="*/ 0 w 133352"/>
                <a:gd name="connsiteY11" fmla="*/ 61912 h 147638"/>
                <a:gd name="connsiteX12" fmla="*/ 21433 w 133352"/>
                <a:gd name="connsiteY12" fmla="*/ 88106 h 147638"/>
                <a:gd name="connsiteX0" fmla="*/ 21433 w 133352"/>
                <a:gd name="connsiteY0" fmla="*/ 102394 h 161926"/>
                <a:gd name="connsiteX1" fmla="*/ 50008 w 133352"/>
                <a:gd name="connsiteY1" fmla="*/ 102394 h 161926"/>
                <a:gd name="connsiteX2" fmla="*/ 54770 w 133352"/>
                <a:gd name="connsiteY2" fmla="*/ 161926 h 161926"/>
                <a:gd name="connsiteX3" fmla="*/ 88108 w 133352"/>
                <a:gd name="connsiteY3" fmla="*/ 107157 h 161926"/>
                <a:gd name="connsiteX4" fmla="*/ 133352 w 133352"/>
                <a:gd name="connsiteY4" fmla="*/ 95251 h 161926"/>
                <a:gd name="connsiteX5" fmla="*/ 128589 w 133352"/>
                <a:gd name="connsiteY5" fmla="*/ 61913 h 161926"/>
                <a:gd name="connsiteX6" fmla="*/ 104777 w 133352"/>
                <a:gd name="connsiteY6" fmla="*/ 47626 h 161926"/>
                <a:gd name="connsiteX7" fmla="*/ 100014 w 133352"/>
                <a:gd name="connsiteY7" fmla="*/ 33338 h 161926"/>
                <a:gd name="connsiteX8" fmla="*/ 69058 w 133352"/>
                <a:gd name="connsiteY8" fmla="*/ 0 h 161926"/>
                <a:gd name="connsiteX9" fmla="*/ 16671 w 133352"/>
                <a:gd name="connsiteY9" fmla="*/ 30957 h 161926"/>
                <a:gd name="connsiteX10" fmla="*/ 2 w 133352"/>
                <a:gd name="connsiteY10" fmla="*/ 54769 h 161926"/>
                <a:gd name="connsiteX11" fmla="*/ 0 w 133352"/>
                <a:gd name="connsiteY11" fmla="*/ 76200 h 161926"/>
                <a:gd name="connsiteX12" fmla="*/ 21433 w 133352"/>
                <a:gd name="connsiteY12" fmla="*/ 102394 h 161926"/>
                <a:gd name="connsiteX0" fmla="*/ 21433 w 140496"/>
                <a:gd name="connsiteY0" fmla="*/ 102394 h 161926"/>
                <a:gd name="connsiteX1" fmla="*/ 50008 w 140496"/>
                <a:gd name="connsiteY1" fmla="*/ 102394 h 161926"/>
                <a:gd name="connsiteX2" fmla="*/ 54770 w 140496"/>
                <a:gd name="connsiteY2" fmla="*/ 161926 h 161926"/>
                <a:gd name="connsiteX3" fmla="*/ 88108 w 140496"/>
                <a:gd name="connsiteY3" fmla="*/ 107157 h 161926"/>
                <a:gd name="connsiteX4" fmla="*/ 133352 w 140496"/>
                <a:gd name="connsiteY4" fmla="*/ 95251 h 161926"/>
                <a:gd name="connsiteX5" fmla="*/ 140496 w 140496"/>
                <a:gd name="connsiteY5" fmla="*/ 59531 h 161926"/>
                <a:gd name="connsiteX6" fmla="*/ 104777 w 140496"/>
                <a:gd name="connsiteY6" fmla="*/ 47626 h 161926"/>
                <a:gd name="connsiteX7" fmla="*/ 100014 w 140496"/>
                <a:gd name="connsiteY7" fmla="*/ 33338 h 161926"/>
                <a:gd name="connsiteX8" fmla="*/ 69058 w 140496"/>
                <a:gd name="connsiteY8" fmla="*/ 0 h 161926"/>
                <a:gd name="connsiteX9" fmla="*/ 16671 w 140496"/>
                <a:gd name="connsiteY9" fmla="*/ 30957 h 161926"/>
                <a:gd name="connsiteX10" fmla="*/ 2 w 140496"/>
                <a:gd name="connsiteY10" fmla="*/ 54769 h 161926"/>
                <a:gd name="connsiteX11" fmla="*/ 0 w 140496"/>
                <a:gd name="connsiteY11" fmla="*/ 76200 h 161926"/>
                <a:gd name="connsiteX12" fmla="*/ 21433 w 140496"/>
                <a:gd name="connsiteY12" fmla="*/ 102394 h 161926"/>
                <a:gd name="connsiteX0" fmla="*/ 21433 w 140496"/>
                <a:gd name="connsiteY0" fmla="*/ 102394 h 161926"/>
                <a:gd name="connsiteX1" fmla="*/ 43658 w 140496"/>
                <a:gd name="connsiteY1" fmla="*/ 111919 h 161926"/>
                <a:gd name="connsiteX2" fmla="*/ 54770 w 140496"/>
                <a:gd name="connsiteY2" fmla="*/ 161926 h 161926"/>
                <a:gd name="connsiteX3" fmla="*/ 88108 w 140496"/>
                <a:gd name="connsiteY3" fmla="*/ 107157 h 161926"/>
                <a:gd name="connsiteX4" fmla="*/ 133352 w 140496"/>
                <a:gd name="connsiteY4" fmla="*/ 95251 h 161926"/>
                <a:gd name="connsiteX5" fmla="*/ 140496 w 140496"/>
                <a:gd name="connsiteY5" fmla="*/ 59531 h 161926"/>
                <a:gd name="connsiteX6" fmla="*/ 104777 w 140496"/>
                <a:gd name="connsiteY6" fmla="*/ 47626 h 161926"/>
                <a:gd name="connsiteX7" fmla="*/ 100014 w 140496"/>
                <a:gd name="connsiteY7" fmla="*/ 33338 h 161926"/>
                <a:gd name="connsiteX8" fmla="*/ 69058 w 140496"/>
                <a:gd name="connsiteY8" fmla="*/ 0 h 161926"/>
                <a:gd name="connsiteX9" fmla="*/ 16671 w 140496"/>
                <a:gd name="connsiteY9" fmla="*/ 30957 h 161926"/>
                <a:gd name="connsiteX10" fmla="*/ 2 w 140496"/>
                <a:gd name="connsiteY10" fmla="*/ 54769 h 161926"/>
                <a:gd name="connsiteX11" fmla="*/ 0 w 140496"/>
                <a:gd name="connsiteY11" fmla="*/ 76200 h 161926"/>
                <a:gd name="connsiteX12" fmla="*/ 21433 w 140496"/>
                <a:gd name="connsiteY12" fmla="*/ 102394 h 161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0496" h="161926">
                  <a:moveTo>
                    <a:pt x="21433" y="102394"/>
                  </a:moveTo>
                  <a:lnTo>
                    <a:pt x="43658" y="111919"/>
                  </a:lnTo>
                  <a:lnTo>
                    <a:pt x="54770" y="161926"/>
                  </a:lnTo>
                  <a:lnTo>
                    <a:pt x="88108" y="107157"/>
                  </a:lnTo>
                  <a:lnTo>
                    <a:pt x="133352" y="95251"/>
                  </a:lnTo>
                  <a:lnTo>
                    <a:pt x="140496" y="59531"/>
                  </a:lnTo>
                  <a:lnTo>
                    <a:pt x="104777" y="47626"/>
                  </a:lnTo>
                  <a:lnTo>
                    <a:pt x="100014" y="33338"/>
                  </a:lnTo>
                  <a:lnTo>
                    <a:pt x="69058" y="0"/>
                  </a:lnTo>
                  <a:lnTo>
                    <a:pt x="16671" y="30957"/>
                  </a:lnTo>
                  <a:lnTo>
                    <a:pt x="2" y="54769"/>
                  </a:lnTo>
                  <a:cubicBezTo>
                    <a:pt x="1" y="61913"/>
                    <a:pt x="1" y="69056"/>
                    <a:pt x="0" y="76200"/>
                  </a:cubicBezTo>
                  <a:lnTo>
                    <a:pt x="21433" y="102394"/>
                  </a:lnTo>
                  <a:close/>
                </a:path>
              </a:pathLst>
            </a:custGeom>
            <a:solidFill>
              <a:srgbClr val="DEE0E3"/>
            </a:solidFill>
            <a:ln w="3175">
              <a:solidFill>
                <a:srgbClr val="FFFFFF"/>
              </a:solidFill>
              <a:round/>
              <a:headEnd/>
              <a:tailEnd/>
            </a:ln>
          </p:spPr>
          <p:txBody>
            <a:bodyPr wrap="none" lIns="0" tIns="0" rIns="0" bIns="0" anchor="ctr"/>
            <a:lstStyle/>
            <a:p>
              <a:pPr marL="0" marR="0" lvl="0" indent="0" algn="l" defTabSz="6604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339" name="Freeform 2446"/>
            <p:cNvSpPr>
              <a:spLocks noChangeAspect="1"/>
            </p:cNvSpPr>
            <p:nvPr>
              <p:custDataLst>
                <p:tags r:id="rId22"/>
              </p:custDataLst>
            </p:nvPr>
          </p:nvSpPr>
          <p:spPr bwMode="auto">
            <a:xfrm>
              <a:off x="5074917" y="6586958"/>
              <a:ext cx="45995" cy="53661"/>
            </a:xfrm>
            <a:custGeom>
              <a:avLst/>
              <a:gdLst>
                <a:gd name="T0" fmla="*/ 0 w 24"/>
                <a:gd name="T1" fmla="*/ 0 h 28"/>
                <a:gd name="T2" fmla="*/ 18 w 24"/>
                <a:gd name="T3" fmla="*/ 13 h 28"/>
                <a:gd name="T4" fmla="*/ 24 w 24"/>
                <a:gd name="T5" fmla="*/ 22 h 28"/>
                <a:gd name="T6" fmla="*/ 14 w 24"/>
                <a:gd name="T7" fmla="*/ 25 h 28"/>
                <a:gd name="T8" fmla="*/ 8 w 24"/>
                <a:gd name="T9" fmla="*/ 17 h 28"/>
                <a:gd name="T10" fmla="*/ 2 w 24"/>
                <a:gd name="T11" fmla="*/ 10 h 28"/>
                <a:gd name="T12" fmla="*/ 7 w 24"/>
                <a:gd name="T13" fmla="*/ 3 h 28"/>
                <a:gd name="T14" fmla="*/ 0 w 24"/>
                <a:gd name="T15" fmla="*/ 0 h 28"/>
                <a:gd name="T16" fmla="*/ 0 60000 65536"/>
                <a:gd name="T17" fmla="*/ 0 60000 65536"/>
                <a:gd name="T18" fmla="*/ 0 60000 65536"/>
                <a:gd name="T19" fmla="*/ 0 60000 65536"/>
                <a:gd name="T20" fmla="*/ 0 60000 65536"/>
                <a:gd name="T21" fmla="*/ 0 60000 65536"/>
                <a:gd name="T22" fmla="*/ 0 60000 65536"/>
                <a:gd name="T23" fmla="*/ 0 60000 65536"/>
                <a:gd name="T24" fmla="*/ 0 w 24"/>
                <a:gd name="T25" fmla="*/ 0 h 28"/>
                <a:gd name="T26" fmla="*/ 24 w 24"/>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4" h="28">
                  <a:moveTo>
                    <a:pt x="0" y="0"/>
                  </a:moveTo>
                  <a:cubicBezTo>
                    <a:pt x="10" y="1"/>
                    <a:pt x="13" y="5"/>
                    <a:pt x="18" y="13"/>
                  </a:cubicBezTo>
                  <a:cubicBezTo>
                    <a:pt x="20" y="16"/>
                    <a:pt x="24" y="22"/>
                    <a:pt x="24" y="22"/>
                  </a:cubicBezTo>
                  <a:cubicBezTo>
                    <a:pt x="22" y="28"/>
                    <a:pt x="19" y="27"/>
                    <a:pt x="14" y="25"/>
                  </a:cubicBezTo>
                  <a:cubicBezTo>
                    <a:pt x="12" y="21"/>
                    <a:pt x="12" y="19"/>
                    <a:pt x="8" y="17"/>
                  </a:cubicBezTo>
                  <a:cubicBezTo>
                    <a:pt x="7" y="14"/>
                    <a:pt x="3" y="13"/>
                    <a:pt x="2" y="10"/>
                  </a:cubicBezTo>
                  <a:cubicBezTo>
                    <a:pt x="1" y="7"/>
                    <a:pt x="9" y="5"/>
                    <a:pt x="7" y="3"/>
                  </a:cubicBezTo>
                  <a:cubicBezTo>
                    <a:pt x="5" y="1"/>
                    <a:pt x="2" y="1"/>
                    <a:pt x="0" y="0"/>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340" name="Freeform 2448"/>
            <p:cNvSpPr>
              <a:spLocks noChangeAspect="1"/>
            </p:cNvSpPr>
            <p:nvPr>
              <p:custDataLst>
                <p:tags r:id="rId23"/>
              </p:custDataLst>
            </p:nvPr>
          </p:nvSpPr>
          <p:spPr bwMode="auto">
            <a:xfrm>
              <a:off x="2585411" y="1906918"/>
              <a:ext cx="611357" cy="504034"/>
            </a:xfrm>
            <a:custGeom>
              <a:avLst/>
              <a:gdLst>
                <a:gd name="T0" fmla="*/ 61 w 319"/>
                <a:gd name="T1" fmla="*/ 199 h 263"/>
                <a:gd name="T2" fmla="*/ 74 w 319"/>
                <a:gd name="T3" fmla="*/ 228 h 263"/>
                <a:gd name="T4" fmla="*/ 95 w 319"/>
                <a:gd name="T5" fmla="*/ 245 h 263"/>
                <a:gd name="T6" fmla="*/ 139 w 319"/>
                <a:gd name="T7" fmla="*/ 263 h 263"/>
                <a:gd name="T8" fmla="*/ 158 w 319"/>
                <a:gd name="T9" fmla="*/ 252 h 263"/>
                <a:gd name="T10" fmla="*/ 197 w 319"/>
                <a:gd name="T11" fmla="*/ 256 h 263"/>
                <a:gd name="T12" fmla="*/ 207 w 319"/>
                <a:gd name="T13" fmla="*/ 249 h 263"/>
                <a:gd name="T14" fmla="*/ 247 w 319"/>
                <a:gd name="T15" fmla="*/ 245 h 263"/>
                <a:gd name="T16" fmla="*/ 275 w 319"/>
                <a:gd name="T17" fmla="*/ 238 h 263"/>
                <a:gd name="T18" fmla="*/ 307 w 319"/>
                <a:gd name="T19" fmla="*/ 216 h 263"/>
                <a:gd name="T20" fmla="*/ 311 w 319"/>
                <a:gd name="T21" fmla="*/ 208 h 263"/>
                <a:gd name="T22" fmla="*/ 314 w 319"/>
                <a:gd name="T23" fmla="*/ 179 h 263"/>
                <a:gd name="T24" fmla="*/ 299 w 319"/>
                <a:gd name="T25" fmla="*/ 145 h 263"/>
                <a:gd name="T26" fmla="*/ 293 w 319"/>
                <a:gd name="T27" fmla="*/ 109 h 263"/>
                <a:gd name="T28" fmla="*/ 281 w 319"/>
                <a:gd name="T29" fmla="*/ 97 h 263"/>
                <a:gd name="T30" fmla="*/ 259 w 319"/>
                <a:gd name="T31" fmla="*/ 89 h 263"/>
                <a:gd name="T32" fmla="*/ 242 w 319"/>
                <a:gd name="T33" fmla="*/ 97 h 263"/>
                <a:gd name="T34" fmla="*/ 220 w 319"/>
                <a:gd name="T35" fmla="*/ 89 h 263"/>
                <a:gd name="T36" fmla="*/ 207 w 319"/>
                <a:gd name="T37" fmla="*/ 79 h 263"/>
                <a:gd name="T38" fmla="*/ 191 w 319"/>
                <a:gd name="T39" fmla="*/ 70 h 263"/>
                <a:gd name="T40" fmla="*/ 166 w 319"/>
                <a:gd name="T41" fmla="*/ 82 h 263"/>
                <a:gd name="T42" fmla="*/ 153 w 319"/>
                <a:gd name="T43" fmla="*/ 71 h 263"/>
                <a:gd name="T44" fmla="*/ 137 w 319"/>
                <a:gd name="T45" fmla="*/ 63 h 263"/>
                <a:gd name="T46" fmla="*/ 127 w 319"/>
                <a:gd name="T47" fmla="*/ 82 h 263"/>
                <a:gd name="T48" fmla="*/ 106 w 319"/>
                <a:gd name="T49" fmla="*/ 95 h 263"/>
                <a:gd name="T50" fmla="*/ 103 w 319"/>
                <a:gd name="T51" fmla="*/ 88 h 263"/>
                <a:gd name="T52" fmla="*/ 106 w 319"/>
                <a:gd name="T53" fmla="*/ 65 h 263"/>
                <a:gd name="T54" fmla="*/ 113 w 319"/>
                <a:gd name="T55" fmla="*/ 46 h 263"/>
                <a:gd name="T56" fmla="*/ 83 w 319"/>
                <a:gd name="T57" fmla="*/ 0 h 263"/>
                <a:gd name="T58" fmla="*/ 85 w 319"/>
                <a:gd name="T59" fmla="*/ 25 h 263"/>
                <a:gd name="T60" fmla="*/ 70 w 319"/>
                <a:gd name="T61" fmla="*/ 21 h 263"/>
                <a:gd name="T62" fmla="*/ 53 w 319"/>
                <a:gd name="T63" fmla="*/ 18 h 263"/>
                <a:gd name="T64" fmla="*/ 56 w 319"/>
                <a:gd name="T65" fmla="*/ 34 h 263"/>
                <a:gd name="T66" fmla="*/ 46 w 319"/>
                <a:gd name="T67" fmla="*/ 35 h 263"/>
                <a:gd name="T68" fmla="*/ 37 w 319"/>
                <a:gd name="T69" fmla="*/ 25 h 263"/>
                <a:gd name="T70" fmla="*/ 26 w 319"/>
                <a:gd name="T71" fmla="*/ 40 h 263"/>
                <a:gd name="T72" fmla="*/ 16 w 319"/>
                <a:gd name="T73" fmla="*/ 42 h 263"/>
                <a:gd name="T74" fmla="*/ 29 w 319"/>
                <a:gd name="T75" fmla="*/ 61 h 263"/>
                <a:gd name="T76" fmla="*/ 82 w 319"/>
                <a:gd name="T77" fmla="*/ 79 h 263"/>
                <a:gd name="T78" fmla="*/ 75 w 319"/>
                <a:gd name="T79" fmla="*/ 99 h 263"/>
                <a:gd name="T80" fmla="*/ 47 w 319"/>
                <a:gd name="T81" fmla="*/ 99 h 263"/>
                <a:gd name="T82" fmla="*/ 9 w 319"/>
                <a:gd name="T83" fmla="*/ 94 h 263"/>
                <a:gd name="T84" fmla="*/ 43 w 319"/>
                <a:gd name="T85" fmla="*/ 115 h 263"/>
                <a:gd name="T86" fmla="*/ 41 w 319"/>
                <a:gd name="T87" fmla="*/ 159 h 263"/>
                <a:gd name="T88" fmla="*/ 62 w 319"/>
                <a:gd name="T89" fmla="*/ 160 h 263"/>
                <a:gd name="T90" fmla="*/ 29 w 319"/>
                <a:gd name="T91" fmla="*/ 173 h 263"/>
                <a:gd name="T92" fmla="*/ 8 w 319"/>
                <a:gd name="T93" fmla="*/ 173 h 263"/>
                <a:gd name="T94" fmla="*/ 26 w 319"/>
                <a:gd name="T95" fmla="*/ 185 h 263"/>
                <a:gd name="T96" fmla="*/ 28 w 319"/>
                <a:gd name="T97" fmla="*/ 187 h 26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19"/>
                <a:gd name="T148" fmla="*/ 0 h 263"/>
                <a:gd name="T149" fmla="*/ 319 w 319"/>
                <a:gd name="T150" fmla="*/ 263 h 26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19" h="263">
                  <a:moveTo>
                    <a:pt x="51" y="195"/>
                  </a:moveTo>
                  <a:cubicBezTo>
                    <a:pt x="54" y="197"/>
                    <a:pt x="61" y="199"/>
                    <a:pt x="61" y="199"/>
                  </a:cubicBezTo>
                  <a:cubicBezTo>
                    <a:pt x="64" y="203"/>
                    <a:pt x="64" y="207"/>
                    <a:pt x="67" y="211"/>
                  </a:cubicBezTo>
                  <a:cubicBezTo>
                    <a:pt x="69" y="217"/>
                    <a:pt x="68" y="224"/>
                    <a:pt x="74" y="228"/>
                  </a:cubicBezTo>
                  <a:cubicBezTo>
                    <a:pt x="76" y="233"/>
                    <a:pt x="78" y="232"/>
                    <a:pt x="82" y="235"/>
                  </a:cubicBezTo>
                  <a:cubicBezTo>
                    <a:pt x="84" y="241"/>
                    <a:pt x="90" y="243"/>
                    <a:pt x="95" y="245"/>
                  </a:cubicBezTo>
                  <a:cubicBezTo>
                    <a:pt x="101" y="247"/>
                    <a:pt x="103" y="254"/>
                    <a:pt x="109" y="256"/>
                  </a:cubicBezTo>
                  <a:cubicBezTo>
                    <a:pt x="118" y="259"/>
                    <a:pt x="129" y="261"/>
                    <a:pt x="139" y="263"/>
                  </a:cubicBezTo>
                  <a:cubicBezTo>
                    <a:pt x="141" y="263"/>
                    <a:pt x="164" y="260"/>
                    <a:pt x="149" y="255"/>
                  </a:cubicBezTo>
                  <a:cubicBezTo>
                    <a:pt x="152" y="251"/>
                    <a:pt x="153" y="250"/>
                    <a:pt x="158" y="252"/>
                  </a:cubicBezTo>
                  <a:cubicBezTo>
                    <a:pt x="162" y="258"/>
                    <a:pt x="169" y="256"/>
                    <a:pt x="176" y="257"/>
                  </a:cubicBezTo>
                  <a:cubicBezTo>
                    <a:pt x="185" y="255"/>
                    <a:pt x="186" y="255"/>
                    <a:pt x="197" y="256"/>
                  </a:cubicBezTo>
                  <a:cubicBezTo>
                    <a:pt x="199" y="256"/>
                    <a:pt x="201" y="256"/>
                    <a:pt x="203" y="255"/>
                  </a:cubicBezTo>
                  <a:cubicBezTo>
                    <a:pt x="205" y="254"/>
                    <a:pt x="205" y="250"/>
                    <a:pt x="207" y="249"/>
                  </a:cubicBezTo>
                  <a:cubicBezTo>
                    <a:pt x="215" y="246"/>
                    <a:pt x="221" y="245"/>
                    <a:pt x="229" y="244"/>
                  </a:cubicBezTo>
                  <a:cubicBezTo>
                    <a:pt x="235" y="242"/>
                    <a:pt x="241" y="244"/>
                    <a:pt x="247" y="245"/>
                  </a:cubicBezTo>
                  <a:cubicBezTo>
                    <a:pt x="254" y="250"/>
                    <a:pt x="254" y="250"/>
                    <a:pt x="259" y="243"/>
                  </a:cubicBezTo>
                  <a:cubicBezTo>
                    <a:pt x="260" y="239"/>
                    <a:pt x="270" y="241"/>
                    <a:pt x="275" y="238"/>
                  </a:cubicBezTo>
                  <a:cubicBezTo>
                    <a:pt x="279" y="231"/>
                    <a:pt x="278" y="228"/>
                    <a:pt x="279" y="219"/>
                  </a:cubicBezTo>
                  <a:cubicBezTo>
                    <a:pt x="290" y="225"/>
                    <a:pt x="297" y="218"/>
                    <a:pt x="307" y="216"/>
                  </a:cubicBezTo>
                  <a:cubicBezTo>
                    <a:pt x="304" y="211"/>
                    <a:pt x="300" y="206"/>
                    <a:pt x="295" y="203"/>
                  </a:cubicBezTo>
                  <a:cubicBezTo>
                    <a:pt x="298" y="193"/>
                    <a:pt x="305" y="206"/>
                    <a:pt x="311" y="208"/>
                  </a:cubicBezTo>
                  <a:cubicBezTo>
                    <a:pt x="319" y="206"/>
                    <a:pt x="319" y="198"/>
                    <a:pt x="311" y="195"/>
                  </a:cubicBezTo>
                  <a:cubicBezTo>
                    <a:pt x="309" y="189"/>
                    <a:pt x="308" y="183"/>
                    <a:pt x="314" y="179"/>
                  </a:cubicBezTo>
                  <a:cubicBezTo>
                    <a:pt x="318" y="171"/>
                    <a:pt x="318" y="164"/>
                    <a:pt x="311" y="159"/>
                  </a:cubicBezTo>
                  <a:cubicBezTo>
                    <a:pt x="308" y="149"/>
                    <a:pt x="307" y="150"/>
                    <a:pt x="299" y="145"/>
                  </a:cubicBezTo>
                  <a:cubicBezTo>
                    <a:pt x="296" y="134"/>
                    <a:pt x="301" y="116"/>
                    <a:pt x="305" y="105"/>
                  </a:cubicBezTo>
                  <a:cubicBezTo>
                    <a:pt x="301" y="96"/>
                    <a:pt x="299" y="107"/>
                    <a:pt x="293" y="109"/>
                  </a:cubicBezTo>
                  <a:cubicBezTo>
                    <a:pt x="288" y="108"/>
                    <a:pt x="287" y="107"/>
                    <a:pt x="285" y="103"/>
                  </a:cubicBezTo>
                  <a:cubicBezTo>
                    <a:pt x="284" y="101"/>
                    <a:pt x="281" y="97"/>
                    <a:pt x="281" y="97"/>
                  </a:cubicBezTo>
                  <a:cubicBezTo>
                    <a:pt x="278" y="87"/>
                    <a:pt x="277" y="83"/>
                    <a:pt x="272" y="75"/>
                  </a:cubicBezTo>
                  <a:cubicBezTo>
                    <a:pt x="260" y="77"/>
                    <a:pt x="265" y="81"/>
                    <a:pt x="259" y="89"/>
                  </a:cubicBezTo>
                  <a:cubicBezTo>
                    <a:pt x="254" y="96"/>
                    <a:pt x="251" y="95"/>
                    <a:pt x="245" y="99"/>
                  </a:cubicBezTo>
                  <a:cubicBezTo>
                    <a:pt x="244" y="98"/>
                    <a:pt x="242" y="98"/>
                    <a:pt x="242" y="97"/>
                  </a:cubicBezTo>
                  <a:cubicBezTo>
                    <a:pt x="242" y="95"/>
                    <a:pt x="244" y="91"/>
                    <a:pt x="244" y="91"/>
                  </a:cubicBezTo>
                  <a:cubicBezTo>
                    <a:pt x="239" y="90"/>
                    <a:pt x="225" y="85"/>
                    <a:pt x="220" y="89"/>
                  </a:cubicBezTo>
                  <a:cubicBezTo>
                    <a:pt x="210" y="96"/>
                    <a:pt x="234" y="99"/>
                    <a:pt x="219" y="96"/>
                  </a:cubicBezTo>
                  <a:cubicBezTo>
                    <a:pt x="217" y="89"/>
                    <a:pt x="214" y="83"/>
                    <a:pt x="207" y="79"/>
                  </a:cubicBezTo>
                  <a:cubicBezTo>
                    <a:pt x="200" y="84"/>
                    <a:pt x="205" y="97"/>
                    <a:pt x="202" y="106"/>
                  </a:cubicBezTo>
                  <a:cubicBezTo>
                    <a:pt x="196" y="95"/>
                    <a:pt x="200" y="79"/>
                    <a:pt x="191" y="70"/>
                  </a:cubicBezTo>
                  <a:cubicBezTo>
                    <a:pt x="183" y="72"/>
                    <a:pt x="183" y="77"/>
                    <a:pt x="175" y="71"/>
                  </a:cubicBezTo>
                  <a:cubicBezTo>
                    <a:pt x="171" y="74"/>
                    <a:pt x="170" y="78"/>
                    <a:pt x="166" y="82"/>
                  </a:cubicBezTo>
                  <a:cubicBezTo>
                    <a:pt x="164" y="87"/>
                    <a:pt x="164" y="90"/>
                    <a:pt x="161" y="94"/>
                  </a:cubicBezTo>
                  <a:cubicBezTo>
                    <a:pt x="159" y="86"/>
                    <a:pt x="155" y="79"/>
                    <a:pt x="153" y="71"/>
                  </a:cubicBezTo>
                  <a:cubicBezTo>
                    <a:pt x="152" y="63"/>
                    <a:pt x="153" y="61"/>
                    <a:pt x="149" y="55"/>
                  </a:cubicBezTo>
                  <a:cubicBezTo>
                    <a:pt x="145" y="58"/>
                    <a:pt x="137" y="63"/>
                    <a:pt x="137" y="63"/>
                  </a:cubicBezTo>
                  <a:cubicBezTo>
                    <a:pt x="134" y="73"/>
                    <a:pt x="133" y="83"/>
                    <a:pt x="130" y="93"/>
                  </a:cubicBezTo>
                  <a:cubicBezTo>
                    <a:pt x="124" y="89"/>
                    <a:pt x="125" y="89"/>
                    <a:pt x="127" y="82"/>
                  </a:cubicBezTo>
                  <a:cubicBezTo>
                    <a:pt x="124" y="78"/>
                    <a:pt x="118" y="84"/>
                    <a:pt x="112" y="85"/>
                  </a:cubicBezTo>
                  <a:cubicBezTo>
                    <a:pt x="110" y="90"/>
                    <a:pt x="111" y="93"/>
                    <a:pt x="106" y="95"/>
                  </a:cubicBezTo>
                  <a:cubicBezTo>
                    <a:pt x="102" y="98"/>
                    <a:pt x="98" y="101"/>
                    <a:pt x="95" y="106"/>
                  </a:cubicBezTo>
                  <a:cubicBezTo>
                    <a:pt x="100" y="118"/>
                    <a:pt x="98" y="96"/>
                    <a:pt x="103" y="88"/>
                  </a:cubicBezTo>
                  <a:cubicBezTo>
                    <a:pt x="100" y="78"/>
                    <a:pt x="102" y="82"/>
                    <a:pt x="98" y="76"/>
                  </a:cubicBezTo>
                  <a:cubicBezTo>
                    <a:pt x="97" y="66"/>
                    <a:pt x="96" y="63"/>
                    <a:pt x="106" y="65"/>
                  </a:cubicBezTo>
                  <a:cubicBezTo>
                    <a:pt x="113" y="64"/>
                    <a:pt x="109" y="62"/>
                    <a:pt x="115" y="60"/>
                  </a:cubicBezTo>
                  <a:cubicBezTo>
                    <a:pt x="117" y="54"/>
                    <a:pt x="119" y="50"/>
                    <a:pt x="113" y="46"/>
                  </a:cubicBezTo>
                  <a:cubicBezTo>
                    <a:pt x="110" y="38"/>
                    <a:pt x="112" y="27"/>
                    <a:pt x="106" y="21"/>
                  </a:cubicBezTo>
                  <a:cubicBezTo>
                    <a:pt x="102" y="10"/>
                    <a:pt x="94" y="4"/>
                    <a:pt x="83" y="0"/>
                  </a:cubicBezTo>
                  <a:cubicBezTo>
                    <a:pt x="81" y="5"/>
                    <a:pt x="79" y="10"/>
                    <a:pt x="85" y="12"/>
                  </a:cubicBezTo>
                  <a:cubicBezTo>
                    <a:pt x="90" y="19"/>
                    <a:pt x="81" y="10"/>
                    <a:pt x="85" y="25"/>
                  </a:cubicBezTo>
                  <a:cubicBezTo>
                    <a:pt x="84" y="28"/>
                    <a:pt x="85" y="31"/>
                    <a:pt x="83" y="34"/>
                  </a:cubicBezTo>
                  <a:cubicBezTo>
                    <a:pt x="82" y="36"/>
                    <a:pt x="72" y="23"/>
                    <a:pt x="70" y="21"/>
                  </a:cubicBezTo>
                  <a:cubicBezTo>
                    <a:pt x="69" y="17"/>
                    <a:pt x="65" y="16"/>
                    <a:pt x="63" y="12"/>
                  </a:cubicBezTo>
                  <a:cubicBezTo>
                    <a:pt x="56" y="14"/>
                    <a:pt x="61" y="16"/>
                    <a:pt x="53" y="18"/>
                  </a:cubicBezTo>
                  <a:cubicBezTo>
                    <a:pt x="44" y="12"/>
                    <a:pt x="52" y="28"/>
                    <a:pt x="55" y="31"/>
                  </a:cubicBezTo>
                  <a:cubicBezTo>
                    <a:pt x="55" y="32"/>
                    <a:pt x="57" y="34"/>
                    <a:pt x="56" y="34"/>
                  </a:cubicBezTo>
                  <a:cubicBezTo>
                    <a:pt x="51" y="31"/>
                    <a:pt x="44" y="22"/>
                    <a:pt x="44" y="22"/>
                  </a:cubicBezTo>
                  <a:cubicBezTo>
                    <a:pt x="45" y="26"/>
                    <a:pt x="45" y="31"/>
                    <a:pt x="46" y="35"/>
                  </a:cubicBezTo>
                  <a:cubicBezTo>
                    <a:pt x="46" y="37"/>
                    <a:pt x="50" y="44"/>
                    <a:pt x="49" y="42"/>
                  </a:cubicBezTo>
                  <a:cubicBezTo>
                    <a:pt x="47" y="33"/>
                    <a:pt x="44" y="29"/>
                    <a:pt x="37" y="25"/>
                  </a:cubicBezTo>
                  <a:cubicBezTo>
                    <a:pt x="35" y="31"/>
                    <a:pt x="37" y="39"/>
                    <a:pt x="31" y="41"/>
                  </a:cubicBezTo>
                  <a:cubicBezTo>
                    <a:pt x="29" y="41"/>
                    <a:pt x="27" y="41"/>
                    <a:pt x="26" y="40"/>
                  </a:cubicBezTo>
                  <a:cubicBezTo>
                    <a:pt x="25" y="39"/>
                    <a:pt x="26" y="37"/>
                    <a:pt x="25" y="37"/>
                  </a:cubicBezTo>
                  <a:cubicBezTo>
                    <a:pt x="22" y="37"/>
                    <a:pt x="19" y="41"/>
                    <a:pt x="16" y="42"/>
                  </a:cubicBezTo>
                  <a:cubicBezTo>
                    <a:pt x="21" y="47"/>
                    <a:pt x="22" y="45"/>
                    <a:pt x="21" y="53"/>
                  </a:cubicBezTo>
                  <a:cubicBezTo>
                    <a:pt x="22" y="59"/>
                    <a:pt x="23" y="60"/>
                    <a:pt x="29" y="61"/>
                  </a:cubicBezTo>
                  <a:cubicBezTo>
                    <a:pt x="40" y="60"/>
                    <a:pt x="50" y="59"/>
                    <a:pt x="61" y="60"/>
                  </a:cubicBezTo>
                  <a:cubicBezTo>
                    <a:pt x="65" y="66"/>
                    <a:pt x="75" y="77"/>
                    <a:pt x="82" y="79"/>
                  </a:cubicBezTo>
                  <a:cubicBezTo>
                    <a:pt x="85" y="89"/>
                    <a:pt x="63" y="86"/>
                    <a:pt x="53" y="87"/>
                  </a:cubicBezTo>
                  <a:cubicBezTo>
                    <a:pt x="60" y="92"/>
                    <a:pt x="66" y="95"/>
                    <a:pt x="75" y="99"/>
                  </a:cubicBezTo>
                  <a:cubicBezTo>
                    <a:pt x="80" y="106"/>
                    <a:pt x="74" y="105"/>
                    <a:pt x="67" y="106"/>
                  </a:cubicBezTo>
                  <a:cubicBezTo>
                    <a:pt x="52" y="105"/>
                    <a:pt x="57" y="102"/>
                    <a:pt x="47" y="99"/>
                  </a:cubicBezTo>
                  <a:cubicBezTo>
                    <a:pt x="41" y="95"/>
                    <a:pt x="33" y="94"/>
                    <a:pt x="26" y="93"/>
                  </a:cubicBezTo>
                  <a:cubicBezTo>
                    <a:pt x="20" y="93"/>
                    <a:pt x="15" y="93"/>
                    <a:pt x="9" y="94"/>
                  </a:cubicBezTo>
                  <a:cubicBezTo>
                    <a:pt x="6" y="95"/>
                    <a:pt x="18" y="101"/>
                    <a:pt x="20" y="102"/>
                  </a:cubicBezTo>
                  <a:cubicBezTo>
                    <a:pt x="28" y="104"/>
                    <a:pt x="36" y="111"/>
                    <a:pt x="43" y="115"/>
                  </a:cubicBezTo>
                  <a:cubicBezTo>
                    <a:pt x="48" y="122"/>
                    <a:pt x="48" y="125"/>
                    <a:pt x="43" y="132"/>
                  </a:cubicBezTo>
                  <a:cubicBezTo>
                    <a:pt x="46" y="141"/>
                    <a:pt x="47" y="150"/>
                    <a:pt x="41" y="159"/>
                  </a:cubicBezTo>
                  <a:cubicBezTo>
                    <a:pt x="44" y="164"/>
                    <a:pt x="45" y="164"/>
                    <a:pt x="50" y="160"/>
                  </a:cubicBezTo>
                  <a:cubicBezTo>
                    <a:pt x="53" y="152"/>
                    <a:pt x="57" y="158"/>
                    <a:pt x="62" y="160"/>
                  </a:cubicBezTo>
                  <a:cubicBezTo>
                    <a:pt x="60" y="171"/>
                    <a:pt x="52" y="166"/>
                    <a:pt x="39" y="167"/>
                  </a:cubicBezTo>
                  <a:cubicBezTo>
                    <a:pt x="34" y="169"/>
                    <a:pt x="34" y="172"/>
                    <a:pt x="29" y="173"/>
                  </a:cubicBezTo>
                  <a:cubicBezTo>
                    <a:pt x="21" y="172"/>
                    <a:pt x="22" y="169"/>
                    <a:pt x="16" y="167"/>
                  </a:cubicBezTo>
                  <a:cubicBezTo>
                    <a:pt x="12" y="167"/>
                    <a:pt x="0" y="168"/>
                    <a:pt x="8" y="173"/>
                  </a:cubicBezTo>
                  <a:cubicBezTo>
                    <a:pt x="12" y="181"/>
                    <a:pt x="9" y="180"/>
                    <a:pt x="20" y="181"/>
                  </a:cubicBezTo>
                  <a:cubicBezTo>
                    <a:pt x="22" y="182"/>
                    <a:pt x="25" y="183"/>
                    <a:pt x="26" y="185"/>
                  </a:cubicBezTo>
                  <a:cubicBezTo>
                    <a:pt x="26" y="186"/>
                    <a:pt x="26" y="188"/>
                    <a:pt x="27" y="189"/>
                  </a:cubicBezTo>
                  <a:cubicBezTo>
                    <a:pt x="28" y="190"/>
                    <a:pt x="28" y="188"/>
                    <a:pt x="28" y="187"/>
                  </a:cubicBezTo>
                  <a:lnTo>
                    <a:pt x="51" y="195"/>
                  </a:ln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341" name="Freeform 2450"/>
            <p:cNvSpPr>
              <a:spLocks noChangeAspect="1"/>
            </p:cNvSpPr>
            <p:nvPr/>
          </p:nvSpPr>
          <p:spPr bwMode="auto">
            <a:xfrm>
              <a:off x="5444796" y="3286783"/>
              <a:ext cx="76659" cy="59411"/>
            </a:xfrm>
            <a:custGeom>
              <a:avLst/>
              <a:gdLst>
                <a:gd name="T0" fmla="*/ 18 w 40"/>
                <a:gd name="T1" fmla="*/ 1 h 31"/>
                <a:gd name="T2" fmla="*/ 26 w 40"/>
                <a:gd name="T3" fmla="*/ 4 h 31"/>
                <a:gd name="T4" fmla="*/ 36 w 40"/>
                <a:gd name="T5" fmla="*/ 13 h 31"/>
                <a:gd name="T6" fmla="*/ 26 w 40"/>
                <a:gd name="T7" fmla="*/ 25 h 31"/>
                <a:gd name="T8" fmla="*/ 16 w 40"/>
                <a:gd name="T9" fmla="*/ 30 h 31"/>
                <a:gd name="T10" fmla="*/ 12 w 40"/>
                <a:gd name="T11" fmla="*/ 19 h 31"/>
                <a:gd name="T12" fmla="*/ 0 w 40"/>
                <a:gd name="T13" fmla="*/ 23 h 31"/>
                <a:gd name="T14" fmla="*/ 15 w 40"/>
                <a:gd name="T15" fmla="*/ 12 h 31"/>
                <a:gd name="T16" fmla="*/ 18 w 40"/>
                <a:gd name="T17" fmla="*/ 1 h 31"/>
                <a:gd name="T18" fmla="*/ 22 w 40"/>
                <a:gd name="T19" fmla="*/ 3 h 31"/>
                <a:gd name="T20" fmla="*/ 18 w 40"/>
                <a:gd name="T21" fmla="*/ 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0"/>
                <a:gd name="T34" fmla="*/ 0 h 31"/>
                <a:gd name="T35" fmla="*/ 40 w 40"/>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0" h="31">
                  <a:moveTo>
                    <a:pt x="18" y="1"/>
                  </a:moveTo>
                  <a:cubicBezTo>
                    <a:pt x="21" y="2"/>
                    <a:pt x="24" y="2"/>
                    <a:pt x="26" y="4"/>
                  </a:cubicBezTo>
                  <a:cubicBezTo>
                    <a:pt x="32" y="9"/>
                    <a:pt x="29" y="11"/>
                    <a:pt x="36" y="13"/>
                  </a:cubicBezTo>
                  <a:cubicBezTo>
                    <a:pt x="40" y="22"/>
                    <a:pt x="32" y="21"/>
                    <a:pt x="26" y="25"/>
                  </a:cubicBezTo>
                  <a:cubicBezTo>
                    <a:pt x="22" y="31"/>
                    <a:pt x="25" y="31"/>
                    <a:pt x="16" y="30"/>
                  </a:cubicBezTo>
                  <a:cubicBezTo>
                    <a:pt x="15" y="26"/>
                    <a:pt x="14" y="23"/>
                    <a:pt x="12" y="19"/>
                  </a:cubicBezTo>
                  <a:cubicBezTo>
                    <a:pt x="5" y="21"/>
                    <a:pt x="6" y="24"/>
                    <a:pt x="0" y="23"/>
                  </a:cubicBezTo>
                  <a:cubicBezTo>
                    <a:pt x="4" y="16"/>
                    <a:pt x="7" y="15"/>
                    <a:pt x="15" y="12"/>
                  </a:cubicBezTo>
                  <a:cubicBezTo>
                    <a:pt x="17" y="9"/>
                    <a:pt x="16" y="4"/>
                    <a:pt x="18" y="1"/>
                  </a:cubicBezTo>
                  <a:cubicBezTo>
                    <a:pt x="19" y="0"/>
                    <a:pt x="22" y="3"/>
                    <a:pt x="22" y="3"/>
                  </a:cubicBezTo>
                  <a:cubicBezTo>
                    <a:pt x="22" y="3"/>
                    <a:pt x="19" y="2"/>
                    <a:pt x="18" y="1"/>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342" name="Freeform 2451"/>
            <p:cNvSpPr>
              <a:spLocks noChangeAspect="1"/>
            </p:cNvSpPr>
            <p:nvPr/>
          </p:nvSpPr>
          <p:spPr bwMode="auto">
            <a:xfrm>
              <a:off x="5444796" y="3350027"/>
              <a:ext cx="99657" cy="111156"/>
            </a:xfrm>
            <a:custGeom>
              <a:avLst/>
              <a:gdLst>
                <a:gd name="T0" fmla="*/ 35 w 52"/>
                <a:gd name="T1" fmla="*/ 3 h 58"/>
                <a:gd name="T2" fmla="*/ 51 w 52"/>
                <a:gd name="T3" fmla="*/ 10 h 58"/>
                <a:gd name="T4" fmla="*/ 44 w 52"/>
                <a:gd name="T5" fmla="*/ 15 h 58"/>
                <a:gd name="T6" fmla="*/ 33 w 52"/>
                <a:gd name="T7" fmla="*/ 33 h 58"/>
                <a:gd name="T8" fmla="*/ 18 w 52"/>
                <a:gd name="T9" fmla="*/ 34 h 58"/>
                <a:gd name="T10" fmla="*/ 11 w 52"/>
                <a:gd name="T11" fmla="*/ 58 h 58"/>
                <a:gd name="T12" fmla="*/ 14 w 52"/>
                <a:gd name="T13" fmla="*/ 44 h 58"/>
                <a:gd name="T14" fmla="*/ 0 w 52"/>
                <a:gd name="T15" fmla="*/ 33 h 58"/>
                <a:gd name="T16" fmla="*/ 15 w 52"/>
                <a:gd name="T17" fmla="*/ 13 h 58"/>
                <a:gd name="T18" fmla="*/ 35 w 52"/>
                <a:gd name="T19" fmla="*/ 3 h 5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2"/>
                <a:gd name="T31" fmla="*/ 0 h 58"/>
                <a:gd name="T32" fmla="*/ 52 w 52"/>
                <a:gd name="T33" fmla="*/ 58 h 5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2" h="58">
                  <a:moveTo>
                    <a:pt x="35" y="3"/>
                  </a:moveTo>
                  <a:cubicBezTo>
                    <a:pt x="41" y="4"/>
                    <a:pt x="45" y="8"/>
                    <a:pt x="51" y="10"/>
                  </a:cubicBezTo>
                  <a:cubicBezTo>
                    <a:pt x="49" y="19"/>
                    <a:pt x="52" y="10"/>
                    <a:pt x="44" y="15"/>
                  </a:cubicBezTo>
                  <a:cubicBezTo>
                    <a:pt x="38" y="19"/>
                    <a:pt x="41" y="30"/>
                    <a:pt x="33" y="33"/>
                  </a:cubicBezTo>
                  <a:cubicBezTo>
                    <a:pt x="29" y="30"/>
                    <a:pt x="18" y="34"/>
                    <a:pt x="18" y="34"/>
                  </a:cubicBezTo>
                  <a:cubicBezTo>
                    <a:pt x="15" y="42"/>
                    <a:pt x="18" y="53"/>
                    <a:pt x="11" y="58"/>
                  </a:cubicBezTo>
                  <a:cubicBezTo>
                    <a:pt x="3" y="55"/>
                    <a:pt x="10" y="47"/>
                    <a:pt x="14" y="44"/>
                  </a:cubicBezTo>
                  <a:cubicBezTo>
                    <a:pt x="11" y="32"/>
                    <a:pt x="6" y="42"/>
                    <a:pt x="0" y="33"/>
                  </a:cubicBezTo>
                  <a:cubicBezTo>
                    <a:pt x="2" y="24"/>
                    <a:pt x="5" y="16"/>
                    <a:pt x="15" y="13"/>
                  </a:cubicBezTo>
                  <a:cubicBezTo>
                    <a:pt x="18" y="0"/>
                    <a:pt x="17" y="3"/>
                    <a:pt x="35" y="3"/>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343" name="Freeform 2452"/>
            <p:cNvSpPr>
              <a:spLocks noChangeAspect="1"/>
            </p:cNvSpPr>
            <p:nvPr/>
          </p:nvSpPr>
          <p:spPr bwMode="auto">
            <a:xfrm>
              <a:off x="5532954" y="3148796"/>
              <a:ext cx="346883" cy="300888"/>
            </a:xfrm>
            <a:custGeom>
              <a:avLst/>
              <a:gdLst>
                <a:gd name="T0" fmla="*/ 176 w 181"/>
                <a:gd name="T1" fmla="*/ 145 h 157"/>
                <a:gd name="T2" fmla="*/ 181 w 181"/>
                <a:gd name="T3" fmla="*/ 121 h 157"/>
                <a:gd name="T4" fmla="*/ 169 w 181"/>
                <a:gd name="T5" fmla="*/ 101 h 157"/>
                <a:gd name="T6" fmla="*/ 157 w 181"/>
                <a:gd name="T7" fmla="*/ 82 h 157"/>
                <a:gd name="T8" fmla="*/ 139 w 181"/>
                <a:gd name="T9" fmla="*/ 58 h 157"/>
                <a:gd name="T10" fmla="*/ 155 w 181"/>
                <a:gd name="T11" fmla="*/ 45 h 157"/>
                <a:gd name="T12" fmla="*/ 166 w 181"/>
                <a:gd name="T13" fmla="*/ 41 h 157"/>
                <a:gd name="T14" fmla="*/ 173 w 181"/>
                <a:gd name="T15" fmla="*/ 21 h 157"/>
                <a:gd name="T16" fmla="*/ 169 w 181"/>
                <a:gd name="T17" fmla="*/ 5 h 157"/>
                <a:gd name="T18" fmla="*/ 168 w 181"/>
                <a:gd name="T19" fmla="*/ 1 h 157"/>
                <a:gd name="T20" fmla="*/ 157 w 181"/>
                <a:gd name="T21" fmla="*/ 7 h 157"/>
                <a:gd name="T22" fmla="*/ 139 w 181"/>
                <a:gd name="T23" fmla="*/ 12 h 157"/>
                <a:gd name="T24" fmla="*/ 74 w 181"/>
                <a:gd name="T25" fmla="*/ 18 h 157"/>
                <a:gd name="T26" fmla="*/ 50 w 181"/>
                <a:gd name="T27" fmla="*/ 33 h 157"/>
                <a:gd name="T28" fmla="*/ 20 w 181"/>
                <a:gd name="T29" fmla="*/ 49 h 157"/>
                <a:gd name="T30" fmla="*/ 11 w 181"/>
                <a:gd name="T31" fmla="*/ 55 h 157"/>
                <a:gd name="T32" fmla="*/ 2 w 181"/>
                <a:gd name="T33" fmla="*/ 65 h 157"/>
                <a:gd name="T34" fmla="*/ 10 w 181"/>
                <a:gd name="T35" fmla="*/ 89 h 157"/>
                <a:gd name="T36" fmla="*/ 17 w 181"/>
                <a:gd name="T37" fmla="*/ 101 h 157"/>
                <a:gd name="T38" fmla="*/ 26 w 181"/>
                <a:gd name="T39" fmla="*/ 111 h 157"/>
                <a:gd name="T40" fmla="*/ 53 w 181"/>
                <a:gd name="T41" fmla="*/ 114 h 157"/>
                <a:gd name="T42" fmla="*/ 54 w 181"/>
                <a:gd name="T43" fmla="*/ 126 h 157"/>
                <a:gd name="T44" fmla="*/ 58 w 181"/>
                <a:gd name="T45" fmla="*/ 132 h 157"/>
                <a:gd name="T46" fmla="*/ 58 w 181"/>
                <a:gd name="T47" fmla="*/ 144 h 157"/>
                <a:gd name="T48" fmla="*/ 85 w 181"/>
                <a:gd name="T49" fmla="*/ 131 h 157"/>
                <a:gd name="T50" fmla="*/ 109 w 181"/>
                <a:gd name="T51" fmla="*/ 138 h 157"/>
                <a:gd name="T52" fmla="*/ 119 w 181"/>
                <a:gd name="T53" fmla="*/ 147 h 157"/>
                <a:gd name="T54" fmla="*/ 128 w 181"/>
                <a:gd name="T55" fmla="*/ 150 h 157"/>
                <a:gd name="T56" fmla="*/ 146 w 181"/>
                <a:gd name="T57" fmla="*/ 154 h 157"/>
                <a:gd name="T58" fmla="*/ 176 w 181"/>
                <a:gd name="T59" fmla="*/ 145 h 15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81"/>
                <a:gd name="T91" fmla="*/ 0 h 157"/>
                <a:gd name="T92" fmla="*/ 181 w 181"/>
                <a:gd name="T93" fmla="*/ 157 h 15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81" h="157">
                  <a:moveTo>
                    <a:pt x="176" y="145"/>
                  </a:moveTo>
                  <a:cubicBezTo>
                    <a:pt x="165" y="141"/>
                    <a:pt x="179" y="128"/>
                    <a:pt x="181" y="121"/>
                  </a:cubicBezTo>
                  <a:cubicBezTo>
                    <a:pt x="179" y="111"/>
                    <a:pt x="178" y="107"/>
                    <a:pt x="169" y="101"/>
                  </a:cubicBezTo>
                  <a:cubicBezTo>
                    <a:pt x="166" y="95"/>
                    <a:pt x="162" y="87"/>
                    <a:pt x="157" y="82"/>
                  </a:cubicBezTo>
                  <a:cubicBezTo>
                    <a:pt x="154" y="73"/>
                    <a:pt x="142" y="68"/>
                    <a:pt x="139" y="58"/>
                  </a:cubicBezTo>
                  <a:cubicBezTo>
                    <a:pt x="140" y="45"/>
                    <a:pt x="143" y="46"/>
                    <a:pt x="155" y="45"/>
                  </a:cubicBezTo>
                  <a:cubicBezTo>
                    <a:pt x="158" y="43"/>
                    <a:pt x="166" y="41"/>
                    <a:pt x="166" y="41"/>
                  </a:cubicBezTo>
                  <a:cubicBezTo>
                    <a:pt x="169" y="37"/>
                    <a:pt x="172" y="27"/>
                    <a:pt x="173" y="21"/>
                  </a:cubicBezTo>
                  <a:cubicBezTo>
                    <a:pt x="175" y="15"/>
                    <a:pt x="174" y="8"/>
                    <a:pt x="169" y="5"/>
                  </a:cubicBezTo>
                  <a:cubicBezTo>
                    <a:pt x="169" y="4"/>
                    <a:pt x="169" y="1"/>
                    <a:pt x="168" y="1"/>
                  </a:cubicBezTo>
                  <a:cubicBezTo>
                    <a:pt x="164" y="0"/>
                    <a:pt x="157" y="7"/>
                    <a:pt x="157" y="7"/>
                  </a:cubicBezTo>
                  <a:cubicBezTo>
                    <a:pt x="153" y="18"/>
                    <a:pt x="157" y="13"/>
                    <a:pt x="139" y="12"/>
                  </a:cubicBezTo>
                  <a:cubicBezTo>
                    <a:pt x="116" y="14"/>
                    <a:pt x="98" y="17"/>
                    <a:pt x="74" y="18"/>
                  </a:cubicBezTo>
                  <a:cubicBezTo>
                    <a:pt x="69" y="26"/>
                    <a:pt x="58" y="28"/>
                    <a:pt x="50" y="33"/>
                  </a:cubicBezTo>
                  <a:cubicBezTo>
                    <a:pt x="40" y="39"/>
                    <a:pt x="29" y="43"/>
                    <a:pt x="20" y="49"/>
                  </a:cubicBezTo>
                  <a:cubicBezTo>
                    <a:pt x="17" y="53"/>
                    <a:pt x="15" y="52"/>
                    <a:pt x="11" y="55"/>
                  </a:cubicBezTo>
                  <a:cubicBezTo>
                    <a:pt x="10" y="58"/>
                    <a:pt x="5" y="63"/>
                    <a:pt x="2" y="65"/>
                  </a:cubicBezTo>
                  <a:cubicBezTo>
                    <a:pt x="0" y="74"/>
                    <a:pt x="2" y="84"/>
                    <a:pt x="10" y="89"/>
                  </a:cubicBezTo>
                  <a:cubicBezTo>
                    <a:pt x="11" y="94"/>
                    <a:pt x="13" y="98"/>
                    <a:pt x="17" y="101"/>
                  </a:cubicBezTo>
                  <a:cubicBezTo>
                    <a:pt x="18" y="106"/>
                    <a:pt x="21" y="109"/>
                    <a:pt x="26" y="111"/>
                  </a:cubicBezTo>
                  <a:cubicBezTo>
                    <a:pt x="31" y="118"/>
                    <a:pt x="46" y="113"/>
                    <a:pt x="53" y="114"/>
                  </a:cubicBezTo>
                  <a:cubicBezTo>
                    <a:pt x="60" y="119"/>
                    <a:pt x="47" y="116"/>
                    <a:pt x="54" y="126"/>
                  </a:cubicBezTo>
                  <a:cubicBezTo>
                    <a:pt x="55" y="128"/>
                    <a:pt x="58" y="132"/>
                    <a:pt x="58" y="132"/>
                  </a:cubicBezTo>
                  <a:cubicBezTo>
                    <a:pt x="58" y="136"/>
                    <a:pt x="55" y="141"/>
                    <a:pt x="58" y="144"/>
                  </a:cubicBezTo>
                  <a:cubicBezTo>
                    <a:pt x="62" y="144"/>
                    <a:pt x="77" y="132"/>
                    <a:pt x="85" y="131"/>
                  </a:cubicBezTo>
                  <a:cubicBezTo>
                    <a:pt x="93" y="132"/>
                    <a:pt x="101" y="131"/>
                    <a:pt x="109" y="138"/>
                  </a:cubicBezTo>
                  <a:cubicBezTo>
                    <a:pt x="110" y="141"/>
                    <a:pt x="115" y="145"/>
                    <a:pt x="119" y="147"/>
                  </a:cubicBezTo>
                  <a:cubicBezTo>
                    <a:pt x="122" y="148"/>
                    <a:pt x="128" y="150"/>
                    <a:pt x="128" y="150"/>
                  </a:cubicBezTo>
                  <a:cubicBezTo>
                    <a:pt x="135" y="157"/>
                    <a:pt x="134" y="155"/>
                    <a:pt x="146" y="154"/>
                  </a:cubicBezTo>
                  <a:cubicBezTo>
                    <a:pt x="160" y="149"/>
                    <a:pt x="151" y="150"/>
                    <a:pt x="176" y="145"/>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344" name="Freeform 2455"/>
            <p:cNvSpPr>
              <a:spLocks noChangeAspect="1"/>
            </p:cNvSpPr>
            <p:nvPr/>
          </p:nvSpPr>
          <p:spPr bwMode="auto">
            <a:xfrm>
              <a:off x="6069569" y="6422141"/>
              <a:ext cx="28747" cy="45995"/>
            </a:xfrm>
            <a:custGeom>
              <a:avLst/>
              <a:gdLst>
                <a:gd name="T0" fmla="*/ 3 w 15"/>
                <a:gd name="T1" fmla="*/ 0 h 24"/>
                <a:gd name="T2" fmla="*/ 14 w 15"/>
                <a:gd name="T3" fmla="*/ 8 h 24"/>
                <a:gd name="T4" fmla="*/ 10 w 15"/>
                <a:gd name="T5" fmla="*/ 18 h 24"/>
                <a:gd name="T6" fmla="*/ 6 w 15"/>
                <a:gd name="T7" fmla="*/ 24 h 24"/>
                <a:gd name="T8" fmla="*/ 0 w 15"/>
                <a:gd name="T9" fmla="*/ 12 h 24"/>
                <a:gd name="T10" fmla="*/ 3 w 15"/>
                <a:gd name="T11" fmla="*/ 0 h 24"/>
                <a:gd name="T12" fmla="*/ 0 60000 65536"/>
                <a:gd name="T13" fmla="*/ 0 60000 65536"/>
                <a:gd name="T14" fmla="*/ 0 60000 65536"/>
                <a:gd name="T15" fmla="*/ 0 60000 65536"/>
                <a:gd name="T16" fmla="*/ 0 60000 65536"/>
                <a:gd name="T17" fmla="*/ 0 60000 65536"/>
                <a:gd name="T18" fmla="*/ 0 w 15"/>
                <a:gd name="T19" fmla="*/ 0 h 24"/>
                <a:gd name="T20" fmla="*/ 15 w 15"/>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15" h="24">
                  <a:moveTo>
                    <a:pt x="3" y="0"/>
                  </a:moveTo>
                  <a:cubicBezTo>
                    <a:pt x="11" y="1"/>
                    <a:pt x="13" y="0"/>
                    <a:pt x="14" y="8"/>
                  </a:cubicBezTo>
                  <a:cubicBezTo>
                    <a:pt x="12" y="19"/>
                    <a:pt x="15" y="12"/>
                    <a:pt x="10" y="18"/>
                  </a:cubicBezTo>
                  <a:cubicBezTo>
                    <a:pt x="9" y="20"/>
                    <a:pt x="6" y="24"/>
                    <a:pt x="6" y="24"/>
                  </a:cubicBezTo>
                  <a:cubicBezTo>
                    <a:pt x="3" y="21"/>
                    <a:pt x="0" y="12"/>
                    <a:pt x="0" y="12"/>
                  </a:cubicBezTo>
                  <a:cubicBezTo>
                    <a:pt x="1" y="8"/>
                    <a:pt x="2" y="4"/>
                    <a:pt x="3" y="0"/>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345" name="Freeform 2456"/>
            <p:cNvSpPr>
              <a:spLocks noChangeAspect="1"/>
            </p:cNvSpPr>
            <p:nvPr/>
          </p:nvSpPr>
          <p:spPr bwMode="auto">
            <a:xfrm>
              <a:off x="5619196" y="5998599"/>
              <a:ext cx="65160" cy="55578"/>
            </a:xfrm>
            <a:custGeom>
              <a:avLst/>
              <a:gdLst>
                <a:gd name="T0" fmla="*/ 16 w 34"/>
                <a:gd name="T1" fmla="*/ 1 h 29"/>
                <a:gd name="T2" fmla="*/ 14 w 34"/>
                <a:gd name="T3" fmla="*/ 13 h 29"/>
                <a:gd name="T4" fmla="*/ 23 w 34"/>
                <a:gd name="T5" fmla="*/ 19 h 29"/>
                <a:gd name="T6" fmla="*/ 34 w 34"/>
                <a:gd name="T7" fmla="*/ 26 h 29"/>
                <a:gd name="T8" fmla="*/ 23 w 34"/>
                <a:gd name="T9" fmla="*/ 17 h 29"/>
                <a:gd name="T10" fmla="*/ 19 w 34"/>
                <a:gd name="T11" fmla="*/ 2 h 29"/>
                <a:gd name="T12" fmla="*/ 11 w 34"/>
                <a:gd name="T13" fmla="*/ 0 h 29"/>
                <a:gd name="T14" fmla="*/ 16 w 34"/>
                <a:gd name="T15" fmla="*/ 1 h 29"/>
                <a:gd name="T16" fmla="*/ 0 60000 65536"/>
                <a:gd name="T17" fmla="*/ 0 60000 65536"/>
                <a:gd name="T18" fmla="*/ 0 60000 65536"/>
                <a:gd name="T19" fmla="*/ 0 60000 65536"/>
                <a:gd name="T20" fmla="*/ 0 60000 65536"/>
                <a:gd name="T21" fmla="*/ 0 60000 65536"/>
                <a:gd name="T22" fmla="*/ 0 60000 65536"/>
                <a:gd name="T23" fmla="*/ 0 60000 65536"/>
                <a:gd name="T24" fmla="*/ 0 w 34"/>
                <a:gd name="T25" fmla="*/ 0 h 29"/>
                <a:gd name="T26" fmla="*/ 34 w 34"/>
                <a:gd name="T27" fmla="*/ 29 h 2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4" h="29">
                  <a:moveTo>
                    <a:pt x="16" y="1"/>
                  </a:moveTo>
                  <a:cubicBezTo>
                    <a:pt x="2" y="3"/>
                    <a:pt x="0" y="8"/>
                    <a:pt x="14" y="13"/>
                  </a:cubicBezTo>
                  <a:cubicBezTo>
                    <a:pt x="17" y="16"/>
                    <a:pt x="20" y="17"/>
                    <a:pt x="23" y="19"/>
                  </a:cubicBezTo>
                  <a:cubicBezTo>
                    <a:pt x="26" y="28"/>
                    <a:pt x="25" y="29"/>
                    <a:pt x="34" y="26"/>
                  </a:cubicBezTo>
                  <a:cubicBezTo>
                    <a:pt x="33" y="22"/>
                    <a:pt x="27" y="21"/>
                    <a:pt x="23" y="17"/>
                  </a:cubicBezTo>
                  <a:cubicBezTo>
                    <a:pt x="22" y="14"/>
                    <a:pt x="21" y="4"/>
                    <a:pt x="19" y="2"/>
                  </a:cubicBezTo>
                  <a:cubicBezTo>
                    <a:pt x="17" y="0"/>
                    <a:pt x="11" y="0"/>
                    <a:pt x="11" y="0"/>
                  </a:cubicBezTo>
                  <a:cubicBezTo>
                    <a:pt x="11" y="0"/>
                    <a:pt x="14" y="1"/>
                    <a:pt x="16" y="1"/>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346" name="Freeform 2457"/>
            <p:cNvSpPr>
              <a:spLocks noChangeAspect="1"/>
            </p:cNvSpPr>
            <p:nvPr/>
          </p:nvSpPr>
          <p:spPr bwMode="auto">
            <a:xfrm>
              <a:off x="5743767" y="6117421"/>
              <a:ext cx="30664" cy="44079"/>
            </a:xfrm>
            <a:custGeom>
              <a:avLst/>
              <a:gdLst>
                <a:gd name="T0" fmla="*/ 8 w 16"/>
                <a:gd name="T1" fmla="*/ 0 h 23"/>
                <a:gd name="T2" fmla="*/ 15 w 16"/>
                <a:gd name="T3" fmla="*/ 8 h 23"/>
                <a:gd name="T4" fmla="*/ 8 w 16"/>
                <a:gd name="T5" fmla="*/ 23 h 23"/>
                <a:gd name="T6" fmla="*/ 0 w 16"/>
                <a:gd name="T7" fmla="*/ 16 h 23"/>
                <a:gd name="T8" fmla="*/ 8 w 16"/>
                <a:gd name="T9" fmla="*/ 0 h 23"/>
                <a:gd name="T10" fmla="*/ 0 60000 65536"/>
                <a:gd name="T11" fmla="*/ 0 60000 65536"/>
                <a:gd name="T12" fmla="*/ 0 60000 65536"/>
                <a:gd name="T13" fmla="*/ 0 60000 65536"/>
                <a:gd name="T14" fmla="*/ 0 60000 65536"/>
                <a:gd name="T15" fmla="*/ 0 w 16"/>
                <a:gd name="T16" fmla="*/ 0 h 23"/>
                <a:gd name="T17" fmla="*/ 16 w 16"/>
                <a:gd name="T18" fmla="*/ 23 h 23"/>
              </a:gdLst>
              <a:ahLst/>
              <a:cxnLst>
                <a:cxn ang="T10">
                  <a:pos x="T0" y="T1"/>
                </a:cxn>
                <a:cxn ang="T11">
                  <a:pos x="T2" y="T3"/>
                </a:cxn>
                <a:cxn ang="T12">
                  <a:pos x="T4" y="T5"/>
                </a:cxn>
                <a:cxn ang="T13">
                  <a:pos x="T6" y="T7"/>
                </a:cxn>
                <a:cxn ang="T14">
                  <a:pos x="T8" y="T9"/>
                </a:cxn>
              </a:cxnLst>
              <a:rect l="T15" t="T16" r="T17" b="T18"/>
              <a:pathLst>
                <a:path w="16" h="23">
                  <a:moveTo>
                    <a:pt x="8" y="0"/>
                  </a:moveTo>
                  <a:cubicBezTo>
                    <a:pt x="11" y="3"/>
                    <a:pt x="14" y="4"/>
                    <a:pt x="15" y="8"/>
                  </a:cubicBezTo>
                  <a:cubicBezTo>
                    <a:pt x="14" y="19"/>
                    <a:pt x="16" y="20"/>
                    <a:pt x="8" y="23"/>
                  </a:cubicBezTo>
                  <a:cubicBezTo>
                    <a:pt x="2" y="22"/>
                    <a:pt x="5" y="19"/>
                    <a:pt x="0" y="16"/>
                  </a:cubicBezTo>
                  <a:cubicBezTo>
                    <a:pt x="1" y="13"/>
                    <a:pt x="8" y="0"/>
                    <a:pt x="8" y="0"/>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347" name="Freeform 2458"/>
            <p:cNvSpPr>
              <a:spLocks noChangeAspect="1"/>
            </p:cNvSpPr>
            <p:nvPr/>
          </p:nvSpPr>
          <p:spPr bwMode="auto">
            <a:xfrm>
              <a:off x="5732268" y="6159583"/>
              <a:ext cx="59411" cy="68993"/>
            </a:xfrm>
            <a:custGeom>
              <a:avLst/>
              <a:gdLst>
                <a:gd name="T0" fmla="*/ 16 w 31"/>
                <a:gd name="T1" fmla="*/ 6 h 36"/>
                <a:gd name="T2" fmla="*/ 24 w 31"/>
                <a:gd name="T3" fmla="*/ 13 h 36"/>
                <a:gd name="T4" fmla="*/ 27 w 31"/>
                <a:gd name="T5" fmla="*/ 24 h 36"/>
                <a:gd name="T6" fmla="*/ 24 w 31"/>
                <a:gd name="T7" fmla="*/ 36 h 36"/>
                <a:gd name="T8" fmla="*/ 14 w 31"/>
                <a:gd name="T9" fmla="*/ 34 h 36"/>
                <a:gd name="T10" fmla="*/ 8 w 31"/>
                <a:gd name="T11" fmla="*/ 36 h 36"/>
                <a:gd name="T12" fmla="*/ 0 w 31"/>
                <a:gd name="T13" fmla="*/ 28 h 36"/>
                <a:gd name="T14" fmla="*/ 11 w 31"/>
                <a:gd name="T15" fmla="*/ 19 h 36"/>
                <a:gd name="T16" fmla="*/ 12 w 31"/>
                <a:gd name="T17" fmla="*/ 2 h 36"/>
                <a:gd name="T18" fmla="*/ 16 w 31"/>
                <a:gd name="T19" fmla="*/ 6 h 3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1"/>
                <a:gd name="T31" fmla="*/ 0 h 36"/>
                <a:gd name="T32" fmla="*/ 31 w 31"/>
                <a:gd name="T33" fmla="*/ 36 h 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1" h="36">
                  <a:moveTo>
                    <a:pt x="16" y="6"/>
                  </a:moveTo>
                  <a:cubicBezTo>
                    <a:pt x="20" y="8"/>
                    <a:pt x="23" y="9"/>
                    <a:pt x="24" y="13"/>
                  </a:cubicBezTo>
                  <a:cubicBezTo>
                    <a:pt x="23" y="19"/>
                    <a:pt x="21" y="22"/>
                    <a:pt x="27" y="24"/>
                  </a:cubicBezTo>
                  <a:cubicBezTo>
                    <a:pt x="28" y="29"/>
                    <a:pt x="31" y="34"/>
                    <a:pt x="24" y="36"/>
                  </a:cubicBezTo>
                  <a:cubicBezTo>
                    <a:pt x="21" y="35"/>
                    <a:pt x="17" y="34"/>
                    <a:pt x="14" y="34"/>
                  </a:cubicBezTo>
                  <a:cubicBezTo>
                    <a:pt x="12" y="34"/>
                    <a:pt x="8" y="36"/>
                    <a:pt x="8" y="36"/>
                  </a:cubicBezTo>
                  <a:cubicBezTo>
                    <a:pt x="5" y="31"/>
                    <a:pt x="3" y="33"/>
                    <a:pt x="0" y="28"/>
                  </a:cubicBezTo>
                  <a:cubicBezTo>
                    <a:pt x="3" y="23"/>
                    <a:pt x="6" y="21"/>
                    <a:pt x="11" y="19"/>
                  </a:cubicBezTo>
                  <a:cubicBezTo>
                    <a:pt x="11" y="13"/>
                    <a:pt x="11" y="8"/>
                    <a:pt x="12" y="2"/>
                  </a:cubicBezTo>
                  <a:cubicBezTo>
                    <a:pt x="12" y="0"/>
                    <a:pt x="16" y="4"/>
                    <a:pt x="16" y="6"/>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348" name="Freeform 2459"/>
            <p:cNvSpPr>
              <a:spLocks noChangeAspect="1"/>
            </p:cNvSpPr>
            <p:nvPr/>
          </p:nvSpPr>
          <p:spPr bwMode="auto">
            <a:xfrm>
              <a:off x="5772514" y="6241992"/>
              <a:ext cx="49828" cy="42163"/>
            </a:xfrm>
            <a:custGeom>
              <a:avLst/>
              <a:gdLst>
                <a:gd name="T0" fmla="*/ 5 w 26"/>
                <a:gd name="T1" fmla="*/ 4 h 22"/>
                <a:gd name="T2" fmla="*/ 26 w 26"/>
                <a:gd name="T3" fmla="*/ 15 h 22"/>
                <a:gd name="T4" fmla="*/ 18 w 26"/>
                <a:gd name="T5" fmla="*/ 22 h 22"/>
                <a:gd name="T6" fmla="*/ 13 w 26"/>
                <a:gd name="T7" fmla="*/ 21 h 22"/>
                <a:gd name="T8" fmla="*/ 11 w 26"/>
                <a:gd name="T9" fmla="*/ 18 h 22"/>
                <a:gd name="T10" fmla="*/ 2 w 26"/>
                <a:gd name="T11" fmla="*/ 15 h 22"/>
                <a:gd name="T12" fmla="*/ 5 w 26"/>
                <a:gd name="T13" fmla="*/ 5 h 22"/>
                <a:gd name="T14" fmla="*/ 5 w 26"/>
                <a:gd name="T15" fmla="*/ 4 h 22"/>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22"/>
                <a:gd name="T26" fmla="*/ 26 w 26"/>
                <a:gd name="T27" fmla="*/ 22 h 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22">
                  <a:moveTo>
                    <a:pt x="5" y="4"/>
                  </a:moveTo>
                  <a:cubicBezTo>
                    <a:pt x="15" y="5"/>
                    <a:pt x="17" y="12"/>
                    <a:pt x="26" y="15"/>
                  </a:cubicBezTo>
                  <a:cubicBezTo>
                    <a:pt x="24" y="20"/>
                    <a:pt x="24" y="21"/>
                    <a:pt x="18" y="22"/>
                  </a:cubicBezTo>
                  <a:cubicBezTo>
                    <a:pt x="16" y="22"/>
                    <a:pt x="14" y="22"/>
                    <a:pt x="13" y="21"/>
                  </a:cubicBezTo>
                  <a:cubicBezTo>
                    <a:pt x="12" y="20"/>
                    <a:pt x="12" y="19"/>
                    <a:pt x="11" y="18"/>
                  </a:cubicBezTo>
                  <a:cubicBezTo>
                    <a:pt x="8" y="16"/>
                    <a:pt x="2" y="15"/>
                    <a:pt x="2" y="15"/>
                  </a:cubicBezTo>
                  <a:cubicBezTo>
                    <a:pt x="0" y="10"/>
                    <a:pt x="1" y="8"/>
                    <a:pt x="5" y="5"/>
                  </a:cubicBezTo>
                  <a:cubicBezTo>
                    <a:pt x="6" y="0"/>
                    <a:pt x="6" y="0"/>
                    <a:pt x="5" y="4"/>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349" name="Freeform 2460"/>
            <p:cNvSpPr>
              <a:spLocks noChangeAspect="1"/>
            </p:cNvSpPr>
            <p:nvPr/>
          </p:nvSpPr>
          <p:spPr bwMode="auto">
            <a:xfrm>
              <a:off x="6015907" y="6040762"/>
              <a:ext cx="151402" cy="97740"/>
            </a:xfrm>
            <a:custGeom>
              <a:avLst/>
              <a:gdLst>
                <a:gd name="T0" fmla="*/ 12 w 79"/>
                <a:gd name="T1" fmla="*/ 3 h 51"/>
                <a:gd name="T2" fmla="*/ 28 w 79"/>
                <a:gd name="T3" fmla="*/ 10 h 51"/>
                <a:gd name="T4" fmla="*/ 49 w 79"/>
                <a:gd name="T5" fmla="*/ 21 h 51"/>
                <a:gd name="T6" fmla="*/ 64 w 79"/>
                <a:gd name="T7" fmla="*/ 19 h 51"/>
                <a:gd name="T8" fmla="*/ 76 w 79"/>
                <a:gd name="T9" fmla="*/ 33 h 51"/>
                <a:gd name="T10" fmla="*/ 79 w 79"/>
                <a:gd name="T11" fmla="*/ 44 h 51"/>
                <a:gd name="T12" fmla="*/ 74 w 79"/>
                <a:gd name="T13" fmla="*/ 51 h 51"/>
                <a:gd name="T14" fmla="*/ 68 w 79"/>
                <a:gd name="T15" fmla="*/ 49 h 51"/>
                <a:gd name="T16" fmla="*/ 54 w 79"/>
                <a:gd name="T17" fmla="*/ 44 h 51"/>
                <a:gd name="T18" fmla="*/ 43 w 79"/>
                <a:gd name="T19" fmla="*/ 36 h 51"/>
                <a:gd name="T20" fmla="*/ 31 w 79"/>
                <a:gd name="T21" fmla="*/ 30 h 51"/>
                <a:gd name="T22" fmla="*/ 14 w 79"/>
                <a:gd name="T23" fmla="*/ 24 h 51"/>
                <a:gd name="T24" fmla="*/ 5 w 79"/>
                <a:gd name="T25" fmla="*/ 19 h 51"/>
                <a:gd name="T26" fmla="*/ 0 w 79"/>
                <a:gd name="T27" fmla="*/ 10 h 51"/>
                <a:gd name="T28" fmla="*/ 10 w 79"/>
                <a:gd name="T29" fmla="*/ 0 h 51"/>
                <a:gd name="T30" fmla="*/ 12 w 79"/>
                <a:gd name="T31" fmla="*/ 3 h 5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9"/>
                <a:gd name="T49" fmla="*/ 0 h 51"/>
                <a:gd name="T50" fmla="*/ 79 w 79"/>
                <a:gd name="T51" fmla="*/ 51 h 5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9" h="51">
                  <a:moveTo>
                    <a:pt x="12" y="3"/>
                  </a:moveTo>
                  <a:cubicBezTo>
                    <a:pt x="25" y="4"/>
                    <a:pt x="21" y="3"/>
                    <a:pt x="28" y="10"/>
                  </a:cubicBezTo>
                  <a:cubicBezTo>
                    <a:pt x="30" y="20"/>
                    <a:pt x="40" y="20"/>
                    <a:pt x="49" y="21"/>
                  </a:cubicBezTo>
                  <a:cubicBezTo>
                    <a:pt x="54" y="22"/>
                    <a:pt x="64" y="19"/>
                    <a:pt x="64" y="19"/>
                  </a:cubicBezTo>
                  <a:cubicBezTo>
                    <a:pt x="72" y="21"/>
                    <a:pt x="71" y="28"/>
                    <a:pt x="76" y="33"/>
                  </a:cubicBezTo>
                  <a:cubicBezTo>
                    <a:pt x="77" y="37"/>
                    <a:pt x="79" y="44"/>
                    <a:pt x="79" y="44"/>
                  </a:cubicBezTo>
                  <a:cubicBezTo>
                    <a:pt x="78" y="47"/>
                    <a:pt x="79" y="51"/>
                    <a:pt x="74" y="51"/>
                  </a:cubicBezTo>
                  <a:cubicBezTo>
                    <a:pt x="72" y="51"/>
                    <a:pt x="68" y="49"/>
                    <a:pt x="68" y="49"/>
                  </a:cubicBezTo>
                  <a:cubicBezTo>
                    <a:pt x="66" y="43"/>
                    <a:pt x="60" y="45"/>
                    <a:pt x="54" y="44"/>
                  </a:cubicBezTo>
                  <a:cubicBezTo>
                    <a:pt x="49" y="42"/>
                    <a:pt x="49" y="38"/>
                    <a:pt x="43" y="36"/>
                  </a:cubicBezTo>
                  <a:cubicBezTo>
                    <a:pt x="40" y="33"/>
                    <a:pt x="31" y="30"/>
                    <a:pt x="31" y="30"/>
                  </a:cubicBezTo>
                  <a:cubicBezTo>
                    <a:pt x="26" y="25"/>
                    <a:pt x="21" y="25"/>
                    <a:pt x="14" y="24"/>
                  </a:cubicBezTo>
                  <a:cubicBezTo>
                    <a:pt x="11" y="22"/>
                    <a:pt x="8" y="21"/>
                    <a:pt x="5" y="19"/>
                  </a:cubicBezTo>
                  <a:cubicBezTo>
                    <a:pt x="4" y="14"/>
                    <a:pt x="1" y="14"/>
                    <a:pt x="0" y="10"/>
                  </a:cubicBezTo>
                  <a:cubicBezTo>
                    <a:pt x="4" y="4"/>
                    <a:pt x="4" y="2"/>
                    <a:pt x="10" y="0"/>
                  </a:cubicBezTo>
                  <a:cubicBezTo>
                    <a:pt x="17" y="1"/>
                    <a:pt x="18" y="0"/>
                    <a:pt x="12" y="3"/>
                  </a:cubicBezTo>
                  <a:close/>
                </a:path>
              </a:pathLst>
            </a:custGeom>
            <a:solidFill>
              <a:srgbClr val="8D9399"/>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350" name="Freeform 2461"/>
            <p:cNvSpPr>
              <a:spLocks noChangeAspect="1"/>
            </p:cNvSpPr>
            <p:nvPr/>
          </p:nvSpPr>
          <p:spPr bwMode="auto">
            <a:xfrm>
              <a:off x="6163476" y="6136585"/>
              <a:ext cx="65160" cy="42163"/>
            </a:xfrm>
            <a:custGeom>
              <a:avLst/>
              <a:gdLst>
                <a:gd name="T0" fmla="*/ 6 w 34"/>
                <a:gd name="T1" fmla="*/ 0 h 22"/>
                <a:gd name="T2" fmla="*/ 27 w 34"/>
                <a:gd name="T3" fmla="*/ 0 h 22"/>
                <a:gd name="T4" fmla="*/ 26 w 34"/>
                <a:gd name="T5" fmla="*/ 14 h 22"/>
                <a:gd name="T6" fmla="*/ 9 w 34"/>
                <a:gd name="T7" fmla="*/ 19 h 22"/>
                <a:gd name="T8" fmla="*/ 2 w 34"/>
                <a:gd name="T9" fmla="*/ 7 h 22"/>
                <a:gd name="T10" fmla="*/ 6 w 34"/>
                <a:gd name="T11" fmla="*/ 0 h 22"/>
                <a:gd name="T12" fmla="*/ 0 60000 65536"/>
                <a:gd name="T13" fmla="*/ 0 60000 65536"/>
                <a:gd name="T14" fmla="*/ 0 60000 65536"/>
                <a:gd name="T15" fmla="*/ 0 60000 65536"/>
                <a:gd name="T16" fmla="*/ 0 60000 65536"/>
                <a:gd name="T17" fmla="*/ 0 60000 65536"/>
                <a:gd name="T18" fmla="*/ 0 w 34"/>
                <a:gd name="T19" fmla="*/ 0 h 22"/>
                <a:gd name="T20" fmla="*/ 34 w 34"/>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34" h="22">
                  <a:moveTo>
                    <a:pt x="6" y="0"/>
                  </a:moveTo>
                  <a:cubicBezTo>
                    <a:pt x="14" y="2"/>
                    <a:pt x="19" y="2"/>
                    <a:pt x="27" y="0"/>
                  </a:cubicBezTo>
                  <a:cubicBezTo>
                    <a:pt x="34" y="2"/>
                    <a:pt x="30" y="10"/>
                    <a:pt x="26" y="14"/>
                  </a:cubicBezTo>
                  <a:cubicBezTo>
                    <a:pt x="23" y="22"/>
                    <a:pt x="16" y="20"/>
                    <a:pt x="9" y="19"/>
                  </a:cubicBezTo>
                  <a:cubicBezTo>
                    <a:pt x="6" y="15"/>
                    <a:pt x="6" y="11"/>
                    <a:pt x="2" y="7"/>
                  </a:cubicBezTo>
                  <a:cubicBezTo>
                    <a:pt x="0" y="2"/>
                    <a:pt x="0" y="5"/>
                    <a:pt x="6" y="0"/>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351" name="Freeform 2462"/>
            <p:cNvSpPr>
              <a:spLocks noChangeAspect="1"/>
            </p:cNvSpPr>
            <p:nvPr/>
          </p:nvSpPr>
          <p:spPr bwMode="auto">
            <a:xfrm>
              <a:off x="6215221" y="6161500"/>
              <a:ext cx="47912" cy="34497"/>
            </a:xfrm>
            <a:custGeom>
              <a:avLst/>
              <a:gdLst>
                <a:gd name="T0" fmla="*/ 9 w 25"/>
                <a:gd name="T1" fmla="*/ 0 h 18"/>
                <a:gd name="T2" fmla="*/ 20 w 25"/>
                <a:gd name="T3" fmla="*/ 1 h 18"/>
                <a:gd name="T4" fmla="*/ 24 w 25"/>
                <a:gd name="T5" fmla="*/ 10 h 18"/>
                <a:gd name="T6" fmla="*/ 23 w 25"/>
                <a:gd name="T7" fmla="*/ 17 h 18"/>
                <a:gd name="T8" fmla="*/ 20 w 25"/>
                <a:gd name="T9" fmla="*/ 13 h 18"/>
                <a:gd name="T10" fmla="*/ 11 w 25"/>
                <a:gd name="T11" fmla="*/ 9 h 18"/>
                <a:gd name="T12" fmla="*/ 9 w 25"/>
                <a:gd name="T13" fmla="*/ 0 h 18"/>
                <a:gd name="T14" fmla="*/ 0 60000 65536"/>
                <a:gd name="T15" fmla="*/ 0 60000 65536"/>
                <a:gd name="T16" fmla="*/ 0 60000 65536"/>
                <a:gd name="T17" fmla="*/ 0 60000 65536"/>
                <a:gd name="T18" fmla="*/ 0 60000 65536"/>
                <a:gd name="T19" fmla="*/ 0 60000 65536"/>
                <a:gd name="T20" fmla="*/ 0 60000 65536"/>
                <a:gd name="T21" fmla="*/ 0 w 25"/>
                <a:gd name="T22" fmla="*/ 0 h 18"/>
                <a:gd name="T23" fmla="*/ 25 w 25"/>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18">
                  <a:moveTo>
                    <a:pt x="9" y="0"/>
                  </a:moveTo>
                  <a:cubicBezTo>
                    <a:pt x="13" y="0"/>
                    <a:pt x="16" y="0"/>
                    <a:pt x="20" y="1"/>
                  </a:cubicBezTo>
                  <a:cubicBezTo>
                    <a:pt x="23" y="2"/>
                    <a:pt x="24" y="10"/>
                    <a:pt x="24" y="10"/>
                  </a:cubicBezTo>
                  <a:cubicBezTo>
                    <a:pt x="24" y="12"/>
                    <a:pt x="25" y="16"/>
                    <a:pt x="23" y="17"/>
                  </a:cubicBezTo>
                  <a:cubicBezTo>
                    <a:pt x="22" y="18"/>
                    <a:pt x="21" y="14"/>
                    <a:pt x="20" y="13"/>
                  </a:cubicBezTo>
                  <a:cubicBezTo>
                    <a:pt x="18" y="11"/>
                    <a:pt x="11" y="9"/>
                    <a:pt x="11" y="9"/>
                  </a:cubicBezTo>
                  <a:cubicBezTo>
                    <a:pt x="8" y="5"/>
                    <a:pt x="0" y="2"/>
                    <a:pt x="9" y="0"/>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352" name="Freeform 2463"/>
            <p:cNvSpPr>
              <a:spLocks noChangeAspect="1"/>
            </p:cNvSpPr>
            <p:nvPr/>
          </p:nvSpPr>
          <p:spPr bwMode="auto">
            <a:xfrm>
              <a:off x="6439449" y="6125087"/>
              <a:ext cx="61327" cy="36413"/>
            </a:xfrm>
            <a:custGeom>
              <a:avLst/>
              <a:gdLst>
                <a:gd name="T0" fmla="*/ 29 w 32"/>
                <a:gd name="T1" fmla="*/ 2 h 19"/>
                <a:gd name="T2" fmla="*/ 17 w 32"/>
                <a:gd name="T3" fmla="*/ 6 h 19"/>
                <a:gd name="T4" fmla="*/ 3 w 32"/>
                <a:gd name="T5" fmla="*/ 8 h 19"/>
                <a:gd name="T6" fmla="*/ 14 w 32"/>
                <a:gd name="T7" fmla="*/ 19 h 19"/>
                <a:gd name="T8" fmla="*/ 23 w 32"/>
                <a:gd name="T9" fmla="*/ 10 h 19"/>
                <a:gd name="T10" fmla="*/ 31 w 32"/>
                <a:gd name="T11" fmla="*/ 8 h 19"/>
                <a:gd name="T12" fmla="*/ 29 w 32"/>
                <a:gd name="T13" fmla="*/ 2 h 19"/>
                <a:gd name="T14" fmla="*/ 0 60000 65536"/>
                <a:gd name="T15" fmla="*/ 0 60000 65536"/>
                <a:gd name="T16" fmla="*/ 0 60000 65536"/>
                <a:gd name="T17" fmla="*/ 0 60000 65536"/>
                <a:gd name="T18" fmla="*/ 0 60000 65536"/>
                <a:gd name="T19" fmla="*/ 0 60000 65536"/>
                <a:gd name="T20" fmla="*/ 0 60000 65536"/>
                <a:gd name="T21" fmla="*/ 0 w 32"/>
                <a:gd name="T22" fmla="*/ 0 h 19"/>
                <a:gd name="T23" fmla="*/ 32 w 32"/>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19">
                  <a:moveTo>
                    <a:pt x="29" y="2"/>
                  </a:moveTo>
                  <a:cubicBezTo>
                    <a:pt x="20" y="0"/>
                    <a:pt x="23" y="4"/>
                    <a:pt x="17" y="6"/>
                  </a:cubicBezTo>
                  <a:cubicBezTo>
                    <a:pt x="12" y="5"/>
                    <a:pt x="8" y="6"/>
                    <a:pt x="3" y="8"/>
                  </a:cubicBezTo>
                  <a:cubicBezTo>
                    <a:pt x="0" y="19"/>
                    <a:pt x="3" y="18"/>
                    <a:pt x="14" y="19"/>
                  </a:cubicBezTo>
                  <a:cubicBezTo>
                    <a:pt x="26" y="17"/>
                    <a:pt x="15" y="15"/>
                    <a:pt x="23" y="10"/>
                  </a:cubicBezTo>
                  <a:cubicBezTo>
                    <a:pt x="25" y="9"/>
                    <a:pt x="29" y="10"/>
                    <a:pt x="31" y="8"/>
                  </a:cubicBezTo>
                  <a:cubicBezTo>
                    <a:pt x="32" y="6"/>
                    <a:pt x="30" y="4"/>
                    <a:pt x="29" y="2"/>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353" name="Freeform 2464"/>
            <p:cNvSpPr>
              <a:spLocks noChangeAspect="1"/>
            </p:cNvSpPr>
            <p:nvPr/>
          </p:nvSpPr>
          <p:spPr bwMode="auto">
            <a:xfrm>
              <a:off x="5812760" y="6165333"/>
              <a:ext cx="304720" cy="277889"/>
            </a:xfrm>
            <a:custGeom>
              <a:avLst/>
              <a:gdLst>
                <a:gd name="T0" fmla="*/ 47 w 159"/>
                <a:gd name="T1" fmla="*/ 3 h 145"/>
                <a:gd name="T2" fmla="*/ 39 w 159"/>
                <a:gd name="T3" fmla="*/ 13 h 145"/>
                <a:gd name="T4" fmla="*/ 21 w 159"/>
                <a:gd name="T5" fmla="*/ 20 h 145"/>
                <a:gd name="T6" fmla="*/ 11 w 159"/>
                <a:gd name="T7" fmla="*/ 34 h 145"/>
                <a:gd name="T8" fmla="*/ 0 w 159"/>
                <a:gd name="T9" fmla="*/ 40 h 145"/>
                <a:gd name="T10" fmla="*/ 17 w 159"/>
                <a:gd name="T11" fmla="*/ 46 h 145"/>
                <a:gd name="T12" fmla="*/ 24 w 159"/>
                <a:gd name="T13" fmla="*/ 55 h 145"/>
                <a:gd name="T14" fmla="*/ 36 w 159"/>
                <a:gd name="T15" fmla="*/ 61 h 145"/>
                <a:gd name="T16" fmla="*/ 44 w 159"/>
                <a:gd name="T17" fmla="*/ 70 h 145"/>
                <a:gd name="T18" fmla="*/ 47 w 159"/>
                <a:gd name="T19" fmla="*/ 81 h 145"/>
                <a:gd name="T20" fmla="*/ 53 w 159"/>
                <a:gd name="T21" fmla="*/ 101 h 145"/>
                <a:gd name="T22" fmla="*/ 64 w 159"/>
                <a:gd name="T23" fmla="*/ 121 h 145"/>
                <a:gd name="T24" fmla="*/ 68 w 159"/>
                <a:gd name="T25" fmla="*/ 109 h 145"/>
                <a:gd name="T26" fmla="*/ 74 w 159"/>
                <a:gd name="T27" fmla="*/ 98 h 145"/>
                <a:gd name="T28" fmla="*/ 82 w 159"/>
                <a:gd name="T29" fmla="*/ 106 h 145"/>
                <a:gd name="T30" fmla="*/ 98 w 159"/>
                <a:gd name="T31" fmla="*/ 116 h 145"/>
                <a:gd name="T32" fmla="*/ 108 w 159"/>
                <a:gd name="T33" fmla="*/ 145 h 145"/>
                <a:gd name="T34" fmla="*/ 117 w 159"/>
                <a:gd name="T35" fmla="*/ 106 h 145"/>
                <a:gd name="T36" fmla="*/ 131 w 159"/>
                <a:gd name="T37" fmla="*/ 121 h 145"/>
                <a:gd name="T38" fmla="*/ 147 w 159"/>
                <a:gd name="T39" fmla="*/ 129 h 145"/>
                <a:gd name="T40" fmla="*/ 150 w 159"/>
                <a:gd name="T41" fmla="*/ 123 h 145"/>
                <a:gd name="T42" fmla="*/ 137 w 159"/>
                <a:gd name="T43" fmla="*/ 113 h 145"/>
                <a:gd name="T44" fmla="*/ 140 w 159"/>
                <a:gd name="T45" fmla="*/ 106 h 145"/>
                <a:gd name="T46" fmla="*/ 138 w 159"/>
                <a:gd name="T47" fmla="*/ 99 h 145"/>
                <a:gd name="T48" fmla="*/ 129 w 159"/>
                <a:gd name="T49" fmla="*/ 89 h 145"/>
                <a:gd name="T50" fmla="*/ 120 w 159"/>
                <a:gd name="T51" fmla="*/ 77 h 145"/>
                <a:gd name="T52" fmla="*/ 111 w 159"/>
                <a:gd name="T53" fmla="*/ 61 h 145"/>
                <a:gd name="T54" fmla="*/ 108 w 159"/>
                <a:gd name="T55" fmla="*/ 52 h 145"/>
                <a:gd name="T56" fmla="*/ 111 w 159"/>
                <a:gd name="T57" fmla="*/ 47 h 145"/>
                <a:gd name="T58" fmla="*/ 130 w 159"/>
                <a:gd name="T59" fmla="*/ 55 h 145"/>
                <a:gd name="T60" fmla="*/ 137 w 159"/>
                <a:gd name="T61" fmla="*/ 70 h 145"/>
                <a:gd name="T62" fmla="*/ 153 w 159"/>
                <a:gd name="T63" fmla="*/ 53 h 145"/>
                <a:gd name="T64" fmla="*/ 136 w 159"/>
                <a:gd name="T65" fmla="*/ 43 h 145"/>
                <a:gd name="T66" fmla="*/ 118 w 159"/>
                <a:gd name="T67" fmla="*/ 22 h 145"/>
                <a:gd name="T68" fmla="*/ 111 w 159"/>
                <a:gd name="T69" fmla="*/ 17 h 145"/>
                <a:gd name="T70" fmla="*/ 105 w 159"/>
                <a:gd name="T71" fmla="*/ 21 h 145"/>
                <a:gd name="T72" fmla="*/ 99 w 159"/>
                <a:gd name="T73" fmla="*/ 13 h 145"/>
                <a:gd name="T74" fmla="*/ 90 w 159"/>
                <a:gd name="T75" fmla="*/ 9 h 145"/>
                <a:gd name="T76" fmla="*/ 81 w 159"/>
                <a:gd name="T77" fmla="*/ 13 h 145"/>
                <a:gd name="T78" fmla="*/ 59 w 159"/>
                <a:gd name="T79" fmla="*/ 7 h 145"/>
                <a:gd name="T80" fmla="*/ 47 w 159"/>
                <a:gd name="T81" fmla="*/ 4 h 145"/>
                <a:gd name="T82" fmla="*/ 39 w 159"/>
                <a:gd name="T83" fmla="*/ 9 h 14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59"/>
                <a:gd name="T127" fmla="*/ 0 h 145"/>
                <a:gd name="T128" fmla="*/ 159 w 159"/>
                <a:gd name="T129" fmla="*/ 145 h 14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59" h="145">
                  <a:moveTo>
                    <a:pt x="47" y="3"/>
                  </a:moveTo>
                  <a:cubicBezTo>
                    <a:pt x="41" y="5"/>
                    <a:pt x="42" y="10"/>
                    <a:pt x="39" y="13"/>
                  </a:cubicBezTo>
                  <a:cubicBezTo>
                    <a:pt x="34" y="18"/>
                    <a:pt x="28" y="18"/>
                    <a:pt x="21" y="20"/>
                  </a:cubicBezTo>
                  <a:cubicBezTo>
                    <a:pt x="20" y="27"/>
                    <a:pt x="18" y="32"/>
                    <a:pt x="11" y="34"/>
                  </a:cubicBezTo>
                  <a:cubicBezTo>
                    <a:pt x="7" y="38"/>
                    <a:pt x="5" y="38"/>
                    <a:pt x="0" y="40"/>
                  </a:cubicBezTo>
                  <a:cubicBezTo>
                    <a:pt x="5" y="47"/>
                    <a:pt x="7" y="45"/>
                    <a:pt x="17" y="46"/>
                  </a:cubicBezTo>
                  <a:cubicBezTo>
                    <a:pt x="18" y="50"/>
                    <a:pt x="24" y="55"/>
                    <a:pt x="24" y="55"/>
                  </a:cubicBezTo>
                  <a:cubicBezTo>
                    <a:pt x="27" y="60"/>
                    <a:pt x="30" y="59"/>
                    <a:pt x="36" y="61"/>
                  </a:cubicBezTo>
                  <a:cubicBezTo>
                    <a:pt x="40" y="63"/>
                    <a:pt x="42" y="66"/>
                    <a:pt x="44" y="70"/>
                  </a:cubicBezTo>
                  <a:cubicBezTo>
                    <a:pt x="45" y="74"/>
                    <a:pt x="46" y="77"/>
                    <a:pt x="47" y="81"/>
                  </a:cubicBezTo>
                  <a:cubicBezTo>
                    <a:pt x="46" y="93"/>
                    <a:pt x="42" y="97"/>
                    <a:pt x="53" y="101"/>
                  </a:cubicBezTo>
                  <a:cubicBezTo>
                    <a:pt x="54" y="110"/>
                    <a:pt x="55" y="118"/>
                    <a:pt x="64" y="121"/>
                  </a:cubicBezTo>
                  <a:cubicBezTo>
                    <a:pt x="72" y="118"/>
                    <a:pt x="73" y="116"/>
                    <a:pt x="68" y="109"/>
                  </a:cubicBezTo>
                  <a:cubicBezTo>
                    <a:pt x="69" y="102"/>
                    <a:pt x="68" y="101"/>
                    <a:pt x="74" y="98"/>
                  </a:cubicBezTo>
                  <a:cubicBezTo>
                    <a:pt x="79" y="90"/>
                    <a:pt x="81" y="102"/>
                    <a:pt x="82" y="106"/>
                  </a:cubicBezTo>
                  <a:cubicBezTo>
                    <a:pt x="94" y="103"/>
                    <a:pt x="96" y="104"/>
                    <a:pt x="98" y="116"/>
                  </a:cubicBezTo>
                  <a:cubicBezTo>
                    <a:pt x="95" y="125"/>
                    <a:pt x="100" y="139"/>
                    <a:pt x="108" y="145"/>
                  </a:cubicBezTo>
                  <a:cubicBezTo>
                    <a:pt x="108" y="136"/>
                    <a:pt x="102" y="109"/>
                    <a:pt x="117" y="106"/>
                  </a:cubicBezTo>
                  <a:cubicBezTo>
                    <a:pt x="125" y="100"/>
                    <a:pt x="127" y="117"/>
                    <a:pt x="131" y="121"/>
                  </a:cubicBezTo>
                  <a:cubicBezTo>
                    <a:pt x="136" y="126"/>
                    <a:pt x="141" y="127"/>
                    <a:pt x="147" y="129"/>
                  </a:cubicBezTo>
                  <a:cubicBezTo>
                    <a:pt x="153" y="128"/>
                    <a:pt x="158" y="126"/>
                    <a:pt x="150" y="123"/>
                  </a:cubicBezTo>
                  <a:cubicBezTo>
                    <a:pt x="146" y="118"/>
                    <a:pt x="142" y="116"/>
                    <a:pt x="137" y="113"/>
                  </a:cubicBezTo>
                  <a:cubicBezTo>
                    <a:pt x="134" y="108"/>
                    <a:pt x="135" y="107"/>
                    <a:pt x="140" y="106"/>
                  </a:cubicBezTo>
                  <a:cubicBezTo>
                    <a:pt x="143" y="102"/>
                    <a:pt x="143" y="101"/>
                    <a:pt x="138" y="99"/>
                  </a:cubicBezTo>
                  <a:cubicBezTo>
                    <a:pt x="136" y="94"/>
                    <a:pt x="132" y="93"/>
                    <a:pt x="129" y="89"/>
                  </a:cubicBezTo>
                  <a:cubicBezTo>
                    <a:pt x="127" y="83"/>
                    <a:pt x="125" y="80"/>
                    <a:pt x="120" y="77"/>
                  </a:cubicBezTo>
                  <a:cubicBezTo>
                    <a:pt x="118" y="70"/>
                    <a:pt x="114" y="67"/>
                    <a:pt x="111" y="61"/>
                  </a:cubicBezTo>
                  <a:cubicBezTo>
                    <a:pt x="110" y="58"/>
                    <a:pt x="108" y="52"/>
                    <a:pt x="108" y="52"/>
                  </a:cubicBezTo>
                  <a:cubicBezTo>
                    <a:pt x="109" y="50"/>
                    <a:pt x="109" y="48"/>
                    <a:pt x="111" y="47"/>
                  </a:cubicBezTo>
                  <a:cubicBezTo>
                    <a:pt x="112" y="47"/>
                    <a:pt x="125" y="53"/>
                    <a:pt x="130" y="55"/>
                  </a:cubicBezTo>
                  <a:cubicBezTo>
                    <a:pt x="132" y="60"/>
                    <a:pt x="132" y="67"/>
                    <a:pt x="137" y="70"/>
                  </a:cubicBezTo>
                  <a:cubicBezTo>
                    <a:pt x="139" y="54"/>
                    <a:pt x="143" y="60"/>
                    <a:pt x="153" y="53"/>
                  </a:cubicBezTo>
                  <a:cubicBezTo>
                    <a:pt x="159" y="44"/>
                    <a:pt x="140" y="43"/>
                    <a:pt x="136" y="43"/>
                  </a:cubicBezTo>
                  <a:cubicBezTo>
                    <a:pt x="123" y="36"/>
                    <a:pt x="134" y="24"/>
                    <a:pt x="118" y="22"/>
                  </a:cubicBezTo>
                  <a:cubicBezTo>
                    <a:pt x="116" y="20"/>
                    <a:pt x="114" y="16"/>
                    <a:pt x="111" y="17"/>
                  </a:cubicBezTo>
                  <a:cubicBezTo>
                    <a:pt x="109" y="18"/>
                    <a:pt x="105" y="21"/>
                    <a:pt x="105" y="21"/>
                  </a:cubicBezTo>
                  <a:cubicBezTo>
                    <a:pt x="101" y="18"/>
                    <a:pt x="102" y="16"/>
                    <a:pt x="99" y="13"/>
                  </a:cubicBezTo>
                  <a:cubicBezTo>
                    <a:pt x="97" y="11"/>
                    <a:pt x="90" y="9"/>
                    <a:pt x="90" y="9"/>
                  </a:cubicBezTo>
                  <a:cubicBezTo>
                    <a:pt x="83" y="11"/>
                    <a:pt x="86" y="10"/>
                    <a:pt x="81" y="13"/>
                  </a:cubicBezTo>
                  <a:cubicBezTo>
                    <a:pt x="75" y="11"/>
                    <a:pt x="65" y="11"/>
                    <a:pt x="59" y="7"/>
                  </a:cubicBezTo>
                  <a:cubicBezTo>
                    <a:pt x="57" y="0"/>
                    <a:pt x="52" y="2"/>
                    <a:pt x="47" y="4"/>
                  </a:cubicBezTo>
                  <a:cubicBezTo>
                    <a:pt x="45" y="7"/>
                    <a:pt x="39" y="9"/>
                    <a:pt x="39" y="9"/>
                  </a:cubicBezTo>
                </a:path>
              </a:pathLst>
            </a:custGeom>
            <a:solidFill>
              <a:srgbClr val="8D9399"/>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354" name="Freeform 2465"/>
            <p:cNvSpPr>
              <a:spLocks noChangeAspect="1"/>
            </p:cNvSpPr>
            <p:nvPr/>
          </p:nvSpPr>
          <p:spPr bwMode="auto">
            <a:xfrm>
              <a:off x="6121314" y="5766705"/>
              <a:ext cx="36413" cy="32580"/>
            </a:xfrm>
            <a:custGeom>
              <a:avLst/>
              <a:gdLst>
                <a:gd name="T0" fmla="*/ 16 w 19"/>
                <a:gd name="T1" fmla="*/ 0 h 17"/>
                <a:gd name="T2" fmla="*/ 6 w 19"/>
                <a:gd name="T3" fmla="*/ 3 h 17"/>
                <a:gd name="T4" fmla="*/ 1 w 19"/>
                <a:gd name="T5" fmla="*/ 9 h 17"/>
                <a:gd name="T6" fmla="*/ 12 w 19"/>
                <a:gd name="T7" fmla="*/ 17 h 17"/>
                <a:gd name="T8" fmla="*/ 17 w 19"/>
                <a:gd name="T9" fmla="*/ 15 h 17"/>
                <a:gd name="T10" fmla="*/ 19 w 19"/>
                <a:gd name="T11" fmla="*/ 9 h 17"/>
                <a:gd name="T12" fmla="*/ 16 w 19"/>
                <a:gd name="T13" fmla="*/ 0 h 17"/>
                <a:gd name="T14" fmla="*/ 0 60000 65536"/>
                <a:gd name="T15" fmla="*/ 0 60000 65536"/>
                <a:gd name="T16" fmla="*/ 0 60000 65536"/>
                <a:gd name="T17" fmla="*/ 0 60000 65536"/>
                <a:gd name="T18" fmla="*/ 0 60000 65536"/>
                <a:gd name="T19" fmla="*/ 0 60000 65536"/>
                <a:gd name="T20" fmla="*/ 0 60000 65536"/>
                <a:gd name="T21" fmla="*/ 0 w 19"/>
                <a:gd name="T22" fmla="*/ 0 h 17"/>
                <a:gd name="T23" fmla="*/ 19 w 19"/>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17">
                  <a:moveTo>
                    <a:pt x="16" y="0"/>
                  </a:moveTo>
                  <a:cubicBezTo>
                    <a:pt x="13" y="1"/>
                    <a:pt x="9" y="2"/>
                    <a:pt x="6" y="3"/>
                  </a:cubicBezTo>
                  <a:cubicBezTo>
                    <a:pt x="5" y="5"/>
                    <a:pt x="2" y="6"/>
                    <a:pt x="1" y="9"/>
                  </a:cubicBezTo>
                  <a:cubicBezTo>
                    <a:pt x="0" y="13"/>
                    <a:pt x="9" y="15"/>
                    <a:pt x="12" y="17"/>
                  </a:cubicBezTo>
                  <a:cubicBezTo>
                    <a:pt x="14" y="16"/>
                    <a:pt x="16" y="16"/>
                    <a:pt x="17" y="15"/>
                  </a:cubicBezTo>
                  <a:cubicBezTo>
                    <a:pt x="18" y="13"/>
                    <a:pt x="19" y="9"/>
                    <a:pt x="19" y="9"/>
                  </a:cubicBezTo>
                  <a:cubicBezTo>
                    <a:pt x="19" y="7"/>
                    <a:pt x="16" y="0"/>
                    <a:pt x="16" y="0"/>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355" name="Freeform 2466"/>
            <p:cNvSpPr>
              <a:spLocks noChangeAspect="1"/>
            </p:cNvSpPr>
            <p:nvPr/>
          </p:nvSpPr>
          <p:spPr bwMode="auto">
            <a:xfrm>
              <a:off x="6228636" y="5778204"/>
              <a:ext cx="32580" cy="24914"/>
            </a:xfrm>
            <a:custGeom>
              <a:avLst/>
              <a:gdLst>
                <a:gd name="T0" fmla="*/ 15 w 17"/>
                <a:gd name="T1" fmla="*/ 3 h 13"/>
                <a:gd name="T2" fmla="*/ 11 w 17"/>
                <a:gd name="T3" fmla="*/ 13 h 13"/>
                <a:gd name="T4" fmla="*/ 15 w 17"/>
                <a:gd name="T5" fmla="*/ 3 h 13"/>
                <a:gd name="T6" fmla="*/ 0 60000 65536"/>
                <a:gd name="T7" fmla="*/ 0 60000 65536"/>
                <a:gd name="T8" fmla="*/ 0 60000 65536"/>
                <a:gd name="T9" fmla="*/ 0 w 17"/>
                <a:gd name="T10" fmla="*/ 0 h 13"/>
                <a:gd name="T11" fmla="*/ 17 w 17"/>
                <a:gd name="T12" fmla="*/ 13 h 13"/>
              </a:gdLst>
              <a:ahLst/>
              <a:cxnLst>
                <a:cxn ang="T6">
                  <a:pos x="T0" y="T1"/>
                </a:cxn>
                <a:cxn ang="T7">
                  <a:pos x="T2" y="T3"/>
                </a:cxn>
                <a:cxn ang="T8">
                  <a:pos x="T4" y="T5"/>
                </a:cxn>
              </a:cxnLst>
              <a:rect l="T9" t="T10" r="T11" b="T12"/>
              <a:pathLst>
                <a:path w="17" h="13">
                  <a:moveTo>
                    <a:pt x="15" y="3"/>
                  </a:moveTo>
                  <a:cubicBezTo>
                    <a:pt x="3" y="0"/>
                    <a:pt x="0" y="9"/>
                    <a:pt x="11" y="13"/>
                  </a:cubicBezTo>
                  <a:cubicBezTo>
                    <a:pt x="17" y="11"/>
                    <a:pt x="15" y="8"/>
                    <a:pt x="15" y="3"/>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356" name="Freeform 2467"/>
            <p:cNvSpPr>
              <a:spLocks noChangeAspect="1"/>
            </p:cNvSpPr>
            <p:nvPr/>
          </p:nvSpPr>
          <p:spPr bwMode="auto">
            <a:xfrm>
              <a:off x="6188390" y="5858696"/>
              <a:ext cx="57494" cy="45995"/>
            </a:xfrm>
            <a:custGeom>
              <a:avLst/>
              <a:gdLst>
                <a:gd name="T0" fmla="*/ 29 w 30"/>
                <a:gd name="T1" fmla="*/ 0 h 24"/>
                <a:gd name="T2" fmla="*/ 25 w 30"/>
                <a:gd name="T3" fmla="*/ 9 h 24"/>
                <a:gd name="T4" fmla="*/ 16 w 30"/>
                <a:gd name="T5" fmla="*/ 6 h 24"/>
                <a:gd name="T6" fmla="*/ 10 w 30"/>
                <a:gd name="T7" fmla="*/ 13 h 24"/>
                <a:gd name="T8" fmla="*/ 28 w 30"/>
                <a:gd name="T9" fmla="*/ 19 h 24"/>
                <a:gd name="T10" fmla="*/ 29 w 30"/>
                <a:gd name="T11" fmla="*/ 0 h 24"/>
                <a:gd name="T12" fmla="*/ 0 60000 65536"/>
                <a:gd name="T13" fmla="*/ 0 60000 65536"/>
                <a:gd name="T14" fmla="*/ 0 60000 65536"/>
                <a:gd name="T15" fmla="*/ 0 60000 65536"/>
                <a:gd name="T16" fmla="*/ 0 60000 65536"/>
                <a:gd name="T17" fmla="*/ 0 60000 65536"/>
                <a:gd name="T18" fmla="*/ 0 w 30"/>
                <a:gd name="T19" fmla="*/ 0 h 24"/>
                <a:gd name="T20" fmla="*/ 30 w 30"/>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30" h="24">
                  <a:moveTo>
                    <a:pt x="29" y="0"/>
                  </a:moveTo>
                  <a:cubicBezTo>
                    <a:pt x="28" y="3"/>
                    <a:pt x="26" y="6"/>
                    <a:pt x="25" y="9"/>
                  </a:cubicBezTo>
                  <a:cubicBezTo>
                    <a:pt x="22" y="8"/>
                    <a:pt x="16" y="6"/>
                    <a:pt x="16" y="6"/>
                  </a:cubicBezTo>
                  <a:cubicBezTo>
                    <a:pt x="10" y="7"/>
                    <a:pt x="0" y="8"/>
                    <a:pt x="10" y="13"/>
                  </a:cubicBezTo>
                  <a:cubicBezTo>
                    <a:pt x="12" y="24"/>
                    <a:pt x="16" y="20"/>
                    <a:pt x="28" y="19"/>
                  </a:cubicBezTo>
                  <a:cubicBezTo>
                    <a:pt x="30" y="12"/>
                    <a:pt x="30" y="7"/>
                    <a:pt x="29" y="0"/>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357" name="Freeform 2468"/>
            <p:cNvSpPr>
              <a:spLocks noChangeAspect="1"/>
            </p:cNvSpPr>
            <p:nvPr/>
          </p:nvSpPr>
          <p:spPr bwMode="auto">
            <a:xfrm>
              <a:off x="6322544" y="6251574"/>
              <a:ext cx="30664" cy="42163"/>
            </a:xfrm>
            <a:custGeom>
              <a:avLst/>
              <a:gdLst>
                <a:gd name="T0" fmla="*/ 6 w 16"/>
                <a:gd name="T1" fmla="*/ 0 h 22"/>
                <a:gd name="T2" fmla="*/ 16 w 16"/>
                <a:gd name="T3" fmla="*/ 11 h 22"/>
                <a:gd name="T4" fmla="*/ 7 w 16"/>
                <a:gd name="T5" fmla="*/ 22 h 22"/>
                <a:gd name="T6" fmla="*/ 7 w 16"/>
                <a:gd name="T7" fmla="*/ 5 h 22"/>
                <a:gd name="T8" fmla="*/ 6 w 16"/>
                <a:gd name="T9" fmla="*/ 0 h 22"/>
                <a:gd name="T10" fmla="*/ 0 60000 65536"/>
                <a:gd name="T11" fmla="*/ 0 60000 65536"/>
                <a:gd name="T12" fmla="*/ 0 60000 65536"/>
                <a:gd name="T13" fmla="*/ 0 60000 65536"/>
                <a:gd name="T14" fmla="*/ 0 60000 65536"/>
                <a:gd name="T15" fmla="*/ 0 w 16"/>
                <a:gd name="T16" fmla="*/ 0 h 22"/>
                <a:gd name="T17" fmla="*/ 16 w 16"/>
                <a:gd name="T18" fmla="*/ 22 h 22"/>
              </a:gdLst>
              <a:ahLst/>
              <a:cxnLst>
                <a:cxn ang="T10">
                  <a:pos x="T0" y="T1"/>
                </a:cxn>
                <a:cxn ang="T11">
                  <a:pos x="T2" y="T3"/>
                </a:cxn>
                <a:cxn ang="T12">
                  <a:pos x="T4" y="T5"/>
                </a:cxn>
                <a:cxn ang="T13">
                  <a:pos x="T6" y="T7"/>
                </a:cxn>
                <a:cxn ang="T14">
                  <a:pos x="T8" y="T9"/>
                </a:cxn>
              </a:cxnLst>
              <a:rect l="T15" t="T16" r="T17" b="T18"/>
              <a:pathLst>
                <a:path w="16" h="22">
                  <a:moveTo>
                    <a:pt x="6" y="0"/>
                  </a:moveTo>
                  <a:cubicBezTo>
                    <a:pt x="13" y="2"/>
                    <a:pt x="14" y="4"/>
                    <a:pt x="16" y="11"/>
                  </a:cubicBezTo>
                  <a:cubicBezTo>
                    <a:pt x="14" y="19"/>
                    <a:pt x="13" y="18"/>
                    <a:pt x="7" y="22"/>
                  </a:cubicBezTo>
                  <a:cubicBezTo>
                    <a:pt x="5" y="15"/>
                    <a:pt x="0" y="12"/>
                    <a:pt x="7" y="5"/>
                  </a:cubicBezTo>
                  <a:cubicBezTo>
                    <a:pt x="8" y="1"/>
                    <a:pt x="9" y="3"/>
                    <a:pt x="6" y="0"/>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358" name="Freeform 2469"/>
            <p:cNvSpPr>
              <a:spLocks noChangeAspect="1"/>
            </p:cNvSpPr>
            <p:nvPr/>
          </p:nvSpPr>
          <p:spPr bwMode="auto">
            <a:xfrm>
              <a:off x="6312961" y="5921940"/>
              <a:ext cx="86242" cy="65160"/>
            </a:xfrm>
            <a:custGeom>
              <a:avLst/>
              <a:gdLst>
                <a:gd name="T0" fmla="*/ 26 w 45"/>
                <a:gd name="T1" fmla="*/ 0 h 34"/>
                <a:gd name="T2" fmla="*/ 35 w 45"/>
                <a:gd name="T3" fmla="*/ 10 h 34"/>
                <a:gd name="T4" fmla="*/ 41 w 45"/>
                <a:gd name="T5" fmla="*/ 14 h 34"/>
                <a:gd name="T6" fmla="*/ 45 w 45"/>
                <a:gd name="T7" fmla="*/ 23 h 34"/>
                <a:gd name="T8" fmla="*/ 32 w 45"/>
                <a:gd name="T9" fmla="*/ 33 h 34"/>
                <a:gd name="T10" fmla="*/ 23 w 45"/>
                <a:gd name="T11" fmla="*/ 32 h 34"/>
                <a:gd name="T12" fmla="*/ 29 w 45"/>
                <a:gd name="T13" fmla="*/ 17 h 34"/>
                <a:gd name="T14" fmla="*/ 19 w 45"/>
                <a:gd name="T15" fmla="*/ 12 h 34"/>
                <a:gd name="T16" fmla="*/ 8 w 45"/>
                <a:gd name="T17" fmla="*/ 28 h 34"/>
                <a:gd name="T18" fmla="*/ 0 w 45"/>
                <a:gd name="T19" fmla="*/ 18 h 34"/>
                <a:gd name="T20" fmla="*/ 11 w 45"/>
                <a:gd name="T21" fmla="*/ 11 h 34"/>
                <a:gd name="T22" fmla="*/ 17 w 45"/>
                <a:gd name="T23" fmla="*/ 8 h 34"/>
                <a:gd name="T24" fmla="*/ 26 w 45"/>
                <a:gd name="T25" fmla="*/ 0 h 3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5"/>
                <a:gd name="T40" fmla="*/ 0 h 34"/>
                <a:gd name="T41" fmla="*/ 45 w 45"/>
                <a:gd name="T42" fmla="*/ 34 h 3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5" h="34">
                  <a:moveTo>
                    <a:pt x="26" y="0"/>
                  </a:moveTo>
                  <a:cubicBezTo>
                    <a:pt x="27" y="4"/>
                    <a:pt x="31" y="8"/>
                    <a:pt x="35" y="10"/>
                  </a:cubicBezTo>
                  <a:cubicBezTo>
                    <a:pt x="37" y="11"/>
                    <a:pt x="41" y="14"/>
                    <a:pt x="41" y="14"/>
                  </a:cubicBezTo>
                  <a:cubicBezTo>
                    <a:pt x="43" y="17"/>
                    <a:pt x="45" y="23"/>
                    <a:pt x="45" y="23"/>
                  </a:cubicBezTo>
                  <a:cubicBezTo>
                    <a:pt x="43" y="29"/>
                    <a:pt x="37" y="31"/>
                    <a:pt x="32" y="33"/>
                  </a:cubicBezTo>
                  <a:cubicBezTo>
                    <a:pt x="29" y="33"/>
                    <a:pt x="25" y="34"/>
                    <a:pt x="23" y="32"/>
                  </a:cubicBezTo>
                  <a:cubicBezTo>
                    <a:pt x="19" y="28"/>
                    <a:pt x="29" y="17"/>
                    <a:pt x="29" y="17"/>
                  </a:cubicBezTo>
                  <a:cubicBezTo>
                    <a:pt x="26" y="10"/>
                    <a:pt x="26" y="11"/>
                    <a:pt x="19" y="12"/>
                  </a:cubicBezTo>
                  <a:cubicBezTo>
                    <a:pt x="17" y="19"/>
                    <a:pt x="16" y="26"/>
                    <a:pt x="8" y="28"/>
                  </a:cubicBezTo>
                  <a:cubicBezTo>
                    <a:pt x="4" y="27"/>
                    <a:pt x="0" y="18"/>
                    <a:pt x="0" y="18"/>
                  </a:cubicBezTo>
                  <a:cubicBezTo>
                    <a:pt x="2" y="12"/>
                    <a:pt x="5" y="12"/>
                    <a:pt x="11" y="11"/>
                  </a:cubicBezTo>
                  <a:cubicBezTo>
                    <a:pt x="13" y="10"/>
                    <a:pt x="15" y="10"/>
                    <a:pt x="17" y="8"/>
                  </a:cubicBezTo>
                  <a:cubicBezTo>
                    <a:pt x="21" y="4"/>
                    <a:pt x="19" y="0"/>
                    <a:pt x="26" y="0"/>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359" name="Freeform 2470"/>
            <p:cNvSpPr>
              <a:spLocks noChangeAspect="1"/>
            </p:cNvSpPr>
            <p:nvPr/>
          </p:nvSpPr>
          <p:spPr bwMode="auto">
            <a:xfrm>
              <a:off x="6328293" y="6036929"/>
              <a:ext cx="51745" cy="67077"/>
            </a:xfrm>
            <a:custGeom>
              <a:avLst/>
              <a:gdLst>
                <a:gd name="T0" fmla="*/ 13 w 27"/>
                <a:gd name="T1" fmla="*/ 4 h 35"/>
                <a:gd name="T2" fmla="*/ 25 w 27"/>
                <a:gd name="T3" fmla="*/ 14 h 35"/>
                <a:gd name="T4" fmla="*/ 16 w 27"/>
                <a:gd name="T5" fmla="*/ 35 h 35"/>
                <a:gd name="T6" fmla="*/ 7 w 27"/>
                <a:gd name="T7" fmla="*/ 29 h 35"/>
                <a:gd name="T8" fmla="*/ 0 w 27"/>
                <a:gd name="T9" fmla="*/ 10 h 35"/>
                <a:gd name="T10" fmla="*/ 13 w 27"/>
                <a:gd name="T11" fmla="*/ 4 h 35"/>
                <a:gd name="T12" fmla="*/ 0 60000 65536"/>
                <a:gd name="T13" fmla="*/ 0 60000 65536"/>
                <a:gd name="T14" fmla="*/ 0 60000 65536"/>
                <a:gd name="T15" fmla="*/ 0 60000 65536"/>
                <a:gd name="T16" fmla="*/ 0 60000 65536"/>
                <a:gd name="T17" fmla="*/ 0 60000 65536"/>
                <a:gd name="T18" fmla="*/ 0 w 27"/>
                <a:gd name="T19" fmla="*/ 0 h 35"/>
                <a:gd name="T20" fmla="*/ 27 w 27"/>
                <a:gd name="T21" fmla="*/ 35 h 35"/>
              </a:gdLst>
              <a:ahLst/>
              <a:cxnLst>
                <a:cxn ang="T12">
                  <a:pos x="T0" y="T1"/>
                </a:cxn>
                <a:cxn ang="T13">
                  <a:pos x="T2" y="T3"/>
                </a:cxn>
                <a:cxn ang="T14">
                  <a:pos x="T4" y="T5"/>
                </a:cxn>
                <a:cxn ang="T15">
                  <a:pos x="T6" y="T7"/>
                </a:cxn>
                <a:cxn ang="T16">
                  <a:pos x="T8" y="T9"/>
                </a:cxn>
                <a:cxn ang="T17">
                  <a:pos x="T10" y="T11"/>
                </a:cxn>
              </a:cxnLst>
              <a:rect l="T18" t="T19" r="T20" b="T21"/>
              <a:pathLst>
                <a:path w="27" h="35">
                  <a:moveTo>
                    <a:pt x="13" y="4"/>
                  </a:moveTo>
                  <a:cubicBezTo>
                    <a:pt x="18" y="5"/>
                    <a:pt x="22" y="10"/>
                    <a:pt x="25" y="14"/>
                  </a:cubicBezTo>
                  <a:cubicBezTo>
                    <a:pt x="24" y="24"/>
                    <a:pt x="26" y="32"/>
                    <a:pt x="16" y="35"/>
                  </a:cubicBezTo>
                  <a:cubicBezTo>
                    <a:pt x="11" y="34"/>
                    <a:pt x="10" y="33"/>
                    <a:pt x="7" y="29"/>
                  </a:cubicBezTo>
                  <a:cubicBezTo>
                    <a:pt x="17" y="23"/>
                    <a:pt x="7" y="13"/>
                    <a:pt x="0" y="10"/>
                  </a:cubicBezTo>
                  <a:cubicBezTo>
                    <a:pt x="3" y="0"/>
                    <a:pt x="27" y="9"/>
                    <a:pt x="13" y="4"/>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360" name="Freeform 2471"/>
            <p:cNvSpPr>
              <a:spLocks noChangeAspect="1"/>
            </p:cNvSpPr>
            <p:nvPr/>
          </p:nvSpPr>
          <p:spPr bwMode="auto">
            <a:xfrm>
              <a:off x="6619598" y="6282238"/>
              <a:ext cx="51745" cy="99657"/>
            </a:xfrm>
            <a:custGeom>
              <a:avLst/>
              <a:gdLst>
                <a:gd name="T0" fmla="*/ 25 w 27"/>
                <a:gd name="T1" fmla="*/ 2 h 52"/>
                <a:gd name="T2" fmla="*/ 14 w 27"/>
                <a:gd name="T3" fmla="*/ 12 h 52"/>
                <a:gd name="T4" fmla="*/ 5 w 27"/>
                <a:gd name="T5" fmla="*/ 15 h 52"/>
                <a:gd name="T6" fmla="*/ 8 w 27"/>
                <a:gd name="T7" fmla="*/ 46 h 52"/>
                <a:gd name="T8" fmla="*/ 19 w 27"/>
                <a:gd name="T9" fmla="*/ 43 h 52"/>
                <a:gd name="T10" fmla="*/ 23 w 27"/>
                <a:gd name="T11" fmla="*/ 28 h 52"/>
                <a:gd name="T12" fmla="*/ 25 w 27"/>
                <a:gd name="T13" fmla="*/ 13 h 52"/>
                <a:gd name="T14" fmla="*/ 27 w 27"/>
                <a:gd name="T15" fmla="*/ 7 h 52"/>
                <a:gd name="T16" fmla="*/ 25 w 27"/>
                <a:gd name="T17" fmla="*/ 1 h 52"/>
                <a:gd name="T18" fmla="*/ 22 w 27"/>
                <a:gd name="T19" fmla="*/ 4 h 52"/>
                <a:gd name="T20" fmla="*/ 25 w 27"/>
                <a:gd name="T21" fmla="*/ 2 h 5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
                <a:gd name="T34" fmla="*/ 0 h 52"/>
                <a:gd name="T35" fmla="*/ 27 w 27"/>
                <a:gd name="T36" fmla="*/ 52 h 5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 h="52">
                  <a:moveTo>
                    <a:pt x="25" y="2"/>
                  </a:moveTo>
                  <a:cubicBezTo>
                    <a:pt x="20" y="4"/>
                    <a:pt x="19" y="9"/>
                    <a:pt x="14" y="12"/>
                  </a:cubicBezTo>
                  <a:cubicBezTo>
                    <a:pt x="11" y="14"/>
                    <a:pt x="5" y="15"/>
                    <a:pt x="5" y="15"/>
                  </a:cubicBezTo>
                  <a:cubicBezTo>
                    <a:pt x="2" y="24"/>
                    <a:pt x="0" y="40"/>
                    <a:pt x="8" y="46"/>
                  </a:cubicBezTo>
                  <a:cubicBezTo>
                    <a:pt x="12" y="52"/>
                    <a:pt x="15" y="46"/>
                    <a:pt x="19" y="43"/>
                  </a:cubicBezTo>
                  <a:cubicBezTo>
                    <a:pt x="21" y="38"/>
                    <a:pt x="22" y="33"/>
                    <a:pt x="23" y="28"/>
                  </a:cubicBezTo>
                  <a:cubicBezTo>
                    <a:pt x="22" y="21"/>
                    <a:pt x="22" y="19"/>
                    <a:pt x="25" y="13"/>
                  </a:cubicBezTo>
                  <a:cubicBezTo>
                    <a:pt x="26" y="11"/>
                    <a:pt x="27" y="7"/>
                    <a:pt x="27" y="7"/>
                  </a:cubicBezTo>
                  <a:cubicBezTo>
                    <a:pt x="26" y="5"/>
                    <a:pt x="27" y="2"/>
                    <a:pt x="25" y="1"/>
                  </a:cubicBezTo>
                  <a:cubicBezTo>
                    <a:pt x="24" y="0"/>
                    <a:pt x="22" y="3"/>
                    <a:pt x="22" y="4"/>
                  </a:cubicBezTo>
                  <a:cubicBezTo>
                    <a:pt x="22" y="5"/>
                    <a:pt x="24" y="3"/>
                    <a:pt x="25" y="2"/>
                  </a:cubicBezTo>
                  <a:close/>
                </a:path>
              </a:pathLst>
            </a:custGeom>
            <a:solidFill>
              <a:srgbClr val="8D9399"/>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361" name="Freeform 2472"/>
            <p:cNvSpPr>
              <a:spLocks noChangeAspect="1"/>
            </p:cNvSpPr>
            <p:nvPr/>
          </p:nvSpPr>
          <p:spPr bwMode="auto">
            <a:xfrm>
              <a:off x="6542939" y="6391477"/>
              <a:ext cx="38330" cy="78576"/>
            </a:xfrm>
            <a:custGeom>
              <a:avLst/>
              <a:gdLst>
                <a:gd name="T0" fmla="*/ 20 w 20"/>
                <a:gd name="T1" fmla="*/ 0 h 41"/>
                <a:gd name="T2" fmla="*/ 17 w 20"/>
                <a:gd name="T3" fmla="*/ 41 h 41"/>
                <a:gd name="T4" fmla="*/ 20 w 20"/>
                <a:gd name="T5" fmla="*/ 0 h 41"/>
                <a:gd name="T6" fmla="*/ 0 60000 65536"/>
                <a:gd name="T7" fmla="*/ 0 60000 65536"/>
                <a:gd name="T8" fmla="*/ 0 60000 65536"/>
                <a:gd name="T9" fmla="*/ 0 w 20"/>
                <a:gd name="T10" fmla="*/ 0 h 41"/>
                <a:gd name="T11" fmla="*/ 20 w 20"/>
                <a:gd name="T12" fmla="*/ 41 h 41"/>
              </a:gdLst>
              <a:ahLst/>
              <a:cxnLst>
                <a:cxn ang="T6">
                  <a:pos x="T0" y="T1"/>
                </a:cxn>
                <a:cxn ang="T7">
                  <a:pos x="T2" y="T3"/>
                </a:cxn>
                <a:cxn ang="T8">
                  <a:pos x="T4" y="T5"/>
                </a:cxn>
              </a:cxnLst>
              <a:rect l="T9" t="T10" r="T11" b="T12"/>
              <a:pathLst>
                <a:path w="20" h="41">
                  <a:moveTo>
                    <a:pt x="20" y="0"/>
                  </a:moveTo>
                  <a:cubicBezTo>
                    <a:pt x="19" y="14"/>
                    <a:pt x="18" y="27"/>
                    <a:pt x="17" y="41"/>
                  </a:cubicBezTo>
                  <a:cubicBezTo>
                    <a:pt x="0" y="38"/>
                    <a:pt x="16" y="9"/>
                    <a:pt x="20" y="0"/>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362" name="Freeform 2473"/>
            <p:cNvSpPr>
              <a:spLocks noChangeAspect="1"/>
            </p:cNvSpPr>
            <p:nvPr/>
          </p:nvSpPr>
          <p:spPr bwMode="auto">
            <a:xfrm>
              <a:off x="6165393" y="6493051"/>
              <a:ext cx="335384" cy="93907"/>
            </a:xfrm>
            <a:custGeom>
              <a:avLst/>
              <a:gdLst>
                <a:gd name="T0" fmla="*/ 8 w 175"/>
                <a:gd name="T1" fmla="*/ 24 h 49"/>
                <a:gd name="T2" fmla="*/ 13 w 175"/>
                <a:gd name="T3" fmla="*/ 6 h 49"/>
                <a:gd name="T4" fmla="*/ 25 w 175"/>
                <a:gd name="T5" fmla="*/ 19 h 49"/>
                <a:gd name="T6" fmla="*/ 34 w 175"/>
                <a:gd name="T7" fmla="*/ 11 h 49"/>
                <a:gd name="T8" fmla="*/ 40 w 175"/>
                <a:gd name="T9" fmla="*/ 23 h 49"/>
                <a:gd name="T10" fmla="*/ 52 w 175"/>
                <a:gd name="T11" fmla="*/ 23 h 49"/>
                <a:gd name="T12" fmla="*/ 70 w 175"/>
                <a:gd name="T13" fmla="*/ 12 h 49"/>
                <a:gd name="T14" fmla="*/ 88 w 175"/>
                <a:gd name="T15" fmla="*/ 13 h 49"/>
                <a:gd name="T16" fmla="*/ 101 w 175"/>
                <a:gd name="T17" fmla="*/ 16 h 49"/>
                <a:gd name="T18" fmla="*/ 114 w 175"/>
                <a:gd name="T19" fmla="*/ 12 h 49"/>
                <a:gd name="T20" fmla="*/ 128 w 175"/>
                <a:gd name="T21" fmla="*/ 12 h 49"/>
                <a:gd name="T22" fmla="*/ 136 w 175"/>
                <a:gd name="T23" fmla="*/ 6 h 49"/>
                <a:gd name="T24" fmla="*/ 134 w 175"/>
                <a:gd name="T25" fmla="*/ 18 h 49"/>
                <a:gd name="T26" fmla="*/ 150 w 175"/>
                <a:gd name="T27" fmla="*/ 19 h 49"/>
                <a:gd name="T28" fmla="*/ 162 w 175"/>
                <a:gd name="T29" fmla="*/ 10 h 49"/>
                <a:gd name="T30" fmla="*/ 175 w 175"/>
                <a:gd name="T31" fmla="*/ 18 h 49"/>
                <a:gd name="T32" fmla="*/ 163 w 175"/>
                <a:gd name="T33" fmla="*/ 28 h 49"/>
                <a:gd name="T34" fmla="*/ 142 w 175"/>
                <a:gd name="T35" fmla="*/ 30 h 49"/>
                <a:gd name="T36" fmla="*/ 122 w 175"/>
                <a:gd name="T37" fmla="*/ 35 h 49"/>
                <a:gd name="T38" fmla="*/ 100 w 175"/>
                <a:gd name="T39" fmla="*/ 43 h 49"/>
                <a:gd name="T40" fmla="*/ 88 w 175"/>
                <a:gd name="T41" fmla="*/ 49 h 49"/>
                <a:gd name="T42" fmla="*/ 52 w 175"/>
                <a:gd name="T43" fmla="*/ 38 h 49"/>
                <a:gd name="T44" fmla="*/ 24 w 175"/>
                <a:gd name="T45" fmla="*/ 37 h 49"/>
                <a:gd name="T46" fmla="*/ 0 w 175"/>
                <a:gd name="T47" fmla="*/ 32 h 49"/>
                <a:gd name="T48" fmla="*/ 2 w 175"/>
                <a:gd name="T49" fmla="*/ 29 h 49"/>
                <a:gd name="T50" fmla="*/ 11 w 175"/>
                <a:gd name="T51" fmla="*/ 23 h 49"/>
                <a:gd name="T52" fmla="*/ 8 w 175"/>
                <a:gd name="T53" fmla="*/ 24 h 4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75"/>
                <a:gd name="T82" fmla="*/ 0 h 49"/>
                <a:gd name="T83" fmla="*/ 175 w 175"/>
                <a:gd name="T84" fmla="*/ 49 h 4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75" h="49">
                  <a:moveTo>
                    <a:pt x="8" y="24"/>
                  </a:moveTo>
                  <a:cubicBezTo>
                    <a:pt x="13" y="21"/>
                    <a:pt x="13" y="6"/>
                    <a:pt x="13" y="6"/>
                  </a:cubicBezTo>
                  <a:cubicBezTo>
                    <a:pt x="23" y="9"/>
                    <a:pt x="9" y="17"/>
                    <a:pt x="25" y="19"/>
                  </a:cubicBezTo>
                  <a:cubicBezTo>
                    <a:pt x="32" y="18"/>
                    <a:pt x="29" y="16"/>
                    <a:pt x="34" y="11"/>
                  </a:cubicBezTo>
                  <a:cubicBezTo>
                    <a:pt x="38" y="0"/>
                    <a:pt x="32" y="25"/>
                    <a:pt x="40" y="23"/>
                  </a:cubicBezTo>
                  <a:cubicBezTo>
                    <a:pt x="41" y="19"/>
                    <a:pt x="47" y="22"/>
                    <a:pt x="52" y="23"/>
                  </a:cubicBezTo>
                  <a:cubicBezTo>
                    <a:pt x="57" y="22"/>
                    <a:pt x="64" y="14"/>
                    <a:pt x="70" y="12"/>
                  </a:cubicBezTo>
                  <a:cubicBezTo>
                    <a:pt x="76" y="10"/>
                    <a:pt x="83" y="12"/>
                    <a:pt x="88" y="13"/>
                  </a:cubicBezTo>
                  <a:cubicBezTo>
                    <a:pt x="92" y="7"/>
                    <a:pt x="97" y="12"/>
                    <a:pt x="101" y="16"/>
                  </a:cubicBezTo>
                  <a:cubicBezTo>
                    <a:pt x="111" y="13"/>
                    <a:pt x="107" y="14"/>
                    <a:pt x="114" y="12"/>
                  </a:cubicBezTo>
                  <a:cubicBezTo>
                    <a:pt x="121" y="14"/>
                    <a:pt x="120" y="14"/>
                    <a:pt x="128" y="12"/>
                  </a:cubicBezTo>
                  <a:cubicBezTo>
                    <a:pt x="130" y="7"/>
                    <a:pt x="131" y="4"/>
                    <a:pt x="136" y="6"/>
                  </a:cubicBezTo>
                  <a:cubicBezTo>
                    <a:pt x="137" y="12"/>
                    <a:pt x="137" y="13"/>
                    <a:pt x="134" y="18"/>
                  </a:cubicBezTo>
                  <a:cubicBezTo>
                    <a:pt x="136" y="23"/>
                    <a:pt x="150" y="19"/>
                    <a:pt x="150" y="19"/>
                  </a:cubicBezTo>
                  <a:cubicBezTo>
                    <a:pt x="156" y="16"/>
                    <a:pt x="155" y="11"/>
                    <a:pt x="162" y="10"/>
                  </a:cubicBezTo>
                  <a:cubicBezTo>
                    <a:pt x="174" y="11"/>
                    <a:pt x="173" y="9"/>
                    <a:pt x="175" y="18"/>
                  </a:cubicBezTo>
                  <a:cubicBezTo>
                    <a:pt x="173" y="25"/>
                    <a:pt x="169" y="25"/>
                    <a:pt x="163" y="28"/>
                  </a:cubicBezTo>
                  <a:cubicBezTo>
                    <a:pt x="158" y="36"/>
                    <a:pt x="154" y="25"/>
                    <a:pt x="142" y="30"/>
                  </a:cubicBezTo>
                  <a:cubicBezTo>
                    <a:pt x="135" y="31"/>
                    <a:pt x="129" y="35"/>
                    <a:pt x="122" y="35"/>
                  </a:cubicBezTo>
                  <a:cubicBezTo>
                    <a:pt x="114" y="36"/>
                    <a:pt x="108" y="43"/>
                    <a:pt x="100" y="43"/>
                  </a:cubicBezTo>
                  <a:cubicBezTo>
                    <a:pt x="95" y="44"/>
                    <a:pt x="92" y="46"/>
                    <a:pt x="88" y="49"/>
                  </a:cubicBezTo>
                  <a:cubicBezTo>
                    <a:pt x="63" y="43"/>
                    <a:pt x="100" y="42"/>
                    <a:pt x="52" y="38"/>
                  </a:cubicBezTo>
                  <a:cubicBezTo>
                    <a:pt x="42" y="35"/>
                    <a:pt x="33" y="34"/>
                    <a:pt x="24" y="37"/>
                  </a:cubicBezTo>
                  <a:cubicBezTo>
                    <a:pt x="8" y="36"/>
                    <a:pt x="3" y="45"/>
                    <a:pt x="0" y="32"/>
                  </a:cubicBezTo>
                  <a:cubicBezTo>
                    <a:pt x="1" y="31"/>
                    <a:pt x="2" y="30"/>
                    <a:pt x="2" y="29"/>
                  </a:cubicBezTo>
                  <a:cubicBezTo>
                    <a:pt x="4" y="28"/>
                    <a:pt x="10" y="24"/>
                    <a:pt x="11" y="23"/>
                  </a:cubicBezTo>
                  <a:lnTo>
                    <a:pt x="8" y="24"/>
                  </a:lnTo>
                  <a:close/>
                </a:path>
              </a:pathLst>
            </a:custGeom>
            <a:solidFill>
              <a:srgbClr val="8D9399"/>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363" name="Freeform 2474"/>
            <p:cNvSpPr>
              <a:spLocks noChangeAspect="1"/>
            </p:cNvSpPr>
            <p:nvPr/>
          </p:nvSpPr>
          <p:spPr bwMode="auto">
            <a:xfrm>
              <a:off x="6383871" y="6157667"/>
              <a:ext cx="40246" cy="34497"/>
            </a:xfrm>
            <a:custGeom>
              <a:avLst/>
              <a:gdLst>
                <a:gd name="T0" fmla="*/ 17 w 21"/>
                <a:gd name="T1" fmla="*/ 2 h 18"/>
                <a:gd name="T2" fmla="*/ 8 w 21"/>
                <a:gd name="T3" fmla="*/ 7 h 18"/>
                <a:gd name="T4" fmla="*/ 0 w 21"/>
                <a:gd name="T5" fmla="*/ 17 h 18"/>
                <a:gd name="T6" fmla="*/ 10 w 21"/>
                <a:gd name="T7" fmla="*/ 13 h 18"/>
                <a:gd name="T8" fmla="*/ 19 w 21"/>
                <a:gd name="T9" fmla="*/ 5 h 18"/>
                <a:gd name="T10" fmla="*/ 17 w 21"/>
                <a:gd name="T11" fmla="*/ 2 h 18"/>
                <a:gd name="T12" fmla="*/ 0 60000 65536"/>
                <a:gd name="T13" fmla="*/ 0 60000 65536"/>
                <a:gd name="T14" fmla="*/ 0 60000 65536"/>
                <a:gd name="T15" fmla="*/ 0 60000 65536"/>
                <a:gd name="T16" fmla="*/ 0 60000 65536"/>
                <a:gd name="T17" fmla="*/ 0 60000 65536"/>
                <a:gd name="T18" fmla="*/ 0 w 21"/>
                <a:gd name="T19" fmla="*/ 0 h 18"/>
                <a:gd name="T20" fmla="*/ 21 w 21"/>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1" h="18">
                  <a:moveTo>
                    <a:pt x="17" y="2"/>
                  </a:moveTo>
                  <a:cubicBezTo>
                    <a:pt x="13" y="3"/>
                    <a:pt x="12" y="6"/>
                    <a:pt x="8" y="7"/>
                  </a:cubicBezTo>
                  <a:cubicBezTo>
                    <a:pt x="6" y="13"/>
                    <a:pt x="3" y="11"/>
                    <a:pt x="0" y="17"/>
                  </a:cubicBezTo>
                  <a:cubicBezTo>
                    <a:pt x="6" y="18"/>
                    <a:pt x="5" y="16"/>
                    <a:pt x="10" y="13"/>
                  </a:cubicBezTo>
                  <a:cubicBezTo>
                    <a:pt x="13" y="9"/>
                    <a:pt x="15" y="9"/>
                    <a:pt x="19" y="5"/>
                  </a:cubicBezTo>
                  <a:cubicBezTo>
                    <a:pt x="20" y="0"/>
                    <a:pt x="21" y="1"/>
                    <a:pt x="17" y="2"/>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364" name="Freeform 2475"/>
            <p:cNvSpPr>
              <a:spLocks noChangeAspect="1"/>
            </p:cNvSpPr>
            <p:nvPr/>
          </p:nvSpPr>
          <p:spPr bwMode="auto">
            <a:xfrm>
              <a:off x="6508442" y="6245825"/>
              <a:ext cx="40246" cy="45995"/>
            </a:xfrm>
            <a:custGeom>
              <a:avLst/>
              <a:gdLst>
                <a:gd name="T0" fmla="*/ 12 w 21"/>
                <a:gd name="T1" fmla="*/ 5 h 24"/>
                <a:gd name="T2" fmla="*/ 3 w 21"/>
                <a:gd name="T3" fmla="*/ 16 h 24"/>
                <a:gd name="T4" fmla="*/ 12 w 21"/>
                <a:gd name="T5" fmla="*/ 21 h 24"/>
                <a:gd name="T6" fmla="*/ 21 w 21"/>
                <a:gd name="T7" fmla="*/ 4 h 24"/>
                <a:gd name="T8" fmla="*/ 9 w 21"/>
                <a:gd name="T9" fmla="*/ 0 h 24"/>
                <a:gd name="T10" fmla="*/ 12 w 21"/>
                <a:gd name="T11" fmla="*/ 5 h 24"/>
                <a:gd name="T12" fmla="*/ 0 60000 65536"/>
                <a:gd name="T13" fmla="*/ 0 60000 65536"/>
                <a:gd name="T14" fmla="*/ 0 60000 65536"/>
                <a:gd name="T15" fmla="*/ 0 60000 65536"/>
                <a:gd name="T16" fmla="*/ 0 60000 65536"/>
                <a:gd name="T17" fmla="*/ 0 60000 65536"/>
                <a:gd name="T18" fmla="*/ 0 w 21"/>
                <a:gd name="T19" fmla="*/ 0 h 24"/>
                <a:gd name="T20" fmla="*/ 21 w 21"/>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21" h="24">
                  <a:moveTo>
                    <a:pt x="12" y="5"/>
                  </a:moveTo>
                  <a:cubicBezTo>
                    <a:pt x="11" y="9"/>
                    <a:pt x="7" y="13"/>
                    <a:pt x="3" y="16"/>
                  </a:cubicBezTo>
                  <a:cubicBezTo>
                    <a:pt x="0" y="24"/>
                    <a:pt x="4" y="22"/>
                    <a:pt x="12" y="21"/>
                  </a:cubicBezTo>
                  <a:cubicBezTo>
                    <a:pt x="16" y="14"/>
                    <a:pt x="19" y="14"/>
                    <a:pt x="21" y="4"/>
                  </a:cubicBezTo>
                  <a:cubicBezTo>
                    <a:pt x="21" y="1"/>
                    <a:pt x="10" y="0"/>
                    <a:pt x="9" y="0"/>
                  </a:cubicBezTo>
                  <a:cubicBezTo>
                    <a:pt x="8" y="0"/>
                    <a:pt x="13" y="2"/>
                    <a:pt x="12" y="5"/>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365" name="Freeform 2476"/>
            <p:cNvSpPr>
              <a:spLocks noChangeAspect="1"/>
            </p:cNvSpPr>
            <p:nvPr/>
          </p:nvSpPr>
          <p:spPr bwMode="auto">
            <a:xfrm>
              <a:off x="5695855" y="5594222"/>
              <a:ext cx="630522" cy="615190"/>
            </a:xfrm>
            <a:custGeom>
              <a:avLst/>
              <a:gdLst>
                <a:gd name="T0" fmla="*/ 312 w 329"/>
                <a:gd name="T1" fmla="*/ 75 h 321"/>
                <a:gd name="T2" fmla="*/ 321 w 329"/>
                <a:gd name="T3" fmla="*/ 57 h 321"/>
                <a:gd name="T4" fmla="*/ 305 w 329"/>
                <a:gd name="T5" fmla="*/ 5 h 321"/>
                <a:gd name="T6" fmla="*/ 304 w 329"/>
                <a:gd name="T7" fmla="*/ 26 h 321"/>
                <a:gd name="T8" fmla="*/ 250 w 329"/>
                <a:gd name="T9" fmla="*/ 49 h 321"/>
                <a:gd name="T10" fmla="*/ 216 w 329"/>
                <a:gd name="T11" fmla="*/ 42 h 321"/>
                <a:gd name="T12" fmla="*/ 187 w 329"/>
                <a:gd name="T13" fmla="*/ 47 h 321"/>
                <a:gd name="T14" fmla="*/ 178 w 329"/>
                <a:gd name="T15" fmla="*/ 59 h 321"/>
                <a:gd name="T16" fmla="*/ 132 w 329"/>
                <a:gd name="T17" fmla="*/ 67 h 321"/>
                <a:gd name="T18" fmla="*/ 75 w 329"/>
                <a:gd name="T19" fmla="*/ 103 h 321"/>
                <a:gd name="T20" fmla="*/ 22 w 329"/>
                <a:gd name="T21" fmla="*/ 126 h 321"/>
                <a:gd name="T22" fmla="*/ 35 w 329"/>
                <a:gd name="T23" fmla="*/ 149 h 321"/>
                <a:gd name="T24" fmla="*/ 19 w 329"/>
                <a:gd name="T25" fmla="*/ 157 h 321"/>
                <a:gd name="T26" fmla="*/ 4 w 329"/>
                <a:gd name="T27" fmla="*/ 188 h 321"/>
                <a:gd name="T28" fmla="*/ 4 w 329"/>
                <a:gd name="T29" fmla="*/ 233 h 321"/>
                <a:gd name="T30" fmla="*/ 19 w 329"/>
                <a:gd name="T31" fmla="*/ 245 h 321"/>
                <a:gd name="T32" fmla="*/ 43 w 329"/>
                <a:gd name="T33" fmla="*/ 254 h 321"/>
                <a:gd name="T34" fmla="*/ 43 w 329"/>
                <a:gd name="T35" fmla="*/ 269 h 321"/>
                <a:gd name="T36" fmla="*/ 66 w 329"/>
                <a:gd name="T37" fmla="*/ 302 h 321"/>
                <a:gd name="T38" fmla="*/ 90 w 329"/>
                <a:gd name="T39" fmla="*/ 302 h 321"/>
                <a:gd name="T40" fmla="*/ 154 w 329"/>
                <a:gd name="T41" fmla="*/ 295 h 321"/>
                <a:gd name="T42" fmla="*/ 178 w 329"/>
                <a:gd name="T43" fmla="*/ 301 h 321"/>
                <a:gd name="T44" fmla="*/ 198 w 329"/>
                <a:gd name="T45" fmla="*/ 308 h 321"/>
                <a:gd name="T46" fmla="*/ 231 w 329"/>
                <a:gd name="T47" fmla="*/ 319 h 321"/>
                <a:gd name="T48" fmla="*/ 239 w 329"/>
                <a:gd name="T49" fmla="*/ 312 h 321"/>
                <a:gd name="T50" fmla="*/ 216 w 329"/>
                <a:gd name="T51" fmla="*/ 277 h 321"/>
                <a:gd name="T52" fmla="*/ 135 w 329"/>
                <a:gd name="T53" fmla="*/ 253 h 321"/>
                <a:gd name="T54" fmla="*/ 156 w 329"/>
                <a:gd name="T55" fmla="*/ 234 h 321"/>
                <a:gd name="T56" fmla="*/ 180 w 329"/>
                <a:gd name="T57" fmla="*/ 222 h 321"/>
                <a:gd name="T58" fmla="*/ 157 w 329"/>
                <a:gd name="T59" fmla="*/ 197 h 321"/>
                <a:gd name="T60" fmla="*/ 144 w 329"/>
                <a:gd name="T61" fmla="*/ 180 h 321"/>
                <a:gd name="T62" fmla="*/ 127 w 329"/>
                <a:gd name="T63" fmla="*/ 162 h 321"/>
                <a:gd name="T64" fmla="*/ 130 w 329"/>
                <a:gd name="T65" fmla="*/ 125 h 321"/>
                <a:gd name="T66" fmla="*/ 147 w 329"/>
                <a:gd name="T67" fmla="*/ 135 h 321"/>
                <a:gd name="T68" fmla="*/ 177 w 329"/>
                <a:gd name="T69" fmla="*/ 168 h 321"/>
                <a:gd name="T70" fmla="*/ 177 w 329"/>
                <a:gd name="T71" fmla="*/ 144 h 321"/>
                <a:gd name="T72" fmla="*/ 172 w 329"/>
                <a:gd name="T73" fmla="*/ 137 h 321"/>
                <a:gd name="T74" fmla="*/ 199 w 329"/>
                <a:gd name="T75" fmla="*/ 144 h 321"/>
                <a:gd name="T76" fmla="*/ 207 w 329"/>
                <a:gd name="T77" fmla="*/ 135 h 321"/>
                <a:gd name="T78" fmla="*/ 228 w 329"/>
                <a:gd name="T79" fmla="*/ 141 h 321"/>
                <a:gd name="T80" fmla="*/ 199 w 329"/>
                <a:gd name="T81" fmla="*/ 121 h 321"/>
                <a:gd name="T82" fmla="*/ 186 w 329"/>
                <a:gd name="T83" fmla="*/ 105 h 321"/>
                <a:gd name="T84" fmla="*/ 217 w 329"/>
                <a:gd name="T85" fmla="*/ 87 h 321"/>
                <a:gd name="T86" fmla="*/ 257 w 329"/>
                <a:gd name="T87" fmla="*/ 77 h 321"/>
                <a:gd name="T88" fmla="*/ 297 w 329"/>
                <a:gd name="T89" fmla="*/ 75 h 32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29"/>
                <a:gd name="T136" fmla="*/ 0 h 321"/>
                <a:gd name="T137" fmla="*/ 329 w 329"/>
                <a:gd name="T138" fmla="*/ 321 h 32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29" h="321">
                  <a:moveTo>
                    <a:pt x="310" y="79"/>
                  </a:moveTo>
                  <a:cubicBezTo>
                    <a:pt x="311" y="78"/>
                    <a:pt x="311" y="76"/>
                    <a:pt x="312" y="75"/>
                  </a:cubicBezTo>
                  <a:cubicBezTo>
                    <a:pt x="313" y="74"/>
                    <a:pt x="314" y="74"/>
                    <a:pt x="315" y="73"/>
                  </a:cubicBezTo>
                  <a:cubicBezTo>
                    <a:pt x="318" y="69"/>
                    <a:pt x="318" y="62"/>
                    <a:pt x="321" y="57"/>
                  </a:cubicBezTo>
                  <a:cubicBezTo>
                    <a:pt x="317" y="41"/>
                    <a:pt x="321" y="36"/>
                    <a:pt x="329" y="24"/>
                  </a:cubicBezTo>
                  <a:cubicBezTo>
                    <a:pt x="326" y="15"/>
                    <a:pt x="310" y="8"/>
                    <a:pt x="305" y="5"/>
                  </a:cubicBezTo>
                  <a:cubicBezTo>
                    <a:pt x="301" y="0"/>
                    <a:pt x="299" y="0"/>
                    <a:pt x="297" y="6"/>
                  </a:cubicBezTo>
                  <a:cubicBezTo>
                    <a:pt x="299" y="13"/>
                    <a:pt x="302" y="19"/>
                    <a:pt x="304" y="26"/>
                  </a:cubicBezTo>
                  <a:cubicBezTo>
                    <a:pt x="302" y="37"/>
                    <a:pt x="297" y="36"/>
                    <a:pt x="287" y="37"/>
                  </a:cubicBezTo>
                  <a:cubicBezTo>
                    <a:pt x="273" y="48"/>
                    <a:pt x="271" y="48"/>
                    <a:pt x="250" y="49"/>
                  </a:cubicBezTo>
                  <a:cubicBezTo>
                    <a:pt x="243" y="49"/>
                    <a:pt x="235" y="50"/>
                    <a:pt x="228" y="47"/>
                  </a:cubicBezTo>
                  <a:cubicBezTo>
                    <a:pt x="224" y="45"/>
                    <a:pt x="216" y="42"/>
                    <a:pt x="216" y="42"/>
                  </a:cubicBezTo>
                  <a:cubicBezTo>
                    <a:pt x="213" y="39"/>
                    <a:pt x="203" y="37"/>
                    <a:pt x="203" y="37"/>
                  </a:cubicBezTo>
                  <a:cubicBezTo>
                    <a:pt x="197" y="38"/>
                    <a:pt x="192" y="43"/>
                    <a:pt x="187" y="47"/>
                  </a:cubicBezTo>
                  <a:cubicBezTo>
                    <a:pt x="185" y="49"/>
                    <a:pt x="181" y="53"/>
                    <a:pt x="181" y="53"/>
                  </a:cubicBezTo>
                  <a:cubicBezTo>
                    <a:pt x="180" y="55"/>
                    <a:pt x="180" y="58"/>
                    <a:pt x="178" y="59"/>
                  </a:cubicBezTo>
                  <a:cubicBezTo>
                    <a:pt x="176" y="60"/>
                    <a:pt x="172" y="61"/>
                    <a:pt x="172" y="61"/>
                  </a:cubicBezTo>
                  <a:cubicBezTo>
                    <a:pt x="155" y="60"/>
                    <a:pt x="147" y="62"/>
                    <a:pt x="132" y="67"/>
                  </a:cubicBezTo>
                  <a:cubicBezTo>
                    <a:pt x="126" y="92"/>
                    <a:pt x="119" y="89"/>
                    <a:pt x="90" y="90"/>
                  </a:cubicBezTo>
                  <a:cubicBezTo>
                    <a:pt x="82" y="97"/>
                    <a:pt x="79" y="99"/>
                    <a:pt x="75" y="103"/>
                  </a:cubicBezTo>
                  <a:cubicBezTo>
                    <a:pt x="71" y="108"/>
                    <a:pt x="71" y="110"/>
                    <a:pt x="64" y="113"/>
                  </a:cubicBezTo>
                  <a:cubicBezTo>
                    <a:pt x="51" y="119"/>
                    <a:pt x="36" y="121"/>
                    <a:pt x="22" y="126"/>
                  </a:cubicBezTo>
                  <a:cubicBezTo>
                    <a:pt x="31" y="128"/>
                    <a:pt x="27" y="133"/>
                    <a:pt x="31" y="140"/>
                  </a:cubicBezTo>
                  <a:cubicBezTo>
                    <a:pt x="33" y="143"/>
                    <a:pt x="35" y="149"/>
                    <a:pt x="35" y="149"/>
                  </a:cubicBezTo>
                  <a:cubicBezTo>
                    <a:pt x="33" y="155"/>
                    <a:pt x="36" y="150"/>
                    <a:pt x="27" y="153"/>
                  </a:cubicBezTo>
                  <a:cubicBezTo>
                    <a:pt x="24" y="154"/>
                    <a:pt x="19" y="157"/>
                    <a:pt x="19" y="157"/>
                  </a:cubicBezTo>
                  <a:cubicBezTo>
                    <a:pt x="22" y="163"/>
                    <a:pt x="22" y="179"/>
                    <a:pt x="16" y="183"/>
                  </a:cubicBezTo>
                  <a:cubicBezTo>
                    <a:pt x="12" y="185"/>
                    <a:pt x="4" y="188"/>
                    <a:pt x="4" y="188"/>
                  </a:cubicBezTo>
                  <a:cubicBezTo>
                    <a:pt x="2" y="193"/>
                    <a:pt x="0" y="193"/>
                    <a:pt x="3" y="198"/>
                  </a:cubicBezTo>
                  <a:cubicBezTo>
                    <a:pt x="2" y="205"/>
                    <a:pt x="6" y="224"/>
                    <a:pt x="4" y="233"/>
                  </a:cubicBezTo>
                  <a:cubicBezTo>
                    <a:pt x="5" y="238"/>
                    <a:pt x="15" y="240"/>
                    <a:pt x="15" y="240"/>
                  </a:cubicBezTo>
                  <a:cubicBezTo>
                    <a:pt x="17" y="241"/>
                    <a:pt x="17" y="244"/>
                    <a:pt x="19" y="245"/>
                  </a:cubicBezTo>
                  <a:cubicBezTo>
                    <a:pt x="22" y="246"/>
                    <a:pt x="31" y="248"/>
                    <a:pt x="34" y="249"/>
                  </a:cubicBezTo>
                  <a:cubicBezTo>
                    <a:pt x="37" y="251"/>
                    <a:pt x="40" y="252"/>
                    <a:pt x="43" y="254"/>
                  </a:cubicBezTo>
                  <a:cubicBezTo>
                    <a:pt x="47" y="260"/>
                    <a:pt x="51" y="260"/>
                    <a:pt x="57" y="261"/>
                  </a:cubicBezTo>
                  <a:cubicBezTo>
                    <a:pt x="49" y="263"/>
                    <a:pt x="46" y="262"/>
                    <a:pt x="43" y="269"/>
                  </a:cubicBezTo>
                  <a:cubicBezTo>
                    <a:pt x="44" y="273"/>
                    <a:pt x="44" y="283"/>
                    <a:pt x="47" y="287"/>
                  </a:cubicBezTo>
                  <a:cubicBezTo>
                    <a:pt x="52" y="293"/>
                    <a:pt x="60" y="296"/>
                    <a:pt x="66" y="302"/>
                  </a:cubicBezTo>
                  <a:cubicBezTo>
                    <a:pt x="67" y="306"/>
                    <a:pt x="69" y="306"/>
                    <a:pt x="73" y="305"/>
                  </a:cubicBezTo>
                  <a:cubicBezTo>
                    <a:pt x="80" y="298"/>
                    <a:pt x="79" y="298"/>
                    <a:pt x="90" y="302"/>
                  </a:cubicBezTo>
                  <a:cubicBezTo>
                    <a:pt x="98" y="301"/>
                    <a:pt x="100" y="297"/>
                    <a:pt x="108" y="294"/>
                  </a:cubicBezTo>
                  <a:cubicBezTo>
                    <a:pt x="124" y="296"/>
                    <a:pt x="138" y="296"/>
                    <a:pt x="154" y="295"/>
                  </a:cubicBezTo>
                  <a:cubicBezTo>
                    <a:pt x="160" y="294"/>
                    <a:pt x="168" y="293"/>
                    <a:pt x="174" y="295"/>
                  </a:cubicBezTo>
                  <a:cubicBezTo>
                    <a:pt x="176" y="296"/>
                    <a:pt x="176" y="300"/>
                    <a:pt x="178" y="301"/>
                  </a:cubicBezTo>
                  <a:cubicBezTo>
                    <a:pt x="187" y="299"/>
                    <a:pt x="185" y="303"/>
                    <a:pt x="183" y="311"/>
                  </a:cubicBezTo>
                  <a:cubicBezTo>
                    <a:pt x="185" y="321"/>
                    <a:pt x="193" y="310"/>
                    <a:pt x="198" y="308"/>
                  </a:cubicBezTo>
                  <a:cubicBezTo>
                    <a:pt x="212" y="309"/>
                    <a:pt x="211" y="311"/>
                    <a:pt x="221" y="315"/>
                  </a:cubicBezTo>
                  <a:cubicBezTo>
                    <a:pt x="224" y="316"/>
                    <a:pt x="231" y="319"/>
                    <a:pt x="231" y="319"/>
                  </a:cubicBezTo>
                  <a:cubicBezTo>
                    <a:pt x="234" y="319"/>
                    <a:pt x="238" y="320"/>
                    <a:pt x="241" y="318"/>
                  </a:cubicBezTo>
                  <a:cubicBezTo>
                    <a:pt x="243" y="317"/>
                    <a:pt x="239" y="312"/>
                    <a:pt x="239" y="312"/>
                  </a:cubicBezTo>
                  <a:cubicBezTo>
                    <a:pt x="238" y="298"/>
                    <a:pt x="235" y="297"/>
                    <a:pt x="226" y="288"/>
                  </a:cubicBezTo>
                  <a:cubicBezTo>
                    <a:pt x="225" y="285"/>
                    <a:pt x="220" y="278"/>
                    <a:pt x="216" y="277"/>
                  </a:cubicBezTo>
                  <a:cubicBezTo>
                    <a:pt x="212" y="269"/>
                    <a:pt x="205" y="271"/>
                    <a:pt x="197" y="270"/>
                  </a:cubicBezTo>
                  <a:cubicBezTo>
                    <a:pt x="180" y="257"/>
                    <a:pt x="154" y="259"/>
                    <a:pt x="135" y="253"/>
                  </a:cubicBezTo>
                  <a:cubicBezTo>
                    <a:pt x="139" y="245"/>
                    <a:pt x="150" y="248"/>
                    <a:pt x="159" y="247"/>
                  </a:cubicBezTo>
                  <a:cubicBezTo>
                    <a:pt x="162" y="242"/>
                    <a:pt x="161" y="237"/>
                    <a:pt x="156" y="234"/>
                  </a:cubicBezTo>
                  <a:cubicBezTo>
                    <a:pt x="154" y="231"/>
                    <a:pt x="153" y="228"/>
                    <a:pt x="151" y="225"/>
                  </a:cubicBezTo>
                  <a:cubicBezTo>
                    <a:pt x="156" y="217"/>
                    <a:pt x="171" y="223"/>
                    <a:pt x="180" y="222"/>
                  </a:cubicBezTo>
                  <a:cubicBezTo>
                    <a:pt x="179" y="218"/>
                    <a:pt x="178" y="216"/>
                    <a:pt x="174" y="215"/>
                  </a:cubicBezTo>
                  <a:cubicBezTo>
                    <a:pt x="172" y="208"/>
                    <a:pt x="164" y="199"/>
                    <a:pt x="157" y="197"/>
                  </a:cubicBezTo>
                  <a:cubicBezTo>
                    <a:pt x="156" y="193"/>
                    <a:pt x="154" y="193"/>
                    <a:pt x="150" y="191"/>
                  </a:cubicBezTo>
                  <a:cubicBezTo>
                    <a:pt x="148" y="185"/>
                    <a:pt x="149" y="183"/>
                    <a:pt x="144" y="180"/>
                  </a:cubicBezTo>
                  <a:cubicBezTo>
                    <a:pt x="142" y="177"/>
                    <a:pt x="136" y="175"/>
                    <a:pt x="136" y="175"/>
                  </a:cubicBezTo>
                  <a:cubicBezTo>
                    <a:pt x="133" y="171"/>
                    <a:pt x="131" y="166"/>
                    <a:pt x="127" y="162"/>
                  </a:cubicBezTo>
                  <a:cubicBezTo>
                    <a:pt x="125" y="157"/>
                    <a:pt x="124" y="152"/>
                    <a:pt x="121" y="147"/>
                  </a:cubicBezTo>
                  <a:cubicBezTo>
                    <a:pt x="122" y="136"/>
                    <a:pt x="120" y="128"/>
                    <a:pt x="130" y="125"/>
                  </a:cubicBezTo>
                  <a:cubicBezTo>
                    <a:pt x="132" y="122"/>
                    <a:pt x="138" y="120"/>
                    <a:pt x="138" y="120"/>
                  </a:cubicBezTo>
                  <a:cubicBezTo>
                    <a:pt x="150" y="122"/>
                    <a:pt x="152" y="127"/>
                    <a:pt x="147" y="135"/>
                  </a:cubicBezTo>
                  <a:cubicBezTo>
                    <a:pt x="150" y="145"/>
                    <a:pt x="161" y="139"/>
                    <a:pt x="169" y="144"/>
                  </a:cubicBezTo>
                  <a:cubicBezTo>
                    <a:pt x="170" y="150"/>
                    <a:pt x="170" y="166"/>
                    <a:pt x="177" y="168"/>
                  </a:cubicBezTo>
                  <a:cubicBezTo>
                    <a:pt x="186" y="167"/>
                    <a:pt x="197" y="168"/>
                    <a:pt x="187" y="162"/>
                  </a:cubicBezTo>
                  <a:cubicBezTo>
                    <a:pt x="185" y="156"/>
                    <a:pt x="181" y="149"/>
                    <a:pt x="177" y="144"/>
                  </a:cubicBezTo>
                  <a:cubicBezTo>
                    <a:pt x="174" y="141"/>
                    <a:pt x="166" y="133"/>
                    <a:pt x="169" y="135"/>
                  </a:cubicBezTo>
                  <a:cubicBezTo>
                    <a:pt x="170" y="136"/>
                    <a:pt x="171" y="136"/>
                    <a:pt x="172" y="137"/>
                  </a:cubicBezTo>
                  <a:cubicBezTo>
                    <a:pt x="178" y="147"/>
                    <a:pt x="194" y="153"/>
                    <a:pt x="205" y="156"/>
                  </a:cubicBezTo>
                  <a:cubicBezTo>
                    <a:pt x="215" y="153"/>
                    <a:pt x="207" y="147"/>
                    <a:pt x="199" y="144"/>
                  </a:cubicBezTo>
                  <a:cubicBezTo>
                    <a:pt x="197" y="138"/>
                    <a:pt x="195" y="138"/>
                    <a:pt x="190" y="135"/>
                  </a:cubicBezTo>
                  <a:cubicBezTo>
                    <a:pt x="195" y="131"/>
                    <a:pt x="201" y="134"/>
                    <a:pt x="207" y="135"/>
                  </a:cubicBezTo>
                  <a:cubicBezTo>
                    <a:pt x="210" y="140"/>
                    <a:pt x="217" y="140"/>
                    <a:pt x="222" y="143"/>
                  </a:cubicBezTo>
                  <a:cubicBezTo>
                    <a:pt x="224" y="142"/>
                    <a:pt x="227" y="142"/>
                    <a:pt x="228" y="141"/>
                  </a:cubicBezTo>
                  <a:cubicBezTo>
                    <a:pt x="230" y="139"/>
                    <a:pt x="225" y="136"/>
                    <a:pt x="223" y="135"/>
                  </a:cubicBezTo>
                  <a:cubicBezTo>
                    <a:pt x="215" y="131"/>
                    <a:pt x="207" y="124"/>
                    <a:pt x="199" y="121"/>
                  </a:cubicBezTo>
                  <a:cubicBezTo>
                    <a:pt x="197" y="117"/>
                    <a:pt x="196" y="114"/>
                    <a:pt x="192" y="113"/>
                  </a:cubicBezTo>
                  <a:cubicBezTo>
                    <a:pt x="191" y="109"/>
                    <a:pt x="187" y="109"/>
                    <a:pt x="186" y="105"/>
                  </a:cubicBezTo>
                  <a:cubicBezTo>
                    <a:pt x="188" y="96"/>
                    <a:pt x="197" y="98"/>
                    <a:pt x="205" y="97"/>
                  </a:cubicBezTo>
                  <a:cubicBezTo>
                    <a:pt x="211" y="95"/>
                    <a:pt x="212" y="90"/>
                    <a:pt x="217" y="87"/>
                  </a:cubicBezTo>
                  <a:cubicBezTo>
                    <a:pt x="222" y="84"/>
                    <a:pt x="232" y="83"/>
                    <a:pt x="237" y="83"/>
                  </a:cubicBezTo>
                  <a:cubicBezTo>
                    <a:pt x="243" y="79"/>
                    <a:pt x="250" y="78"/>
                    <a:pt x="257" y="77"/>
                  </a:cubicBezTo>
                  <a:cubicBezTo>
                    <a:pt x="262" y="74"/>
                    <a:pt x="268" y="73"/>
                    <a:pt x="274" y="72"/>
                  </a:cubicBezTo>
                  <a:cubicBezTo>
                    <a:pt x="282" y="73"/>
                    <a:pt x="297" y="75"/>
                    <a:pt x="297" y="75"/>
                  </a:cubicBezTo>
                  <a:cubicBezTo>
                    <a:pt x="301" y="78"/>
                    <a:pt x="305" y="79"/>
                    <a:pt x="310" y="79"/>
                  </a:cubicBezTo>
                  <a:close/>
                </a:path>
              </a:pathLst>
            </a:custGeom>
            <a:solidFill>
              <a:srgbClr val="8D9399"/>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366" name="Freeform 2477"/>
            <p:cNvSpPr>
              <a:spLocks noChangeAspect="1"/>
            </p:cNvSpPr>
            <p:nvPr>
              <p:custDataLst>
                <p:tags r:id="rId24"/>
              </p:custDataLst>
            </p:nvPr>
          </p:nvSpPr>
          <p:spPr bwMode="auto">
            <a:xfrm>
              <a:off x="5216737" y="4637899"/>
              <a:ext cx="515533" cy="272140"/>
            </a:xfrm>
            <a:custGeom>
              <a:avLst/>
              <a:gdLst>
                <a:gd name="T0" fmla="*/ 254 w 270"/>
                <a:gd name="T1" fmla="*/ 67 h 142"/>
                <a:gd name="T2" fmla="*/ 266 w 270"/>
                <a:gd name="T3" fmla="*/ 26 h 142"/>
                <a:gd name="T4" fmla="*/ 270 w 270"/>
                <a:gd name="T5" fmla="*/ 16 h 142"/>
                <a:gd name="T6" fmla="*/ 216 w 270"/>
                <a:gd name="T7" fmla="*/ 0 h 142"/>
                <a:gd name="T8" fmla="*/ 185 w 270"/>
                <a:gd name="T9" fmla="*/ 9 h 142"/>
                <a:gd name="T10" fmla="*/ 171 w 270"/>
                <a:gd name="T11" fmla="*/ 9 h 142"/>
                <a:gd name="T12" fmla="*/ 147 w 270"/>
                <a:gd name="T13" fmla="*/ 18 h 142"/>
                <a:gd name="T14" fmla="*/ 136 w 270"/>
                <a:gd name="T15" fmla="*/ 25 h 142"/>
                <a:gd name="T16" fmla="*/ 126 w 270"/>
                <a:gd name="T17" fmla="*/ 18 h 142"/>
                <a:gd name="T18" fmla="*/ 113 w 270"/>
                <a:gd name="T19" fmla="*/ 7 h 142"/>
                <a:gd name="T20" fmla="*/ 108 w 270"/>
                <a:gd name="T21" fmla="*/ 2 h 142"/>
                <a:gd name="T22" fmla="*/ 101 w 270"/>
                <a:gd name="T23" fmla="*/ 14 h 142"/>
                <a:gd name="T24" fmla="*/ 86 w 270"/>
                <a:gd name="T25" fmla="*/ 8 h 142"/>
                <a:gd name="T26" fmla="*/ 70 w 270"/>
                <a:gd name="T27" fmla="*/ 13 h 142"/>
                <a:gd name="T28" fmla="*/ 63 w 270"/>
                <a:gd name="T29" fmla="*/ 22 h 142"/>
                <a:gd name="T30" fmla="*/ 54 w 270"/>
                <a:gd name="T31" fmla="*/ 36 h 142"/>
                <a:gd name="T32" fmla="*/ 47 w 270"/>
                <a:gd name="T33" fmla="*/ 46 h 142"/>
                <a:gd name="T34" fmla="*/ 41 w 270"/>
                <a:gd name="T35" fmla="*/ 57 h 142"/>
                <a:gd name="T36" fmla="*/ 6 w 270"/>
                <a:gd name="T37" fmla="*/ 69 h 142"/>
                <a:gd name="T38" fmla="*/ 0 w 270"/>
                <a:gd name="T39" fmla="*/ 92 h 142"/>
                <a:gd name="T40" fmla="*/ 6 w 270"/>
                <a:gd name="T41" fmla="*/ 103 h 142"/>
                <a:gd name="T42" fmla="*/ 10 w 270"/>
                <a:gd name="T43" fmla="*/ 124 h 142"/>
                <a:gd name="T44" fmla="*/ 23 w 270"/>
                <a:gd name="T45" fmla="*/ 128 h 142"/>
                <a:gd name="T46" fmla="*/ 26 w 270"/>
                <a:gd name="T47" fmla="*/ 129 h 142"/>
                <a:gd name="T48" fmla="*/ 35 w 270"/>
                <a:gd name="T49" fmla="*/ 135 h 142"/>
                <a:gd name="T50" fmla="*/ 41 w 270"/>
                <a:gd name="T51" fmla="*/ 142 h 142"/>
                <a:gd name="T52" fmla="*/ 92 w 270"/>
                <a:gd name="T53" fmla="*/ 139 h 142"/>
                <a:gd name="T54" fmla="*/ 101 w 270"/>
                <a:gd name="T55" fmla="*/ 130 h 142"/>
                <a:gd name="T56" fmla="*/ 124 w 270"/>
                <a:gd name="T57" fmla="*/ 108 h 142"/>
                <a:gd name="T58" fmla="*/ 134 w 270"/>
                <a:gd name="T59" fmla="*/ 100 h 142"/>
                <a:gd name="T60" fmla="*/ 138 w 270"/>
                <a:gd name="T61" fmla="*/ 96 h 142"/>
                <a:gd name="T62" fmla="*/ 147 w 270"/>
                <a:gd name="T63" fmla="*/ 99 h 142"/>
                <a:gd name="T64" fmla="*/ 164 w 270"/>
                <a:gd name="T65" fmla="*/ 96 h 142"/>
                <a:gd name="T66" fmla="*/ 186 w 270"/>
                <a:gd name="T67" fmla="*/ 66 h 142"/>
                <a:gd name="T68" fmla="*/ 212 w 270"/>
                <a:gd name="T69" fmla="*/ 66 h 142"/>
                <a:gd name="T70" fmla="*/ 228 w 270"/>
                <a:gd name="T71" fmla="*/ 67 h 142"/>
                <a:gd name="T72" fmla="*/ 237 w 270"/>
                <a:gd name="T73" fmla="*/ 72 h 142"/>
                <a:gd name="T74" fmla="*/ 254 w 270"/>
                <a:gd name="T75" fmla="*/ 67 h 14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70"/>
                <a:gd name="T115" fmla="*/ 0 h 142"/>
                <a:gd name="T116" fmla="*/ 270 w 270"/>
                <a:gd name="T117" fmla="*/ 142 h 14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70" h="142">
                  <a:moveTo>
                    <a:pt x="254" y="67"/>
                  </a:moveTo>
                  <a:cubicBezTo>
                    <a:pt x="257" y="58"/>
                    <a:pt x="256" y="33"/>
                    <a:pt x="266" y="26"/>
                  </a:cubicBezTo>
                  <a:cubicBezTo>
                    <a:pt x="267" y="22"/>
                    <a:pt x="269" y="20"/>
                    <a:pt x="270" y="16"/>
                  </a:cubicBezTo>
                  <a:cubicBezTo>
                    <a:pt x="251" y="13"/>
                    <a:pt x="234" y="4"/>
                    <a:pt x="216" y="0"/>
                  </a:cubicBezTo>
                  <a:cubicBezTo>
                    <a:pt x="202" y="1"/>
                    <a:pt x="197" y="5"/>
                    <a:pt x="185" y="9"/>
                  </a:cubicBezTo>
                  <a:cubicBezTo>
                    <a:pt x="182" y="17"/>
                    <a:pt x="176" y="11"/>
                    <a:pt x="171" y="9"/>
                  </a:cubicBezTo>
                  <a:cubicBezTo>
                    <a:pt x="158" y="10"/>
                    <a:pt x="154" y="9"/>
                    <a:pt x="147" y="18"/>
                  </a:cubicBezTo>
                  <a:cubicBezTo>
                    <a:pt x="146" y="27"/>
                    <a:pt x="145" y="26"/>
                    <a:pt x="136" y="25"/>
                  </a:cubicBezTo>
                  <a:cubicBezTo>
                    <a:pt x="133" y="23"/>
                    <a:pt x="126" y="18"/>
                    <a:pt x="126" y="18"/>
                  </a:cubicBezTo>
                  <a:cubicBezTo>
                    <a:pt x="124" y="12"/>
                    <a:pt x="117" y="11"/>
                    <a:pt x="113" y="7"/>
                  </a:cubicBezTo>
                  <a:cubicBezTo>
                    <a:pt x="112" y="5"/>
                    <a:pt x="112" y="1"/>
                    <a:pt x="108" y="2"/>
                  </a:cubicBezTo>
                  <a:cubicBezTo>
                    <a:pt x="108" y="2"/>
                    <a:pt x="104" y="12"/>
                    <a:pt x="101" y="14"/>
                  </a:cubicBezTo>
                  <a:cubicBezTo>
                    <a:pt x="96" y="23"/>
                    <a:pt x="91" y="11"/>
                    <a:pt x="86" y="8"/>
                  </a:cubicBezTo>
                  <a:cubicBezTo>
                    <a:pt x="80" y="9"/>
                    <a:pt x="76" y="12"/>
                    <a:pt x="70" y="13"/>
                  </a:cubicBezTo>
                  <a:cubicBezTo>
                    <a:pt x="69" y="17"/>
                    <a:pt x="63" y="22"/>
                    <a:pt x="63" y="22"/>
                  </a:cubicBezTo>
                  <a:cubicBezTo>
                    <a:pt x="62" y="28"/>
                    <a:pt x="58" y="32"/>
                    <a:pt x="54" y="36"/>
                  </a:cubicBezTo>
                  <a:cubicBezTo>
                    <a:pt x="52" y="41"/>
                    <a:pt x="52" y="44"/>
                    <a:pt x="47" y="46"/>
                  </a:cubicBezTo>
                  <a:cubicBezTo>
                    <a:pt x="45" y="52"/>
                    <a:pt x="46" y="54"/>
                    <a:pt x="41" y="57"/>
                  </a:cubicBezTo>
                  <a:cubicBezTo>
                    <a:pt x="32" y="70"/>
                    <a:pt x="22" y="68"/>
                    <a:pt x="6" y="69"/>
                  </a:cubicBezTo>
                  <a:cubicBezTo>
                    <a:pt x="1" y="76"/>
                    <a:pt x="3" y="84"/>
                    <a:pt x="0" y="92"/>
                  </a:cubicBezTo>
                  <a:cubicBezTo>
                    <a:pt x="2" y="98"/>
                    <a:pt x="4" y="98"/>
                    <a:pt x="6" y="103"/>
                  </a:cubicBezTo>
                  <a:cubicBezTo>
                    <a:pt x="4" y="109"/>
                    <a:pt x="3" y="120"/>
                    <a:pt x="10" y="124"/>
                  </a:cubicBezTo>
                  <a:cubicBezTo>
                    <a:pt x="14" y="126"/>
                    <a:pt x="19" y="127"/>
                    <a:pt x="23" y="128"/>
                  </a:cubicBezTo>
                  <a:cubicBezTo>
                    <a:pt x="24" y="128"/>
                    <a:pt x="26" y="129"/>
                    <a:pt x="26" y="129"/>
                  </a:cubicBezTo>
                  <a:cubicBezTo>
                    <a:pt x="29" y="132"/>
                    <a:pt x="32" y="133"/>
                    <a:pt x="35" y="135"/>
                  </a:cubicBezTo>
                  <a:cubicBezTo>
                    <a:pt x="36" y="139"/>
                    <a:pt x="39" y="138"/>
                    <a:pt x="41" y="142"/>
                  </a:cubicBezTo>
                  <a:cubicBezTo>
                    <a:pt x="58" y="141"/>
                    <a:pt x="75" y="140"/>
                    <a:pt x="92" y="139"/>
                  </a:cubicBezTo>
                  <a:cubicBezTo>
                    <a:pt x="97" y="137"/>
                    <a:pt x="99" y="135"/>
                    <a:pt x="101" y="130"/>
                  </a:cubicBezTo>
                  <a:cubicBezTo>
                    <a:pt x="99" y="106"/>
                    <a:pt x="99" y="109"/>
                    <a:pt x="124" y="108"/>
                  </a:cubicBezTo>
                  <a:cubicBezTo>
                    <a:pt x="129" y="106"/>
                    <a:pt x="131" y="104"/>
                    <a:pt x="134" y="100"/>
                  </a:cubicBezTo>
                  <a:cubicBezTo>
                    <a:pt x="135" y="98"/>
                    <a:pt x="135" y="96"/>
                    <a:pt x="138" y="96"/>
                  </a:cubicBezTo>
                  <a:cubicBezTo>
                    <a:pt x="141" y="96"/>
                    <a:pt x="147" y="99"/>
                    <a:pt x="147" y="99"/>
                  </a:cubicBezTo>
                  <a:cubicBezTo>
                    <a:pt x="153" y="98"/>
                    <a:pt x="164" y="96"/>
                    <a:pt x="164" y="96"/>
                  </a:cubicBezTo>
                  <a:cubicBezTo>
                    <a:pt x="169" y="82"/>
                    <a:pt x="169" y="70"/>
                    <a:pt x="186" y="66"/>
                  </a:cubicBezTo>
                  <a:cubicBezTo>
                    <a:pt x="195" y="67"/>
                    <a:pt x="203" y="69"/>
                    <a:pt x="212" y="66"/>
                  </a:cubicBezTo>
                  <a:cubicBezTo>
                    <a:pt x="217" y="66"/>
                    <a:pt x="223" y="66"/>
                    <a:pt x="228" y="67"/>
                  </a:cubicBezTo>
                  <a:cubicBezTo>
                    <a:pt x="231" y="67"/>
                    <a:pt x="237" y="72"/>
                    <a:pt x="237" y="72"/>
                  </a:cubicBezTo>
                  <a:cubicBezTo>
                    <a:pt x="238" y="72"/>
                    <a:pt x="254" y="72"/>
                    <a:pt x="254" y="67"/>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367" name="Freeform 2479"/>
            <p:cNvSpPr>
              <a:spLocks noChangeAspect="1"/>
            </p:cNvSpPr>
            <p:nvPr/>
          </p:nvSpPr>
          <p:spPr bwMode="auto">
            <a:xfrm>
              <a:off x="5005658" y="5308667"/>
              <a:ext cx="45843" cy="93908"/>
            </a:xfrm>
            <a:custGeom>
              <a:avLst/>
              <a:gdLst>
                <a:gd name="T0" fmla="*/ 0 w 24"/>
                <a:gd name="T1" fmla="*/ 0 h 49"/>
                <a:gd name="T2" fmla="*/ 16 w 24"/>
                <a:gd name="T3" fmla="*/ 43 h 49"/>
                <a:gd name="T4" fmla="*/ 22 w 24"/>
                <a:gd name="T5" fmla="*/ 43 h 49"/>
                <a:gd name="T6" fmla="*/ 14 w 24"/>
                <a:gd name="T7" fmla="*/ 10 h 49"/>
                <a:gd name="T8" fmla="*/ 0 w 24"/>
                <a:gd name="T9" fmla="*/ 0 h 49"/>
                <a:gd name="T10" fmla="*/ 0 60000 65536"/>
                <a:gd name="T11" fmla="*/ 0 60000 65536"/>
                <a:gd name="T12" fmla="*/ 0 60000 65536"/>
                <a:gd name="T13" fmla="*/ 0 60000 65536"/>
                <a:gd name="T14" fmla="*/ 0 60000 65536"/>
                <a:gd name="T15" fmla="*/ 0 w 24"/>
                <a:gd name="T16" fmla="*/ 0 h 49"/>
                <a:gd name="T17" fmla="*/ 24 w 24"/>
                <a:gd name="T18" fmla="*/ 49 h 49"/>
              </a:gdLst>
              <a:ahLst/>
              <a:cxnLst>
                <a:cxn ang="T10">
                  <a:pos x="T0" y="T1"/>
                </a:cxn>
                <a:cxn ang="T11">
                  <a:pos x="T2" y="T3"/>
                </a:cxn>
                <a:cxn ang="T12">
                  <a:pos x="T4" y="T5"/>
                </a:cxn>
                <a:cxn ang="T13">
                  <a:pos x="T6" y="T7"/>
                </a:cxn>
                <a:cxn ang="T14">
                  <a:pos x="T8" y="T9"/>
                </a:cxn>
              </a:cxnLst>
              <a:rect l="T15" t="T16" r="T17" b="T18"/>
              <a:pathLst>
                <a:path w="24" h="49">
                  <a:moveTo>
                    <a:pt x="0" y="0"/>
                  </a:moveTo>
                  <a:cubicBezTo>
                    <a:pt x="2" y="12"/>
                    <a:pt x="7" y="34"/>
                    <a:pt x="16" y="43"/>
                  </a:cubicBezTo>
                  <a:cubicBezTo>
                    <a:pt x="18" y="49"/>
                    <a:pt x="19" y="49"/>
                    <a:pt x="22" y="43"/>
                  </a:cubicBezTo>
                  <a:cubicBezTo>
                    <a:pt x="21" y="34"/>
                    <a:pt x="24" y="17"/>
                    <a:pt x="14" y="10"/>
                  </a:cubicBezTo>
                  <a:cubicBezTo>
                    <a:pt x="11" y="5"/>
                    <a:pt x="6" y="0"/>
                    <a:pt x="0" y="0"/>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368" name="Freeform 2480"/>
            <p:cNvSpPr>
              <a:spLocks noChangeAspect="1"/>
            </p:cNvSpPr>
            <p:nvPr/>
          </p:nvSpPr>
          <p:spPr bwMode="auto">
            <a:xfrm>
              <a:off x="5066782" y="5427489"/>
              <a:ext cx="74495" cy="70910"/>
            </a:xfrm>
            <a:custGeom>
              <a:avLst/>
              <a:gdLst>
                <a:gd name="T0" fmla="*/ 0 w 39"/>
                <a:gd name="T1" fmla="*/ 0 h 37"/>
                <a:gd name="T2" fmla="*/ 20 w 39"/>
                <a:gd name="T3" fmla="*/ 11 h 37"/>
                <a:gd name="T4" fmla="*/ 26 w 39"/>
                <a:gd name="T5" fmla="*/ 15 h 37"/>
                <a:gd name="T6" fmla="*/ 36 w 39"/>
                <a:gd name="T7" fmla="*/ 33 h 37"/>
                <a:gd name="T8" fmla="*/ 38 w 39"/>
                <a:gd name="T9" fmla="*/ 36 h 37"/>
                <a:gd name="T10" fmla="*/ 34 w 39"/>
                <a:gd name="T11" fmla="*/ 35 h 37"/>
                <a:gd name="T12" fmla="*/ 0 w 39"/>
                <a:gd name="T13" fmla="*/ 0 h 37"/>
                <a:gd name="T14" fmla="*/ 0 60000 65536"/>
                <a:gd name="T15" fmla="*/ 0 60000 65536"/>
                <a:gd name="T16" fmla="*/ 0 60000 65536"/>
                <a:gd name="T17" fmla="*/ 0 60000 65536"/>
                <a:gd name="T18" fmla="*/ 0 60000 65536"/>
                <a:gd name="T19" fmla="*/ 0 60000 65536"/>
                <a:gd name="T20" fmla="*/ 0 60000 65536"/>
                <a:gd name="T21" fmla="*/ 0 w 39"/>
                <a:gd name="T22" fmla="*/ 0 h 37"/>
                <a:gd name="T23" fmla="*/ 39 w 39"/>
                <a:gd name="T24" fmla="*/ 37 h 3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37">
                  <a:moveTo>
                    <a:pt x="0" y="0"/>
                  </a:moveTo>
                  <a:cubicBezTo>
                    <a:pt x="8" y="3"/>
                    <a:pt x="12" y="8"/>
                    <a:pt x="20" y="11"/>
                  </a:cubicBezTo>
                  <a:cubicBezTo>
                    <a:pt x="22" y="13"/>
                    <a:pt x="24" y="13"/>
                    <a:pt x="26" y="15"/>
                  </a:cubicBezTo>
                  <a:cubicBezTo>
                    <a:pt x="31" y="20"/>
                    <a:pt x="33" y="27"/>
                    <a:pt x="36" y="33"/>
                  </a:cubicBezTo>
                  <a:cubicBezTo>
                    <a:pt x="37" y="34"/>
                    <a:pt x="39" y="35"/>
                    <a:pt x="38" y="36"/>
                  </a:cubicBezTo>
                  <a:cubicBezTo>
                    <a:pt x="37" y="37"/>
                    <a:pt x="35" y="35"/>
                    <a:pt x="34" y="35"/>
                  </a:cubicBezTo>
                  <a:cubicBezTo>
                    <a:pt x="28" y="29"/>
                    <a:pt x="2" y="4"/>
                    <a:pt x="0" y="0"/>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369" name="Freeform 2481"/>
            <p:cNvSpPr>
              <a:spLocks noChangeAspect="1"/>
            </p:cNvSpPr>
            <p:nvPr/>
          </p:nvSpPr>
          <p:spPr bwMode="auto">
            <a:xfrm>
              <a:off x="5053411" y="5360412"/>
              <a:ext cx="59214" cy="65160"/>
            </a:xfrm>
            <a:custGeom>
              <a:avLst/>
              <a:gdLst>
                <a:gd name="T0" fmla="*/ 5 w 31"/>
                <a:gd name="T1" fmla="*/ 2 h 34"/>
                <a:gd name="T2" fmla="*/ 27 w 31"/>
                <a:gd name="T3" fmla="*/ 23 h 34"/>
                <a:gd name="T4" fmla="*/ 21 w 31"/>
                <a:gd name="T5" fmla="*/ 27 h 34"/>
                <a:gd name="T6" fmla="*/ 10 w 31"/>
                <a:gd name="T7" fmla="*/ 13 h 34"/>
                <a:gd name="T8" fmla="*/ 5 w 31"/>
                <a:gd name="T9" fmla="*/ 2 h 34"/>
                <a:gd name="T10" fmla="*/ 0 60000 65536"/>
                <a:gd name="T11" fmla="*/ 0 60000 65536"/>
                <a:gd name="T12" fmla="*/ 0 60000 65536"/>
                <a:gd name="T13" fmla="*/ 0 60000 65536"/>
                <a:gd name="T14" fmla="*/ 0 60000 65536"/>
                <a:gd name="T15" fmla="*/ 0 w 31"/>
                <a:gd name="T16" fmla="*/ 0 h 34"/>
                <a:gd name="T17" fmla="*/ 31 w 31"/>
                <a:gd name="T18" fmla="*/ 34 h 34"/>
              </a:gdLst>
              <a:ahLst/>
              <a:cxnLst>
                <a:cxn ang="T10">
                  <a:pos x="T0" y="T1"/>
                </a:cxn>
                <a:cxn ang="T11">
                  <a:pos x="T2" y="T3"/>
                </a:cxn>
                <a:cxn ang="T12">
                  <a:pos x="T4" y="T5"/>
                </a:cxn>
                <a:cxn ang="T13">
                  <a:pos x="T6" y="T7"/>
                </a:cxn>
                <a:cxn ang="T14">
                  <a:pos x="T8" y="T9"/>
                </a:cxn>
              </a:cxnLst>
              <a:rect l="T15" t="T16" r="T17" b="T18"/>
              <a:pathLst>
                <a:path w="31" h="34">
                  <a:moveTo>
                    <a:pt x="5" y="2"/>
                  </a:moveTo>
                  <a:cubicBezTo>
                    <a:pt x="13" y="8"/>
                    <a:pt x="19" y="17"/>
                    <a:pt x="27" y="23"/>
                  </a:cubicBezTo>
                  <a:cubicBezTo>
                    <a:pt x="31" y="34"/>
                    <a:pt x="31" y="33"/>
                    <a:pt x="21" y="27"/>
                  </a:cubicBezTo>
                  <a:cubicBezTo>
                    <a:pt x="18" y="21"/>
                    <a:pt x="15" y="16"/>
                    <a:pt x="10" y="13"/>
                  </a:cubicBezTo>
                  <a:cubicBezTo>
                    <a:pt x="9" y="11"/>
                    <a:pt x="0" y="0"/>
                    <a:pt x="5" y="2"/>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370" name="Freeform 2482"/>
            <p:cNvSpPr>
              <a:spLocks noChangeAspect="1"/>
            </p:cNvSpPr>
            <p:nvPr/>
          </p:nvSpPr>
          <p:spPr bwMode="auto">
            <a:xfrm>
              <a:off x="5238694" y="5529062"/>
              <a:ext cx="51574" cy="24914"/>
            </a:xfrm>
            <a:custGeom>
              <a:avLst/>
              <a:gdLst>
                <a:gd name="T0" fmla="*/ 0 w 27"/>
                <a:gd name="T1" fmla="*/ 0 h 13"/>
                <a:gd name="T2" fmla="*/ 11 w 27"/>
                <a:gd name="T3" fmla="*/ 6 h 13"/>
                <a:gd name="T4" fmla="*/ 27 w 27"/>
                <a:gd name="T5" fmla="*/ 4 h 13"/>
                <a:gd name="T6" fmla="*/ 12 w 27"/>
                <a:gd name="T7" fmla="*/ 13 h 13"/>
                <a:gd name="T8" fmla="*/ 0 w 27"/>
                <a:gd name="T9" fmla="*/ 0 h 13"/>
                <a:gd name="T10" fmla="*/ 0 60000 65536"/>
                <a:gd name="T11" fmla="*/ 0 60000 65536"/>
                <a:gd name="T12" fmla="*/ 0 60000 65536"/>
                <a:gd name="T13" fmla="*/ 0 60000 65536"/>
                <a:gd name="T14" fmla="*/ 0 60000 65536"/>
                <a:gd name="T15" fmla="*/ 0 w 27"/>
                <a:gd name="T16" fmla="*/ 0 h 13"/>
                <a:gd name="T17" fmla="*/ 27 w 27"/>
                <a:gd name="T18" fmla="*/ 13 h 13"/>
              </a:gdLst>
              <a:ahLst/>
              <a:cxnLst>
                <a:cxn ang="T10">
                  <a:pos x="T0" y="T1"/>
                </a:cxn>
                <a:cxn ang="T11">
                  <a:pos x="T2" y="T3"/>
                </a:cxn>
                <a:cxn ang="T12">
                  <a:pos x="T4" y="T5"/>
                </a:cxn>
                <a:cxn ang="T13">
                  <a:pos x="T6" y="T7"/>
                </a:cxn>
                <a:cxn ang="T14">
                  <a:pos x="T8" y="T9"/>
                </a:cxn>
              </a:cxnLst>
              <a:rect l="T15" t="T16" r="T17" b="T18"/>
              <a:pathLst>
                <a:path w="27" h="13">
                  <a:moveTo>
                    <a:pt x="0" y="0"/>
                  </a:moveTo>
                  <a:cubicBezTo>
                    <a:pt x="3" y="3"/>
                    <a:pt x="11" y="6"/>
                    <a:pt x="11" y="6"/>
                  </a:cubicBezTo>
                  <a:cubicBezTo>
                    <a:pt x="17" y="5"/>
                    <a:pt x="22" y="3"/>
                    <a:pt x="27" y="4"/>
                  </a:cubicBezTo>
                  <a:cubicBezTo>
                    <a:pt x="24" y="12"/>
                    <a:pt x="19" y="12"/>
                    <a:pt x="12" y="13"/>
                  </a:cubicBezTo>
                  <a:cubicBezTo>
                    <a:pt x="5" y="11"/>
                    <a:pt x="0" y="8"/>
                    <a:pt x="0" y="0"/>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371" name="Freeform 2483"/>
            <p:cNvSpPr>
              <a:spLocks noChangeAspect="1"/>
            </p:cNvSpPr>
            <p:nvPr/>
          </p:nvSpPr>
          <p:spPr bwMode="auto">
            <a:xfrm>
              <a:off x="5210042" y="5550143"/>
              <a:ext cx="105057" cy="21081"/>
            </a:xfrm>
            <a:custGeom>
              <a:avLst/>
              <a:gdLst>
                <a:gd name="T0" fmla="*/ 12 w 55"/>
                <a:gd name="T1" fmla="*/ 4 h 11"/>
                <a:gd name="T2" fmla="*/ 55 w 55"/>
                <a:gd name="T3" fmla="*/ 4 h 11"/>
                <a:gd name="T4" fmla="*/ 31 w 55"/>
                <a:gd name="T5" fmla="*/ 8 h 11"/>
                <a:gd name="T6" fmla="*/ 12 w 55"/>
                <a:gd name="T7" fmla="*/ 4 h 11"/>
                <a:gd name="T8" fmla="*/ 0 60000 65536"/>
                <a:gd name="T9" fmla="*/ 0 60000 65536"/>
                <a:gd name="T10" fmla="*/ 0 60000 65536"/>
                <a:gd name="T11" fmla="*/ 0 60000 65536"/>
                <a:gd name="T12" fmla="*/ 0 w 55"/>
                <a:gd name="T13" fmla="*/ 0 h 11"/>
                <a:gd name="T14" fmla="*/ 55 w 55"/>
                <a:gd name="T15" fmla="*/ 11 h 11"/>
              </a:gdLst>
              <a:ahLst/>
              <a:cxnLst>
                <a:cxn ang="T8">
                  <a:pos x="T0" y="T1"/>
                </a:cxn>
                <a:cxn ang="T9">
                  <a:pos x="T2" y="T3"/>
                </a:cxn>
                <a:cxn ang="T10">
                  <a:pos x="T4" y="T5"/>
                </a:cxn>
                <a:cxn ang="T11">
                  <a:pos x="T6" y="T7"/>
                </a:cxn>
              </a:cxnLst>
              <a:rect l="T12" t="T13" r="T14" b="T15"/>
              <a:pathLst>
                <a:path w="55" h="11">
                  <a:moveTo>
                    <a:pt x="12" y="4"/>
                  </a:moveTo>
                  <a:cubicBezTo>
                    <a:pt x="27" y="0"/>
                    <a:pt x="39" y="2"/>
                    <a:pt x="55" y="4"/>
                  </a:cubicBezTo>
                  <a:cubicBezTo>
                    <a:pt x="53" y="11"/>
                    <a:pt x="38" y="7"/>
                    <a:pt x="31" y="8"/>
                  </a:cubicBezTo>
                  <a:cubicBezTo>
                    <a:pt x="25" y="7"/>
                    <a:pt x="0" y="11"/>
                    <a:pt x="12" y="4"/>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372" name="Freeform 2484"/>
            <p:cNvSpPr>
              <a:spLocks noChangeAspect="1"/>
            </p:cNvSpPr>
            <p:nvPr/>
          </p:nvSpPr>
          <p:spPr bwMode="auto">
            <a:xfrm>
              <a:off x="5255885" y="5580807"/>
              <a:ext cx="63034" cy="17248"/>
            </a:xfrm>
            <a:custGeom>
              <a:avLst/>
              <a:gdLst>
                <a:gd name="T0" fmla="*/ 5 w 33"/>
                <a:gd name="T1" fmla="*/ 2 h 9"/>
                <a:gd name="T2" fmla="*/ 30 w 33"/>
                <a:gd name="T3" fmla="*/ 2 h 9"/>
                <a:gd name="T4" fmla="*/ 19 w 33"/>
                <a:gd name="T5" fmla="*/ 9 h 9"/>
                <a:gd name="T6" fmla="*/ 5 w 33"/>
                <a:gd name="T7" fmla="*/ 8 h 9"/>
                <a:gd name="T8" fmla="*/ 5 w 33"/>
                <a:gd name="T9" fmla="*/ 2 h 9"/>
                <a:gd name="T10" fmla="*/ 0 60000 65536"/>
                <a:gd name="T11" fmla="*/ 0 60000 65536"/>
                <a:gd name="T12" fmla="*/ 0 60000 65536"/>
                <a:gd name="T13" fmla="*/ 0 60000 65536"/>
                <a:gd name="T14" fmla="*/ 0 60000 65536"/>
                <a:gd name="T15" fmla="*/ 0 w 33"/>
                <a:gd name="T16" fmla="*/ 0 h 9"/>
                <a:gd name="T17" fmla="*/ 33 w 33"/>
                <a:gd name="T18" fmla="*/ 9 h 9"/>
              </a:gdLst>
              <a:ahLst/>
              <a:cxnLst>
                <a:cxn ang="T10">
                  <a:pos x="T0" y="T1"/>
                </a:cxn>
                <a:cxn ang="T11">
                  <a:pos x="T2" y="T3"/>
                </a:cxn>
                <a:cxn ang="T12">
                  <a:pos x="T4" y="T5"/>
                </a:cxn>
                <a:cxn ang="T13">
                  <a:pos x="T6" y="T7"/>
                </a:cxn>
                <a:cxn ang="T14">
                  <a:pos x="T8" y="T9"/>
                </a:cxn>
              </a:cxnLst>
              <a:rect l="T15" t="T16" r="T17" b="T18"/>
              <a:pathLst>
                <a:path w="33" h="9">
                  <a:moveTo>
                    <a:pt x="5" y="2"/>
                  </a:moveTo>
                  <a:cubicBezTo>
                    <a:pt x="6" y="2"/>
                    <a:pt x="27" y="0"/>
                    <a:pt x="30" y="2"/>
                  </a:cubicBezTo>
                  <a:cubicBezTo>
                    <a:pt x="33" y="4"/>
                    <a:pt x="19" y="9"/>
                    <a:pt x="19" y="9"/>
                  </a:cubicBezTo>
                  <a:cubicBezTo>
                    <a:pt x="14" y="9"/>
                    <a:pt x="9" y="9"/>
                    <a:pt x="5" y="8"/>
                  </a:cubicBezTo>
                  <a:cubicBezTo>
                    <a:pt x="0" y="6"/>
                    <a:pt x="5" y="0"/>
                    <a:pt x="5" y="2"/>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373" name="Freeform 2485"/>
            <p:cNvSpPr>
              <a:spLocks noChangeAspect="1"/>
            </p:cNvSpPr>
            <p:nvPr/>
          </p:nvSpPr>
          <p:spPr bwMode="auto">
            <a:xfrm>
              <a:off x="5336111" y="5603805"/>
              <a:ext cx="38203" cy="19165"/>
            </a:xfrm>
            <a:custGeom>
              <a:avLst/>
              <a:gdLst>
                <a:gd name="T0" fmla="*/ 0 w 20"/>
                <a:gd name="T1" fmla="*/ 2 h 10"/>
                <a:gd name="T2" fmla="*/ 20 w 20"/>
                <a:gd name="T3" fmla="*/ 4 h 10"/>
                <a:gd name="T4" fmla="*/ 0 w 20"/>
                <a:gd name="T5" fmla="*/ 2 h 10"/>
                <a:gd name="T6" fmla="*/ 0 60000 65536"/>
                <a:gd name="T7" fmla="*/ 0 60000 65536"/>
                <a:gd name="T8" fmla="*/ 0 60000 65536"/>
                <a:gd name="T9" fmla="*/ 0 w 20"/>
                <a:gd name="T10" fmla="*/ 0 h 10"/>
                <a:gd name="T11" fmla="*/ 20 w 20"/>
                <a:gd name="T12" fmla="*/ 10 h 10"/>
              </a:gdLst>
              <a:ahLst/>
              <a:cxnLst>
                <a:cxn ang="T6">
                  <a:pos x="T0" y="T1"/>
                </a:cxn>
                <a:cxn ang="T7">
                  <a:pos x="T2" y="T3"/>
                </a:cxn>
                <a:cxn ang="T8">
                  <a:pos x="T4" y="T5"/>
                </a:cxn>
              </a:cxnLst>
              <a:rect l="T9" t="T10" r="T11" b="T12"/>
              <a:pathLst>
                <a:path w="20" h="10">
                  <a:moveTo>
                    <a:pt x="0" y="2"/>
                  </a:moveTo>
                  <a:cubicBezTo>
                    <a:pt x="6" y="0"/>
                    <a:pt x="14" y="2"/>
                    <a:pt x="20" y="4"/>
                  </a:cubicBezTo>
                  <a:cubicBezTo>
                    <a:pt x="20" y="4"/>
                    <a:pt x="0" y="10"/>
                    <a:pt x="0" y="2"/>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374" name="Freeform 2486"/>
            <p:cNvSpPr>
              <a:spLocks noChangeAspect="1"/>
            </p:cNvSpPr>
            <p:nvPr/>
          </p:nvSpPr>
          <p:spPr bwMode="auto">
            <a:xfrm>
              <a:off x="4925432" y="5090188"/>
              <a:ext cx="576861" cy="553863"/>
            </a:xfrm>
            <a:custGeom>
              <a:avLst/>
              <a:gdLst>
                <a:gd name="T0" fmla="*/ 248 w 302"/>
                <a:gd name="T1" fmla="*/ 268 h 289"/>
                <a:gd name="T2" fmla="*/ 235 w 302"/>
                <a:gd name="T3" fmla="*/ 256 h 289"/>
                <a:gd name="T4" fmla="*/ 220 w 302"/>
                <a:gd name="T5" fmla="*/ 244 h 289"/>
                <a:gd name="T6" fmla="*/ 192 w 302"/>
                <a:gd name="T7" fmla="*/ 215 h 289"/>
                <a:gd name="T8" fmla="*/ 170 w 302"/>
                <a:gd name="T9" fmla="*/ 193 h 289"/>
                <a:gd name="T10" fmla="*/ 131 w 302"/>
                <a:gd name="T11" fmla="*/ 140 h 289"/>
                <a:gd name="T12" fmla="*/ 119 w 302"/>
                <a:gd name="T13" fmla="*/ 98 h 289"/>
                <a:gd name="T14" fmla="*/ 158 w 302"/>
                <a:gd name="T15" fmla="*/ 101 h 289"/>
                <a:gd name="T16" fmla="*/ 196 w 302"/>
                <a:gd name="T17" fmla="*/ 101 h 289"/>
                <a:gd name="T18" fmla="*/ 244 w 302"/>
                <a:gd name="T19" fmla="*/ 94 h 289"/>
                <a:gd name="T20" fmla="*/ 277 w 302"/>
                <a:gd name="T21" fmla="*/ 110 h 289"/>
                <a:gd name="T22" fmla="*/ 293 w 302"/>
                <a:gd name="T23" fmla="*/ 91 h 289"/>
                <a:gd name="T24" fmla="*/ 295 w 302"/>
                <a:gd name="T25" fmla="*/ 77 h 289"/>
                <a:gd name="T26" fmla="*/ 283 w 302"/>
                <a:gd name="T27" fmla="*/ 67 h 289"/>
                <a:gd name="T28" fmla="*/ 275 w 302"/>
                <a:gd name="T29" fmla="*/ 53 h 289"/>
                <a:gd name="T30" fmla="*/ 250 w 302"/>
                <a:gd name="T31" fmla="*/ 44 h 289"/>
                <a:gd name="T32" fmla="*/ 204 w 302"/>
                <a:gd name="T33" fmla="*/ 44 h 289"/>
                <a:gd name="T34" fmla="*/ 186 w 302"/>
                <a:gd name="T35" fmla="*/ 30 h 289"/>
                <a:gd name="T36" fmla="*/ 145 w 302"/>
                <a:gd name="T37" fmla="*/ 4 h 289"/>
                <a:gd name="T38" fmla="*/ 133 w 302"/>
                <a:gd name="T39" fmla="*/ 7 h 289"/>
                <a:gd name="T40" fmla="*/ 109 w 302"/>
                <a:gd name="T41" fmla="*/ 25 h 289"/>
                <a:gd name="T42" fmla="*/ 91 w 302"/>
                <a:gd name="T43" fmla="*/ 64 h 289"/>
                <a:gd name="T44" fmla="*/ 85 w 302"/>
                <a:gd name="T45" fmla="*/ 90 h 289"/>
                <a:gd name="T46" fmla="*/ 62 w 302"/>
                <a:gd name="T47" fmla="*/ 86 h 289"/>
                <a:gd name="T48" fmla="*/ 54 w 302"/>
                <a:gd name="T49" fmla="*/ 76 h 289"/>
                <a:gd name="T50" fmla="*/ 47 w 302"/>
                <a:gd name="T51" fmla="*/ 88 h 289"/>
                <a:gd name="T52" fmla="*/ 34 w 302"/>
                <a:gd name="T53" fmla="*/ 89 h 289"/>
                <a:gd name="T54" fmla="*/ 20 w 302"/>
                <a:gd name="T55" fmla="*/ 89 h 289"/>
                <a:gd name="T56" fmla="*/ 1 w 302"/>
                <a:gd name="T57" fmla="*/ 95 h 289"/>
                <a:gd name="T58" fmla="*/ 16 w 302"/>
                <a:gd name="T59" fmla="*/ 122 h 289"/>
                <a:gd name="T60" fmla="*/ 34 w 302"/>
                <a:gd name="T61" fmla="*/ 115 h 289"/>
                <a:gd name="T62" fmla="*/ 52 w 302"/>
                <a:gd name="T63" fmla="*/ 97 h 289"/>
                <a:gd name="T64" fmla="*/ 76 w 302"/>
                <a:gd name="T65" fmla="*/ 112 h 289"/>
                <a:gd name="T66" fmla="*/ 88 w 302"/>
                <a:gd name="T67" fmla="*/ 145 h 289"/>
                <a:gd name="T68" fmla="*/ 103 w 302"/>
                <a:gd name="T69" fmla="*/ 168 h 289"/>
                <a:gd name="T70" fmla="*/ 121 w 302"/>
                <a:gd name="T71" fmla="*/ 199 h 289"/>
                <a:gd name="T72" fmla="*/ 192 w 302"/>
                <a:gd name="T73" fmla="*/ 229 h 289"/>
                <a:gd name="T74" fmla="*/ 209 w 302"/>
                <a:gd name="T75" fmla="*/ 246 h 289"/>
                <a:gd name="T76" fmla="*/ 239 w 302"/>
                <a:gd name="T77" fmla="*/ 266 h 289"/>
                <a:gd name="T78" fmla="*/ 262 w 302"/>
                <a:gd name="T79" fmla="*/ 278 h 289"/>
                <a:gd name="T80" fmla="*/ 275 w 302"/>
                <a:gd name="T81" fmla="*/ 289 h 28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02"/>
                <a:gd name="T124" fmla="*/ 0 h 289"/>
                <a:gd name="T125" fmla="*/ 302 w 302"/>
                <a:gd name="T126" fmla="*/ 289 h 28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02" h="289">
                  <a:moveTo>
                    <a:pt x="275" y="289"/>
                  </a:moveTo>
                  <a:cubicBezTo>
                    <a:pt x="272" y="273"/>
                    <a:pt x="260" y="274"/>
                    <a:pt x="248" y="268"/>
                  </a:cubicBezTo>
                  <a:cubicBezTo>
                    <a:pt x="246" y="265"/>
                    <a:pt x="243" y="262"/>
                    <a:pt x="241" y="260"/>
                  </a:cubicBezTo>
                  <a:cubicBezTo>
                    <a:pt x="239" y="258"/>
                    <a:pt x="235" y="256"/>
                    <a:pt x="235" y="256"/>
                  </a:cubicBezTo>
                  <a:cubicBezTo>
                    <a:pt x="233" y="251"/>
                    <a:pt x="231" y="248"/>
                    <a:pt x="226" y="246"/>
                  </a:cubicBezTo>
                  <a:cubicBezTo>
                    <a:pt x="224" y="245"/>
                    <a:pt x="220" y="244"/>
                    <a:pt x="220" y="244"/>
                  </a:cubicBezTo>
                  <a:cubicBezTo>
                    <a:pt x="213" y="237"/>
                    <a:pt x="210" y="232"/>
                    <a:pt x="204" y="223"/>
                  </a:cubicBezTo>
                  <a:cubicBezTo>
                    <a:pt x="199" y="218"/>
                    <a:pt x="196" y="218"/>
                    <a:pt x="192" y="215"/>
                  </a:cubicBezTo>
                  <a:cubicBezTo>
                    <a:pt x="190" y="206"/>
                    <a:pt x="189" y="204"/>
                    <a:pt x="180" y="203"/>
                  </a:cubicBezTo>
                  <a:cubicBezTo>
                    <a:pt x="175" y="201"/>
                    <a:pt x="175" y="196"/>
                    <a:pt x="170" y="193"/>
                  </a:cubicBezTo>
                  <a:cubicBezTo>
                    <a:pt x="158" y="185"/>
                    <a:pt x="152" y="173"/>
                    <a:pt x="145" y="162"/>
                  </a:cubicBezTo>
                  <a:cubicBezTo>
                    <a:pt x="141" y="154"/>
                    <a:pt x="137" y="146"/>
                    <a:pt x="131" y="140"/>
                  </a:cubicBezTo>
                  <a:cubicBezTo>
                    <a:pt x="127" y="136"/>
                    <a:pt x="119" y="131"/>
                    <a:pt x="119" y="131"/>
                  </a:cubicBezTo>
                  <a:cubicBezTo>
                    <a:pt x="115" y="120"/>
                    <a:pt x="115" y="110"/>
                    <a:pt x="119" y="98"/>
                  </a:cubicBezTo>
                  <a:cubicBezTo>
                    <a:pt x="129" y="100"/>
                    <a:pt x="132" y="105"/>
                    <a:pt x="140" y="110"/>
                  </a:cubicBezTo>
                  <a:cubicBezTo>
                    <a:pt x="153" y="109"/>
                    <a:pt x="150" y="107"/>
                    <a:pt x="158" y="101"/>
                  </a:cubicBezTo>
                  <a:cubicBezTo>
                    <a:pt x="160" y="98"/>
                    <a:pt x="162" y="96"/>
                    <a:pt x="166" y="95"/>
                  </a:cubicBezTo>
                  <a:cubicBezTo>
                    <a:pt x="181" y="96"/>
                    <a:pt x="184" y="97"/>
                    <a:pt x="196" y="101"/>
                  </a:cubicBezTo>
                  <a:cubicBezTo>
                    <a:pt x="209" y="100"/>
                    <a:pt x="219" y="98"/>
                    <a:pt x="232" y="97"/>
                  </a:cubicBezTo>
                  <a:cubicBezTo>
                    <a:pt x="236" y="96"/>
                    <a:pt x="244" y="94"/>
                    <a:pt x="244" y="94"/>
                  </a:cubicBezTo>
                  <a:cubicBezTo>
                    <a:pt x="250" y="96"/>
                    <a:pt x="262" y="96"/>
                    <a:pt x="268" y="97"/>
                  </a:cubicBezTo>
                  <a:cubicBezTo>
                    <a:pt x="274" y="103"/>
                    <a:pt x="269" y="109"/>
                    <a:pt x="277" y="110"/>
                  </a:cubicBezTo>
                  <a:cubicBezTo>
                    <a:pt x="284" y="113"/>
                    <a:pt x="286" y="111"/>
                    <a:pt x="292" y="107"/>
                  </a:cubicBezTo>
                  <a:cubicBezTo>
                    <a:pt x="293" y="102"/>
                    <a:pt x="290" y="96"/>
                    <a:pt x="293" y="91"/>
                  </a:cubicBezTo>
                  <a:cubicBezTo>
                    <a:pt x="295" y="88"/>
                    <a:pt x="302" y="84"/>
                    <a:pt x="302" y="84"/>
                  </a:cubicBezTo>
                  <a:cubicBezTo>
                    <a:pt x="301" y="79"/>
                    <a:pt x="300" y="79"/>
                    <a:pt x="295" y="77"/>
                  </a:cubicBezTo>
                  <a:cubicBezTo>
                    <a:pt x="293" y="73"/>
                    <a:pt x="288" y="71"/>
                    <a:pt x="284" y="70"/>
                  </a:cubicBezTo>
                  <a:cubicBezTo>
                    <a:pt x="284" y="69"/>
                    <a:pt x="284" y="68"/>
                    <a:pt x="283" y="67"/>
                  </a:cubicBezTo>
                  <a:cubicBezTo>
                    <a:pt x="282" y="66"/>
                    <a:pt x="280" y="67"/>
                    <a:pt x="280" y="66"/>
                  </a:cubicBezTo>
                  <a:cubicBezTo>
                    <a:pt x="274" y="51"/>
                    <a:pt x="282" y="58"/>
                    <a:pt x="275" y="53"/>
                  </a:cubicBezTo>
                  <a:cubicBezTo>
                    <a:pt x="272" y="44"/>
                    <a:pt x="272" y="47"/>
                    <a:pt x="271" y="34"/>
                  </a:cubicBezTo>
                  <a:cubicBezTo>
                    <a:pt x="263" y="37"/>
                    <a:pt x="258" y="41"/>
                    <a:pt x="250" y="44"/>
                  </a:cubicBezTo>
                  <a:cubicBezTo>
                    <a:pt x="248" y="45"/>
                    <a:pt x="244" y="48"/>
                    <a:pt x="244" y="48"/>
                  </a:cubicBezTo>
                  <a:cubicBezTo>
                    <a:pt x="230" y="47"/>
                    <a:pt x="218" y="46"/>
                    <a:pt x="204" y="44"/>
                  </a:cubicBezTo>
                  <a:cubicBezTo>
                    <a:pt x="201" y="41"/>
                    <a:pt x="200" y="36"/>
                    <a:pt x="196" y="35"/>
                  </a:cubicBezTo>
                  <a:cubicBezTo>
                    <a:pt x="193" y="31"/>
                    <a:pt x="191" y="31"/>
                    <a:pt x="186" y="30"/>
                  </a:cubicBezTo>
                  <a:cubicBezTo>
                    <a:pt x="183" y="22"/>
                    <a:pt x="163" y="16"/>
                    <a:pt x="155" y="13"/>
                  </a:cubicBezTo>
                  <a:cubicBezTo>
                    <a:pt x="150" y="6"/>
                    <a:pt x="150" y="6"/>
                    <a:pt x="145" y="4"/>
                  </a:cubicBezTo>
                  <a:cubicBezTo>
                    <a:pt x="145" y="4"/>
                    <a:pt x="141" y="0"/>
                    <a:pt x="139" y="1"/>
                  </a:cubicBezTo>
                  <a:cubicBezTo>
                    <a:pt x="137" y="2"/>
                    <a:pt x="133" y="7"/>
                    <a:pt x="133" y="7"/>
                  </a:cubicBezTo>
                  <a:cubicBezTo>
                    <a:pt x="132" y="13"/>
                    <a:pt x="126" y="19"/>
                    <a:pt x="119" y="22"/>
                  </a:cubicBezTo>
                  <a:cubicBezTo>
                    <a:pt x="116" y="23"/>
                    <a:pt x="109" y="25"/>
                    <a:pt x="109" y="25"/>
                  </a:cubicBezTo>
                  <a:cubicBezTo>
                    <a:pt x="104" y="32"/>
                    <a:pt x="107" y="41"/>
                    <a:pt x="110" y="49"/>
                  </a:cubicBezTo>
                  <a:cubicBezTo>
                    <a:pt x="108" y="54"/>
                    <a:pt x="96" y="58"/>
                    <a:pt x="91" y="64"/>
                  </a:cubicBezTo>
                  <a:cubicBezTo>
                    <a:pt x="93" y="71"/>
                    <a:pt x="94" y="74"/>
                    <a:pt x="95" y="82"/>
                  </a:cubicBezTo>
                  <a:cubicBezTo>
                    <a:pt x="92" y="84"/>
                    <a:pt x="88" y="89"/>
                    <a:pt x="85" y="90"/>
                  </a:cubicBezTo>
                  <a:cubicBezTo>
                    <a:pt x="78" y="89"/>
                    <a:pt x="78" y="89"/>
                    <a:pt x="76" y="83"/>
                  </a:cubicBezTo>
                  <a:cubicBezTo>
                    <a:pt x="71" y="84"/>
                    <a:pt x="67" y="85"/>
                    <a:pt x="62" y="86"/>
                  </a:cubicBezTo>
                  <a:cubicBezTo>
                    <a:pt x="52" y="84"/>
                    <a:pt x="63" y="88"/>
                    <a:pt x="56" y="72"/>
                  </a:cubicBezTo>
                  <a:cubicBezTo>
                    <a:pt x="55" y="71"/>
                    <a:pt x="55" y="75"/>
                    <a:pt x="54" y="76"/>
                  </a:cubicBezTo>
                  <a:cubicBezTo>
                    <a:pt x="52" y="79"/>
                    <a:pt x="52" y="79"/>
                    <a:pt x="49" y="82"/>
                  </a:cubicBezTo>
                  <a:cubicBezTo>
                    <a:pt x="48" y="84"/>
                    <a:pt x="48" y="86"/>
                    <a:pt x="47" y="88"/>
                  </a:cubicBezTo>
                  <a:cubicBezTo>
                    <a:pt x="46" y="90"/>
                    <a:pt x="41" y="90"/>
                    <a:pt x="41" y="90"/>
                  </a:cubicBezTo>
                  <a:cubicBezTo>
                    <a:pt x="39" y="90"/>
                    <a:pt x="36" y="90"/>
                    <a:pt x="34" y="89"/>
                  </a:cubicBezTo>
                  <a:cubicBezTo>
                    <a:pt x="33" y="89"/>
                    <a:pt x="33" y="86"/>
                    <a:pt x="32" y="86"/>
                  </a:cubicBezTo>
                  <a:cubicBezTo>
                    <a:pt x="28" y="86"/>
                    <a:pt x="20" y="89"/>
                    <a:pt x="20" y="89"/>
                  </a:cubicBezTo>
                  <a:cubicBezTo>
                    <a:pt x="15" y="92"/>
                    <a:pt x="10" y="95"/>
                    <a:pt x="5" y="96"/>
                  </a:cubicBezTo>
                  <a:cubicBezTo>
                    <a:pt x="4" y="96"/>
                    <a:pt x="0" y="95"/>
                    <a:pt x="1" y="95"/>
                  </a:cubicBezTo>
                  <a:cubicBezTo>
                    <a:pt x="3" y="95"/>
                    <a:pt x="5" y="94"/>
                    <a:pt x="6" y="96"/>
                  </a:cubicBezTo>
                  <a:cubicBezTo>
                    <a:pt x="12" y="113"/>
                    <a:pt x="3" y="113"/>
                    <a:pt x="16" y="122"/>
                  </a:cubicBezTo>
                  <a:cubicBezTo>
                    <a:pt x="18" y="127"/>
                    <a:pt x="18" y="133"/>
                    <a:pt x="22" y="136"/>
                  </a:cubicBezTo>
                  <a:cubicBezTo>
                    <a:pt x="30" y="132"/>
                    <a:pt x="30" y="123"/>
                    <a:pt x="34" y="115"/>
                  </a:cubicBezTo>
                  <a:cubicBezTo>
                    <a:pt x="35" y="109"/>
                    <a:pt x="35" y="104"/>
                    <a:pt x="40" y="101"/>
                  </a:cubicBezTo>
                  <a:cubicBezTo>
                    <a:pt x="45" y="94"/>
                    <a:pt x="44" y="94"/>
                    <a:pt x="52" y="97"/>
                  </a:cubicBezTo>
                  <a:cubicBezTo>
                    <a:pt x="55" y="101"/>
                    <a:pt x="64" y="104"/>
                    <a:pt x="64" y="104"/>
                  </a:cubicBezTo>
                  <a:cubicBezTo>
                    <a:pt x="67" y="108"/>
                    <a:pt x="72" y="109"/>
                    <a:pt x="76" y="112"/>
                  </a:cubicBezTo>
                  <a:cubicBezTo>
                    <a:pt x="78" y="113"/>
                    <a:pt x="82" y="114"/>
                    <a:pt x="82" y="114"/>
                  </a:cubicBezTo>
                  <a:cubicBezTo>
                    <a:pt x="75" y="123"/>
                    <a:pt x="78" y="138"/>
                    <a:pt x="88" y="145"/>
                  </a:cubicBezTo>
                  <a:cubicBezTo>
                    <a:pt x="90" y="151"/>
                    <a:pt x="90" y="153"/>
                    <a:pt x="95" y="156"/>
                  </a:cubicBezTo>
                  <a:cubicBezTo>
                    <a:pt x="96" y="161"/>
                    <a:pt x="98" y="165"/>
                    <a:pt x="103" y="168"/>
                  </a:cubicBezTo>
                  <a:cubicBezTo>
                    <a:pt x="104" y="174"/>
                    <a:pt x="107" y="186"/>
                    <a:pt x="112" y="191"/>
                  </a:cubicBezTo>
                  <a:cubicBezTo>
                    <a:pt x="115" y="194"/>
                    <a:pt x="121" y="199"/>
                    <a:pt x="121" y="199"/>
                  </a:cubicBezTo>
                  <a:cubicBezTo>
                    <a:pt x="122" y="203"/>
                    <a:pt x="126" y="208"/>
                    <a:pt x="130" y="210"/>
                  </a:cubicBezTo>
                  <a:cubicBezTo>
                    <a:pt x="136" y="233"/>
                    <a:pt x="173" y="228"/>
                    <a:pt x="192" y="229"/>
                  </a:cubicBezTo>
                  <a:cubicBezTo>
                    <a:pt x="195" y="231"/>
                    <a:pt x="202" y="236"/>
                    <a:pt x="202" y="236"/>
                  </a:cubicBezTo>
                  <a:cubicBezTo>
                    <a:pt x="203" y="240"/>
                    <a:pt x="205" y="245"/>
                    <a:pt x="209" y="246"/>
                  </a:cubicBezTo>
                  <a:cubicBezTo>
                    <a:pt x="212" y="252"/>
                    <a:pt x="221" y="257"/>
                    <a:pt x="226" y="262"/>
                  </a:cubicBezTo>
                  <a:cubicBezTo>
                    <a:pt x="229" y="265"/>
                    <a:pt x="239" y="266"/>
                    <a:pt x="239" y="266"/>
                  </a:cubicBezTo>
                  <a:cubicBezTo>
                    <a:pt x="242" y="270"/>
                    <a:pt x="246" y="274"/>
                    <a:pt x="251" y="275"/>
                  </a:cubicBezTo>
                  <a:cubicBezTo>
                    <a:pt x="255" y="276"/>
                    <a:pt x="262" y="278"/>
                    <a:pt x="262" y="278"/>
                  </a:cubicBezTo>
                  <a:cubicBezTo>
                    <a:pt x="264" y="280"/>
                    <a:pt x="265" y="281"/>
                    <a:pt x="266" y="282"/>
                  </a:cubicBezTo>
                  <a:lnTo>
                    <a:pt x="275" y="289"/>
                  </a:lnTo>
                  <a:close/>
                </a:path>
              </a:pathLst>
            </a:custGeom>
            <a:solidFill>
              <a:srgbClr val="8D9399"/>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375" name="Freeform 2488"/>
            <p:cNvSpPr>
              <a:spLocks noChangeAspect="1"/>
            </p:cNvSpPr>
            <p:nvPr/>
          </p:nvSpPr>
          <p:spPr bwMode="auto">
            <a:xfrm>
              <a:off x="4851905" y="6261079"/>
              <a:ext cx="365631" cy="233888"/>
            </a:xfrm>
            <a:custGeom>
              <a:avLst/>
              <a:gdLst>
                <a:gd name="T0" fmla="*/ 180 w 191"/>
                <a:gd name="T1" fmla="*/ 0 h 122"/>
                <a:gd name="T2" fmla="*/ 165 w 191"/>
                <a:gd name="T3" fmla="*/ 8 h 122"/>
                <a:gd name="T4" fmla="*/ 156 w 191"/>
                <a:gd name="T5" fmla="*/ 14 h 122"/>
                <a:gd name="T6" fmla="*/ 135 w 191"/>
                <a:gd name="T7" fmla="*/ 13 h 122"/>
                <a:gd name="T8" fmla="*/ 114 w 191"/>
                <a:gd name="T9" fmla="*/ 25 h 122"/>
                <a:gd name="T10" fmla="*/ 97 w 191"/>
                <a:gd name="T11" fmla="*/ 24 h 122"/>
                <a:gd name="T12" fmla="*/ 78 w 191"/>
                <a:gd name="T13" fmla="*/ 33 h 122"/>
                <a:gd name="T14" fmla="*/ 63 w 191"/>
                <a:gd name="T15" fmla="*/ 26 h 122"/>
                <a:gd name="T16" fmla="*/ 62 w 191"/>
                <a:gd name="T17" fmla="*/ 21 h 122"/>
                <a:gd name="T18" fmla="*/ 58 w 191"/>
                <a:gd name="T19" fmla="*/ 20 h 122"/>
                <a:gd name="T20" fmla="*/ 52 w 191"/>
                <a:gd name="T21" fmla="*/ 13 h 122"/>
                <a:gd name="T22" fmla="*/ 38 w 191"/>
                <a:gd name="T23" fmla="*/ 18 h 122"/>
                <a:gd name="T24" fmla="*/ 30 w 191"/>
                <a:gd name="T25" fmla="*/ 27 h 122"/>
                <a:gd name="T26" fmla="*/ 18 w 191"/>
                <a:gd name="T27" fmla="*/ 19 h 122"/>
                <a:gd name="T28" fmla="*/ 3 w 191"/>
                <a:gd name="T29" fmla="*/ 27 h 122"/>
                <a:gd name="T30" fmla="*/ 0 w 191"/>
                <a:gd name="T31" fmla="*/ 33 h 122"/>
                <a:gd name="T32" fmla="*/ 2 w 191"/>
                <a:gd name="T33" fmla="*/ 39 h 122"/>
                <a:gd name="T34" fmla="*/ 3 w 191"/>
                <a:gd name="T35" fmla="*/ 55 h 122"/>
                <a:gd name="T36" fmla="*/ 9 w 191"/>
                <a:gd name="T37" fmla="*/ 57 h 122"/>
                <a:gd name="T38" fmla="*/ 18 w 191"/>
                <a:gd name="T39" fmla="*/ 66 h 122"/>
                <a:gd name="T40" fmla="*/ 36 w 191"/>
                <a:gd name="T41" fmla="*/ 65 h 122"/>
                <a:gd name="T42" fmla="*/ 46 w 191"/>
                <a:gd name="T43" fmla="*/ 69 h 122"/>
                <a:gd name="T44" fmla="*/ 55 w 191"/>
                <a:gd name="T45" fmla="*/ 73 h 122"/>
                <a:gd name="T46" fmla="*/ 72 w 191"/>
                <a:gd name="T47" fmla="*/ 85 h 122"/>
                <a:gd name="T48" fmla="*/ 82 w 191"/>
                <a:gd name="T49" fmla="*/ 92 h 122"/>
                <a:gd name="T50" fmla="*/ 111 w 191"/>
                <a:gd name="T51" fmla="*/ 95 h 122"/>
                <a:gd name="T52" fmla="*/ 121 w 191"/>
                <a:gd name="T53" fmla="*/ 103 h 122"/>
                <a:gd name="T54" fmla="*/ 136 w 191"/>
                <a:gd name="T55" fmla="*/ 120 h 122"/>
                <a:gd name="T56" fmla="*/ 164 w 191"/>
                <a:gd name="T57" fmla="*/ 122 h 122"/>
                <a:gd name="T58" fmla="*/ 164 w 191"/>
                <a:gd name="T59" fmla="*/ 111 h 122"/>
                <a:gd name="T60" fmla="*/ 169 w 191"/>
                <a:gd name="T61" fmla="*/ 102 h 122"/>
                <a:gd name="T62" fmla="*/ 177 w 191"/>
                <a:gd name="T63" fmla="*/ 92 h 122"/>
                <a:gd name="T64" fmla="*/ 171 w 191"/>
                <a:gd name="T65" fmla="*/ 84 h 122"/>
                <a:gd name="T66" fmla="*/ 160 w 191"/>
                <a:gd name="T67" fmla="*/ 73 h 122"/>
                <a:gd name="T68" fmla="*/ 164 w 191"/>
                <a:gd name="T69" fmla="*/ 56 h 122"/>
                <a:gd name="T70" fmla="*/ 168 w 191"/>
                <a:gd name="T71" fmla="*/ 50 h 122"/>
                <a:gd name="T72" fmla="*/ 184 w 191"/>
                <a:gd name="T73" fmla="*/ 18 h 122"/>
                <a:gd name="T74" fmla="*/ 180 w 191"/>
                <a:gd name="T75" fmla="*/ 0 h 12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91"/>
                <a:gd name="T115" fmla="*/ 0 h 122"/>
                <a:gd name="T116" fmla="*/ 191 w 191"/>
                <a:gd name="T117" fmla="*/ 122 h 12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91" h="122">
                  <a:moveTo>
                    <a:pt x="180" y="0"/>
                  </a:moveTo>
                  <a:cubicBezTo>
                    <a:pt x="174" y="2"/>
                    <a:pt x="171" y="6"/>
                    <a:pt x="165" y="8"/>
                  </a:cubicBezTo>
                  <a:cubicBezTo>
                    <a:pt x="162" y="11"/>
                    <a:pt x="159" y="12"/>
                    <a:pt x="156" y="14"/>
                  </a:cubicBezTo>
                  <a:cubicBezTo>
                    <a:pt x="149" y="13"/>
                    <a:pt x="142" y="11"/>
                    <a:pt x="135" y="13"/>
                  </a:cubicBezTo>
                  <a:cubicBezTo>
                    <a:pt x="129" y="21"/>
                    <a:pt x="124" y="24"/>
                    <a:pt x="114" y="25"/>
                  </a:cubicBezTo>
                  <a:cubicBezTo>
                    <a:pt x="107" y="27"/>
                    <a:pt x="104" y="26"/>
                    <a:pt x="97" y="24"/>
                  </a:cubicBezTo>
                  <a:cubicBezTo>
                    <a:pt x="89" y="25"/>
                    <a:pt x="86" y="30"/>
                    <a:pt x="78" y="33"/>
                  </a:cubicBezTo>
                  <a:cubicBezTo>
                    <a:pt x="71" y="31"/>
                    <a:pt x="72" y="27"/>
                    <a:pt x="63" y="26"/>
                  </a:cubicBezTo>
                  <a:cubicBezTo>
                    <a:pt x="63" y="24"/>
                    <a:pt x="63" y="22"/>
                    <a:pt x="62" y="21"/>
                  </a:cubicBezTo>
                  <a:cubicBezTo>
                    <a:pt x="61" y="20"/>
                    <a:pt x="59" y="21"/>
                    <a:pt x="58" y="20"/>
                  </a:cubicBezTo>
                  <a:cubicBezTo>
                    <a:pt x="51" y="11"/>
                    <a:pt x="61" y="15"/>
                    <a:pt x="52" y="13"/>
                  </a:cubicBezTo>
                  <a:cubicBezTo>
                    <a:pt x="46" y="15"/>
                    <a:pt x="45" y="17"/>
                    <a:pt x="38" y="18"/>
                  </a:cubicBezTo>
                  <a:cubicBezTo>
                    <a:pt x="36" y="24"/>
                    <a:pt x="36" y="25"/>
                    <a:pt x="30" y="27"/>
                  </a:cubicBezTo>
                  <a:cubicBezTo>
                    <a:pt x="21" y="26"/>
                    <a:pt x="25" y="21"/>
                    <a:pt x="18" y="19"/>
                  </a:cubicBezTo>
                  <a:cubicBezTo>
                    <a:pt x="13" y="28"/>
                    <a:pt x="18" y="26"/>
                    <a:pt x="3" y="27"/>
                  </a:cubicBezTo>
                  <a:cubicBezTo>
                    <a:pt x="2" y="28"/>
                    <a:pt x="0" y="31"/>
                    <a:pt x="0" y="33"/>
                  </a:cubicBezTo>
                  <a:cubicBezTo>
                    <a:pt x="0" y="35"/>
                    <a:pt x="2" y="39"/>
                    <a:pt x="2" y="39"/>
                  </a:cubicBezTo>
                  <a:cubicBezTo>
                    <a:pt x="2" y="44"/>
                    <a:pt x="1" y="50"/>
                    <a:pt x="3" y="55"/>
                  </a:cubicBezTo>
                  <a:cubicBezTo>
                    <a:pt x="4" y="57"/>
                    <a:pt x="9" y="57"/>
                    <a:pt x="9" y="57"/>
                  </a:cubicBezTo>
                  <a:cubicBezTo>
                    <a:pt x="11" y="62"/>
                    <a:pt x="13" y="64"/>
                    <a:pt x="18" y="66"/>
                  </a:cubicBezTo>
                  <a:cubicBezTo>
                    <a:pt x="28" y="64"/>
                    <a:pt x="25" y="63"/>
                    <a:pt x="36" y="65"/>
                  </a:cubicBezTo>
                  <a:cubicBezTo>
                    <a:pt x="39" y="67"/>
                    <a:pt x="42" y="68"/>
                    <a:pt x="46" y="69"/>
                  </a:cubicBezTo>
                  <a:cubicBezTo>
                    <a:pt x="49" y="71"/>
                    <a:pt x="55" y="73"/>
                    <a:pt x="55" y="73"/>
                  </a:cubicBezTo>
                  <a:cubicBezTo>
                    <a:pt x="58" y="84"/>
                    <a:pt x="61" y="84"/>
                    <a:pt x="72" y="85"/>
                  </a:cubicBezTo>
                  <a:cubicBezTo>
                    <a:pt x="78" y="87"/>
                    <a:pt x="77" y="91"/>
                    <a:pt x="82" y="92"/>
                  </a:cubicBezTo>
                  <a:cubicBezTo>
                    <a:pt x="91" y="95"/>
                    <a:pt x="101" y="94"/>
                    <a:pt x="111" y="95"/>
                  </a:cubicBezTo>
                  <a:cubicBezTo>
                    <a:pt x="113" y="101"/>
                    <a:pt x="116" y="100"/>
                    <a:pt x="121" y="103"/>
                  </a:cubicBezTo>
                  <a:cubicBezTo>
                    <a:pt x="123" y="113"/>
                    <a:pt x="126" y="117"/>
                    <a:pt x="136" y="120"/>
                  </a:cubicBezTo>
                  <a:cubicBezTo>
                    <a:pt x="150" y="118"/>
                    <a:pt x="150" y="119"/>
                    <a:pt x="164" y="122"/>
                  </a:cubicBezTo>
                  <a:cubicBezTo>
                    <a:pt x="166" y="119"/>
                    <a:pt x="164" y="111"/>
                    <a:pt x="164" y="111"/>
                  </a:cubicBezTo>
                  <a:cubicBezTo>
                    <a:pt x="165" y="106"/>
                    <a:pt x="165" y="105"/>
                    <a:pt x="169" y="102"/>
                  </a:cubicBezTo>
                  <a:cubicBezTo>
                    <a:pt x="172" y="98"/>
                    <a:pt x="175" y="98"/>
                    <a:pt x="177" y="92"/>
                  </a:cubicBezTo>
                  <a:cubicBezTo>
                    <a:pt x="176" y="88"/>
                    <a:pt x="174" y="86"/>
                    <a:pt x="171" y="84"/>
                  </a:cubicBezTo>
                  <a:cubicBezTo>
                    <a:pt x="168" y="75"/>
                    <a:pt x="170" y="75"/>
                    <a:pt x="160" y="73"/>
                  </a:cubicBezTo>
                  <a:cubicBezTo>
                    <a:pt x="162" y="68"/>
                    <a:pt x="162" y="61"/>
                    <a:pt x="164" y="56"/>
                  </a:cubicBezTo>
                  <a:cubicBezTo>
                    <a:pt x="165" y="54"/>
                    <a:pt x="168" y="50"/>
                    <a:pt x="168" y="50"/>
                  </a:cubicBezTo>
                  <a:cubicBezTo>
                    <a:pt x="170" y="21"/>
                    <a:pt x="169" y="33"/>
                    <a:pt x="184" y="18"/>
                  </a:cubicBezTo>
                  <a:cubicBezTo>
                    <a:pt x="186" y="1"/>
                    <a:pt x="191" y="5"/>
                    <a:pt x="180" y="0"/>
                  </a:cubicBezTo>
                  <a:close/>
                </a:path>
              </a:pathLst>
            </a:custGeom>
            <a:solidFill>
              <a:srgbClr val="8D9399"/>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grpSp>
          <p:nvGrpSpPr>
            <p:cNvPr id="376" name="Group 2489"/>
            <p:cNvGrpSpPr>
              <a:grpSpLocks noChangeAspect="1"/>
            </p:cNvGrpSpPr>
            <p:nvPr/>
          </p:nvGrpSpPr>
          <p:grpSpPr bwMode="auto">
            <a:xfrm>
              <a:off x="4235500" y="5044192"/>
              <a:ext cx="1262960" cy="1278235"/>
              <a:chOff x="2499" y="3020"/>
              <a:chExt cx="660" cy="667"/>
            </a:xfrm>
          </p:grpSpPr>
          <p:sp>
            <p:nvSpPr>
              <p:cNvPr id="441" name="Freeform 2490"/>
              <p:cNvSpPr>
                <a:spLocks noChangeAspect="1"/>
              </p:cNvSpPr>
              <p:nvPr/>
            </p:nvSpPr>
            <p:spPr bwMode="auto">
              <a:xfrm>
                <a:off x="2575" y="3447"/>
                <a:ext cx="92" cy="181"/>
              </a:xfrm>
              <a:custGeom>
                <a:avLst/>
                <a:gdLst>
                  <a:gd name="T0" fmla="*/ 61 w 92"/>
                  <a:gd name="T1" fmla="*/ 0 h 181"/>
                  <a:gd name="T2" fmla="*/ 52 w 92"/>
                  <a:gd name="T3" fmla="*/ 6 h 181"/>
                  <a:gd name="T4" fmla="*/ 45 w 92"/>
                  <a:gd name="T5" fmla="*/ 13 h 181"/>
                  <a:gd name="T6" fmla="*/ 33 w 92"/>
                  <a:gd name="T7" fmla="*/ 24 h 181"/>
                  <a:gd name="T8" fmla="*/ 21 w 92"/>
                  <a:gd name="T9" fmla="*/ 30 h 181"/>
                  <a:gd name="T10" fmla="*/ 10 w 92"/>
                  <a:gd name="T11" fmla="*/ 29 h 181"/>
                  <a:gd name="T12" fmla="*/ 3 w 92"/>
                  <a:gd name="T13" fmla="*/ 18 h 181"/>
                  <a:gd name="T14" fmla="*/ 0 w 92"/>
                  <a:gd name="T15" fmla="*/ 36 h 181"/>
                  <a:gd name="T16" fmla="*/ 7 w 92"/>
                  <a:gd name="T17" fmla="*/ 49 h 181"/>
                  <a:gd name="T18" fmla="*/ 13 w 92"/>
                  <a:gd name="T19" fmla="*/ 58 h 181"/>
                  <a:gd name="T20" fmla="*/ 18 w 92"/>
                  <a:gd name="T21" fmla="*/ 76 h 181"/>
                  <a:gd name="T22" fmla="*/ 21 w 92"/>
                  <a:gd name="T23" fmla="*/ 106 h 181"/>
                  <a:gd name="T24" fmla="*/ 15 w 92"/>
                  <a:gd name="T25" fmla="*/ 118 h 181"/>
                  <a:gd name="T26" fmla="*/ 12 w 92"/>
                  <a:gd name="T27" fmla="*/ 132 h 181"/>
                  <a:gd name="T28" fmla="*/ 14 w 92"/>
                  <a:gd name="T29" fmla="*/ 145 h 181"/>
                  <a:gd name="T30" fmla="*/ 8 w 92"/>
                  <a:gd name="T31" fmla="*/ 154 h 181"/>
                  <a:gd name="T32" fmla="*/ 8 w 92"/>
                  <a:gd name="T33" fmla="*/ 168 h 181"/>
                  <a:gd name="T34" fmla="*/ 18 w 92"/>
                  <a:gd name="T35" fmla="*/ 165 h 181"/>
                  <a:gd name="T36" fmla="*/ 24 w 92"/>
                  <a:gd name="T37" fmla="*/ 177 h 181"/>
                  <a:gd name="T38" fmla="*/ 36 w 92"/>
                  <a:gd name="T39" fmla="*/ 180 h 181"/>
                  <a:gd name="T40" fmla="*/ 48 w 92"/>
                  <a:gd name="T41" fmla="*/ 159 h 181"/>
                  <a:gd name="T42" fmla="*/ 55 w 92"/>
                  <a:gd name="T43" fmla="*/ 154 h 181"/>
                  <a:gd name="T44" fmla="*/ 72 w 92"/>
                  <a:gd name="T45" fmla="*/ 160 h 181"/>
                  <a:gd name="T46" fmla="*/ 84 w 92"/>
                  <a:gd name="T47" fmla="*/ 145 h 181"/>
                  <a:gd name="T48" fmla="*/ 91 w 92"/>
                  <a:gd name="T49" fmla="*/ 96 h 181"/>
                  <a:gd name="T50" fmla="*/ 81 w 92"/>
                  <a:gd name="T51" fmla="*/ 72 h 181"/>
                  <a:gd name="T52" fmla="*/ 86 w 92"/>
                  <a:gd name="T53" fmla="*/ 63 h 181"/>
                  <a:gd name="T54" fmla="*/ 90 w 92"/>
                  <a:gd name="T55" fmla="*/ 57 h 181"/>
                  <a:gd name="T56" fmla="*/ 90 w 92"/>
                  <a:gd name="T57" fmla="*/ 28 h 181"/>
                  <a:gd name="T58" fmla="*/ 79 w 92"/>
                  <a:gd name="T59" fmla="*/ 21 h 181"/>
                  <a:gd name="T60" fmla="*/ 79 w 92"/>
                  <a:gd name="T61" fmla="*/ 4 h 181"/>
                  <a:gd name="T62" fmla="*/ 61 w 92"/>
                  <a:gd name="T63" fmla="*/ 0 h 18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2"/>
                  <a:gd name="T97" fmla="*/ 0 h 181"/>
                  <a:gd name="T98" fmla="*/ 92 w 92"/>
                  <a:gd name="T99" fmla="*/ 181 h 18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2" h="181">
                    <a:moveTo>
                      <a:pt x="61" y="0"/>
                    </a:moveTo>
                    <a:cubicBezTo>
                      <a:pt x="58" y="3"/>
                      <a:pt x="55" y="4"/>
                      <a:pt x="52" y="6"/>
                    </a:cubicBezTo>
                    <a:cubicBezTo>
                      <a:pt x="47" y="13"/>
                      <a:pt x="50" y="11"/>
                      <a:pt x="45" y="13"/>
                    </a:cubicBezTo>
                    <a:cubicBezTo>
                      <a:pt x="44" y="17"/>
                      <a:pt x="38" y="22"/>
                      <a:pt x="33" y="24"/>
                    </a:cubicBezTo>
                    <a:cubicBezTo>
                      <a:pt x="30" y="28"/>
                      <a:pt x="26" y="29"/>
                      <a:pt x="21" y="30"/>
                    </a:cubicBezTo>
                    <a:cubicBezTo>
                      <a:pt x="17" y="30"/>
                      <a:pt x="13" y="30"/>
                      <a:pt x="10" y="29"/>
                    </a:cubicBezTo>
                    <a:cubicBezTo>
                      <a:pt x="4" y="27"/>
                      <a:pt x="9" y="20"/>
                      <a:pt x="3" y="18"/>
                    </a:cubicBezTo>
                    <a:cubicBezTo>
                      <a:pt x="2" y="24"/>
                      <a:pt x="2" y="30"/>
                      <a:pt x="0" y="36"/>
                    </a:cubicBezTo>
                    <a:cubicBezTo>
                      <a:pt x="1" y="40"/>
                      <a:pt x="3" y="48"/>
                      <a:pt x="7" y="49"/>
                    </a:cubicBezTo>
                    <a:cubicBezTo>
                      <a:pt x="8" y="53"/>
                      <a:pt x="10" y="55"/>
                      <a:pt x="13" y="58"/>
                    </a:cubicBezTo>
                    <a:cubicBezTo>
                      <a:pt x="15" y="64"/>
                      <a:pt x="15" y="70"/>
                      <a:pt x="18" y="76"/>
                    </a:cubicBezTo>
                    <a:cubicBezTo>
                      <a:pt x="15" y="93"/>
                      <a:pt x="16" y="92"/>
                      <a:pt x="21" y="106"/>
                    </a:cubicBezTo>
                    <a:cubicBezTo>
                      <a:pt x="20" y="110"/>
                      <a:pt x="16" y="114"/>
                      <a:pt x="15" y="118"/>
                    </a:cubicBezTo>
                    <a:cubicBezTo>
                      <a:pt x="16" y="124"/>
                      <a:pt x="18" y="128"/>
                      <a:pt x="12" y="132"/>
                    </a:cubicBezTo>
                    <a:cubicBezTo>
                      <a:pt x="9" y="137"/>
                      <a:pt x="11" y="140"/>
                      <a:pt x="14" y="145"/>
                    </a:cubicBezTo>
                    <a:cubicBezTo>
                      <a:pt x="12" y="148"/>
                      <a:pt x="9" y="150"/>
                      <a:pt x="8" y="154"/>
                    </a:cubicBezTo>
                    <a:cubicBezTo>
                      <a:pt x="10" y="160"/>
                      <a:pt x="10" y="162"/>
                      <a:pt x="8" y="168"/>
                    </a:cubicBezTo>
                    <a:cubicBezTo>
                      <a:pt x="11" y="169"/>
                      <a:pt x="18" y="165"/>
                      <a:pt x="18" y="165"/>
                    </a:cubicBezTo>
                    <a:cubicBezTo>
                      <a:pt x="23" y="157"/>
                      <a:pt x="23" y="175"/>
                      <a:pt x="24" y="177"/>
                    </a:cubicBezTo>
                    <a:cubicBezTo>
                      <a:pt x="25" y="181"/>
                      <a:pt x="32" y="179"/>
                      <a:pt x="36" y="180"/>
                    </a:cubicBezTo>
                    <a:cubicBezTo>
                      <a:pt x="52" y="178"/>
                      <a:pt x="36" y="167"/>
                      <a:pt x="48" y="159"/>
                    </a:cubicBezTo>
                    <a:cubicBezTo>
                      <a:pt x="49" y="156"/>
                      <a:pt x="55" y="154"/>
                      <a:pt x="55" y="154"/>
                    </a:cubicBezTo>
                    <a:cubicBezTo>
                      <a:pt x="63" y="155"/>
                      <a:pt x="65" y="158"/>
                      <a:pt x="72" y="160"/>
                    </a:cubicBezTo>
                    <a:cubicBezTo>
                      <a:pt x="81" y="158"/>
                      <a:pt x="80" y="151"/>
                      <a:pt x="84" y="145"/>
                    </a:cubicBezTo>
                    <a:cubicBezTo>
                      <a:pt x="86" y="128"/>
                      <a:pt x="88" y="112"/>
                      <a:pt x="91" y="96"/>
                    </a:cubicBezTo>
                    <a:cubicBezTo>
                      <a:pt x="90" y="86"/>
                      <a:pt x="86" y="81"/>
                      <a:pt x="81" y="72"/>
                    </a:cubicBezTo>
                    <a:cubicBezTo>
                      <a:pt x="83" y="61"/>
                      <a:pt x="80" y="70"/>
                      <a:pt x="86" y="63"/>
                    </a:cubicBezTo>
                    <a:cubicBezTo>
                      <a:pt x="88" y="61"/>
                      <a:pt x="90" y="57"/>
                      <a:pt x="90" y="57"/>
                    </a:cubicBezTo>
                    <a:cubicBezTo>
                      <a:pt x="91" y="55"/>
                      <a:pt x="92" y="34"/>
                      <a:pt x="90" y="28"/>
                    </a:cubicBezTo>
                    <a:lnTo>
                      <a:pt x="79" y="21"/>
                    </a:lnTo>
                    <a:lnTo>
                      <a:pt x="79" y="4"/>
                    </a:lnTo>
                    <a:lnTo>
                      <a:pt x="61" y="0"/>
                    </a:lnTo>
                    <a:close/>
                  </a:path>
                </a:pathLst>
              </a:custGeom>
              <a:solidFill>
                <a:srgbClr val="8D9399"/>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442" name="Freeform 2491"/>
              <p:cNvSpPr>
                <a:spLocks noChangeAspect="1"/>
              </p:cNvSpPr>
              <p:nvPr/>
            </p:nvSpPr>
            <p:spPr bwMode="auto">
              <a:xfrm>
                <a:off x="2686" y="3330"/>
                <a:ext cx="17" cy="14"/>
              </a:xfrm>
              <a:custGeom>
                <a:avLst/>
                <a:gdLst>
                  <a:gd name="T0" fmla="*/ 0 w 17"/>
                  <a:gd name="T1" fmla="*/ 3 h 14"/>
                  <a:gd name="T2" fmla="*/ 16 w 17"/>
                  <a:gd name="T3" fmla="*/ 2 h 14"/>
                  <a:gd name="T4" fmla="*/ 15 w 17"/>
                  <a:gd name="T5" fmla="*/ 14 h 14"/>
                  <a:gd name="T6" fmla="*/ 0 w 17"/>
                  <a:gd name="T7" fmla="*/ 3 h 14"/>
                  <a:gd name="T8" fmla="*/ 0 60000 65536"/>
                  <a:gd name="T9" fmla="*/ 0 60000 65536"/>
                  <a:gd name="T10" fmla="*/ 0 60000 65536"/>
                  <a:gd name="T11" fmla="*/ 0 60000 65536"/>
                  <a:gd name="T12" fmla="*/ 0 w 17"/>
                  <a:gd name="T13" fmla="*/ 0 h 14"/>
                  <a:gd name="T14" fmla="*/ 17 w 17"/>
                  <a:gd name="T15" fmla="*/ 14 h 14"/>
                </a:gdLst>
                <a:ahLst/>
                <a:cxnLst>
                  <a:cxn ang="T8">
                    <a:pos x="T0" y="T1"/>
                  </a:cxn>
                  <a:cxn ang="T9">
                    <a:pos x="T2" y="T3"/>
                  </a:cxn>
                  <a:cxn ang="T10">
                    <a:pos x="T4" y="T5"/>
                  </a:cxn>
                  <a:cxn ang="T11">
                    <a:pos x="T6" y="T7"/>
                  </a:cxn>
                </a:cxnLst>
                <a:rect l="T12" t="T13" r="T14" b="T15"/>
                <a:pathLst>
                  <a:path w="17" h="14">
                    <a:moveTo>
                      <a:pt x="0" y="3"/>
                    </a:moveTo>
                    <a:cubicBezTo>
                      <a:pt x="5" y="3"/>
                      <a:pt x="11" y="0"/>
                      <a:pt x="16" y="2"/>
                    </a:cubicBezTo>
                    <a:cubicBezTo>
                      <a:pt x="16" y="6"/>
                      <a:pt x="17" y="10"/>
                      <a:pt x="15" y="14"/>
                    </a:cubicBezTo>
                    <a:cubicBezTo>
                      <a:pt x="12" y="14"/>
                      <a:pt x="0" y="5"/>
                      <a:pt x="0" y="3"/>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443" name="Freeform 2492"/>
              <p:cNvSpPr>
                <a:spLocks noChangeAspect="1"/>
              </p:cNvSpPr>
              <p:nvPr/>
            </p:nvSpPr>
            <p:spPr bwMode="auto">
              <a:xfrm>
                <a:off x="2499" y="3020"/>
                <a:ext cx="660" cy="667"/>
              </a:xfrm>
              <a:custGeom>
                <a:avLst/>
                <a:gdLst>
                  <a:gd name="T0" fmla="*/ 355 w 660"/>
                  <a:gd name="T1" fmla="*/ 73 h 667"/>
                  <a:gd name="T2" fmla="*/ 353 w 660"/>
                  <a:gd name="T3" fmla="*/ 58 h 667"/>
                  <a:gd name="T4" fmla="*/ 302 w 660"/>
                  <a:gd name="T5" fmla="*/ 24 h 667"/>
                  <a:gd name="T6" fmla="*/ 280 w 660"/>
                  <a:gd name="T7" fmla="*/ 0 h 667"/>
                  <a:gd name="T8" fmla="*/ 211 w 660"/>
                  <a:gd name="T9" fmla="*/ 14 h 667"/>
                  <a:gd name="T10" fmla="*/ 184 w 660"/>
                  <a:gd name="T11" fmla="*/ 48 h 667"/>
                  <a:gd name="T12" fmla="*/ 155 w 660"/>
                  <a:gd name="T13" fmla="*/ 52 h 667"/>
                  <a:gd name="T14" fmla="*/ 137 w 660"/>
                  <a:gd name="T15" fmla="*/ 62 h 667"/>
                  <a:gd name="T16" fmla="*/ 118 w 660"/>
                  <a:gd name="T17" fmla="*/ 80 h 667"/>
                  <a:gd name="T18" fmla="*/ 88 w 660"/>
                  <a:gd name="T19" fmla="*/ 62 h 667"/>
                  <a:gd name="T20" fmla="*/ 53 w 660"/>
                  <a:gd name="T21" fmla="*/ 80 h 667"/>
                  <a:gd name="T22" fmla="*/ 22 w 660"/>
                  <a:gd name="T23" fmla="*/ 91 h 667"/>
                  <a:gd name="T24" fmla="*/ 5 w 660"/>
                  <a:gd name="T25" fmla="*/ 150 h 667"/>
                  <a:gd name="T26" fmla="*/ 32 w 660"/>
                  <a:gd name="T27" fmla="*/ 212 h 667"/>
                  <a:gd name="T28" fmla="*/ 64 w 660"/>
                  <a:gd name="T29" fmla="*/ 238 h 667"/>
                  <a:gd name="T30" fmla="*/ 100 w 660"/>
                  <a:gd name="T31" fmla="*/ 208 h 667"/>
                  <a:gd name="T32" fmla="*/ 131 w 660"/>
                  <a:gd name="T33" fmla="*/ 194 h 667"/>
                  <a:gd name="T34" fmla="*/ 176 w 660"/>
                  <a:gd name="T35" fmla="*/ 218 h 667"/>
                  <a:gd name="T36" fmla="*/ 236 w 660"/>
                  <a:gd name="T37" fmla="*/ 323 h 667"/>
                  <a:gd name="T38" fmla="*/ 266 w 660"/>
                  <a:gd name="T39" fmla="*/ 350 h 667"/>
                  <a:gd name="T40" fmla="*/ 335 w 660"/>
                  <a:gd name="T41" fmla="*/ 409 h 667"/>
                  <a:gd name="T42" fmla="*/ 388 w 660"/>
                  <a:gd name="T43" fmla="*/ 420 h 667"/>
                  <a:gd name="T44" fmla="*/ 424 w 660"/>
                  <a:gd name="T45" fmla="*/ 454 h 667"/>
                  <a:gd name="T46" fmla="*/ 502 w 660"/>
                  <a:gd name="T47" fmla="*/ 503 h 667"/>
                  <a:gd name="T48" fmla="*/ 535 w 660"/>
                  <a:gd name="T49" fmla="*/ 571 h 667"/>
                  <a:gd name="T50" fmla="*/ 527 w 660"/>
                  <a:gd name="T51" fmla="*/ 662 h 667"/>
                  <a:gd name="T52" fmla="*/ 551 w 660"/>
                  <a:gd name="T53" fmla="*/ 638 h 667"/>
                  <a:gd name="T54" fmla="*/ 592 w 660"/>
                  <a:gd name="T55" fmla="*/ 582 h 667"/>
                  <a:gd name="T56" fmla="*/ 557 w 660"/>
                  <a:gd name="T57" fmla="*/ 526 h 667"/>
                  <a:gd name="T58" fmla="*/ 583 w 660"/>
                  <a:gd name="T59" fmla="*/ 467 h 667"/>
                  <a:gd name="T60" fmla="*/ 635 w 660"/>
                  <a:gd name="T61" fmla="*/ 498 h 667"/>
                  <a:gd name="T62" fmla="*/ 659 w 660"/>
                  <a:gd name="T63" fmla="*/ 469 h 667"/>
                  <a:gd name="T64" fmla="*/ 608 w 660"/>
                  <a:gd name="T65" fmla="*/ 437 h 667"/>
                  <a:gd name="T66" fmla="*/ 566 w 660"/>
                  <a:gd name="T67" fmla="*/ 424 h 667"/>
                  <a:gd name="T68" fmla="*/ 516 w 660"/>
                  <a:gd name="T69" fmla="*/ 377 h 667"/>
                  <a:gd name="T70" fmla="*/ 469 w 660"/>
                  <a:gd name="T71" fmla="*/ 367 h 667"/>
                  <a:gd name="T72" fmla="*/ 398 w 660"/>
                  <a:gd name="T73" fmla="*/ 323 h 667"/>
                  <a:gd name="T74" fmla="*/ 350 w 660"/>
                  <a:gd name="T75" fmla="*/ 244 h 667"/>
                  <a:gd name="T76" fmla="*/ 314 w 660"/>
                  <a:gd name="T77" fmla="*/ 217 h 667"/>
                  <a:gd name="T78" fmla="*/ 305 w 660"/>
                  <a:gd name="T79" fmla="*/ 168 h 667"/>
                  <a:gd name="T80" fmla="*/ 299 w 660"/>
                  <a:gd name="T81" fmla="*/ 142 h 667"/>
                  <a:gd name="T82" fmla="*/ 336 w 660"/>
                  <a:gd name="T83" fmla="*/ 107 h 66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60"/>
                  <a:gd name="T127" fmla="*/ 0 h 667"/>
                  <a:gd name="T128" fmla="*/ 660 w 660"/>
                  <a:gd name="T129" fmla="*/ 667 h 66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60" h="667">
                    <a:moveTo>
                      <a:pt x="359" y="90"/>
                    </a:moveTo>
                    <a:cubicBezTo>
                      <a:pt x="360" y="87"/>
                      <a:pt x="362" y="80"/>
                      <a:pt x="362" y="80"/>
                    </a:cubicBezTo>
                    <a:cubicBezTo>
                      <a:pt x="360" y="75"/>
                      <a:pt x="360" y="74"/>
                      <a:pt x="355" y="73"/>
                    </a:cubicBezTo>
                    <a:cubicBezTo>
                      <a:pt x="354" y="71"/>
                      <a:pt x="356" y="69"/>
                      <a:pt x="357" y="68"/>
                    </a:cubicBezTo>
                    <a:cubicBezTo>
                      <a:pt x="358" y="67"/>
                      <a:pt x="361" y="66"/>
                      <a:pt x="360" y="64"/>
                    </a:cubicBezTo>
                    <a:cubicBezTo>
                      <a:pt x="359" y="61"/>
                      <a:pt x="353" y="58"/>
                      <a:pt x="353" y="58"/>
                    </a:cubicBezTo>
                    <a:cubicBezTo>
                      <a:pt x="352" y="54"/>
                      <a:pt x="365" y="41"/>
                      <a:pt x="358" y="36"/>
                    </a:cubicBezTo>
                    <a:cubicBezTo>
                      <a:pt x="345" y="32"/>
                      <a:pt x="327" y="33"/>
                      <a:pt x="314" y="30"/>
                    </a:cubicBezTo>
                    <a:cubicBezTo>
                      <a:pt x="310" y="28"/>
                      <a:pt x="302" y="24"/>
                      <a:pt x="302" y="24"/>
                    </a:cubicBezTo>
                    <a:cubicBezTo>
                      <a:pt x="299" y="21"/>
                      <a:pt x="294" y="14"/>
                      <a:pt x="294" y="14"/>
                    </a:cubicBezTo>
                    <a:cubicBezTo>
                      <a:pt x="293" y="10"/>
                      <a:pt x="293" y="7"/>
                      <a:pt x="289" y="6"/>
                    </a:cubicBezTo>
                    <a:cubicBezTo>
                      <a:pt x="286" y="1"/>
                      <a:pt x="285" y="1"/>
                      <a:pt x="280" y="0"/>
                    </a:cubicBezTo>
                    <a:cubicBezTo>
                      <a:pt x="266" y="5"/>
                      <a:pt x="257" y="6"/>
                      <a:pt x="241" y="7"/>
                    </a:cubicBezTo>
                    <a:cubicBezTo>
                      <a:pt x="238" y="11"/>
                      <a:pt x="236" y="15"/>
                      <a:pt x="233" y="19"/>
                    </a:cubicBezTo>
                    <a:cubicBezTo>
                      <a:pt x="224" y="18"/>
                      <a:pt x="219" y="18"/>
                      <a:pt x="211" y="14"/>
                    </a:cubicBezTo>
                    <a:cubicBezTo>
                      <a:pt x="199" y="19"/>
                      <a:pt x="206" y="22"/>
                      <a:pt x="200" y="31"/>
                    </a:cubicBezTo>
                    <a:cubicBezTo>
                      <a:pt x="198" y="38"/>
                      <a:pt x="195" y="36"/>
                      <a:pt x="188" y="37"/>
                    </a:cubicBezTo>
                    <a:cubicBezTo>
                      <a:pt x="187" y="41"/>
                      <a:pt x="185" y="44"/>
                      <a:pt x="184" y="48"/>
                    </a:cubicBezTo>
                    <a:cubicBezTo>
                      <a:pt x="182" y="51"/>
                      <a:pt x="177" y="51"/>
                      <a:pt x="174" y="53"/>
                    </a:cubicBezTo>
                    <a:cubicBezTo>
                      <a:pt x="171" y="54"/>
                      <a:pt x="164" y="61"/>
                      <a:pt x="164" y="61"/>
                    </a:cubicBezTo>
                    <a:cubicBezTo>
                      <a:pt x="162" y="54"/>
                      <a:pt x="162" y="54"/>
                      <a:pt x="155" y="52"/>
                    </a:cubicBezTo>
                    <a:cubicBezTo>
                      <a:pt x="154" y="50"/>
                      <a:pt x="154" y="48"/>
                      <a:pt x="151" y="48"/>
                    </a:cubicBezTo>
                    <a:cubicBezTo>
                      <a:pt x="149" y="48"/>
                      <a:pt x="145" y="50"/>
                      <a:pt x="145" y="50"/>
                    </a:cubicBezTo>
                    <a:cubicBezTo>
                      <a:pt x="143" y="55"/>
                      <a:pt x="141" y="58"/>
                      <a:pt x="137" y="62"/>
                    </a:cubicBezTo>
                    <a:cubicBezTo>
                      <a:pt x="135" y="69"/>
                      <a:pt x="131" y="75"/>
                      <a:pt x="128" y="82"/>
                    </a:cubicBezTo>
                    <a:cubicBezTo>
                      <a:pt x="126" y="86"/>
                      <a:pt x="124" y="94"/>
                      <a:pt x="124" y="94"/>
                    </a:cubicBezTo>
                    <a:cubicBezTo>
                      <a:pt x="122" y="92"/>
                      <a:pt x="118" y="80"/>
                      <a:pt x="118" y="80"/>
                    </a:cubicBezTo>
                    <a:cubicBezTo>
                      <a:pt x="117" y="71"/>
                      <a:pt x="119" y="68"/>
                      <a:pt x="110" y="66"/>
                    </a:cubicBezTo>
                    <a:cubicBezTo>
                      <a:pt x="108" y="59"/>
                      <a:pt x="107" y="55"/>
                      <a:pt x="100" y="53"/>
                    </a:cubicBezTo>
                    <a:cubicBezTo>
                      <a:pt x="95" y="55"/>
                      <a:pt x="94" y="60"/>
                      <a:pt x="88" y="62"/>
                    </a:cubicBezTo>
                    <a:cubicBezTo>
                      <a:pt x="85" y="66"/>
                      <a:pt x="85" y="72"/>
                      <a:pt x="82" y="76"/>
                    </a:cubicBezTo>
                    <a:cubicBezTo>
                      <a:pt x="80" y="79"/>
                      <a:pt x="73" y="80"/>
                      <a:pt x="73" y="80"/>
                    </a:cubicBezTo>
                    <a:cubicBezTo>
                      <a:pt x="65" y="79"/>
                      <a:pt x="61" y="78"/>
                      <a:pt x="53" y="80"/>
                    </a:cubicBezTo>
                    <a:cubicBezTo>
                      <a:pt x="48" y="81"/>
                      <a:pt x="40" y="85"/>
                      <a:pt x="40" y="85"/>
                    </a:cubicBezTo>
                    <a:cubicBezTo>
                      <a:pt x="34" y="84"/>
                      <a:pt x="28" y="81"/>
                      <a:pt x="23" y="85"/>
                    </a:cubicBezTo>
                    <a:cubicBezTo>
                      <a:pt x="25" y="92"/>
                      <a:pt x="24" y="86"/>
                      <a:pt x="22" y="91"/>
                    </a:cubicBezTo>
                    <a:cubicBezTo>
                      <a:pt x="23" y="101"/>
                      <a:pt x="26" y="117"/>
                      <a:pt x="32" y="125"/>
                    </a:cubicBezTo>
                    <a:cubicBezTo>
                      <a:pt x="19" y="136"/>
                      <a:pt x="18" y="139"/>
                      <a:pt x="2" y="140"/>
                    </a:cubicBezTo>
                    <a:cubicBezTo>
                      <a:pt x="0" y="145"/>
                      <a:pt x="0" y="148"/>
                      <a:pt x="5" y="150"/>
                    </a:cubicBezTo>
                    <a:cubicBezTo>
                      <a:pt x="7" y="159"/>
                      <a:pt x="16" y="157"/>
                      <a:pt x="25" y="158"/>
                    </a:cubicBezTo>
                    <a:cubicBezTo>
                      <a:pt x="30" y="165"/>
                      <a:pt x="20" y="179"/>
                      <a:pt x="17" y="186"/>
                    </a:cubicBezTo>
                    <a:cubicBezTo>
                      <a:pt x="19" y="199"/>
                      <a:pt x="21" y="205"/>
                      <a:pt x="32" y="212"/>
                    </a:cubicBezTo>
                    <a:cubicBezTo>
                      <a:pt x="41" y="211"/>
                      <a:pt x="51" y="209"/>
                      <a:pt x="59" y="214"/>
                    </a:cubicBezTo>
                    <a:cubicBezTo>
                      <a:pt x="62" y="219"/>
                      <a:pt x="56" y="232"/>
                      <a:pt x="50" y="234"/>
                    </a:cubicBezTo>
                    <a:cubicBezTo>
                      <a:pt x="46" y="243"/>
                      <a:pt x="58" y="239"/>
                      <a:pt x="64" y="238"/>
                    </a:cubicBezTo>
                    <a:cubicBezTo>
                      <a:pt x="70" y="234"/>
                      <a:pt x="78" y="234"/>
                      <a:pt x="83" y="230"/>
                    </a:cubicBezTo>
                    <a:cubicBezTo>
                      <a:pt x="86" y="228"/>
                      <a:pt x="90" y="221"/>
                      <a:pt x="90" y="221"/>
                    </a:cubicBezTo>
                    <a:cubicBezTo>
                      <a:pt x="91" y="217"/>
                      <a:pt x="95" y="210"/>
                      <a:pt x="100" y="208"/>
                    </a:cubicBezTo>
                    <a:cubicBezTo>
                      <a:pt x="102" y="205"/>
                      <a:pt x="105" y="202"/>
                      <a:pt x="107" y="200"/>
                    </a:cubicBezTo>
                    <a:cubicBezTo>
                      <a:pt x="109" y="198"/>
                      <a:pt x="113" y="196"/>
                      <a:pt x="113" y="196"/>
                    </a:cubicBezTo>
                    <a:cubicBezTo>
                      <a:pt x="118" y="189"/>
                      <a:pt x="115" y="191"/>
                      <a:pt x="131" y="194"/>
                    </a:cubicBezTo>
                    <a:cubicBezTo>
                      <a:pt x="136" y="195"/>
                      <a:pt x="141" y="201"/>
                      <a:pt x="145" y="203"/>
                    </a:cubicBezTo>
                    <a:cubicBezTo>
                      <a:pt x="151" y="206"/>
                      <a:pt x="160" y="209"/>
                      <a:pt x="166" y="210"/>
                    </a:cubicBezTo>
                    <a:cubicBezTo>
                      <a:pt x="170" y="213"/>
                      <a:pt x="172" y="215"/>
                      <a:pt x="176" y="218"/>
                    </a:cubicBezTo>
                    <a:cubicBezTo>
                      <a:pt x="180" y="224"/>
                      <a:pt x="187" y="227"/>
                      <a:pt x="190" y="235"/>
                    </a:cubicBezTo>
                    <a:cubicBezTo>
                      <a:pt x="205" y="250"/>
                      <a:pt x="194" y="277"/>
                      <a:pt x="212" y="289"/>
                    </a:cubicBezTo>
                    <a:cubicBezTo>
                      <a:pt x="219" y="304"/>
                      <a:pt x="230" y="314"/>
                      <a:pt x="236" y="323"/>
                    </a:cubicBezTo>
                    <a:cubicBezTo>
                      <a:pt x="238" y="326"/>
                      <a:pt x="248" y="341"/>
                      <a:pt x="250" y="342"/>
                    </a:cubicBezTo>
                    <a:cubicBezTo>
                      <a:pt x="252" y="343"/>
                      <a:pt x="256" y="344"/>
                      <a:pt x="256" y="344"/>
                    </a:cubicBezTo>
                    <a:cubicBezTo>
                      <a:pt x="259" y="347"/>
                      <a:pt x="263" y="348"/>
                      <a:pt x="266" y="350"/>
                    </a:cubicBezTo>
                    <a:cubicBezTo>
                      <a:pt x="272" y="355"/>
                      <a:pt x="285" y="364"/>
                      <a:pt x="294" y="372"/>
                    </a:cubicBezTo>
                    <a:cubicBezTo>
                      <a:pt x="304" y="377"/>
                      <a:pt x="311" y="392"/>
                      <a:pt x="322" y="398"/>
                    </a:cubicBezTo>
                    <a:cubicBezTo>
                      <a:pt x="324" y="404"/>
                      <a:pt x="329" y="407"/>
                      <a:pt x="335" y="409"/>
                    </a:cubicBezTo>
                    <a:cubicBezTo>
                      <a:pt x="340" y="417"/>
                      <a:pt x="345" y="419"/>
                      <a:pt x="352" y="424"/>
                    </a:cubicBezTo>
                    <a:cubicBezTo>
                      <a:pt x="365" y="422"/>
                      <a:pt x="364" y="421"/>
                      <a:pt x="373" y="418"/>
                    </a:cubicBezTo>
                    <a:cubicBezTo>
                      <a:pt x="378" y="418"/>
                      <a:pt x="384" y="416"/>
                      <a:pt x="388" y="420"/>
                    </a:cubicBezTo>
                    <a:cubicBezTo>
                      <a:pt x="391" y="423"/>
                      <a:pt x="395" y="428"/>
                      <a:pt x="395" y="428"/>
                    </a:cubicBezTo>
                    <a:cubicBezTo>
                      <a:pt x="397" y="435"/>
                      <a:pt x="398" y="442"/>
                      <a:pt x="400" y="449"/>
                    </a:cubicBezTo>
                    <a:cubicBezTo>
                      <a:pt x="405" y="453"/>
                      <a:pt x="415" y="452"/>
                      <a:pt x="424" y="454"/>
                    </a:cubicBezTo>
                    <a:cubicBezTo>
                      <a:pt x="432" y="460"/>
                      <a:pt x="442" y="458"/>
                      <a:pt x="452" y="460"/>
                    </a:cubicBezTo>
                    <a:cubicBezTo>
                      <a:pt x="457" y="468"/>
                      <a:pt x="458" y="489"/>
                      <a:pt x="467" y="492"/>
                    </a:cubicBezTo>
                    <a:cubicBezTo>
                      <a:pt x="475" y="503"/>
                      <a:pt x="489" y="501"/>
                      <a:pt x="502" y="503"/>
                    </a:cubicBezTo>
                    <a:cubicBezTo>
                      <a:pt x="508" y="511"/>
                      <a:pt x="514" y="524"/>
                      <a:pt x="516" y="534"/>
                    </a:cubicBezTo>
                    <a:cubicBezTo>
                      <a:pt x="517" y="539"/>
                      <a:pt x="522" y="547"/>
                      <a:pt x="522" y="547"/>
                    </a:cubicBezTo>
                    <a:cubicBezTo>
                      <a:pt x="524" y="553"/>
                      <a:pt x="530" y="566"/>
                      <a:pt x="535" y="571"/>
                    </a:cubicBezTo>
                    <a:cubicBezTo>
                      <a:pt x="539" y="584"/>
                      <a:pt x="534" y="599"/>
                      <a:pt x="523" y="607"/>
                    </a:cubicBezTo>
                    <a:cubicBezTo>
                      <a:pt x="519" y="620"/>
                      <a:pt x="516" y="633"/>
                      <a:pt x="515" y="647"/>
                    </a:cubicBezTo>
                    <a:cubicBezTo>
                      <a:pt x="516" y="658"/>
                      <a:pt x="517" y="659"/>
                      <a:pt x="527" y="662"/>
                    </a:cubicBezTo>
                    <a:cubicBezTo>
                      <a:pt x="534" y="661"/>
                      <a:pt x="531" y="667"/>
                      <a:pt x="535" y="662"/>
                    </a:cubicBezTo>
                    <a:cubicBezTo>
                      <a:pt x="536" y="658"/>
                      <a:pt x="538" y="656"/>
                      <a:pt x="541" y="653"/>
                    </a:cubicBezTo>
                    <a:cubicBezTo>
                      <a:pt x="543" y="648"/>
                      <a:pt x="547" y="642"/>
                      <a:pt x="551" y="638"/>
                    </a:cubicBezTo>
                    <a:cubicBezTo>
                      <a:pt x="553" y="631"/>
                      <a:pt x="559" y="627"/>
                      <a:pt x="560" y="620"/>
                    </a:cubicBezTo>
                    <a:cubicBezTo>
                      <a:pt x="562" y="606"/>
                      <a:pt x="566" y="589"/>
                      <a:pt x="582" y="586"/>
                    </a:cubicBezTo>
                    <a:cubicBezTo>
                      <a:pt x="585" y="584"/>
                      <a:pt x="592" y="582"/>
                      <a:pt x="592" y="582"/>
                    </a:cubicBezTo>
                    <a:cubicBezTo>
                      <a:pt x="592" y="581"/>
                      <a:pt x="595" y="576"/>
                      <a:pt x="595" y="575"/>
                    </a:cubicBezTo>
                    <a:cubicBezTo>
                      <a:pt x="595" y="568"/>
                      <a:pt x="595" y="561"/>
                      <a:pt x="594" y="554"/>
                    </a:cubicBezTo>
                    <a:cubicBezTo>
                      <a:pt x="592" y="532"/>
                      <a:pt x="571" y="535"/>
                      <a:pt x="557" y="526"/>
                    </a:cubicBezTo>
                    <a:cubicBezTo>
                      <a:pt x="556" y="523"/>
                      <a:pt x="554" y="520"/>
                      <a:pt x="553" y="517"/>
                    </a:cubicBezTo>
                    <a:cubicBezTo>
                      <a:pt x="554" y="494"/>
                      <a:pt x="556" y="491"/>
                      <a:pt x="563" y="479"/>
                    </a:cubicBezTo>
                    <a:cubicBezTo>
                      <a:pt x="566" y="471"/>
                      <a:pt x="575" y="468"/>
                      <a:pt x="583" y="467"/>
                    </a:cubicBezTo>
                    <a:cubicBezTo>
                      <a:pt x="595" y="468"/>
                      <a:pt x="592" y="471"/>
                      <a:pt x="601" y="474"/>
                    </a:cubicBezTo>
                    <a:cubicBezTo>
                      <a:pt x="607" y="474"/>
                      <a:pt x="628" y="469"/>
                      <a:pt x="630" y="478"/>
                    </a:cubicBezTo>
                    <a:cubicBezTo>
                      <a:pt x="629" y="484"/>
                      <a:pt x="627" y="495"/>
                      <a:pt x="635" y="498"/>
                    </a:cubicBezTo>
                    <a:cubicBezTo>
                      <a:pt x="639" y="506"/>
                      <a:pt x="649" y="504"/>
                      <a:pt x="656" y="509"/>
                    </a:cubicBezTo>
                    <a:cubicBezTo>
                      <a:pt x="659" y="501"/>
                      <a:pt x="659" y="498"/>
                      <a:pt x="660" y="490"/>
                    </a:cubicBezTo>
                    <a:cubicBezTo>
                      <a:pt x="660" y="483"/>
                      <a:pt x="660" y="476"/>
                      <a:pt x="659" y="469"/>
                    </a:cubicBezTo>
                    <a:cubicBezTo>
                      <a:pt x="658" y="464"/>
                      <a:pt x="644" y="462"/>
                      <a:pt x="644" y="462"/>
                    </a:cubicBezTo>
                    <a:cubicBezTo>
                      <a:pt x="638" y="450"/>
                      <a:pt x="632" y="450"/>
                      <a:pt x="622" y="443"/>
                    </a:cubicBezTo>
                    <a:cubicBezTo>
                      <a:pt x="618" y="440"/>
                      <a:pt x="608" y="437"/>
                      <a:pt x="608" y="437"/>
                    </a:cubicBezTo>
                    <a:cubicBezTo>
                      <a:pt x="604" y="434"/>
                      <a:pt x="595" y="431"/>
                      <a:pt x="595" y="431"/>
                    </a:cubicBezTo>
                    <a:cubicBezTo>
                      <a:pt x="591" y="425"/>
                      <a:pt x="584" y="427"/>
                      <a:pt x="578" y="426"/>
                    </a:cubicBezTo>
                    <a:cubicBezTo>
                      <a:pt x="574" y="425"/>
                      <a:pt x="570" y="425"/>
                      <a:pt x="566" y="424"/>
                    </a:cubicBezTo>
                    <a:cubicBezTo>
                      <a:pt x="556" y="420"/>
                      <a:pt x="527" y="408"/>
                      <a:pt x="518" y="403"/>
                    </a:cubicBezTo>
                    <a:cubicBezTo>
                      <a:pt x="512" y="401"/>
                      <a:pt x="512" y="399"/>
                      <a:pt x="509" y="394"/>
                    </a:cubicBezTo>
                    <a:cubicBezTo>
                      <a:pt x="511" y="388"/>
                      <a:pt x="513" y="383"/>
                      <a:pt x="516" y="377"/>
                    </a:cubicBezTo>
                    <a:cubicBezTo>
                      <a:pt x="517" y="375"/>
                      <a:pt x="520" y="362"/>
                      <a:pt x="520" y="362"/>
                    </a:cubicBezTo>
                    <a:cubicBezTo>
                      <a:pt x="518" y="351"/>
                      <a:pt x="509" y="361"/>
                      <a:pt x="499" y="360"/>
                    </a:cubicBezTo>
                    <a:cubicBezTo>
                      <a:pt x="485" y="362"/>
                      <a:pt x="483" y="368"/>
                      <a:pt x="469" y="367"/>
                    </a:cubicBezTo>
                    <a:cubicBezTo>
                      <a:pt x="457" y="363"/>
                      <a:pt x="434" y="351"/>
                      <a:pt x="422" y="347"/>
                    </a:cubicBezTo>
                    <a:cubicBezTo>
                      <a:pt x="417" y="342"/>
                      <a:pt x="412" y="339"/>
                      <a:pt x="407" y="334"/>
                    </a:cubicBezTo>
                    <a:cubicBezTo>
                      <a:pt x="406" y="330"/>
                      <a:pt x="402" y="325"/>
                      <a:pt x="398" y="323"/>
                    </a:cubicBezTo>
                    <a:cubicBezTo>
                      <a:pt x="387" y="307"/>
                      <a:pt x="395" y="279"/>
                      <a:pt x="378" y="268"/>
                    </a:cubicBezTo>
                    <a:cubicBezTo>
                      <a:pt x="377" y="264"/>
                      <a:pt x="365" y="254"/>
                      <a:pt x="361" y="253"/>
                    </a:cubicBezTo>
                    <a:cubicBezTo>
                      <a:pt x="358" y="249"/>
                      <a:pt x="350" y="244"/>
                      <a:pt x="350" y="244"/>
                    </a:cubicBezTo>
                    <a:cubicBezTo>
                      <a:pt x="347" y="239"/>
                      <a:pt x="341" y="235"/>
                      <a:pt x="335" y="233"/>
                    </a:cubicBezTo>
                    <a:cubicBezTo>
                      <a:pt x="332" y="230"/>
                      <a:pt x="330" y="227"/>
                      <a:pt x="326" y="226"/>
                    </a:cubicBezTo>
                    <a:cubicBezTo>
                      <a:pt x="323" y="222"/>
                      <a:pt x="319" y="218"/>
                      <a:pt x="314" y="217"/>
                    </a:cubicBezTo>
                    <a:cubicBezTo>
                      <a:pt x="310" y="215"/>
                      <a:pt x="311" y="212"/>
                      <a:pt x="307" y="210"/>
                    </a:cubicBezTo>
                    <a:cubicBezTo>
                      <a:pt x="306" y="202"/>
                      <a:pt x="304" y="194"/>
                      <a:pt x="301" y="187"/>
                    </a:cubicBezTo>
                    <a:cubicBezTo>
                      <a:pt x="305" y="155"/>
                      <a:pt x="302" y="181"/>
                      <a:pt x="305" y="168"/>
                    </a:cubicBezTo>
                    <a:cubicBezTo>
                      <a:pt x="306" y="165"/>
                      <a:pt x="307" y="158"/>
                      <a:pt x="307" y="158"/>
                    </a:cubicBezTo>
                    <a:cubicBezTo>
                      <a:pt x="307" y="155"/>
                      <a:pt x="307" y="151"/>
                      <a:pt x="305" y="148"/>
                    </a:cubicBezTo>
                    <a:cubicBezTo>
                      <a:pt x="303" y="146"/>
                      <a:pt x="299" y="142"/>
                      <a:pt x="299" y="142"/>
                    </a:cubicBezTo>
                    <a:cubicBezTo>
                      <a:pt x="298" y="138"/>
                      <a:pt x="295" y="137"/>
                      <a:pt x="294" y="133"/>
                    </a:cubicBezTo>
                    <a:cubicBezTo>
                      <a:pt x="296" y="126"/>
                      <a:pt x="294" y="128"/>
                      <a:pt x="299" y="125"/>
                    </a:cubicBezTo>
                    <a:cubicBezTo>
                      <a:pt x="303" y="114"/>
                      <a:pt x="326" y="109"/>
                      <a:pt x="336" y="107"/>
                    </a:cubicBezTo>
                    <a:cubicBezTo>
                      <a:pt x="339" y="105"/>
                      <a:pt x="346" y="100"/>
                      <a:pt x="346" y="100"/>
                    </a:cubicBezTo>
                    <a:cubicBezTo>
                      <a:pt x="349" y="96"/>
                      <a:pt x="354" y="92"/>
                      <a:pt x="359" y="90"/>
                    </a:cubicBezTo>
                    <a:close/>
                  </a:path>
                </a:pathLst>
              </a:custGeom>
              <a:solidFill>
                <a:srgbClr val="8D9399"/>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grpSp>
        <p:sp>
          <p:nvSpPr>
            <p:cNvPr id="377" name="Freeform 2494"/>
            <p:cNvSpPr>
              <a:spLocks noChangeAspect="1"/>
            </p:cNvSpPr>
            <p:nvPr/>
          </p:nvSpPr>
          <p:spPr bwMode="auto">
            <a:xfrm>
              <a:off x="3599229" y="6109754"/>
              <a:ext cx="51745" cy="40246"/>
            </a:xfrm>
            <a:custGeom>
              <a:avLst/>
              <a:gdLst>
                <a:gd name="T0" fmla="*/ 25 w 27"/>
                <a:gd name="T1" fmla="*/ 0 h 21"/>
                <a:gd name="T2" fmla="*/ 0 w 27"/>
                <a:gd name="T3" fmla="*/ 10 h 21"/>
                <a:gd name="T4" fmla="*/ 10 w 27"/>
                <a:gd name="T5" fmla="*/ 20 h 21"/>
                <a:gd name="T6" fmla="*/ 27 w 27"/>
                <a:gd name="T7" fmla="*/ 15 h 21"/>
                <a:gd name="T8" fmla="*/ 19 w 27"/>
                <a:gd name="T9" fmla="*/ 1 h 21"/>
                <a:gd name="T10" fmla="*/ 9 w 27"/>
                <a:gd name="T11" fmla="*/ 3 h 21"/>
                <a:gd name="T12" fmla="*/ 0 60000 65536"/>
                <a:gd name="T13" fmla="*/ 0 60000 65536"/>
                <a:gd name="T14" fmla="*/ 0 60000 65536"/>
                <a:gd name="T15" fmla="*/ 0 60000 65536"/>
                <a:gd name="T16" fmla="*/ 0 60000 65536"/>
                <a:gd name="T17" fmla="*/ 0 60000 65536"/>
                <a:gd name="T18" fmla="*/ 0 w 27"/>
                <a:gd name="T19" fmla="*/ 0 h 21"/>
                <a:gd name="T20" fmla="*/ 27 w 27"/>
                <a:gd name="T21" fmla="*/ 21 h 21"/>
              </a:gdLst>
              <a:ahLst/>
              <a:cxnLst>
                <a:cxn ang="T12">
                  <a:pos x="T0" y="T1"/>
                </a:cxn>
                <a:cxn ang="T13">
                  <a:pos x="T2" y="T3"/>
                </a:cxn>
                <a:cxn ang="T14">
                  <a:pos x="T4" y="T5"/>
                </a:cxn>
                <a:cxn ang="T15">
                  <a:pos x="T6" y="T7"/>
                </a:cxn>
                <a:cxn ang="T16">
                  <a:pos x="T8" y="T9"/>
                </a:cxn>
                <a:cxn ang="T17">
                  <a:pos x="T10" y="T11"/>
                </a:cxn>
              </a:cxnLst>
              <a:rect l="T18" t="T19" r="T20" b="T21"/>
              <a:pathLst>
                <a:path w="27" h="21">
                  <a:moveTo>
                    <a:pt x="25" y="0"/>
                  </a:moveTo>
                  <a:cubicBezTo>
                    <a:pt x="5" y="2"/>
                    <a:pt x="12" y="2"/>
                    <a:pt x="0" y="10"/>
                  </a:cubicBezTo>
                  <a:cubicBezTo>
                    <a:pt x="1" y="15"/>
                    <a:pt x="10" y="20"/>
                    <a:pt x="10" y="20"/>
                  </a:cubicBezTo>
                  <a:cubicBezTo>
                    <a:pt x="16" y="19"/>
                    <a:pt x="23" y="21"/>
                    <a:pt x="27" y="15"/>
                  </a:cubicBezTo>
                  <a:cubicBezTo>
                    <a:pt x="25" y="10"/>
                    <a:pt x="24" y="3"/>
                    <a:pt x="19" y="1"/>
                  </a:cubicBezTo>
                  <a:cubicBezTo>
                    <a:pt x="16" y="2"/>
                    <a:pt x="9" y="3"/>
                    <a:pt x="9" y="3"/>
                  </a:cubicBezTo>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378" name="Freeform 2495"/>
            <p:cNvSpPr>
              <a:spLocks noChangeAspect="1"/>
            </p:cNvSpPr>
            <p:nvPr/>
          </p:nvSpPr>
          <p:spPr bwMode="auto">
            <a:xfrm>
              <a:off x="3620310" y="6167248"/>
              <a:ext cx="44079" cy="17248"/>
            </a:xfrm>
            <a:custGeom>
              <a:avLst/>
              <a:gdLst>
                <a:gd name="T0" fmla="*/ 1 w 23"/>
                <a:gd name="T1" fmla="*/ 0 h 9"/>
                <a:gd name="T2" fmla="*/ 3 w 23"/>
                <a:gd name="T3" fmla="*/ 7 h 9"/>
                <a:gd name="T4" fmla="*/ 1 w 23"/>
                <a:gd name="T5" fmla="*/ 0 h 9"/>
                <a:gd name="T6" fmla="*/ 0 60000 65536"/>
                <a:gd name="T7" fmla="*/ 0 60000 65536"/>
                <a:gd name="T8" fmla="*/ 0 60000 65536"/>
                <a:gd name="T9" fmla="*/ 0 w 23"/>
                <a:gd name="T10" fmla="*/ 0 h 9"/>
                <a:gd name="T11" fmla="*/ 23 w 23"/>
                <a:gd name="T12" fmla="*/ 9 h 9"/>
              </a:gdLst>
              <a:ahLst/>
              <a:cxnLst>
                <a:cxn ang="T6">
                  <a:pos x="T0" y="T1"/>
                </a:cxn>
                <a:cxn ang="T7">
                  <a:pos x="T2" y="T3"/>
                </a:cxn>
                <a:cxn ang="T8">
                  <a:pos x="T4" y="T5"/>
                </a:cxn>
              </a:cxnLst>
              <a:rect l="T9" t="T10" r="T11" b="T12"/>
              <a:pathLst>
                <a:path w="23" h="9">
                  <a:moveTo>
                    <a:pt x="1" y="0"/>
                  </a:moveTo>
                  <a:cubicBezTo>
                    <a:pt x="23" y="2"/>
                    <a:pt x="19" y="9"/>
                    <a:pt x="3" y="7"/>
                  </a:cubicBezTo>
                  <a:cubicBezTo>
                    <a:pt x="0" y="3"/>
                    <a:pt x="1" y="5"/>
                    <a:pt x="1" y="0"/>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379" name="Freeform 2496"/>
            <p:cNvSpPr>
              <a:spLocks noChangeAspect="1"/>
            </p:cNvSpPr>
            <p:nvPr/>
          </p:nvSpPr>
          <p:spPr bwMode="auto">
            <a:xfrm>
              <a:off x="3737215" y="6008181"/>
              <a:ext cx="122655" cy="95824"/>
            </a:xfrm>
            <a:custGeom>
              <a:avLst/>
              <a:gdLst>
                <a:gd name="T0" fmla="*/ 3 w 64"/>
                <a:gd name="T1" fmla="*/ 19 h 50"/>
                <a:gd name="T2" fmla="*/ 18 w 64"/>
                <a:gd name="T3" fmla="*/ 14 h 50"/>
                <a:gd name="T4" fmla="*/ 30 w 64"/>
                <a:gd name="T5" fmla="*/ 6 h 50"/>
                <a:gd name="T6" fmla="*/ 44 w 64"/>
                <a:gd name="T7" fmla="*/ 0 h 50"/>
                <a:gd name="T8" fmla="*/ 52 w 64"/>
                <a:gd name="T9" fmla="*/ 21 h 50"/>
                <a:gd name="T10" fmla="*/ 64 w 64"/>
                <a:gd name="T11" fmla="*/ 18 h 50"/>
                <a:gd name="T12" fmla="*/ 58 w 64"/>
                <a:gd name="T13" fmla="*/ 32 h 50"/>
                <a:gd name="T14" fmla="*/ 56 w 64"/>
                <a:gd name="T15" fmla="*/ 35 h 50"/>
                <a:gd name="T16" fmla="*/ 52 w 64"/>
                <a:gd name="T17" fmla="*/ 37 h 50"/>
                <a:gd name="T18" fmla="*/ 40 w 64"/>
                <a:gd name="T19" fmla="*/ 50 h 50"/>
                <a:gd name="T20" fmla="*/ 26 w 64"/>
                <a:gd name="T21" fmla="*/ 42 h 50"/>
                <a:gd name="T22" fmla="*/ 19 w 64"/>
                <a:gd name="T23" fmla="*/ 31 h 50"/>
                <a:gd name="T24" fmla="*/ 0 w 64"/>
                <a:gd name="T25" fmla="*/ 25 h 50"/>
                <a:gd name="T26" fmla="*/ 15 w 64"/>
                <a:gd name="T27" fmla="*/ 15 h 50"/>
                <a:gd name="T28" fmla="*/ 18 w 64"/>
                <a:gd name="T29" fmla="*/ 14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4"/>
                <a:gd name="T46" fmla="*/ 0 h 50"/>
                <a:gd name="T47" fmla="*/ 64 w 64"/>
                <a:gd name="T48" fmla="*/ 50 h 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4" h="50">
                  <a:moveTo>
                    <a:pt x="3" y="19"/>
                  </a:moveTo>
                  <a:cubicBezTo>
                    <a:pt x="8" y="17"/>
                    <a:pt x="13" y="16"/>
                    <a:pt x="18" y="14"/>
                  </a:cubicBezTo>
                  <a:cubicBezTo>
                    <a:pt x="23" y="12"/>
                    <a:pt x="25" y="8"/>
                    <a:pt x="30" y="6"/>
                  </a:cubicBezTo>
                  <a:cubicBezTo>
                    <a:pt x="33" y="2"/>
                    <a:pt x="44" y="0"/>
                    <a:pt x="44" y="0"/>
                  </a:cubicBezTo>
                  <a:cubicBezTo>
                    <a:pt x="55" y="3"/>
                    <a:pt x="43" y="15"/>
                    <a:pt x="52" y="21"/>
                  </a:cubicBezTo>
                  <a:cubicBezTo>
                    <a:pt x="60" y="16"/>
                    <a:pt x="56" y="17"/>
                    <a:pt x="64" y="18"/>
                  </a:cubicBezTo>
                  <a:cubicBezTo>
                    <a:pt x="63" y="24"/>
                    <a:pt x="63" y="29"/>
                    <a:pt x="58" y="32"/>
                  </a:cubicBezTo>
                  <a:cubicBezTo>
                    <a:pt x="57" y="33"/>
                    <a:pt x="57" y="34"/>
                    <a:pt x="56" y="35"/>
                  </a:cubicBezTo>
                  <a:cubicBezTo>
                    <a:pt x="55" y="36"/>
                    <a:pt x="53" y="36"/>
                    <a:pt x="52" y="37"/>
                  </a:cubicBezTo>
                  <a:cubicBezTo>
                    <a:pt x="45" y="45"/>
                    <a:pt x="52" y="44"/>
                    <a:pt x="40" y="50"/>
                  </a:cubicBezTo>
                  <a:cubicBezTo>
                    <a:pt x="35" y="46"/>
                    <a:pt x="33" y="43"/>
                    <a:pt x="26" y="42"/>
                  </a:cubicBezTo>
                  <a:cubicBezTo>
                    <a:pt x="24" y="36"/>
                    <a:pt x="24" y="34"/>
                    <a:pt x="19" y="31"/>
                  </a:cubicBezTo>
                  <a:cubicBezTo>
                    <a:pt x="3" y="32"/>
                    <a:pt x="0" y="38"/>
                    <a:pt x="0" y="25"/>
                  </a:cubicBezTo>
                  <a:cubicBezTo>
                    <a:pt x="0" y="19"/>
                    <a:pt x="10" y="17"/>
                    <a:pt x="15" y="15"/>
                  </a:cubicBezTo>
                  <a:cubicBezTo>
                    <a:pt x="16" y="15"/>
                    <a:pt x="18" y="14"/>
                    <a:pt x="18" y="14"/>
                  </a:cubicBezTo>
                </a:path>
              </a:pathLst>
            </a:custGeom>
            <a:solidFill>
              <a:srgbClr val="8D9399"/>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380" name="Freeform 2497"/>
            <p:cNvSpPr>
              <a:spLocks noChangeAspect="1"/>
            </p:cNvSpPr>
            <p:nvPr/>
          </p:nvSpPr>
          <p:spPr bwMode="auto">
            <a:xfrm>
              <a:off x="3900116" y="6006264"/>
              <a:ext cx="59411" cy="45995"/>
            </a:xfrm>
            <a:custGeom>
              <a:avLst/>
              <a:gdLst>
                <a:gd name="T0" fmla="*/ 1 w 31"/>
                <a:gd name="T1" fmla="*/ 0 h 24"/>
                <a:gd name="T2" fmla="*/ 24 w 31"/>
                <a:gd name="T3" fmla="*/ 1 h 24"/>
                <a:gd name="T4" fmla="*/ 29 w 31"/>
                <a:gd name="T5" fmla="*/ 21 h 24"/>
                <a:gd name="T6" fmla="*/ 19 w 31"/>
                <a:gd name="T7" fmla="*/ 13 h 24"/>
                <a:gd name="T8" fmla="*/ 6 w 31"/>
                <a:gd name="T9" fmla="*/ 10 h 24"/>
                <a:gd name="T10" fmla="*/ 1 w 31"/>
                <a:gd name="T11" fmla="*/ 0 h 24"/>
                <a:gd name="T12" fmla="*/ 0 60000 65536"/>
                <a:gd name="T13" fmla="*/ 0 60000 65536"/>
                <a:gd name="T14" fmla="*/ 0 60000 65536"/>
                <a:gd name="T15" fmla="*/ 0 60000 65536"/>
                <a:gd name="T16" fmla="*/ 0 60000 65536"/>
                <a:gd name="T17" fmla="*/ 0 60000 65536"/>
                <a:gd name="T18" fmla="*/ 0 w 31"/>
                <a:gd name="T19" fmla="*/ 0 h 24"/>
                <a:gd name="T20" fmla="*/ 31 w 31"/>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31" h="24">
                  <a:moveTo>
                    <a:pt x="1" y="0"/>
                  </a:moveTo>
                  <a:cubicBezTo>
                    <a:pt x="9" y="0"/>
                    <a:pt x="16" y="0"/>
                    <a:pt x="24" y="1"/>
                  </a:cubicBezTo>
                  <a:cubicBezTo>
                    <a:pt x="31" y="2"/>
                    <a:pt x="29" y="21"/>
                    <a:pt x="29" y="21"/>
                  </a:cubicBezTo>
                  <a:cubicBezTo>
                    <a:pt x="21" y="24"/>
                    <a:pt x="24" y="16"/>
                    <a:pt x="19" y="13"/>
                  </a:cubicBezTo>
                  <a:cubicBezTo>
                    <a:pt x="15" y="11"/>
                    <a:pt x="10" y="11"/>
                    <a:pt x="6" y="10"/>
                  </a:cubicBezTo>
                  <a:cubicBezTo>
                    <a:pt x="0" y="6"/>
                    <a:pt x="0" y="9"/>
                    <a:pt x="1" y="0"/>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381" name="Freeform 2498"/>
            <p:cNvSpPr>
              <a:spLocks noChangeAspect="1"/>
            </p:cNvSpPr>
            <p:nvPr/>
          </p:nvSpPr>
          <p:spPr bwMode="auto">
            <a:xfrm>
              <a:off x="2604576" y="5283752"/>
              <a:ext cx="1274459" cy="1130722"/>
            </a:xfrm>
            <a:custGeom>
              <a:avLst/>
              <a:gdLst>
                <a:gd name="T0" fmla="*/ 395 w 665"/>
                <a:gd name="T1" fmla="*/ 96 h 590"/>
                <a:gd name="T2" fmla="*/ 361 w 665"/>
                <a:gd name="T3" fmla="*/ 90 h 590"/>
                <a:gd name="T4" fmla="*/ 337 w 665"/>
                <a:gd name="T5" fmla="*/ 86 h 590"/>
                <a:gd name="T6" fmla="*/ 310 w 665"/>
                <a:gd name="T7" fmla="*/ 71 h 590"/>
                <a:gd name="T8" fmla="*/ 258 w 665"/>
                <a:gd name="T9" fmla="*/ 61 h 590"/>
                <a:gd name="T10" fmla="*/ 220 w 665"/>
                <a:gd name="T11" fmla="*/ 53 h 590"/>
                <a:gd name="T12" fmla="*/ 137 w 665"/>
                <a:gd name="T13" fmla="*/ 26 h 590"/>
                <a:gd name="T14" fmla="*/ 90 w 665"/>
                <a:gd name="T15" fmla="*/ 2 h 590"/>
                <a:gd name="T16" fmla="*/ 66 w 665"/>
                <a:gd name="T17" fmla="*/ 18 h 590"/>
                <a:gd name="T18" fmla="*/ 40 w 665"/>
                <a:gd name="T19" fmla="*/ 23 h 590"/>
                <a:gd name="T20" fmla="*/ 15 w 665"/>
                <a:gd name="T21" fmla="*/ 20 h 590"/>
                <a:gd name="T22" fmla="*/ 12 w 665"/>
                <a:gd name="T23" fmla="*/ 102 h 590"/>
                <a:gd name="T24" fmla="*/ 29 w 665"/>
                <a:gd name="T25" fmla="*/ 115 h 590"/>
                <a:gd name="T26" fmla="*/ 43 w 665"/>
                <a:gd name="T27" fmla="*/ 133 h 590"/>
                <a:gd name="T28" fmla="*/ 129 w 665"/>
                <a:gd name="T29" fmla="*/ 147 h 590"/>
                <a:gd name="T30" fmla="*/ 138 w 665"/>
                <a:gd name="T31" fmla="*/ 182 h 590"/>
                <a:gd name="T32" fmla="*/ 99 w 665"/>
                <a:gd name="T33" fmla="*/ 212 h 590"/>
                <a:gd name="T34" fmla="*/ 91 w 665"/>
                <a:gd name="T35" fmla="*/ 247 h 590"/>
                <a:gd name="T36" fmla="*/ 82 w 665"/>
                <a:gd name="T37" fmla="*/ 275 h 590"/>
                <a:gd name="T38" fmla="*/ 63 w 665"/>
                <a:gd name="T39" fmla="*/ 303 h 590"/>
                <a:gd name="T40" fmla="*/ 45 w 665"/>
                <a:gd name="T41" fmla="*/ 309 h 590"/>
                <a:gd name="T42" fmla="*/ 48 w 665"/>
                <a:gd name="T43" fmla="*/ 362 h 590"/>
                <a:gd name="T44" fmla="*/ 34 w 665"/>
                <a:gd name="T45" fmla="*/ 392 h 590"/>
                <a:gd name="T46" fmla="*/ 40 w 665"/>
                <a:gd name="T47" fmla="*/ 409 h 590"/>
                <a:gd name="T48" fmla="*/ 23 w 665"/>
                <a:gd name="T49" fmla="*/ 428 h 590"/>
                <a:gd name="T50" fmla="*/ 0 w 665"/>
                <a:gd name="T51" fmla="*/ 461 h 590"/>
                <a:gd name="T52" fmla="*/ 34 w 665"/>
                <a:gd name="T53" fmla="*/ 492 h 590"/>
                <a:gd name="T54" fmla="*/ 57 w 665"/>
                <a:gd name="T55" fmla="*/ 537 h 590"/>
                <a:gd name="T56" fmla="*/ 75 w 665"/>
                <a:gd name="T57" fmla="*/ 590 h 590"/>
                <a:gd name="T58" fmla="*/ 124 w 665"/>
                <a:gd name="T59" fmla="*/ 572 h 590"/>
                <a:gd name="T60" fmla="*/ 186 w 665"/>
                <a:gd name="T61" fmla="*/ 554 h 590"/>
                <a:gd name="T62" fmla="*/ 281 w 665"/>
                <a:gd name="T63" fmla="*/ 567 h 590"/>
                <a:gd name="T64" fmla="*/ 336 w 665"/>
                <a:gd name="T65" fmla="*/ 537 h 590"/>
                <a:gd name="T66" fmla="*/ 402 w 665"/>
                <a:gd name="T67" fmla="*/ 518 h 590"/>
                <a:gd name="T68" fmla="*/ 438 w 665"/>
                <a:gd name="T69" fmla="*/ 455 h 590"/>
                <a:gd name="T70" fmla="*/ 450 w 665"/>
                <a:gd name="T71" fmla="*/ 425 h 590"/>
                <a:gd name="T72" fmla="*/ 435 w 665"/>
                <a:gd name="T73" fmla="*/ 405 h 590"/>
                <a:gd name="T74" fmla="*/ 456 w 665"/>
                <a:gd name="T75" fmla="*/ 371 h 590"/>
                <a:gd name="T76" fmla="*/ 480 w 665"/>
                <a:gd name="T77" fmla="*/ 341 h 590"/>
                <a:gd name="T78" fmla="*/ 497 w 665"/>
                <a:gd name="T79" fmla="*/ 315 h 590"/>
                <a:gd name="T80" fmla="*/ 522 w 665"/>
                <a:gd name="T81" fmla="*/ 297 h 590"/>
                <a:gd name="T82" fmla="*/ 549 w 665"/>
                <a:gd name="T83" fmla="*/ 281 h 590"/>
                <a:gd name="T84" fmla="*/ 607 w 665"/>
                <a:gd name="T85" fmla="*/ 267 h 590"/>
                <a:gd name="T86" fmla="*/ 640 w 665"/>
                <a:gd name="T87" fmla="*/ 251 h 590"/>
                <a:gd name="T88" fmla="*/ 659 w 665"/>
                <a:gd name="T89" fmla="*/ 191 h 590"/>
                <a:gd name="T90" fmla="*/ 598 w 665"/>
                <a:gd name="T91" fmla="*/ 193 h 590"/>
                <a:gd name="T92" fmla="*/ 569 w 665"/>
                <a:gd name="T93" fmla="*/ 170 h 590"/>
                <a:gd name="T94" fmla="*/ 531 w 665"/>
                <a:gd name="T95" fmla="*/ 162 h 590"/>
                <a:gd name="T96" fmla="*/ 504 w 665"/>
                <a:gd name="T97" fmla="*/ 159 h 590"/>
                <a:gd name="T98" fmla="*/ 467 w 665"/>
                <a:gd name="T99" fmla="*/ 143 h 590"/>
                <a:gd name="T100" fmla="*/ 437 w 665"/>
                <a:gd name="T101" fmla="*/ 131 h 590"/>
                <a:gd name="T102" fmla="*/ 418 w 665"/>
                <a:gd name="T103" fmla="*/ 89 h 59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65"/>
                <a:gd name="T157" fmla="*/ 0 h 590"/>
                <a:gd name="T158" fmla="*/ 665 w 665"/>
                <a:gd name="T159" fmla="*/ 590 h 59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65" h="590">
                  <a:moveTo>
                    <a:pt x="418" y="89"/>
                  </a:moveTo>
                  <a:cubicBezTo>
                    <a:pt x="411" y="90"/>
                    <a:pt x="402" y="95"/>
                    <a:pt x="395" y="96"/>
                  </a:cubicBezTo>
                  <a:cubicBezTo>
                    <a:pt x="384" y="95"/>
                    <a:pt x="382" y="94"/>
                    <a:pt x="373" y="92"/>
                  </a:cubicBezTo>
                  <a:cubicBezTo>
                    <a:pt x="369" y="91"/>
                    <a:pt x="361" y="90"/>
                    <a:pt x="361" y="90"/>
                  </a:cubicBezTo>
                  <a:cubicBezTo>
                    <a:pt x="358" y="86"/>
                    <a:pt x="356" y="84"/>
                    <a:pt x="351" y="83"/>
                  </a:cubicBezTo>
                  <a:cubicBezTo>
                    <a:pt x="346" y="84"/>
                    <a:pt x="337" y="86"/>
                    <a:pt x="337" y="86"/>
                  </a:cubicBezTo>
                  <a:cubicBezTo>
                    <a:pt x="332" y="84"/>
                    <a:pt x="332" y="78"/>
                    <a:pt x="327" y="75"/>
                  </a:cubicBezTo>
                  <a:cubicBezTo>
                    <a:pt x="323" y="73"/>
                    <a:pt x="315" y="72"/>
                    <a:pt x="310" y="71"/>
                  </a:cubicBezTo>
                  <a:cubicBezTo>
                    <a:pt x="302" y="70"/>
                    <a:pt x="285" y="68"/>
                    <a:pt x="285" y="68"/>
                  </a:cubicBezTo>
                  <a:cubicBezTo>
                    <a:pt x="274" y="64"/>
                    <a:pt x="271" y="62"/>
                    <a:pt x="258" y="61"/>
                  </a:cubicBezTo>
                  <a:cubicBezTo>
                    <a:pt x="249" y="58"/>
                    <a:pt x="240" y="57"/>
                    <a:pt x="231" y="56"/>
                  </a:cubicBezTo>
                  <a:cubicBezTo>
                    <a:pt x="227" y="55"/>
                    <a:pt x="224" y="54"/>
                    <a:pt x="220" y="53"/>
                  </a:cubicBezTo>
                  <a:cubicBezTo>
                    <a:pt x="210" y="43"/>
                    <a:pt x="202" y="37"/>
                    <a:pt x="187" y="35"/>
                  </a:cubicBezTo>
                  <a:cubicBezTo>
                    <a:pt x="168" y="29"/>
                    <a:pt x="160" y="27"/>
                    <a:pt x="137" y="26"/>
                  </a:cubicBezTo>
                  <a:cubicBezTo>
                    <a:pt x="128" y="24"/>
                    <a:pt x="125" y="15"/>
                    <a:pt x="115" y="13"/>
                  </a:cubicBezTo>
                  <a:cubicBezTo>
                    <a:pt x="103" y="5"/>
                    <a:pt x="107" y="3"/>
                    <a:pt x="90" y="2"/>
                  </a:cubicBezTo>
                  <a:cubicBezTo>
                    <a:pt x="84" y="0"/>
                    <a:pt x="84" y="4"/>
                    <a:pt x="79" y="7"/>
                  </a:cubicBezTo>
                  <a:cubicBezTo>
                    <a:pt x="77" y="12"/>
                    <a:pt x="71" y="17"/>
                    <a:pt x="66" y="18"/>
                  </a:cubicBezTo>
                  <a:cubicBezTo>
                    <a:pt x="62" y="21"/>
                    <a:pt x="59" y="24"/>
                    <a:pt x="54" y="26"/>
                  </a:cubicBezTo>
                  <a:cubicBezTo>
                    <a:pt x="49" y="25"/>
                    <a:pt x="45" y="25"/>
                    <a:pt x="40" y="23"/>
                  </a:cubicBezTo>
                  <a:cubicBezTo>
                    <a:pt x="38" y="18"/>
                    <a:pt x="33" y="18"/>
                    <a:pt x="28" y="17"/>
                  </a:cubicBezTo>
                  <a:cubicBezTo>
                    <a:pt x="24" y="18"/>
                    <a:pt x="15" y="20"/>
                    <a:pt x="15" y="20"/>
                  </a:cubicBezTo>
                  <a:cubicBezTo>
                    <a:pt x="6" y="33"/>
                    <a:pt x="14" y="53"/>
                    <a:pt x="16" y="68"/>
                  </a:cubicBezTo>
                  <a:cubicBezTo>
                    <a:pt x="15" y="91"/>
                    <a:pt x="15" y="87"/>
                    <a:pt x="12" y="102"/>
                  </a:cubicBezTo>
                  <a:cubicBezTo>
                    <a:pt x="12" y="109"/>
                    <a:pt x="7" y="121"/>
                    <a:pt x="16" y="119"/>
                  </a:cubicBezTo>
                  <a:cubicBezTo>
                    <a:pt x="23" y="120"/>
                    <a:pt x="24" y="116"/>
                    <a:pt x="29" y="115"/>
                  </a:cubicBezTo>
                  <a:cubicBezTo>
                    <a:pt x="42" y="116"/>
                    <a:pt x="45" y="111"/>
                    <a:pt x="49" y="122"/>
                  </a:cubicBezTo>
                  <a:cubicBezTo>
                    <a:pt x="48" y="127"/>
                    <a:pt x="47" y="130"/>
                    <a:pt x="43" y="133"/>
                  </a:cubicBezTo>
                  <a:cubicBezTo>
                    <a:pt x="55" y="141"/>
                    <a:pt x="67" y="139"/>
                    <a:pt x="81" y="141"/>
                  </a:cubicBezTo>
                  <a:cubicBezTo>
                    <a:pt x="97" y="140"/>
                    <a:pt x="117" y="135"/>
                    <a:pt x="129" y="147"/>
                  </a:cubicBezTo>
                  <a:cubicBezTo>
                    <a:pt x="133" y="158"/>
                    <a:pt x="130" y="164"/>
                    <a:pt x="141" y="170"/>
                  </a:cubicBezTo>
                  <a:cubicBezTo>
                    <a:pt x="142" y="175"/>
                    <a:pt x="142" y="178"/>
                    <a:pt x="138" y="182"/>
                  </a:cubicBezTo>
                  <a:cubicBezTo>
                    <a:pt x="133" y="196"/>
                    <a:pt x="121" y="196"/>
                    <a:pt x="109" y="199"/>
                  </a:cubicBezTo>
                  <a:cubicBezTo>
                    <a:pt x="105" y="204"/>
                    <a:pt x="102" y="207"/>
                    <a:pt x="99" y="212"/>
                  </a:cubicBezTo>
                  <a:cubicBezTo>
                    <a:pt x="98" y="217"/>
                    <a:pt x="95" y="227"/>
                    <a:pt x="95" y="227"/>
                  </a:cubicBezTo>
                  <a:cubicBezTo>
                    <a:pt x="94" y="237"/>
                    <a:pt x="95" y="239"/>
                    <a:pt x="91" y="247"/>
                  </a:cubicBezTo>
                  <a:cubicBezTo>
                    <a:pt x="90" y="255"/>
                    <a:pt x="91" y="263"/>
                    <a:pt x="82" y="266"/>
                  </a:cubicBezTo>
                  <a:cubicBezTo>
                    <a:pt x="78" y="270"/>
                    <a:pt x="80" y="270"/>
                    <a:pt x="82" y="275"/>
                  </a:cubicBezTo>
                  <a:cubicBezTo>
                    <a:pt x="81" y="282"/>
                    <a:pt x="78" y="291"/>
                    <a:pt x="73" y="296"/>
                  </a:cubicBezTo>
                  <a:cubicBezTo>
                    <a:pt x="72" y="300"/>
                    <a:pt x="63" y="303"/>
                    <a:pt x="63" y="303"/>
                  </a:cubicBezTo>
                  <a:cubicBezTo>
                    <a:pt x="59" y="302"/>
                    <a:pt x="55" y="301"/>
                    <a:pt x="51" y="300"/>
                  </a:cubicBezTo>
                  <a:cubicBezTo>
                    <a:pt x="40" y="301"/>
                    <a:pt x="41" y="301"/>
                    <a:pt x="45" y="309"/>
                  </a:cubicBezTo>
                  <a:cubicBezTo>
                    <a:pt x="45" y="316"/>
                    <a:pt x="54" y="336"/>
                    <a:pt x="54" y="345"/>
                  </a:cubicBezTo>
                  <a:cubicBezTo>
                    <a:pt x="65" y="351"/>
                    <a:pt x="54" y="358"/>
                    <a:pt x="48" y="362"/>
                  </a:cubicBezTo>
                  <a:cubicBezTo>
                    <a:pt x="44" y="369"/>
                    <a:pt x="40" y="375"/>
                    <a:pt x="37" y="383"/>
                  </a:cubicBezTo>
                  <a:cubicBezTo>
                    <a:pt x="36" y="386"/>
                    <a:pt x="35" y="389"/>
                    <a:pt x="34" y="392"/>
                  </a:cubicBezTo>
                  <a:cubicBezTo>
                    <a:pt x="34" y="393"/>
                    <a:pt x="33" y="395"/>
                    <a:pt x="33" y="395"/>
                  </a:cubicBezTo>
                  <a:cubicBezTo>
                    <a:pt x="35" y="401"/>
                    <a:pt x="35" y="405"/>
                    <a:pt x="40" y="409"/>
                  </a:cubicBezTo>
                  <a:cubicBezTo>
                    <a:pt x="43" y="415"/>
                    <a:pt x="48" y="416"/>
                    <a:pt x="39" y="422"/>
                  </a:cubicBezTo>
                  <a:cubicBezTo>
                    <a:pt x="35" y="427"/>
                    <a:pt x="29" y="427"/>
                    <a:pt x="23" y="428"/>
                  </a:cubicBezTo>
                  <a:cubicBezTo>
                    <a:pt x="21" y="435"/>
                    <a:pt x="24" y="427"/>
                    <a:pt x="13" y="434"/>
                  </a:cubicBezTo>
                  <a:cubicBezTo>
                    <a:pt x="12" y="435"/>
                    <a:pt x="1" y="458"/>
                    <a:pt x="0" y="461"/>
                  </a:cubicBezTo>
                  <a:cubicBezTo>
                    <a:pt x="1" y="470"/>
                    <a:pt x="2" y="466"/>
                    <a:pt x="4" y="483"/>
                  </a:cubicBezTo>
                  <a:cubicBezTo>
                    <a:pt x="21" y="477"/>
                    <a:pt x="25" y="483"/>
                    <a:pt x="34" y="492"/>
                  </a:cubicBezTo>
                  <a:cubicBezTo>
                    <a:pt x="37" y="500"/>
                    <a:pt x="39" y="510"/>
                    <a:pt x="46" y="515"/>
                  </a:cubicBezTo>
                  <a:cubicBezTo>
                    <a:pt x="51" y="522"/>
                    <a:pt x="52" y="530"/>
                    <a:pt x="57" y="537"/>
                  </a:cubicBezTo>
                  <a:cubicBezTo>
                    <a:pt x="59" y="550"/>
                    <a:pt x="58" y="545"/>
                    <a:pt x="60" y="552"/>
                  </a:cubicBezTo>
                  <a:cubicBezTo>
                    <a:pt x="62" y="565"/>
                    <a:pt x="68" y="579"/>
                    <a:pt x="75" y="590"/>
                  </a:cubicBezTo>
                  <a:cubicBezTo>
                    <a:pt x="87" y="587"/>
                    <a:pt x="97" y="579"/>
                    <a:pt x="111" y="577"/>
                  </a:cubicBezTo>
                  <a:cubicBezTo>
                    <a:pt x="116" y="575"/>
                    <a:pt x="120" y="573"/>
                    <a:pt x="124" y="572"/>
                  </a:cubicBezTo>
                  <a:cubicBezTo>
                    <a:pt x="133" y="563"/>
                    <a:pt x="142" y="565"/>
                    <a:pt x="155" y="564"/>
                  </a:cubicBezTo>
                  <a:cubicBezTo>
                    <a:pt x="166" y="561"/>
                    <a:pt x="175" y="555"/>
                    <a:pt x="186" y="554"/>
                  </a:cubicBezTo>
                  <a:cubicBezTo>
                    <a:pt x="198" y="555"/>
                    <a:pt x="204" y="560"/>
                    <a:pt x="216" y="561"/>
                  </a:cubicBezTo>
                  <a:cubicBezTo>
                    <a:pt x="236" y="569"/>
                    <a:pt x="260" y="566"/>
                    <a:pt x="281" y="567"/>
                  </a:cubicBezTo>
                  <a:cubicBezTo>
                    <a:pt x="302" y="566"/>
                    <a:pt x="289" y="572"/>
                    <a:pt x="309" y="569"/>
                  </a:cubicBezTo>
                  <a:cubicBezTo>
                    <a:pt x="312" y="567"/>
                    <a:pt x="336" y="537"/>
                    <a:pt x="336" y="537"/>
                  </a:cubicBezTo>
                  <a:cubicBezTo>
                    <a:pt x="340" y="526"/>
                    <a:pt x="358" y="529"/>
                    <a:pt x="370" y="527"/>
                  </a:cubicBezTo>
                  <a:cubicBezTo>
                    <a:pt x="394" y="528"/>
                    <a:pt x="396" y="531"/>
                    <a:pt x="402" y="518"/>
                  </a:cubicBezTo>
                  <a:cubicBezTo>
                    <a:pt x="400" y="507"/>
                    <a:pt x="404" y="486"/>
                    <a:pt x="414" y="483"/>
                  </a:cubicBezTo>
                  <a:cubicBezTo>
                    <a:pt x="421" y="474"/>
                    <a:pt x="431" y="462"/>
                    <a:pt x="438" y="455"/>
                  </a:cubicBezTo>
                  <a:cubicBezTo>
                    <a:pt x="440" y="449"/>
                    <a:pt x="455" y="453"/>
                    <a:pt x="459" y="447"/>
                  </a:cubicBezTo>
                  <a:cubicBezTo>
                    <a:pt x="458" y="439"/>
                    <a:pt x="459" y="428"/>
                    <a:pt x="450" y="425"/>
                  </a:cubicBezTo>
                  <a:cubicBezTo>
                    <a:pt x="448" y="421"/>
                    <a:pt x="443" y="418"/>
                    <a:pt x="439" y="415"/>
                  </a:cubicBezTo>
                  <a:cubicBezTo>
                    <a:pt x="437" y="412"/>
                    <a:pt x="435" y="405"/>
                    <a:pt x="435" y="405"/>
                  </a:cubicBezTo>
                  <a:cubicBezTo>
                    <a:pt x="438" y="394"/>
                    <a:pt x="439" y="390"/>
                    <a:pt x="445" y="381"/>
                  </a:cubicBezTo>
                  <a:cubicBezTo>
                    <a:pt x="448" y="377"/>
                    <a:pt x="456" y="371"/>
                    <a:pt x="456" y="371"/>
                  </a:cubicBezTo>
                  <a:cubicBezTo>
                    <a:pt x="458" y="365"/>
                    <a:pt x="466" y="355"/>
                    <a:pt x="471" y="350"/>
                  </a:cubicBezTo>
                  <a:cubicBezTo>
                    <a:pt x="474" y="347"/>
                    <a:pt x="480" y="341"/>
                    <a:pt x="480" y="341"/>
                  </a:cubicBezTo>
                  <a:cubicBezTo>
                    <a:pt x="481" y="337"/>
                    <a:pt x="486" y="333"/>
                    <a:pt x="489" y="330"/>
                  </a:cubicBezTo>
                  <a:cubicBezTo>
                    <a:pt x="491" y="325"/>
                    <a:pt x="492" y="317"/>
                    <a:pt x="497" y="315"/>
                  </a:cubicBezTo>
                  <a:cubicBezTo>
                    <a:pt x="499" y="310"/>
                    <a:pt x="505" y="306"/>
                    <a:pt x="509" y="303"/>
                  </a:cubicBezTo>
                  <a:cubicBezTo>
                    <a:pt x="511" y="300"/>
                    <a:pt x="519" y="300"/>
                    <a:pt x="522" y="297"/>
                  </a:cubicBezTo>
                  <a:cubicBezTo>
                    <a:pt x="524" y="295"/>
                    <a:pt x="528" y="293"/>
                    <a:pt x="528" y="293"/>
                  </a:cubicBezTo>
                  <a:cubicBezTo>
                    <a:pt x="530" y="286"/>
                    <a:pt x="542" y="282"/>
                    <a:pt x="549" y="281"/>
                  </a:cubicBezTo>
                  <a:cubicBezTo>
                    <a:pt x="560" y="276"/>
                    <a:pt x="574" y="277"/>
                    <a:pt x="586" y="275"/>
                  </a:cubicBezTo>
                  <a:cubicBezTo>
                    <a:pt x="592" y="271"/>
                    <a:pt x="600" y="270"/>
                    <a:pt x="607" y="267"/>
                  </a:cubicBezTo>
                  <a:cubicBezTo>
                    <a:pt x="610" y="266"/>
                    <a:pt x="616" y="264"/>
                    <a:pt x="616" y="264"/>
                  </a:cubicBezTo>
                  <a:cubicBezTo>
                    <a:pt x="621" y="259"/>
                    <a:pt x="633" y="254"/>
                    <a:pt x="640" y="251"/>
                  </a:cubicBezTo>
                  <a:cubicBezTo>
                    <a:pt x="643" y="247"/>
                    <a:pt x="650" y="243"/>
                    <a:pt x="654" y="240"/>
                  </a:cubicBezTo>
                  <a:cubicBezTo>
                    <a:pt x="665" y="218"/>
                    <a:pt x="665" y="199"/>
                    <a:pt x="659" y="191"/>
                  </a:cubicBezTo>
                  <a:lnTo>
                    <a:pt x="616" y="194"/>
                  </a:lnTo>
                  <a:lnTo>
                    <a:pt x="598" y="193"/>
                  </a:lnTo>
                  <a:lnTo>
                    <a:pt x="593" y="179"/>
                  </a:lnTo>
                  <a:lnTo>
                    <a:pt x="569" y="170"/>
                  </a:lnTo>
                  <a:lnTo>
                    <a:pt x="539" y="153"/>
                  </a:lnTo>
                  <a:lnTo>
                    <a:pt x="531" y="162"/>
                  </a:lnTo>
                  <a:lnTo>
                    <a:pt x="519" y="164"/>
                  </a:lnTo>
                  <a:lnTo>
                    <a:pt x="504" y="159"/>
                  </a:lnTo>
                  <a:lnTo>
                    <a:pt x="486" y="156"/>
                  </a:lnTo>
                  <a:lnTo>
                    <a:pt x="467" y="143"/>
                  </a:lnTo>
                  <a:lnTo>
                    <a:pt x="455" y="131"/>
                  </a:lnTo>
                  <a:lnTo>
                    <a:pt x="437" y="131"/>
                  </a:lnTo>
                  <a:lnTo>
                    <a:pt x="419" y="110"/>
                  </a:lnTo>
                  <a:lnTo>
                    <a:pt x="418" y="89"/>
                  </a:lnTo>
                  <a:close/>
                </a:path>
              </a:pathLst>
            </a:custGeom>
            <a:solidFill>
              <a:srgbClr val="8D9399"/>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grpSp>
          <p:nvGrpSpPr>
            <p:cNvPr id="382" name="Group 2500"/>
            <p:cNvGrpSpPr>
              <a:grpSpLocks noChangeAspect="1"/>
            </p:cNvGrpSpPr>
            <p:nvPr/>
          </p:nvGrpSpPr>
          <p:grpSpPr bwMode="auto">
            <a:xfrm>
              <a:off x="4222084" y="3942218"/>
              <a:ext cx="801088" cy="1069395"/>
              <a:chOff x="2492" y="2445"/>
              <a:chExt cx="418" cy="558"/>
            </a:xfrm>
          </p:grpSpPr>
          <p:sp>
            <p:nvSpPr>
              <p:cNvPr id="439" name="Freeform 2501"/>
              <p:cNvSpPr>
                <a:spLocks noChangeAspect="1"/>
              </p:cNvSpPr>
              <p:nvPr/>
            </p:nvSpPr>
            <p:spPr bwMode="auto">
              <a:xfrm>
                <a:off x="2606" y="2445"/>
                <a:ext cx="12" cy="31"/>
              </a:xfrm>
              <a:custGeom>
                <a:avLst/>
                <a:gdLst>
                  <a:gd name="T0" fmla="*/ 6 w 12"/>
                  <a:gd name="T1" fmla="*/ 0 h 31"/>
                  <a:gd name="T2" fmla="*/ 0 w 12"/>
                  <a:gd name="T3" fmla="*/ 12 h 31"/>
                  <a:gd name="T4" fmla="*/ 3 w 12"/>
                  <a:gd name="T5" fmla="*/ 31 h 31"/>
                  <a:gd name="T6" fmla="*/ 6 w 12"/>
                  <a:gd name="T7" fmla="*/ 0 h 31"/>
                  <a:gd name="T8" fmla="*/ 0 60000 65536"/>
                  <a:gd name="T9" fmla="*/ 0 60000 65536"/>
                  <a:gd name="T10" fmla="*/ 0 60000 65536"/>
                  <a:gd name="T11" fmla="*/ 0 60000 65536"/>
                  <a:gd name="T12" fmla="*/ 0 w 12"/>
                  <a:gd name="T13" fmla="*/ 0 h 31"/>
                  <a:gd name="T14" fmla="*/ 12 w 12"/>
                  <a:gd name="T15" fmla="*/ 31 h 31"/>
                </a:gdLst>
                <a:ahLst/>
                <a:cxnLst>
                  <a:cxn ang="T8">
                    <a:pos x="T0" y="T1"/>
                  </a:cxn>
                  <a:cxn ang="T9">
                    <a:pos x="T2" y="T3"/>
                  </a:cxn>
                  <a:cxn ang="T10">
                    <a:pos x="T4" y="T5"/>
                  </a:cxn>
                  <a:cxn ang="T11">
                    <a:pos x="T6" y="T7"/>
                  </a:cxn>
                </a:cxnLst>
                <a:rect l="T12" t="T13" r="T14" b="T15"/>
                <a:pathLst>
                  <a:path w="12" h="31">
                    <a:moveTo>
                      <a:pt x="6" y="0"/>
                    </a:moveTo>
                    <a:cubicBezTo>
                      <a:pt x="5" y="4"/>
                      <a:pt x="0" y="12"/>
                      <a:pt x="0" y="12"/>
                    </a:cubicBezTo>
                    <a:cubicBezTo>
                      <a:pt x="1" y="18"/>
                      <a:pt x="2" y="25"/>
                      <a:pt x="3" y="31"/>
                    </a:cubicBezTo>
                    <a:cubicBezTo>
                      <a:pt x="12" y="22"/>
                      <a:pt x="8" y="11"/>
                      <a:pt x="6" y="0"/>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440" name="Freeform 2502"/>
              <p:cNvSpPr>
                <a:spLocks noChangeAspect="1"/>
              </p:cNvSpPr>
              <p:nvPr/>
            </p:nvSpPr>
            <p:spPr bwMode="auto">
              <a:xfrm>
                <a:off x="2492" y="2450"/>
                <a:ext cx="418" cy="553"/>
              </a:xfrm>
              <a:custGeom>
                <a:avLst/>
                <a:gdLst>
                  <a:gd name="T0" fmla="*/ 351 w 418"/>
                  <a:gd name="T1" fmla="*/ 427 h 553"/>
                  <a:gd name="T2" fmla="*/ 335 w 418"/>
                  <a:gd name="T3" fmla="*/ 412 h 553"/>
                  <a:gd name="T4" fmla="*/ 320 w 418"/>
                  <a:gd name="T5" fmla="*/ 398 h 553"/>
                  <a:gd name="T6" fmla="*/ 303 w 418"/>
                  <a:gd name="T7" fmla="*/ 379 h 553"/>
                  <a:gd name="T8" fmla="*/ 287 w 418"/>
                  <a:gd name="T9" fmla="*/ 344 h 553"/>
                  <a:gd name="T10" fmla="*/ 313 w 418"/>
                  <a:gd name="T11" fmla="*/ 328 h 553"/>
                  <a:gd name="T12" fmla="*/ 354 w 418"/>
                  <a:gd name="T13" fmla="*/ 306 h 553"/>
                  <a:gd name="T14" fmla="*/ 371 w 418"/>
                  <a:gd name="T15" fmla="*/ 298 h 553"/>
                  <a:gd name="T16" fmla="*/ 398 w 418"/>
                  <a:gd name="T17" fmla="*/ 287 h 553"/>
                  <a:gd name="T18" fmla="*/ 411 w 418"/>
                  <a:gd name="T19" fmla="*/ 263 h 553"/>
                  <a:gd name="T20" fmla="*/ 411 w 418"/>
                  <a:gd name="T21" fmla="*/ 242 h 553"/>
                  <a:gd name="T22" fmla="*/ 393 w 418"/>
                  <a:gd name="T23" fmla="*/ 214 h 553"/>
                  <a:gd name="T24" fmla="*/ 392 w 418"/>
                  <a:gd name="T25" fmla="*/ 172 h 553"/>
                  <a:gd name="T26" fmla="*/ 381 w 418"/>
                  <a:gd name="T27" fmla="*/ 154 h 553"/>
                  <a:gd name="T28" fmla="*/ 371 w 418"/>
                  <a:gd name="T29" fmla="*/ 137 h 553"/>
                  <a:gd name="T30" fmla="*/ 371 w 418"/>
                  <a:gd name="T31" fmla="*/ 86 h 553"/>
                  <a:gd name="T32" fmla="*/ 345 w 418"/>
                  <a:gd name="T33" fmla="*/ 59 h 553"/>
                  <a:gd name="T34" fmla="*/ 326 w 418"/>
                  <a:gd name="T35" fmla="*/ 44 h 553"/>
                  <a:gd name="T36" fmla="*/ 303 w 418"/>
                  <a:gd name="T37" fmla="*/ 38 h 553"/>
                  <a:gd name="T38" fmla="*/ 254 w 418"/>
                  <a:gd name="T39" fmla="*/ 61 h 553"/>
                  <a:gd name="T40" fmla="*/ 233 w 418"/>
                  <a:gd name="T41" fmla="*/ 44 h 553"/>
                  <a:gd name="T42" fmla="*/ 195 w 418"/>
                  <a:gd name="T43" fmla="*/ 37 h 553"/>
                  <a:gd name="T44" fmla="*/ 162 w 418"/>
                  <a:gd name="T45" fmla="*/ 6 h 553"/>
                  <a:gd name="T46" fmla="*/ 129 w 418"/>
                  <a:gd name="T47" fmla="*/ 1 h 553"/>
                  <a:gd name="T48" fmla="*/ 138 w 418"/>
                  <a:gd name="T49" fmla="*/ 18 h 553"/>
                  <a:gd name="T50" fmla="*/ 141 w 418"/>
                  <a:gd name="T51" fmla="*/ 46 h 553"/>
                  <a:gd name="T52" fmla="*/ 131 w 418"/>
                  <a:gd name="T53" fmla="*/ 79 h 553"/>
                  <a:gd name="T54" fmla="*/ 117 w 418"/>
                  <a:gd name="T55" fmla="*/ 103 h 553"/>
                  <a:gd name="T56" fmla="*/ 92 w 418"/>
                  <a:gd name="T57" fmla="*/ 86 h 553"/>
                  <a:gd name="T58" fmla="*/ 63 w 418"/>
                  <a:gd name="T59" fmla="*/ 113 h 553"/>
                  <a:gd name="T60" fmla="*/ 63 w 418"/>
                  <a:gd name="T61" fmla="*/ 145 h 553"/>
                  <a:gd name="T62" fmla="*/ 51 w 418"/>
                  <a:gd name="T63" fmla="*/ 167 h 553"/>
                  <a:gd name="T64" fmla="*/ 39 w 418"/>
                  <a:gd name="T65" fmla="*/ 164 h 553"/>
                  <a:gd name="T66" fmla="*/ 57 w 418"/>
                  <a:gd name="T67" fmla="*/ 185 h 553"/>
                  <a:gd name="T68" fmla="*/ 44 w 418"/>
                  <a:gd name="T69" fmla="*/ 200 h 553"/>
                  <a:gd name="T70" fmla="*/ 9 w 418"/>
                  <a:gd name="T71" fmla="*/ 220 h 553"/>
                  <a:gd name="T72" fmla="*/ 13 w 418"/>
                  <a:gd name="T73" fmla="*/ 242 h 553"/>
                  <a:gd name="T74" fmla="*/ 0 w 418"/>
                  <a:gd name="T75" fmla="*/ 280 h 553"/>
                  <a:gd name="T76" fmla="*/ 3 w 418"/>
                  <a:gd name="T77" fmla="*/ 295 h 553"/>
                  <a:gd name="T78" fmla="*/ 18 w 418"/>
                  <a:gd name="T79" fmla="*/ 328 h 553"/>
                  <a:gd name="T80" fmla="*/ 7 w 418"/>
                  <a:gd name="T81" fmla="*/ 350 h 553"/>
                  <a:gd name="T82" fmla="*/ 18 w 418"/>
                  <a:gd name="T83" fmla="*/ 392 h 553"/>
                  <a:gd name="T84" fmla="*/ 65 w 418"/>
                  <a:gd name="T85" fmla="*/ 415 h 553"/>
                  <a:gd name="T86" fmla="*/ 102 w 418"/>
                  <a:gd name="T87" fmla="*/ 434 h 553"/>
                  <a:gd name="T88" fmla="*/ 81 w 418"/>
                  <a:gd name="T89" fmla="*/ 455 h 553"/>
                  <a:gd name="T90" fmla="*/ 66 w 418"/>
                  <a:gd name="T91" fmla="*/ 509 h 553"/>
                  <a:gd name="T92" fmla="*/ 111 w 418"/>
                  <a:gd name="T93" fmla="*/ 532 h 553"/>
                  <a:gd name="T94" fmla="*/ 111 w 418"/>
                  <a:gd name="T95" fmla="*/ 514 h 553"/>
                  <a:gd name="T96" fmla="*/ 134 w 418"/>
                  <a:gd name="T97" fmla="*/ 528 h 553"/>
                  <a:gd name="T98" fmla="*/ 157 w 418"/>
                  <a:gd name="T99" fmla="*/ 526 h 553"/>
                  <a:gd name="T100" fmla="*/ 188 w 418"/>
                  <a:gd name="T101" fmla="*/ 541 h 553"/>
                  <a:gd name="T102" fmla="*/ 204 w 418"/>
                  <a:gd name="T103" fmla="*/ 553 h 553"/>
                  <a:gd name="T104" fmla="*/ 231 w 418"/>
                  <a:gd name="T105" fmla="*/ 542 h 553"/>
                  <a:gd name="T106" fmla="*/ 258 w 418"/>
                  <a:gd name="T107" fmla="*/ 540 h 553"/>
                  <a:gd name="T108" fmla="*/ 299 w 418"/>
                  <a:gd name="T109" fmla="*/ 523 h 553"/>
                  <a:gd name="T110" fmla="*/ 324 w 418"/>
                  <a:gd name="T111" fmla="*/ 527 h 553"/>
                  <a:gd name="T112" fmla="*/ 333 w 418"/>
                  <a:gd name="T113" fmla="*/ 522 h 553"/>
                  <a:gd name="T114" fmla="*/ 320 w 418"/>
                  <a:gd name="T115" fmla="*/ 490 h 553"/>
                  <a:gd name="T116" fmla="*/ 348 w 418"/>
                  <a:gd name="T117" fmla="*/ 473 h 553"/>
                  <a:gd name="T118" fmla="*/ 369 w 418"/>
                  <a:gd name="T119" fmla="*/ 444 h 55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18"/>
                  <a:gd name="T181" fmla="*/ 0 h 553"/>
                  <a:gd name="T182" fmla="*/ 418 w 418"/>
                  <a:gd name="T183" fmla="*/ 553 h 55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18" h="553">
                    <a:moveTo>
                      <a:pt x="369" y="444"/>
                    </a:moveTo>
                    <a:cubicBezTo>
                      <a:pt x="366" y="430"/>
                      <a:pt x="362" y="428"/>
                      <a:pt x="351" y="427"/>
                    </a:cubicBezTo>
                    <a:cubicBezTo>
                      <a:pt x="349" y="423"/>
                      <a:pt x="345" y="421"/>
                      <a:pt x="342" y="418"/>
                    </a:cubicBezTo>
                    <a:cubicBezTo>
                      <a:pt x="340" y="413"/>
                      <a:pt x="339" y="414"/>
                      <a:pt x="335" y="412"/>
                    </a:cubicBezTo>
                    <a:cubicBezTo>
                      <a:pt x="332" y="410"/>
                      <a:pt x="326" y="406"/>
                      <a:pt x="326" y="406"/>
                    </a:cubicBezTo>
                    <a:cubicBezTo>
                      <a:pt x="325" y="403"/>
                      <a:pt x="322" y="400"/>
                      <a:pt x="320" y="398"/>
                    </a:cubicBezTo>
                    <a:cubicBezTo>
                      <a:pt x="318" y="396"/>
                      <a:pt x="314" y="394"/>
                      <a:pt x="314" y="394"/>
                    </a:cubicBezTo>
                    <a:cubicBezTo>
                      <a:pt x="312" y="389"/>
                      <a:pt x="306" y="385"/>
                      <a:pt x="303" y="379"/>
                    </a:cubicBezTo>
                    <a:cubicBezTo>
                      <a:pt x="301" y="369"/>
                      <a:pt x="305" y="357"/>
                      <a:pt x="294" y="353"/>
                    </a:cubicBezTo>
                    <a:cubicBezTo>
                      <a:pt x="287" y="346"/>
                      <a:pt x="289" y="350"/>
                      <a:pt x="287" y="344"/>
                    </a:cubicBezTo>
                    <a:cubicBezTo>
                      <a:pt x="288" y="335"/>
                      <a:pt x="295" y="335"/>
                      <a:pt x="303" y="330"/>
                    </a:cubicBezTo>
                    <a:cubicBezTo>
                      <a:pt x="306" y="328"/>
                      <a:pt x="313" y="328"/>
                      <a:pt x="313" y="328"/>
                    </a:cubicBezTo>
                    <a:cubicBezTo>
                      <a:pt x="314" y="326"/>
                      <a:pt x="339" y="311"/>
                      <a:pt x="343" y="310"/>
                    </a:cubicBezTo>
                    <a:cubicBezTo>
                      <a:pt x="344" y="310"/>
                      <a:pt x="353" y="306"/>
                      <a:pt x="354" y="306"/>
                    </a:cubicBezTo>
                    <a:cubicBezTo>
                      <a:pt x="356" y="305"/>
                      <a:pt x="360" y="304"/>
                      <a:pt x="360" y="304"/>
                    </a:cubicBezTo>
                    <a:cubicBezTo>
                      <a:pt x="361" y="300"/>
                      <a:pt x="371" y="298"/>
                      <a:pt x="371" y="298"/>
                    </a:cubicBezTo>
                    <a:cubicBezTo>
                      <a:pt x="375" y="294"/>
                      <a:pt x="381" y="284"/>
                      <a:pt x="384" y="283"/>
                    </a:cubicBezTo>
                    <a:cubicBezTo>
                      <a:pt x="390" y="284"/>
                      <a:pt x="393" y="285"/>
                      <a:pt x="398" y="287"/>
                    </a:cubicBezTo>
                    <a:cubicBezTo>
                      <a:pt x="407" y="286"/>
                      <a:pt x="409" y="286"/>
                      <a:pt x="416" y="282"/>
                    </a:cubicBezTo>
                    <a:cubicBezTo>
                      <a:pt x="418" y="275"/>
                      <a:pt x="417" y="267"/>
                      <a:pt x="411" y="263"/>
                    </a:cubicBezTo>
                    <a:cubicBezTo>
                      <a:pt x="410" y="258"/>
                      <a:pt x="408" y="252"/>
                      <a:pt x="414" y="250"/>
                    </a:cubicBezTo>
                    <a:cubicBezTo>
                      <a:pt x="417" y="246"/>
                      <a:pt x="418" y="240"/>
                      <a:pt x="411" y="242"/>
                    </a:cubicBezTo>
                    <a:cubicBezTo>
                      <a:pt x="403" y="241"/>
                      <a:pt x="398" y="243"/>
                      <a:pt x="395" y="236"/>
                    </a:cubicBezTo>
                    <a:cubicBezTo>
                      <a:pt x="392" y="222"/>
                      <a:pt x="395" y="224"/>
                      <a:pt x="393" y="214"/>
                    </a:cubicBezTo>
                    <a:cubicBezTo>
                      <a:pt x="398" y="199"/>
                      <a:pt x="391" y="191"/>
                      <a:pt x="387" y="185"/>
                    </a:cubicBezTo>
                    <a:cubicBezTo>
                      <a:pt x="388" y="180"/>
                      <a:pt x="389" y="176"/>
                      <a:pt x="392" y="172"/>
                    </a:cubicBezTo>
                    <a:cubicBezTo>
                      <a:pt x="393" y="167"/>
                      <a:pt x="394" y="164"/>
                      <a:pt x="389" y="161"/>
                    </a:cubicBezTo>
                    <a:cubicBezTo>
                      <a:pt x="387" y="158"/>
                      <a:pt x="381" y="154"/>
                      <a:pt x="381" y="154"/>
                    </a:cubicBezTo>
                    <a:cubicBezTo>
                      <a:pt x="378" y="150"/>
                      <a:pt x="369" y="146"/>
                      <a:pt x="369" y="146"/>
                    </a:cubicBezTo>
                    <a:cubicBezTo>
                      <a:pt x="366" y="142"/>
                      <a:pt x="366" y="139"/>
                      <a:pt x="371" y="137"/>
                    </a:cubicBezTo>
                    <a:cubicBezTo>
                      <a:pt x="372" y="134"/>
                      <a:pt x="374" y="128"/>
                      <a:pt x="374" y="128"/>
                    </a:cubicBezTo>
                    <a:cubicBezTo>
                      <a:pt x="373" y="114"/>
                      <a:pt x="383" y="94"/>
                      <a:pt x="371" y="86"/>
                    </a:cubicBezTo>
                    <a:cubicBezTo>
                      <a:pt x="368" y="81"/>
                      <a:pt x="362" y="75"/>
                      <a:pt x="357" y="72"/>
                    </a:cubicBezTo>
                    <a:cubicBezTo>
                      <a:pt x="355" y="65"/>
                      <a:pt x="352" y="61"/>
                      <a:pt x="345" y="59"/>
                    </a:cubicBezTo>
                    <a:cubicBezTo>
                      <a:pt x="342" y="55"/>
                      <a:pt x="337" y="53"/>
                      <a:pt x="333" y="52"/>
                    </a:cubicBezTo>
                    <a:cubicBezTo>
                      <a:pt x="328" y="45"/>
                      <a:pt x="331" y="47"/>
                      <a:pt x="326" y="44"/>
                    </a:cubicBezTo>
                    <a:cubicBezTo>
                      <a:pt x="326" y="40"/>
                      <a:pt x="327" y="34"/>
                      <a:pt x="321" y="34"/>
                    </a:cubicBezTo>
                    <a:cubicBezTo>
                      <a:pt x="316" y="34"/>
                      <a:pt x="308" y="36"/>
                      <a:pt x="303" y="38"/>
                    </a:cubicBezTo>
                    <a:cubicBezTo>
                      <a:pt x="291" y="43"/>
                      <a:pt x="286" y="49"/>
                      <a:pt x="273" y="52"/>
                    </a:cubicBezTo>
                    <a:cubicBezTo>
                      <a:pt x="269" y="54"/>
                      <a:pt x="254" y="61"/>
                      <a:pt x="254" y="61"/>
                    </a:cubicBezTo>
                    <a:cubicBezTo>
                      <a:pt x="252" y="65"/>
                      <a:pt x="247" y="67"/>
                      <a:pt x="243" y="68"/>
                    </a:cubicBezTo>
                    <a:cubicBezTo>
                      <a:pt x="232" y="66"/>
                      <a:pt x="238" y="51"/>
                      <a:pt x="233" y="44"/>
                    </a:cubicBezTo>
                    <a:cubicBezTo>
                      <a:pt x="230" y="34"/>
                      <a:pt x="230" y="43"/>
                      <a:pt x="222" y="38"/>
                    </a:cubicBezTo>
                    <a:cubicBezTo>
                      <a:pt x="214" y="44"/>
                      <a:pt x="204" y="39"/>
                      <a:pt x="195" y="37"/>
                    </a:cubicBezTo>
                    <a:cubicBezTo>
                      <a:pt x="190" y="30"/>
                      <a:pt x="190" y="19"/>
                      <a:pt x="183" y="14"/>
                    </a:cubicBezTo>
                    <a:cubicBezTo>
                      <a:pt x="177" y="5"/>
                      <a:pt x="175" y="7"/>
                      <a:pt x="162" y="6"/>
                    </a:cubicBezTo>
                    <a:cubicBezTo>
                      <a:pt x="154" y="4"/>
                      <a:pt x="148" y="1"/>
                      <a:pt x="140" y="0"/>
                    </a:cubicBezTo>
                    <a:cubicBezTo>
                      <a:pt x="136" y="0"/>
                      <a:pt x="132" y="0"/>
                      <a:pt x="129" y="1"/>
                    </a:cubicBezTo>
                    <a:cubicBezTo>
                      <a:pt x="128" y="1"/>
                      <a:pt x="131" y="3"/>
                      <a:pt x="131" y="4"/>
                    </a:cubicBezTo>
                    <a:cubicBezTo>
                      <a:pt x="134" y="10"/>
                      <a:pt x="133" y="15"/>
                      <a:pt x="138" y="18"/>
                    </a:cubicBezTo>
                    <a:cubicBezTo>
                      <a:pt x="140" y="23"/>
                      <a:pt x="143" y="27"/>
                      <a:pt x="146" y="31"/>
                    </a:cubicBezTo>
                    <a:cubicBezTo>
                      <a:pt x="145" y="37"/>
                      <a:pt x="144" y="41"/>
                      <a:pt x="141" y="46"/>
                    </a:cubicBezTo>
                    <a:cubicBezTo>
                      <a:pt x="142" y="51"/>
                      <a:pt x="145" y="62"/>
                      <a:pt x="145" y="62"/>
                    </a:cubicBezTo>
                    <a:cubicBezTo>
                      <a:pt x="147" y="78"/>
                      <a:pt x="144" y="75"/>
                      <a:pt x="131" y="79"/>
                    </a:cubicBezTo>
                    <a:cubicBezTo>
                      <a:pt x="127" y="83"/>
                      <a:pt x="126" y="87"/>
                      <a:pt x="122" y="91"/>
                    </a:cubicBezTo>
                    <a:cubicBezTo>
                      <a:pt x="121" y="96"/>
                      <a:pt x="122" y="100"/>
                      <a:pt x="117" y="103"/>
                    </a:cubicBezTo>
                    <a:cubicBezTo>
                      <a:pt x="110" y="101"/>
                      <a:pt x="111" y="99"/>
                      <a:pt x="105" y="95"/>
                    </a:cubicBezTo>
                    <a:cubicBezTo>
                      <a:pt x="103" y="89"/>
                      <a:pt x="97" y="89"/>
                      <a:pt x="92" y="86"/>
                    </a:cubicBezTo>
                    <a:cubicBezTo>
                      <a:pt x="81" y="87"/>
                      <a:pt x="70" y="84"/>
                      <a:pt x="66" y="95"/>
                    </a:cubicBezTo>
                    <a:cubicBezTo>
                      <a:pt x="65" y="101"/>
                      <a:pt x="64" y="107"/>
                      <a:pt x="63" y="113"/>
                    </a:cubicBezTo>
                    <a:cubicBezTo>
                      <a:pt x="63" y="117"/>
                      <a:pt x="65" y="117"/>
                      <a:pt x="65" y="122"/>
                    </a:cubicBezTo>
                    <a:cubicBezTo>
                      <a:pt x="66" y="130"/>
                      <a:pt x="66" y="137"/>
                      <a:pt x="63" y="145"/>
                    </a:cubicBezTo>
                    <a:cubicBezTo>
                      <a:pt x="61" y="149"/>
                      <a:pt x="57" y="157"/>
                      <a:pt x="57" y="157"/>
                    </a:cubicBezTo>
                    <a:cubicBezTo>
                      <a:pt x="56" y="163"/>
                      <a:pt x="57" y="166"/>
                      <a:pt x="51" y="167"/>
                    </a:cubicBezTo>
                    <a:cubicBezTo>
                      <a:pt x="50" y="165"/>
                      <a:pt x="50" y="163"/>
                      <a:pt x="49" y="161"/>
                    </a:cubicBezTo>
                    <a:cubicBezTo>
                      <a:pt x="48" y="158"/>
                      <a:pt x="39" y="164"/>
                      <a:pt x="39" y="164"/>
                    </a:cubicBezTo>
                    <a:cubicBezTo>
                      <a:pt x="42" y="174"/>
                      <a:pt x="43" y="174"/>
                      <a:pt x="53" y="176"/>
                    </a:cubicBezTo>
                    <a:cubicBezTo>
                      <a:pt x="55" y="179"/>
                      <a:pt x="57" y="185"/>
                      <a:pt x="57" y="185"/>
                    </a:cubicBezTo>
                    <a:cubicBezTo>
                      <a:pt x="57" y="188"/>
                      <a:pt x="57" y="191"/>
                      <a:pt x="56" y="194"/>
                    </a:cubicBezTo>
                    <a:cubicBezTo>
                      <a:pt x="54" y="198"/>
                      <a:pt x="44" y="200"/>
                      <a:pt x="44" y="200"/>
                    </a:cubicBezTo>
                    <a:cubicBezTo>
                      <a:pt x="41" y="204"/>
                      <a:pt x="37" y="203"/>
                      <a:pt x="42" y="206"/>
                    </a:cubicBezTo>
                    <a:cubicBezTo>
                      <a:pt x="52" y="221"/>
                      <a:pt x="21" y="219"/>
                      <a:pt x="9" y="220"/>
                    </a:cubicBezTo>
                    <a:cubicBezTo>
                      <a:pt x="7" y="227"/>
                      <a:pt x="5" y="227"/>
                      <a:pt x="11" y="224"/>
                    </a:cubicBezTo>
                    <a:cubicBezTo>
                      <a:pt x="12" y="230"/>
                      <a:pt x="11" y="236"/>
                      <a:pt x="13" y="242"/>
                    </a:cubicBezTo>
                    <a:cubicBezTo>
                      <a:pt x="14" y="244"/>
                      <a:pt x="15" y="248"/>
                      <a:pt x="15" y="248"/>
                    </a:cubicBezTo>
                    <a:cubicBezTo>
                      <a:pt x="13" y="261"/>
                      <a:pt x="11" y="273"/>
                      <a:pt x="0" y="280"/>
                    </a:cubicBezTo>
                    <a:cubicBezTo>
                      <a:pt x="4" y="281"/>
                      <a:pt x="7" y="290"/>
                      <a:pt x="7" y="290"/>
                    </a:cubicBezTo>
                    <a:cubicBezTo>
                      <a:pt x="6" y="292"/>
                      <a:pt x="3" y="293"/>
                      <a:pt x="3" y="295"/>
                    </a:cubicBezTo>
                    <a:cubicBezTo>
                      <a:pt x="2" y="300"/>
                      <a:pt x="13" y="317"/>
                      <a:pt x="17" y="319"/>
                    </a:cubicBezTo>
                    <a:cubicBezTo>
                      <a:pt x="18" y="321"/>
                      <a:pt x="21" y="326"/>
                      <a:pt x="18" y="328"/>
                    </a:cubicBezTo>
                    <a:cubicBezTo>
                      <a:pt x="16" y="330"/>
                      <a:pt x="12" y="332"/>
                      <a:pt x="12" y="332"/>
                    </a:cubicBezTo>
                    <a:cubicBezTo>
                      <a:pt x="10" y="338"/>
                      <a:pt x="9" y="344"/>
                      <a:pt x="7" y="350"/>
                    </a:cubicBezTo>
                    <a:cubicBezTo>
                      <a:pt x="7" y="356"/>
                      <a:pt x="18" y="360"/>
                      <a:pt x="21" y="367"/>
                    </a:cubicBezTo>
                    <a:cubicBezTo>
                      <a:pt x="23" y="374"/>
                      <a:pt x="15" y="385"/>
                      <a:pt x="18" y="392"/>
                    </a:cubicBezTo>
                    <a:cubicBezTo>
                      <a:pt x="20" y="395"/>
                      <a:pt x="34" y="411"/>
                      <a:pt x="38" y="412"/>
                    </a:cubicBezTo>
                    <a:cubicBezTo>
                      <a:pt x="47" y="414"/>
                      <a:pt x="55" y="414"/>
                      <a:pt x="65" y="415"/>
                    </a:cubicBezTo>
                    <a:cubicBezTo>
                      <a:pt x="75" y="417"/>
                      <a:pt x="80" y="426"/>
                      <a:pt x="90" y="428"/>
                    </a:cubicBezTo>
                    <a:cubicBezTo>
                      <a:pt x="94" y="431"/>
                      <a:pt x="98" y="431"/>
                      <a:pt x="102" y="434"/>
                    </a:cubicBezTo>
                    <a:cubicBezTo>
                      <a:pt x="101" y="440"/>
                      <a:pt x="100" y="442"/>
                      <a:pt x="96" y="446"/>
                    </a:cubicBezTo>
                    <a:cubicBezTo>
                      <a:pt x="94" y="451"/>
                      <a:pt x="83" y="450"/>
                      <a:pt x="81" y="455"/>
                    </a:cubicBezTo>
                    <a:cubicBezTo>
                      <a:pt x="78" y="461"/>
                      <a:pt x="86" y="470"/>
                      <a:pt x="80" y="474"/>
                    </a:cubicBezTo>
                    <a:cubicBezTo>
                      <a:pt x="77" y="486"/>
                      <a:pt x="68" y="496"/>
                      <a:pt x="66" y="509"/>
                    </a:cubicBezTo>
                    <a:cubicBezTo>
                      <a:pt x="67" y="542"/>
                      <a:pt x="65" y="531"/>
                      <a:pt x="90" y="533"/>
                    </a:cubicBezTo>
                    <a:cubicBezTo>
                      <a:pt x="97" y="534"/>
                      <a:pt x="104" y="533"/>
                      <a:pt x="111" y="532"/>
                    </a:cubicBezTo>
                    <a:cubicBezTo>
                      <a:pt x="121" y="527"/>
                      <a:pt x="122" y="526"/>
                      <a:pt x="111" y="522"/>
                    </a:cubicBezTo>
                    <a:cubicBezTo>
                      <a:pt x="109" y="518"/>
                      <a:pt x="106" y="516"/>
                      <a:pt x="111" y="514"/>
                    </a:cubicBezTo>
                    <a:cubicBezTo>
                      <a:pt x="116" y="515"/>
                      <a:pt x="125" y="518"/>
                      <a:pt x="125" y="518"/>
                    </a:cubicBezTo>
                    <a:cubicBezTo>
                      <a:pt x="127" y="523"/>
                      <a:pt x="129" y="526"/>
                      <a:pt x="134" y="528"/>
                    </a:cubicBezTo>
                    <a:cubicBezTo>
                      <a:pt x="141" y="526"/>
                      <a:pt x="138" y="527"/>
                      <a:pt x="143" y="524"/>
                    </a:cubicBezTo>
                    <a:cubicBezTo>
                      <a:pt x="147" y="527"/>
                      <a:pt x="152" y="525"/>
                      <a:pt x="157" y="526"/>
                    </a:cubicBezTo>
                    <a:cubicBezTo>
                      <a:pt x="161" y="530"/>
                      <a:pt x="171" y="533"/>
                      <a:pt x="176" y="536"/>
                    </a:cubicBezTo>
                    <a:cubicBezTo>
                      <a:pt x="180" y="538"/>
                      <a:pt x="184" y="540"/>
                      <a:pt x="188" y="541"/>
                    </a:cubicBezTo>
                    <a:cubicBezTo>
                      <a:pt x="189" y="541"/>
                      <a:pt x="191" y="542"/>
                      <a:pt x="191" y="542"/>
                    </a:cubicBezTo>
                    <a:cubicBezTo>
                      <a:pt x="195" y="548"/>
                      <a:pt x="197" y="551"/>
                      <a:pt x="204" y="553"/>
                    </a:cubicBezTo>
                    <a:cubicBezTo>
                      <a:pt x="215" y="551"/>
                      <a:pt x="212" y="549"/>
                      <a:pt x="215" y="539"/>
                    </a:cubicBezTo>
                    <a:cubicBezTo>
                      <a:pt x="226" y="540"/>
                      <a:pt x="224" y="536"/>
                      <a:pt x="231" y="542"/>
                    </a:cubicBezTo>
                    <a:cubicBezTo>
                      <a:pt x="234" y="544"/>
                      <a:pt x="240" y="546"/>
                      <a:pt x="240" y="546"/>
                    </a:cubicBezTo>
                    <a:cubicBezTo>
                      <a:pt x="246" y="545"/>
                      <a:pt x="254" y="545"/>
                      <a:pt x="258" y="540"/>
                    </a:cubicBezTo>
                    <a:cubicBezTo>
                      <a:pt x="259" y="539"/>
                      <a:pt x="266" y="530"/>
                      <a:pt x="267" y="530"/>
                    </a:cubicBezTo>
                    <a:cubicBezTo>
                      <a:pt x="274" y="527"/>
                      <a:pt x="292" y="523"/>
                      <a:pt x="299" y="523"/>
                    </a:cubicBezTo>
                    <a:cubicBezTo>
                      <a:pt x="302" y="524"/>
                      <a:pt x="305" y="526"/>
                      <a:pt x="308" y="527"/>
                    </a:cubicBezTo>
                    <a:cubicBezTo>
                      <a:pt x="316" y="524"/>
                      <a:pt x="312" y="521"/>
                      <a:pt x="324" y="527"/>
                    </a:cubicBezTo>
                    <a:cubicBezTo>
                      <a:pt x="328" y="529"/>
                      <a:pt x="336" y="536"/>
                      <a:pt x="336" y="536"/>
                    </a:cubicBezTo>
                    <a:cubicBezTo>
                      <a:pt x="344" y="533"/>
                      <a:pt x="338" y="524"/>
                      <a:pt x="333" y="522"/>
                    </a:cubicBezTo>
                    <a:cubicBezTo>
                      <a:pt x="331" y="514"/>
                      <a:pt x="335" y="503"/>
                      <a:pt x="327" y="498"/>
                    </a:cubicBezTo>
                    <a:cubicBezTo>
                      <a:pt x="325" y="494"/>
                      <a:pt x="324" y="491"/>
                      <a:pt x="320" y="490"/>
                    </a:cubicBezTo>
                    <a:cubicBezTo>
                      <a:pt x="323" y="488"/>
                      <a:pt x="329" y="486"/>
                      <a:pt x="329" y="486"/>
                    </a:cubicBezTo>
                    <a:cubicBezTo>
                      <a:pt x="334" y="479"/>
                      <a:pt x="341" y="478"/>
                      <a:pt x="348" y="473"/>
                    </a:cubicBezTo>
                    <a:cubicBezTo>
                      <a:pt x="352" y="460"/>
                      <a:pt x="353" y="457"/>
                      <a:pt x="367" y="455"/>
                    </a:cubicBezTo>
                    <a:cubicBezTo>
                      <a:pt x="370" y="450"/>
                      <a:pt x="374" y="447"/>
                      <a:pt x="369" y="444"/>
                    </a:cubicBezTo>
                    <a:close/>
                  </a:path>
                </a:pathLst>
              </a:custGeom>
              <a:solidFill>
                <a:srgbClr val="8D9399"/>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grpSp>
        <p:sp>
          <p:nvSpPr>
            <p:cNvPr id="383" name="Freeform 2503"/>
            <p:cNvSpPr>
              <a:spLocks noChangeAspect="1"/>
            </p:cNvSpPr>
            <p:nvPr/>
          </p:nvSpPr>
          <p:spPr bwMode="auto">
            <a:xfrm>
              <a:off x="4837274" y="3982464"/>
              <a:ext cx="45995" cy="36413"/>
            </a:xfrm>
            <a:custGeom>
              <a:avLst/>
              <a:gdLst>
                <a:gd name="T0" fmla="*/ 4 w 24"/>
                <a:gd name="T1" fmla="*/ 0 h 19"/>
                <a:gd name="T2" fmla="*/ 9 w 24"/>
                <a:gd name="T3" fmla="*/ 12 h 19"/>
                <a:gd name="T4" fmla="*/ 15 w 24"/>
                <a:gd name="T5" fmla="*/ 19 h 19"/>
                <a:gd name="T6" fmla="*/ 18 w 24"/>
                <a:gd name="T7" fmla="*/ 9 h 19"/>
                <a:gd name="T8" fmla="*/ 9 w 24"/>
                <a:gd name="T9" fmla="*/ 4 h 19"/>
                <a:gd name="T10" fmla="*/ 3 w 24"/>
                <a:gd name="T11" fmla="*/ 2 h 19"/>
                <a:gd name="T12" fmla="*/ 4 w 24"/>
                <a:gd name="T13" fmla="*/ 0 h 19"/>
                <a:gd name="T14" fmla="*/ 0 60000 65536"/>
                <a:gd name="T15" fmla="*/ 0 60000 65536"/>
                <a:gd name="T16" fmla="*/ 0 60000 65536"/>
                <a:gd name="T17" fmla="*/ 0 60000 65536"/>
                <a:gd name="T18" fmla="*/ 0 60000 65536"/>
                <a:gd name="T19" fmla="*/ 0 60000 65536"/>
                <a:gd name="T20" fmla="*/ 0 60000 65536"/>
                <a:gd name="T21" fmla="*/ 0 w 24"/>
                <a:gd name="T22" fmla="*/ 0 h 19"/>
                <a:gd name="T23" fmla="*/ 24 w 24"/>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19">
                  <a:moveTo>
                    <a:pt x="4" y="0"/>
                  </a:moveTo>
                  <a:cubicBezTo>
                    <a:pt x="0" y="6"/>
                    <a:pt x="4" y="9"/>
                    <a:pt x="9" y="12"/>
                  </a:cubicBezTo>
                  <a:cubicBezTo>
                    <a:pt x="11" y="16"/>
                    <a:pt x="14" y="15"/>
                    <a:pt x="15" y="19"/>
                  </a:cubicBezTo>
                  <a:cubicBezTo>
                    <a:pt x="21" y="18"/>
                    <a:pt x="24" y="15"/>
                    <a:pt x="18" y="9"/>
                  </a:cubicBezTo>
                  <a:cubicBezTo>
                    <a:pt x="16" y="6"/>
                    <a:pt x="12" y="6"/>
                    <a:pt x="9" y="4"/>
                  </a:cubicBezTo>
                  <a:cubicBezTo>
                    <a:pt x="7" y="3"/>
                    <a:pt x="2" y="4"/>
                    <a:pt x="3" y="2"/>
                  </a:cubicBezTo>
                  <a:cubicBezTo>
                    <a:pt x="3" y="1"/>
                    <a:pt x="4" y="1"/>
                    <a:pt x="4" y="0"/>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384" name="Freeform 2505"/>
            <p:cNvSpPr>
              <a:spLocks noChangeAspect="1"/>
            </p:cNvSpPr>
            <p:nvPr/>
          </p:nvSpPr>
          <p:spPr bwMode="auto">
            <a:xfrm>
              <a:off x="4944597" y="3898138"/>
              <a:ext cx="55578" cy="45995"/>
            </a:xfrm>
            <a:custGeom>
              <a:avLst/>
              <a:gdLst>
                <a:gd name="T0" fmla="*/ 4 w 29"/>
                <a:gd name="T1" fmla="*/ 0 h 24"/>
                <a:gd name="T2" fmla="*/ 15 w 29"/>
                <a:gd name="T3" fmla="*/ 4 h 24"/>
                <a:gd name="T4" fmla="*/ 16 w 29"/>
                <a:gd name="T5" fmla="*/ 24 h 24"/>
                <a:gd name="T6" fmla="*/ 3 w 29"/>
                <a:gd name="T7" fmla="*/ 18 h 24"/>
                <a:gd name="T8" fmla="*/ 4 w 29"/>
                <a:gd name="T9" fmla="*/ 0 h 24"/>
                <a:gd name="T10" fmla="*/ 0 60000 65536"/>
                <a:gd name="T11" fmla="*/ 0 60000 65536"/>
                <a:gd name="T12" fmla="*/ 0 60000 65536"/>
                <a:gd name="T13" fmla="*/ 0 60000 65536"/>
                <a:gd name="T14" fmla="*/ 0 60000 65536"/>
                <a:gd name="T15" fmla="*/ 0 w 29"/>
                <a:gd name="T16" fmla="*/ 0 h 24"/>
                <a:gd name="T17" fmla="*/ 29 w 29"/>
                <a:gd name="T18" fmla="*/ 24 h 24"/>
              </a:gdLst>
              <a:ahLst/>
              <a:cxnLst>
                <a:cxn ang="T10">
                  <a:pos x="T0" y="T1"/>
                </a:cxn>
                <a:cxn ang="T11">
                  <a:pos x="T2" y="T3"/>
                </a:cxn>
                <a:cxn ang="T12">
                  <a:pos x="T4" y="T5"/>
                </a:cxn>
                <a:cxn ang="T13">
                  <a:pos x="T6" y="T7"/>
                </a:cxn>
                <a:cxn ang="T14">
                  <a:pos x="T8" y="T9"/>
                </a:cxn>
              </a:cxnLst>
              <a:rect l="T15" t="T16" r="T17" b="T18"/>
              <a:pathLst>
                <a:path w="29" h="24">
                  <a:moveTo>
                    <a:pt x="4" y="0"/>
                  </a:moveTo>
                  <a:cubicBezTo>
                    <a:pt x="8" y="2"/>
                    <a:pt x="11" y="3"/>
                    <a:pt x="15" y="4"/>
                  </a:cubicBezTo>
                  <a:cubicBezTo>
                    <a:pt x="19" y="10"/>
                    <a:pt x="29" y="21"/>
                    <a:pt x="16" y="24"/>
                  </a:cubicBezTo>
                  <a:cubicBezTo>
                    <a:pt x="11" y="23"/>
                    <a:pt x="3" y="18"/>
                    <a:pt x="3" y="18"/>
                  </a:cubicBezTo>
                  <a:cubicBezTo>
                    <a:pt x="0" y="13"/>
                    <a:pt x="4" y="6"/>
                    <a:pt x="4" y="0"/>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385" name="Freeform 2506"/>
            <p:cNvSpPr>
              <a:spLocks noChangeAspect="1"/>
            </p:cNvSpPr>
            <p:nvPr/>
          </p:nvSpPr>
          <p:spPr bwMode="auto">
            <a:xfrm>
              <a:off x="4637960" y="3786983"/>
              <a:ext cx="151402" cy="168650"/>
            </a:xfrm>
            <a:custGeom>
              <a:avLst/>
              <a:gdLst>
                <a:gd name="T0" fmla="*/ 60 w 79"/>
                <a:gd name="T1" fmla="*/ 0 h 88"/>
                <a:gd name="T2" fmla="*/ 49 w 79"/>
                <a:gd name="T3" fmla="*/ 8 h 88"/>
                <a:gd name="T4" fmla="*/ 53 w 79"/>
                <a:gd name="T5" fmla="*/ 26 h 88"/>
                <a:gd name="T6" fmla="*/ 52 w 79"/>
                <a:gd name="T7" fmla="*/ 32 h 88"/>
                <a:gd name="T8" fmla="*/ 42 w 79"/>
                <a:gd name="T9" fmla="*/ 31 h 88"/>
                <a:gd name="T10" fmla="*/ 40 w 79"/>
                <a:gd name="T11" fmla="*/ 21 h 88"/>
                <a:gd name="T12" fmla="*/ 23 w 79"/>
                <a:gd name="T13" fmla="*/ 8 h 88"/>
                <a:gd name="T14" fmla="*/ 17 w 79"/>
                <a:gd name="T15" fmla="*/ 26 h 88"/>
                <a:gd name="T16" fmla="*/ 12 w 79"/>
                <a:gd name="T17" fmla="*/ 33 h 88"/>
                <a:gd name="T18" fmla="*/ 19 w 79"/>
                <a:gd name="T19" fmla="*/ 67 h 88"/>
                <a:gd name="T20" fmla="*/ 32 w 79"/>
                <a:gd name="T21" fmla="*/ 68 h 88"/>
                <a:gd name="T22" fmla="*/ 40 w 79"/>
                <a:gd name="T23" fmla="*/ 72 h 88"/>
                <a:gd name="T24" fmla="*/ 52 w 79"/>
                <a:gd name="T25" fmla="*/ 82 h 88"/>
                <a:gd name="T26" fmla="*/ 61 w 79"/>
                <a:gd name="T27" fmla="*/ 88 h 88"/>
                <a:gd name="T28" fmla="*/ 58 w 79"/>
                <a:gd name="T29" fmla="*/ 69 h 88"/>
                <a:gd name="T30" fmla="*/ 70 w 79"/>
                <a:gd name="T31" fmla="*/ 61 h 88"/>
                <a:gd name="T32" fmla="*/ 61 w 79"/>
                <a:gd name="T33" fmla="*/ 48 h 88"/>
                <a:gd name="T34" fmla="*/ 76 w 79"/>
                <a:gd name="T35" fmla="*/ 39 h 88"/>
                <a:gd name="T36" fmla="*/ 73 w 79"/>
                <a:gd name="T37" fmla="*/ 24 h 88"/>
                <a:gd name="T38" fmla="*/ 76 w 79"/>
                <a:gd name="T39" fmla="*/ 10 h 88"/>
                <a:gd name="T40" fmla="*/ 76 w 79"/>
                <a:gd name="T41" fmla="*/ 4 h 88"/>
                <a:gd name="T42" fmla="*/ 60 w 79"/>
                <a:gd name="T43" fmla="*/ 0 h 8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9"/>
                <a:gd name="T67" fmla="*/ 0 h 88"/>
                <a:gd name="T68" fmla="*/ 79 w 79"/>
                <a:gd name="T69" fmla="*/ 88 h 8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9" h="88">
                  <a:moveTo>
                    <a:pt x="60" y="0"/>
                  </a:moveTo>
                  <a:cubicBezTo>
                    <a:pt x="53" y="2"/>
                    <a:pt x="54" y="5"/>
                    <a:pt x="49" y="8"/>
                  </a:cubicBezTo>
                  <a:cubicBezTo>
                    <a:pt x="50" y="18"/>
                    <a:pt x="51" y="18"/>
                    <a:pt x="53" y="26"/>
                  </a:cubicBezTo>
                  <a:cubicBezTo>
                    <a:pt x="53" y="28"/>
                    <a:pt x="54" y="31"/>
                    <a:pt x="52" y="32"/>
                  </a:cubicBezTo>
                  <a:cubicBezTo>
                    <a:pt x="49" y="33"/>
                    <a:pt x="44" y="33"/>
                    <a:pt x="42" y="31"/>
                  </a:cubicBezTo>
                  <a:cubicBezTo>
                    <a:pt x="39" y="29"/>
                    <a:pt x="42" y="24"/>
                    <a:pt x="40" y="21"/>
                  </a:cubicBezTo>
                  <a:cubicBezTo>
                    <a:pt x="35" y="13"/>
                    <a:pt x="32" y="11"/>
                    <a:pt x="23" y="8"/>
                  </a:cubicBezTo>
                  <a:cubicBezTo>
                    <a:pt x="25" y="17"/>
                    <a:pt x="29" y="28"/>
                    <a:pt x="17" y="26"/>
                  </a:cubicBezTo>
                  <a:cubicBezTo>
                    <a:pt x="6" y="27"/>
                    <a:pt x="0" y="30"/>
                    <a:pt x="12" y="33"/>
                  </a:cubicBezTo>
                  <a:cubicBezTo>
                    <a:pt x="21" y="42"/>
                    <a:pt x="18" y="55"/>
                    <a:pt x="19" y="67"/>
                  </a:cubicBezTo>
                  <a:cubicBezTo>
                    <a:pt x="24" y="66"/>
                    <a:pt x="28" y="66"/>
                    <a:pt x="32" y="68"/>
                  </a:cubicBezTo>
                  <a:cubicBezTo>
                    <a:pt x="35" y="69"/>
                    <a:pt x="40" y="72"/>
                    <a:pt x="40" y="72"/>
                  </a:cubicBezTo>
                  <a:cubicBezTo>
                    <a:pt x="44" y="78"/>
                    <a:pt x="45" y="81"/>
                    <a:pt x="52" y="82"/>
                  </a:cubicBezTo>
                  <a:cubicBezTo>
                    <a:pt x="54" y="86"/>
                    <a:pt x="57" y="87"/>
                    <a:pt x="61" y="88"/>
                  </a:cubicBezTo>
                  <a:cubicBezTo>
                    <a:pt x="74" y="85"/>
                    <a:pt x="67" y="72"/>
                    <a:pt x="58" y="69"/>
                  </a:cubicBezTo>
                  <a:cubicBezTo>
                    <a:pt x="60" y="64"/>
                    <a:pt x="70" y="61"/>
                    <a:pt x="70" y="61"/>
                  </a:cubicBezTo>
                  <a:cubicBezTo>
                    <a:pt x="73" y="53"/>
                    <a:pt x="68" y="50"/>
                    <a:pt x="61" y="48"/>
                  </a:cubicBezTo>
                  <a:cubicBezTo>
                    <a:pt x="62" y="33"/>
                    <a:pt x="63" y="36"/>
                    <a:pt x="76" y="39"/>
                  </a:cubicBezTo>
                  <a:cubicBezTo>
                    <a:pt x="79" y="34"/>
                    <a:pt x="76" y="29"/>
                    <a:pt x="73" y="24"/>
                  </a:cubicBezTo>
                  <a:cubicBezTo>
                    <a:pt x="71" y="18"/>
                    <a:pt x="73" y="15"/>
                    <a:pt x="76" y="10"/>
                  </a:cubicBezTo>
                  <a:cubicBezTo>
                    <a:pt x="77" y="4"/>
                    <a:pt x="79" y="4"/>
                    <a:pt x="76" y="4"/>
                  </a:cubicBezTo>
                  <a:lnTo>
                    <a:pt x="60" y="0"/>
                  </a:lnTo>
                  <a:close/>
                </a:path>
              </a:pathLst>
            </a:custGeom>
            <a:solidFill>
              <a:srgbClr val="8D9399"/>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386" name="Freeform 2507"/>
            <p:cNvSpPr>
              <a:spLocks noChangeAspect="1"/>
            </p:cNvSpPr>
            <p:nvPr/>
          </p:nvSpPr>
          <p:spPr bwMode="auto">
            <a:xfrm>
              <a:off x="4655209" y="3942217"/>
              <a:ext cx="90075" cy="70910"/>
            </a:xfrm>
            <a:custGeom>
              <a:avLst/>
              <a:gdLst>
                <a:gd name="T0" fmla="*/ 9 w 47"/>
                <a:gd name="T1" fmla="*/ 3 h 37"/>
                <a:gd name="T2" fmla="*/ 19 w 47"/>
                <a:gd name="T3" fmla="*/ 9 h 37"/>
                <a:gd name="T4" fmla="*/ 25 w 47"/>
                <a:gd name="T5" fmla="*/ 13 h 37"/>
                <a:gd name="T6" fmla="*/ 33 w 47"/>
                <a:gd name="T7" fmla="*/ 11 h 37"/>
                <a:gd name="T8" fmla="*/ 35 w 47"/>
                <a:gd name="T9" fmla="*/ 3 h 37"/>
                <a:gd name="T10" fmla="*/ 44 w 47"/>
                <a:gd name="T11" fmla="*/ 12 h 37"/>
                <a:gd name="T12" fmla="*/ 43 w 47"/>
                <a:gd name="T13" fmla="*/ 21 h 37"/>
                <a:gd name="T14" fmla="*/ 34 w 47"/>
                <a:gd name="T15" fmla="*/ 18 h 37"/>
                <a:gd name="T16" fmla="*/ 31 w 47"/>
                <a:gd name="T17" fmla="*/ 27 h 37"/>
                <a:gd name="T18" fmla="*/ 22 w 47"/>
                <a:gd name="T19" fmla="*/ 30 h 37"/>
                <a:gd name="T20" fmla="*/ 5 w 47"/>
                <a:gd name="T21" fmla="*/ 12 h 37"/>
                <a:gd name="T22" fmla="*/ 13 w 47"/>
                <a:gd name="T23" fmla="*/ 0 h 37"/>
                <a:gd name="T24" fmla="*/ 28 w 47"/>
                <a:gd name="T25" fmla="*/ 9 h 37"/>
                <a:gd name="T26" fmla="*/ 9 w 47"/>
                <a:gd name="T27" fmla="*/ 3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7"/>
                <a:gd name="T43" fmla="*/ 0 h 37"/>
                <a:gd name="T44" fmla="*/ 47 w 47"/>
                <a:gd name="T45" fmla="*/ 37 h 3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7" h="37">
                  <a:moveTo>
                    <a:pt x="9" y="3"/>
                  </a:moveTo>
                  <a:cubicBezTo>
                    <a:pt x="14" y="4"/>
                    <a:pt x="15" y="6"/>
                    <a:pt x="19" y="9"/>
                  </a:cubicBezTo>
                  <a:cubicBezTo>
                    <a:pt x="21" y="10"/>
                    <a:pt x="25" y="13"/>
                    <a:pt x="25" y="13"/>
                  </a:cubicBezTo>
                  <a:cubicBezTo>
                    <a:pt x="28" y="12"/>
                    <a:pt x="31" y="13"/>
                    <a:pt x="33" y="11"/>
                  </a:cubicBezTo>
                  <a:cubicBezTo>
                    <a:pt x="35" y="9"/>
                    <a:pt x="35" y="3"/>
                    <a:pt x="35" y="3"/>
                  </a:cubicBezTo>
                  <a:cubicBezTo>
                    <a:pt x="40" y="5"/>
                    <a:pt x="40" y="9"/>
                    <a:pt x="44" y="12"/>
                  </a:cubicBezTo>
                  <a:cubicBezTo>
                    <a:pt x="47" y="16"/>
                    <a:pt x="46" y="17"/>
                    <a:pt x="43" y="21"/>
                  </a:cubicBezTo>
                  <a:cubicBezTo>
                    <a:pt x="39" y="37"/>
                    <a:pt x="37" y="26"/>
                    <a:pt x="34" y="18"/>
                  </a:cubicBezTo>
                  <a:cubicBezTo>
                    <a:pt x="34" y="20"/>
                    <a:pt x="33" y="26"/>
                    <a:pt x="31" y="27"/>
                  </a:cubicBezTo>
                  <a:cubicBezTo>
                    <a:pt x="28" y="29"/>
                    <a:pt x="22" y="30"/>
                    <a:pt x="22" y="30"/>
                  </a:cubicBezTo>
                  <a:cubicBezTo>
                    <a:pt x="18" y="27"/>
                    <a:pt x="6" y="17"/>
                    <a:pt x="5" y="12"/>
                  </a:cubicBezTo>
                  <a:cubicBezTo>
                    <a:pt x="0" y="5"/>
                    <a:pt x="5" y="2"/>
                    <a:pt x="13" y="0"/>
                  </a:cubicBezTo>
                  <a:cubicBezTo>
                    <a:pt x="19" y="2"/>
                    <a:pt x="22" y="9"/>
                    <a:pt x="28" y="9"/>
                  </a:cubicBezTo>
                  <a:lnTo>
                    <a:pt x="9" y="3"/>
                  </a:ln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387" name="Freeform 2508"/>
            <p:cNvSpPr>
              <a:spLocks noChangeAspect="1"/>
            </p:cNvSpPr>
            <p:nvPr/>
          </p:nvSpPr>
          <p:spPr bwMode="auto">
            <a:xfrm>
              <a:off x="4446312" y="3560838"/>
              <a:ext cx="182066" cy="145652"/>
            </a:xfrm>
            <a:custGeom>
              <a:avLst/>
              <a:gdLst>
                <a:gd name="T0" fmla="*/ 0 w 95"/>
                <a:gd name="T1" fmla="*/ 72 h 76"/>
                <a:gd name="T2" fmla="*/ 8 w 95"/>
                <a:gd name="T3" fmla="*/ 54 h 76"/>
                <a:gd name="T4" fmla="*/ 14 w 95"/>
                <a:gd name="T5" fmla="*/ 46 h 76"/>
                <a:gd name="T6" fmla="*/ 50 w 95"/>
                <a:gd name="T7" fmla="*/ 40 h 76"/>
                <a:gd name="T8" fmla="*/ 57 w 95"/>
                <a:gd name="T9" fmla="*/ 29 h 76"/>
                <a:gd name="T10" fmla="*/ 63 w 95"/>
                <a:gd name="T11" fmla="*/ 22 h 76"/>
                <a:gd name="T12" fmla="*/ 81 w 95"/>
                <a:gd name="T13" fmla="*/ 10 h 76"/>
                <a:gd name="T14" fmla="*/ 90 w 95"/>
                <a:gd name="T15" fmla="*/ 4 h 76"/>
                <a:gd name="T16" fmla="*/ 93 w 95"/>
                <a:gd name="T17" fmla="*/ 1 h 76"/>
                <a:gd name="T18" fmla="*/ 86 w 95"/>
                <a:gd name="T19" fmla="*/ 11 h 76"/>
                <a:gd name="T20" fmla="*/ 93 w 95"/>
                <a:gd name="T21" fmla="*/ 22 h 76"/>
                <a:gd name="T22" fmla="*/ 86 w 95"/>
                <a:gd name="T23" fmla="*/ 43 h 76"/>
                <a:gd name="T24" fmla="*/ 84 w 95"/>
                <a:gd name="T25" fmla="*/ 46 h 76"/>
                <a:gd name="T26" fmla="*/ 83 w 95"/>
                <a:gd name="T27" fmla="*/ 53 h 76"/>
                <a:gd name="T28" fmla="*/ 80 w 95"/>
                <a:gd name="T29" fmla="*/ 47 h 76"/>
                <a:gd name="T30" fmla="*/ 72 w 95"/>
                <a:gd name="T31" fmla="*/ 44 h 76"/>
                <a:gd name="T32" fmla="*/ 48 w 95"/>
                <a:gd name="T33" fmla="*/ 49 h 76"/>
                <a:gd name="T34" fmla="*/ 39 w 95"/>
                <a:gd name="T35" fmla="*/ 54 h 76"/>
                <a:gd name="T36" fmla="*/ 29 w 95"/>
                <a:gd name="T37" fmla="*/ 52 h 76"/>
                <a:gd name="T38" fmla="*/ 24 w 95"/>
                <a:gd name="T39" fmla="*/ 58 h 76"/>
                <a:gd name="T40" fmla="*/ 18 w 95"/>
                <a:gd name="T41" fmla="*/ 60 h 76"/>
                <a:gd name="T42" fmla="*/ 0 w 95"/>
                <a:gd name="T43" fmla="*/ 72 h 7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5"/>
                <a:gd name="T67" fmla="*/ 0 h 76"/>
                <a:gd name="T68" fmla="*/ 95 w 95"/>
                <a:gd name="T69" fmla="*/ 76 h 7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5" h="76">
                  <a:moveTo>
                    <a:pt x="0" y="72"/>
                  </a:moveTo>
                  <a:cubicBezTo>
                    <a:pt x="2" y="64"/>
                    <a:pt x="1" y="58"/>
                    <a:pt x="8" y="54"/>
                  </a:cubicBezTo>
                  <a:cubicBezTo>
                    <a:pt x="9" y="49"/>
                    <a:pt x="9" y="47"/>
                    <a:pt x="14" y="46"/>
                  </a:cubicBezTo>
                  <a:cubicBezTo>
                    <a:pt x="26" y="48"/>
                    <a:pt x="38" y="42"/>
                    <a:pt x="50" y="40"/>
                  </a:cubicBezTo>
                  <a:cubicBezTo>
                    <a:pt x="53" y="36"/>
                    <a:pt x="53" y="32"/>
                    <a:pt x="57" y="29"/>
                  </a:cubicBezTo>
                  <a:cubicBezTo>
                    <a:pt x="58" y="25"/>
                    <a:pt x="59" y="23"/>
                    <a:pt x="63" y="22"/>
                  </a:cubicBezTo>
                  <a:cubicBezTo>
                    <a:pt x="68" y="17"/>
                    <a:pt x="73" y="12"/>
                    <a:pt x="81" y="10"/>
                  </a:cubicBezTo>
                  <a:cubicBezTo>
                    <a:pt x="84" y="7"/>
                    <a:pt x="86" y="5"/>
                    <a:pt x="90" y="4"/>
                  </a:cubicBezTo>
                  <a:cubicBezTo>
                    <a:pt x="91" y="3"/>
                    <a:pt x="93" y="0"/>
                    <a:pt x="93" y="1"/>
                  </a:cubicBezTo>
                  <a:cubicBezTo>
                    <a:pt x="93" y="5"/>
                    <a:pt x="86" y="11"/>
                    <a:pt x="86" y="11"/>
                  </a:cubicBezTo>
                  <a:cubicBezTo>
                    <a:pt x="87" y="17"/>
                    <a:pt x="89" y="17"/>
                    <a:pt x="93" y="22"/>
                  </a:cubicBezTo>
                  <a:cubicBezTo>
                    <a:pt x="95" y="28"/>
                    <a:pt x="91" y="40"/>
                    <a:pt x="86" y="43"/>
                  </a:cubicBezTo>
                  <a:cubicBezTo>
                    <a:pt x="85" y="44"/>
                    <a:pt x="84" y="45"/>
                    <a:pt x="84" y="46"/>
                  </a:cubicBezTo>
                  <a:cubicBezTo>
                    <a:pt x="83" y="48"/>
                    <a:pt x="84" y="51"/>
                    <a:pt x="83" y="53"/>
                  </a:cubicBezTo>
                  <a:cubicBezTo>
                    <a:pt x="82" y="55"/>
                    <a:pt x="82" y="48"/>
                    <a:pt x="80" y="47"/>
                  </a:cubicBezTo>
                  <a:cubicBezTo>
                    <a:pt x="78" y="45"/>
                    <a:pt x="75" y="45"/>
                    <a:pt x="72" y="44"/>
                  </a:cubicBezTo>
                  <a:cubicBezTo>
                    <a:pt x="64" y="45"/>
                    <a:pt x="56" y="47"/>
                    <a:pt x="48" y="49"/>
                  </a:cubicBezTo>
                  <a:cubicBezTo>
                    <a:pt x="46" y="51"/>
                    <a:pt x="39" y="54"/>
                    <a:pt x="39" y="54"/>
                  </a:cubicBezTo>
                  <a:cubicBezTo>
                    <a:pt x="36" y="54"/>
                    <a:pt x="32" y="51"/>
                    <a:pt x="29" y="52"/>
                  </a:cubicBezTo>
                  <a:cubicBezTo>
                    <a:pt x="27" y="53"/>
                    <a:pt x="26" y="57"/>
                    <a:pt x="24" y="58"/>
                  </a:cubicBezTo>
                  <a:cubicBezTo>
                    <a:pt x="22" y="59"/>
                    <a:pt x="18" y="60"/>
                    <a:pt x="18" y="60"/>
                  </a:cubicBezTo>
                  <a:cubicBezTo>
                    <a:pt x="12" y="68"/>
                    <a:pt x="11" y="76"/>
                    <a:pt x="0" y="72"/>
                  </a:cubicBezTo>
                  <a:close/>
                </a:path>
              </a:pathLst>
            </a:custGeom>
            <a:solidFill>
              <a:srgbClr val="8D9399"/>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388" name="Freeform 2509"/>
            <p:cNvSpPr>
              <a:spLocks noChangeAspect="1"/>
            </p:cNvSpPr>
            <p:nvPr/>
          </p:nvSpPr>
          <p:spPr bwMode="auto">
            <a:xfrm>
              <a:off x="4429064" y="3652829"/>
              <a:ext cx="224228" cy="335384"/>
            </a:xfrm>
            <a:custGeom>
              <a:avLst/>
              <a:gdLst>
                <a:gd name="T0" fmla="*/ 21 w 117"/>
                <a:gd name="T1" fmla="*/ 156 h 175"/>
                <a:gd name="T2" fmla="*/ 20 w 117"/>
                <a:gd name="T3" fmla="*/ 130 h 175"/>
                <a:gd name="T4" fmla="*/ 12 w 117"/>
                <a:gd name="T5" fmla="*/ 122 h 175"/>
                <a:gd name="T6" fmla="*/ 7 w 117"/>
                <a:gd name="T7" fmla="*/ 108 h 175"/>
                <a:gd name="T8" fmla="*/ 5 w 117"/>
                <a:gd name="T9" fmla="*/ 89 h 175"/>
                <a:gd name="T10" fmla="*/ 2 w 117"/>
                <a:gd name="T11" fmla="*/ 74 h 175"/>
                <a:gd name="T12" fmla="*/ 17 w 117"/>
                <a:gd name="T13" fmla="*/ 34 h 175"/>
                <a:gd name="T14" fmla="*/ 24 w 117"/>
                <a:gd name="T15" fmla="*/ 29 h 175"/>
                <a:gd name="T16" fmla="*/ 33 w 117"/>
                <a:gd name="T17" fmla="*/ 23 h 175"/>
                <a:gd name="T18" fmla="*/ 53 w 117"/>
                <a:gd name="T19" fmla="*/ 10 h 175"/>
                <a:gd name="T20" fmla="*/ 68 w 117"/>
                <a:gd name="T21" fmla="*/ 2 h 175"/>
                <a:gd name="T22" fmla="*/ 86 w 117"/>
                <a:gd name="T23" fmla="*/ 5 h 175"/>
                <a:gd name="T24" fmla="*/ 92 w 117"/>
                <a:gd name="T25" fmla="*/ 25 h 175"/>
                <a:gd name="T26" fmla="*/ 99 w 117"/>
                <a:gd name="T27" fmla="*/ 37 h 175"/>
                <a:gd name="T28" fmla="*/ 114 w 117"/>
                <a:gd name="T29" fmla="*/ 41 h 175"/>
                <a:gd name="T30" fmla="*/ 110 w 117"/>
                <a:gd name="T31" fmla="*/ 59 h 175"/>
                <a:gd name="T32" fmla="*/ 105 w 117"/>
                <a:gd name="T33" fmla="*/ 67 h 175"/>
                <a:gd name="T34" fmla="*/ 92 w 117"/>
                <a:gd name="T35" fmla="*/ 78 h 175"/>
                <a:gd name="T36" fmla="*/ 81 w 117"/>
                <a:gd name="T37" fmla="*/ 97 h 175"/>
                <a:gd name="T38" fmla="*/ 72 w 117"/>
                <a:gd name="T39" fmla="*/ 109 h 175"/>
                <a:gd name="T40" fmla="*/ 96 w 117"/>
                <a:gd name="T41" fmla="*/ 108 h 175"/>
                <a:gd name="T42" fmla="*/ 107 w 117"/>
                <a:gd name="T43" fmla="*/ 124 h 175"/>
                <a:gd name="T44" fmla="*/ 110 w 117"/>
                <a:gd name="T45" fmla="*/ 133 h 175"/>
                <a:gd name="T46" fmla="*/ 98 w 117"/>
                <a:gd name="T47" fmla="*/ 156 h 175"/>
                <a:gd name="T48" fmla="*/ 90 w 117"/>
                <a:gd name="T49" fmla="*/ 138 h 175"/>
                <a:gd name="T50" fmla="*/ 72 w 117"/>
                <a:gd name="T51" fmla="*/ 131 h 175"/>
                <a:gd name="T52" fmla="*/ 62 w 117"/>
                <a:gd name="T53" fmla="*/ 132 h 175"/>
                <a:gd name="T54" fmla="*/ 71 w 117"/>
                <a:gd name="T55" fmla="*/ 162 h 175"/>
                <a:gd name="T56" fmla="*/ 79 w 117"/>
                <a:gd name="T57" fmla="*/ 175 h 175"/>
                <a:gd name="T58" fmla="*/ 75 w 117"/>
                <a:gd name="T59" fmla="*/ 172 h 175"/>
                <a:gd name="T60" fmla="*/ 41 w 117"/>
                <a:gd name="T61" fmla="*/ 162 h 175"/>
                <a:gd name="T62" fmla="*/ 21 w 117"/>
                <a:gd name="T63" fmla="*/ 156 h 17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17"/>
                <a:gd name="T97" fmla="*/ 0 h 175"/>
                <a:gd name="T98" fmla="*/ 117 w 117"/>
                <a:gd name="T99" fmla="*/ 175 h 17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17" h="175">
                  <a:moveTo>
                    <a:pt x="21" y="156"/>
                  </a:moveTo>
                  <a:cubicBezTo>
                    <a:pt x="24" y="151"/>
                    <a:pt x="20" y="134"/>
                    <a:pt x="20" y="130"/>
                  </a:cubicBezTo>
                  <a:cubicBezTo>
                    <a:pt x="17" y="124"/>
                    <a:pt x="16" y="126"/>
                    <a:pt x="12" y="122"/>
                  </a:cubicBezTo>
                  <a:cubicBezTo>
                    <a:pt x="10" y="117"/>
                    <a:pt x="8" y="113"/>
                    <a:pt x="7" y="108"/>
                  </a:cubicBezTo>
                  <a:cubicBezTo>
                    <a:pt x="6" y="101"/>
                    <a:pt x="6" y="96"/>
                    <a:pt x="5" y="89"/>
                  </a:cubicBezTo>
                  <a:cubicBezTo>
                    <a:pt x="4" y="84"/>
                    <a:pt x="2" y="74"/>
                    <a:pt x="2" y="74"/>
                  </a:cubicBezTo>
                  <a:cubicBezTo>
                    <a:pt x="11" y="65"/>
                    <a:pt x="0" y="38"/>
                    <a:pt x="17" y="34"/>
                  </a:cubicBezTo>
                  <a:cubicBezTo>
                    <a:pt x="18" y="31"/>
                    <a:pt x="24" y="29"/>
                    <a:pt x="24" y="29"/>
                  </a:cubicBezTo>
                  <a:cubicBezTo>
                    <a:pt x="27" y="26"/>
                    <a:pt x="30" y="25"/>
                    <a:pt x="33" y="23"/>
                  </a:cubicBezTo>
                  <a:cubicBezTo>
                    <a:pt x="37" y="16"/>
                    <a:pt x="46" y="12"/>
                    <a:pt x="53" y="10"/>
                  </a:cubicBezTo>
                  <a:cubicBezTo>
                    <a:pt x="57" y="6"/>
                    <a:pt x="62" y="4"/>
                    <a:pt x="68" y="2"/>
                  </a:cubicBezTo>
                  <a:cubicBezTo>
                    <a:pt x="74" y="3"/>
                    <a:pt x="83" y="0"/>
                    <a:pt x="86" y="5"/>
                  </a:cubicBezTo>
                  <a:cubicBezTo>
                    <a:pt x="89" y="10"/>
                    <a:pt x="88" y="21"/>
                    <a:pt x="92" y="25"/>
                  </a:cubicBezTo>
                  <a:cubicBezTo>
                    <a:pt x="95" y="28"/>
                    <a:pt x="99" y="37"/>
                    <a:pt x="99" y="37"/>
                  </a:cubicBezTo>
                  <a:cubicBezTo>
                    <a:pt x="101" y="39"/>
                    <a:pt x="114" y="41"/>
                    <a:pt x="114" y="41"/>
                  </a:cubicBezTo>
                  <a:cubicBezTo>
                    <a:pt x="117" y="49"/>
                    <a:pt x="116" y="53"/>
                    <a:pt x="110" y="59"/>
                  </a:cubicBezTo>
                  <a:cubicBezTo>
                    <a:pt x="108" y="66"/>
                    <a:pt x="110" y="64"/>
                    <a:pt x="105" y="67"/>
                  </a:cubicBezTo>
                  <a:cubicBezTo>
                    <a:pt x="102" y="72"/>
                    <a:pt x="97" y="75"/>
                    <a:pt x="92" y="78"/>
                  </a:cubicBezTo>
                  <a:cubicBezTo>
                    <a:pt x="89" y="84"/>
                    <a:pt x="86" y="92"/>
                    <a:pt x="81" y="97"/>
                  </a:cubicBezTo>
                  <a:cubicBezTo>
                    <a:pt x="79" y="102"/>
                    <a:pt x="72" y="109"/>
                    <a:pt x="72" y="109"/>
                  </a:cubicBezTo>
                  <a:cubicBezTo>
                    <a:pt x="69" y="119"/>
                    <a:pt x="90" y="106"/>
                    <a:pt x="96" y="108"/>
                  </a:cubicBezTo>
                  <a:cubicBezTo>
                    <a:pt x="102" y="111"/>
                    <a:pt x="102" y="117"/>
                    <a:pt x="107" y="124"/>
                  </a:cubicBezTo>
                  <a:cubicBezTo>
                    <a:pt x="109" y="127"/>
                    <a:pt x="110" y="133"/>
                    <a:pt x="110" y="133"/>
                  </a:cubicBezTo>
                  <a:cubicBezTo>
                    <a:pt x="109" y="167"/>
                    <a:pt x="117" y="162"/>
                    <a:pt x="98" y="156"/>
                  </a:cubicBezTo>
                  <a:cubicBezTo>
                    <a:pt x="96" y="153"/>
                    <a:pt x="93" y="141"/>
                    <a:pt x="90" y="138"/>
                  </a:cubicBezTo>
                  <a:cubicBezTo>
                    <a:pt x="88" y="131"/>
                    <a:pt x="78" y="133"/>
                    <a:pt x="72" y="131"/>
                  </a:cubicBezTo>
                  <a:cubicBezTo>
                    <a:pt x="69" y="131"/>
                    <a:pt x="65" y="131"/>
                    <a:pt x="62" y="132"/>
                  </a:cubicBezTo>
                  <a:cubicBezTo>
                    <a:pt x="54" y="136"/>
                    <a:pt x="66" y="159"/>
                    <a:pt x="71" y="162"/>
                  </a:cubicBezTo>
                  <a:cubicBezTo>
                    <a:pt x="74" y="169"/>
                    <a:pt x="78" y="174"/>
                    <a:pt x="79" y="175"/>
                  </a:cubicBezTo>
                  <a:cubicBezTo>
                    <a:pt x="78" y="174"/>
                    <a:pt x="76" y="173"/>
                    <a:pt x="75" y="172"/>
                  </a:cubicBezTo>
                  <a:cubicBezTo>
                    <a:pt x="70" y="158"/>
                    <a:pt x="52" y="162"/>
                    <a:pt x="41" y="162"/>
                  </a:cubicBezTo>
                  <a:cubicBezTo>
                    <a:pt x="34" y="161"/>
                    <a:pt x="28" y="158"/>
                    <a:pt x="21" y="156"/>
                  </a:cubicBezTo>
                  <a:close/>
                </a:path>
              </a:pathLst>
            </a:custGeom>
            <a:solidFill>
              <a:srgbClr val="8D9399"/>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389" name="Freeform 2510"/>
            <p:cNvSpPr>
              <a:spLocks noChangeAspect="1"/>
            </p:cNvSpPr>
            <p:nvPr>
              <p:custDataLst>
                <p:tags r:id="rId25"/>
              </p:custDataLst>
            </p:nvPr>
          </p:nvSpPr>
          <p:spPr bwMode="auto">
            <a:xfrm>
              <a:off x="2849885" y="3721822"/>
              <a:ext cx="419709" cy="486785"/>
            </a:xfrm>
            <a:custGeom>
              <a:avLst/>
              <a:gdLst>
                <a:gd name="T0" fmla="*/ 208 w 219"/>
                <a:gd name="T1" fmla="*/ 104 h 254"/>
                <a:gd name="T2" fmla="*/ 194 w 219"/>
                <a:gd name="T3" fmla="*/ 85 h 254"/>
                <a:gd name="T4" fmla="*/ 172 w 219"/>
                <a:gd name="T5" fmla="*/ 91 h 254"/>
                <a:gd name="T6" fmla="*/ 149 w 219"/>
                <a:gd name="T7" fmla="*/ 71 h 254"/>
                <a:gd name="T8" fmla="*/ 159 w 219"/>
                <a:gd name="T9" fmla="*/ 56 h 254"/>
                <a:gd name="T10" fmla="*/ 182 w 219"/>
                <a:gd name="T11" fmla="*/ 38 h 254"/>
                <a:gd name="T12" fmla="*/ 200 w 219"/>
                <a:gd name="T13" fmla="*/ 19 h 254"/>
                <a:gd name="T14" fmla="*/ 188 w 219"/>
                <a:gd name="T15" fmla="*/ 7 h 254"/>
                <a:gd name="T16" fmla="*/ 181 w 219"/>
                <a:gd name="T17" fmla="*/ 25 h 254"/>
                <a:gd name="T18" fmla="*/ 149 w 219"/>
                <a:gd name="T19" fmla="*/ 18 h 254"/>
                <a:gd name="T20" fmla="*/ 131 w 219"/>
                <a:gd name="T21" fmla="*/ 35 h 254"/>
                <a:gd name="T22" fmla="*/ 135 w 219"/>
                <a:gd name="T23" fmla="*/ 44 h 254"/>
                <a:gd name="T24" fmla="*/ 140 w 219"/>
                <a:gd name="T25" fmla="*/ 59 h 254"/>
                <a:gd name="T26" fmla="*/ 124 w 219"/>
                <a:gd name="T27" fmla="*/ 71 h 254"/>
                <a:gd name="T28" fmla="*/ 95 w 219"/>
                <a:gd name="T29" fmla="*/ 59 h 254"/>
                <a:gd name="T30" fmla="*/ 63 w 219"/>
                <a:gd name="T31" fmla="*/ 58 h 254"/>
                <a:gd name="T32" fmla="*/ 61 w 219"/>
                <a:gd name="T33" fmla="*/ 82 h 254"/>
                <a:gd name="T34" fmla="*/ 59 w 219"/>
                <a:gd name="T35" fmla="*/ 90 h 254"/>
                <a:gd name="T36" fmla="*/ 45 w 219"/>
                <a:gd name="T37" fmla="*/ 106 h 254"/>
                <a:gd name="T38" fmla="*/ 94 w 219"/>
                <a:gd name="T39" fmla="*/ 134 h 254"/>
                <a:gd name="T40" fmla="*/ 64 w 219"/>
                <a:gd name="T41" fmla="*/ 150 h 254"/>
                <a:gd name="T42" fmla="*/ 44 w 219"/>
                <a:gd name="T43" fmla="*/ 173 h 254"/>
                <a:gd name="T44" fmla="*/ 53 w 219"/>
                <a:gd name="T45" fmla="*/ 180 h 254"/>
                <a:gd name="T46" fmla="*/ 29 w 219"/>
                <a:gd name="T47" fmla="*/ 196 h 254"/>
                <a:gd name="T48" fmla="*/ 13 w 219"/>
                <a:gd name="T49" fmla="*/ 187 h 254"/>
                <a:gd name="T50" fmla="*/ 4 w 219"/>
                <a:gd name="T51" fmla="*/ 202 h 254"/>
                <a:gd name="T52" fmla="*/ 23 w 219"/>
                <a:gd name="T53" fmla="*/ 200 h 254"/>
                <a:gd name="T54" fmla="*/ 4 w 219"/>
                <a:gd name="T55" fmla="*/ 217 h 254"/>
                <a:gd name="T56" fmla="*/ 29 w 219"/>
                <a:gd name="T57" fmla="*/ 222 h 254"/>
                <a:gd name="T58" fmla="*/ 5 w 219"/>
                <a:gd name="T59" fmla="*/ 236 h 254"/>
                <a:gd name="T60" fmla="*/ 26 w 219"/>
                <a:gd name="T61" fmla="*/ 250 h 254"/>
                <a:gd name="T62" fmla="*/ 79 w 219"/>
                <a:gd name="T63" fmla="*/ 248 h 254"/>
                <a:gd name="T64" fmla="*/ 119 w 219"/>
                <a:gd name="T65" fmla="*/ 244 h 254"/>
                <a:gd name="T66" fmla="*/ 148 w 219"/>
                <a:gd name="T67" fmla="*/ 230 h 254"/>
                <a:gd name="T68" fmla="*/ 185 w 219"/>
                <a:gd name="T69" fmla="*/ 220 h 254"/>
                <a:gd name="T70" fmla="*/ 203 w 219"/>
                <a:gd name="T71" fmla="*/ 196 h 254"/>
                <a:gd name="T72" fmla="*/ 208 w 219"/>
                <a:gd name="T73" fmla="*/ 187 h 254"/>
                <a:gd name="T74" fmla="*/ 207 w 219"/>
                <a:gd name="T75" fmla="*/ 134 h 254"/>
                <a:gd name="T76" fmla="*/ 217 w 219"/>
                <a:gd name="T77" fmla="*/ 110 h 25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9"/>
                <a:gd name="T118" fmla="*/ 0 h 254"/>
                <a:gd name="T119" fmla="*/ 219 w 219"/>
                <a:gd name="T120" fmla="*/ 254 h 25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9" h="254">
                  <a:moveTo>
                    <a:pt x="217" y="110"/>
                  </a:moveTo>
                  <a:cubicBezTo>
                    <a:pt x="219" y="105"/>
                    <a:pt x="213" y="105"/>
                    <a:pt x="208" y="104"/>
                  </a:cubicBezTo>
                  <a:cubicBezTo>
                    <a:pt x="202" y="100"/>
                    <a:pt x="201" y="97"/>
                    <a:pt x="196" y="92"/>
                  </a:cubicBezTo>
                  <a:cubicBezTo>
                    <a:pt x="194" y="90"/>
                    <a:pt x="194" y="85"/>
                    <a:pt x="194" y="85"/>
                  </a:cubicBezTo>
                  <a:cubicBezTo>
                    <a:pt x="191" y="77"/>
                    <a:pt x="190" y="79"/>
                    <a:pt x="182" y="82"/>
                  </a:cubicBezTo>
                  <a:cubicBezTo>
                    <a:pt x="179" y="90"/>
                    <a:pt x="182" y="92"/>
                    <a:pt x="172" y="91"/>
                  </a:cubicBezTo>
                  <a:cubicBezTo>
                    <a:pt x="165" y="89"/>
                    <a:pt x="164" y="79"/>
                    <a:pt x="154" y="76"/>
                  </a:cubicBezTo>
                  <a:cubicBezTo>
                    <a:pt x="152" y="69"/>
                    <a:pt x="155" y="77"/>
                    <a:pt x="149" y="71"/>
                  </a:cubicBezTo>
                  <a:cubicBezTo>
                    <a:pt x="147" y="69"/>
                    <a:pt x="147" y="64"/>
                    <a:pt x="146" y="61"/>
                  </a:cubicBezTo>
                  <a:cubicBezTo>
                    <a:pt x="150" y="58"/>
                    <a:pt x="154" y="57"/>
                    <a:pt x="159" y="56"/>
                  </a:cubicBezTo>
                  <a:cubicBezTo>
                    <a:pt x="165" y="47"/>
                    <a:pt x="162" y="47"/>
                    <a:pt x="173" y="46"/>
                  </a:cubicBezTo>
                  <a:cubicBezTo>
                    <a:pt x="180" y="41"/>
                    <a:pt x="178" y="44"/>
                    <a:pt x="182" y="38"/>
                  </a:cubicBezTo>
                  <a:cubicBezTo>
                    <a:pt x="184" y="32"/>
                    <a:pt x="184" y="31"/>
                    <a:pt x="190" y="29"/>
                  </a:cubicBezTo>
                  <a:cubicBezTo>
                    <a:pt x="193" y="26"/>
                    <a:pt x="196" y="20"/>
                    <a:pt x="200" y="19"/>
                  </a:cubicBezTo>
                  <a:cubicBezTo>
                    <a:pt x="202" y="14"/>
                    <a:pt x="206" y="9"/>
                    <a:pt x="202" y="6"/>
                  </a:cubicBezTo>
                  <a:cubicBezTo>
                    <a:pt x="200" y="0"/>
                    <a:pt x="194" y="3"/>
                    <a:pt x="188" y="7"/>
                  </a:cubicBezTo>
                  <a:cubicBezTo>
                    <a:pt x="187" y="11"/>
                    <a:pt x="184" y="15"/>
                    <a:pt x="183" y="19"/>
                  </a:cubicBezTo>
                  <a:cubicBezTo>
                    <a:pt x="182" y="21"/>
                    <a:pt x="181" y="25"/>
                    <a:pt x="181" y="25"/>
                  </a:cubicBezTo>
                  <a:cubicBezTo>
                    <a:pt x="170" y="22"/>
                    <a:pt x="182" y="10"/>
                    <a:pt x="165" y="8"/>
                  </a:cubicBezTo>
                  <a:cubicBezTo>
                    <a:pt x="149" y="9"/>
                    <a:pt x="158" y="15"/>
                    <a:pt x="149" y="18"/>
                  </a:cubicBezTo>
                  <a:cubicBezTo>
                    <a:pt x="148" y="23"/>
                    <a:pt x="147" y="23"/>
                    <a:pt x="142" y="25"/>
                  </a:cubicBezTo>
                  <a:cubicBezTo>
                    <a:pt x="139" y="29"/>
                    <a:pt x="135" y="34"/>
                    <a:pt x="131" y="35"/>
                  </a:cubicBezTo>
                  <a:cubicBezTo>
                    <a:pt x="131" y="36"/>
                    <a:pt x="127" y="40"/>
                    <a:pt x="128" y="41"/>
                  </a:cubicBezTo>
                  <a:cubicBezTo>
                    <a:pt x="129" y="43"/>
                    <a:pt x="134" y="43"/>
                    <a:pt x="135" y="44"/>
                  </a:cubicBezTo>
                  <a:cubicBezTo>
                    <a:pt x="138" y="45"/>
                    <a:pt x="145" y="48"/>
                    <a:pt x="145" y="48"/>
                  </a:cubicBezTo>
                  <a:cubicBezTo>
                    <a:pt x="144" y="49"/>
                    <a:pt x="142" y="58"/>
                    <a:pt x="140" y="59"/>
                  </a:cubicBezTo>
                  <a:cubicBezTo>
                    <a:pt x="137" y="61"/>
                    <a:pt x="131" y="62"/>
                    <a:pt x="131" y="62"/>
                  </a:cubicBezTo>
                  <a:cubicBezTo>
                    <a:pt x="127" y="67"/>
                    <a:pt x="125" y="64"/>
                    <a:pt x="124" y="71"/>
                  </a:cubicBezTo>
                  <a:cubicBezTo>
                    <a:pt x="116" y="70"/>
                    <a:pt x="120" y="68"/>
                    <a:pt x="113" y="65"/>
                  </a:cubicBezTo>
                  <a:cubicBezTo>
                    <a:pt x="111" y="58"/>
                    <a:pt x="101" y="60"/>
                    <a:pt x="95" y="59"/>
                  </a:cubicBezTo>
                  <a:cubicBezTo>
                    <a:pt x="92" y="55"/>
                    <a:pt x="87" y="53"/>
                    <a:pt x="83" y="52"/>
                  </a:cubicBezTo>
                  <a:cubicBezTo>
                    <a:pt x="75" y="53"/>
                    <a:pt x="67" y="51"/>
                    <a:pt x="63" y="58"/>
                  </a:cubicBezTo>
                  <a:cubicBezTo>
                    <a:pt x="62" y="64"/>
                    <a:pt x="62" y="66"/>
                    <a:pt x="58" y="70"/>
                  </a:cubicBezTo>
                  <a:cubicBezTo>
                    <a:pt x="57" y="74"/>
                    <a:pt x="57" y="79"/>
                    <a:pt x="61" y="82"/>
                  </a:cubicBezTo>
                  <a:cubicBezTo>
                    <a:pt x="64" y="85"/>
                    <a:pt x="74" y="86"/>
                    <a:pt x="74" y="86"/>
                  </a:cubicBezTo>
                  <a:cubicBezTo>
                    <a:pt x="69" y="88"/>
                    <a:pt x="64" y="88"/>
                    <a:pt x="59" y="90"/>
                  </a:cubicBezTo>
                  <a:cubicBezTo>
                    <a:pt x="61" y="95"/>
                    <a:pt x="62" y="96"/>
                    <a:pt x="61" y="101"/>
                  </a:cubicBezTo>
                  <a:cubicBezTo>
                    <a:pt x="48" y="100"/>
                    <a:pt x="47" y="93"/>
                    <a:pt x="45" y="106"/>
                  </a:cubicBezTo>
                  <a:cubicBezTo>
                    <a:pt x="46" y="114"/>
                    <a:pt x="50" y="119"/>
                    <a:pt x="59" y="121"/>
                  </a:cubicBezTo>
                  <a:cubicBezTo>
                    <a:pt x="70" y="128"/>
                    <a:pt x="81" y="133"/>
                    <a:pt x="94" y="134"/>
                  </a:cubicBezTo>
                  <a:cubicBezTo>
                    <a:pt x="89" y="141"/>
                    <a:pt x="84" y="138"/>
                    <a:pt x="74" y="137"/>
                  </a:cubicBezTo>
                  <a:cubicBezTo>
                    <a:pt x="67" y="139"/>
                    <a:pt x="70" y="146"/>
                    <a:pt x="64" y="150"/>
                  </a:cubicBezTo>
                  <a:cubicBezTo>
                    <a:pt x="62" y="155"/>
                    <a:pt x="58" y="160"/>
                    <a:pt x="53" y="162"/>
                  </a:cubicBezTo>
                  <a:cubicBezTo>
                    <a:pt x="50" y="166"/>
                    <a:pt x="39" y="175"/>
                    <a:pt x="44" y="173"/>
                  </a:cubicBezTo>
                  <a:cubicBezTo>
                    <a:pt x="58" y="174"/>
                    <a:pt x="71" y="171"/>
                    <a:pt x="85" y="173"/>
                  </a:cubicBezTo>
                  <a:cubicBezTo>
                    <a:pt x="74" y="175"/>
                    <a:pt x="64" y="179"/>
                    <a:pt x="53" y="180"/>
                  </a:cubicBezTo>
                  <a:cubicBezTo>
                    <a:pt x="47" y="182"/>
                    <a:pt x="43" y="178"/>
                    <a:pt x="37" y="180"/>
                  </a:cubicBezTo>
                  <a:cubicBezTo>
                    <a:pt x="35" y="183"/>
                    <a:pt x="31" y="192"/>
                    <a:pt x="29" y="196"/>
                  </a:cubicBezTo>
                  <a:cubicBezTo>
                    <a:pt x="28" y="198"/>
                    <a:pt x="27" y="202"/>
                    <a:pt x="27" y="202"/>
                  </a:cubicBezTo>
                  <a:cubicBezTo>
                    <a:pt x="25" y="195"/>
                    <a:pt x="20" y="189"/>
                    <a:pt x="13" y="187"/>
                  </a:cubicBezTo>
                  <a:cubicBezTo>
                    <a:pt x="6" y="188"/>
                    <a:pt x="9" y="190"/>
                    <a:pt x="4" y="193"/>
                  </a:cubicBezTo>
                  <a:cubicBezTo>
                    <a:pt x="3" y="196"/>
                    <a:pt x="0" y="200"/>
                    <a:pt x="4" y="202"/>
                  </a:cubicBezTo>
                  <a:cubicBezTo>
                    <a:pt x="6" y="203"/>
                    <a:pt x="10" y="204"/>
                    <a:pt x="10" y="204"/>
                  </a:cubicBezTo>
                  <a:cubicBezTo>
                    <a:pt x="16" y="203"/>
                    <a:pt x="18" y="203"/>
                    <a:pt x="23" y="200"/>
                  </a:cubicBezTo>
                  <a:cubicBezTo>
                    <a:pt x="24" y="201"/>
                    <a:pt x="27" y="201"/>
                    <a:pt x="27" y="202"/>
                  </a:cubicBezTo>
                  <a:cubicBezTo>
                    <a:pt x="27" y="205"/>
                    <a:pt x="7" y="216"/>
                    <a:pt x="4" y="217"/>
                  </a:cubicBezTo>
                  <a:cubicBezTo>
                    <a:pt x="5" y="222"/>
                    <a:pt x="6" y="222"/>
                    <a:pt x="11" y="224"/>
                  </a:cubicBezTo>
                  <a:cubicBezTo>
                    <a:pt x="17" y="223"/>
                    <a:pt x="24" y="218"/>
                    <a:pt x="29" y="222"/>
                  </a:cubicBezTo>
                  <a:cubicBezTo>
                    <a:pt x="31" y="223"/>
                    <a:pt x="29" y="226"/>
                    <a:pt x="28" y="228"/>
                  </a:cubicBezTo>
                  <a:cubicBezTo>
                    <a:pt x="23" y="235"/>
                    <a:pt x="12" y="234"/>
                    <a:pt x="5" y="236"/>
                  </a:cubicBezTo>
                  <a:cubicBezTo>
                    <a:pt x="14" y="240"/>
                    <a:pt x="23" y="238"/>
                    <a:pt x="32" y="241"/>
                  </a:cubicBezTo>
                  <a:cubicBezTo>
                    <a:pt x="31" y="245"/>
                    <a:pt x="30" y="249"/>
                    <a:pt x="26" y="250"/>
                  </a:cubicBezTo>
                  <a:cubicBezTo>
                    <a:pt x="32" y="254"/>
                    <a:pt x="38" y="253"/>
                    <a:pt x="45" y="254"/>
                  </a:cubicBezTo>
                  <a:cubicBezTo>
                    <a:pt x="56" y="252"/>
                    <a:pt x="68" y="250"/>
                    <a:pt x="79" y="248"/>
                  </a:cubicBezTo>
                  <a:cubicBezTo>
                    <a:pt x="83" y="247"/>
                    <a:pt x="92" y="244"/>
                    <a:pt x="92" y="244"/>
                  </a:cubicBezTo>
                  <a:cubicBezTo>
                    <a:pt x="98" y="238"/>
                    <a:pt x="112" y="243"/>
                    <a:pt x="119" y="244"/>
                  </a:cubicBezTo>
                  <a:cubicBezTo>
                    <a:pt x="122" y="242"/>
                    <a:pt x="128" y="238"/>
                    <a:pt x="128" y="238"/>
                  </a:cubicBezTo>
                  <a:cubicBezTo>
                    <a:pt x="130" y="232"/>
                    <a:pt x="143" y="231"/>
                    <a:pt x="148" y="230"/>
                  </a:cubicBezTo>
                  <a:cubicBezTo>
                    <a:pt x="162" y="232"/>
                    <a:pt x="166" y="235"/>
                    <a:pt x="178" y="239"/>
                  </a:cubicBezTo>
                  <a:cubicBezTo>
                    <a:pt x="188" y="236"/>
                    <a:pt x="182" y="231"/>
                    <a:pt x="185" y="220"/>
                  </a:cubicBezTo>
                  <a:cubicBezTo>
                    <a:pt x="186" y="216"/>
                    <a:pt x="197" y="215"/>
                    <a:pt x="197" y="215"/>
                  </a:cubicBezTo>
                  <a:cubicBezTo>
                    <a:pt x="203" y="209"/>
                    <a:pt x="200" y="203"/>
                    <a:pt x="203" y="196"/>
                  </a:cubicBezTo>
                  <a:cubicBezTo>
                    <a:pt x="204" y="194"/>
                    <a:pt x="206" y="192"/>
                    <a:pt x="207" y="190"/>
                  </a:cubicBezTo>
                  <a:cubicBezTo>
                    <a:pt x="207" y="189"/>
                    <a:pt x="208" y="188"/>
                    <a:pt x="208" y="187"/>
                  </a:cubicBezTo>
                  <a:cubicBezTo>
                    <a:pt x="211" y="169"/>
                    <a:pt x="211" y="159"/>
                    <a:pt x="209" y="140"/>
                  </a:cubicBezTo>
                  <a:cubicBezTo>
                    <a:pt x="209" y="138"/>
                    <a:pt x="207" y="134"/>
                    <a:pt x="207" y="134"/>
                  </a:cubicBezTo>
                  <a:cubicBezTo>
                    <a:pt x="208" y="128"/>
                    <a:pt x="209" y="124"/>
                    <a:pt x="211" y="119"/>
                  </a:cubicBezTo>
                  <a:cubicBezTo>
                    <a:pt x="212" y="111"/>
                    <a:pt x="210" y="114"/>
                    <a:pt x="217" y="110"/>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390" name="Freeform 2512"/>
            <p:cNvSpPr>
              <a:spLocks noChangeAspect="1"/>
            </p:cNvSpPr>
            <p:nvPr/>
          </p:nvSpPr>
          <p:spPr bwMode="auto">
            <a:xfrm>
              <a:off x="5191823" y="3478431"/>
              <a:ext cx="95824" cy="170567"/>
            </a:xfrm>
            <a:custGeom>
              <a:avLst/>
              <a:gdLst>
                <a:gd name="T0" fmla="*/ 42 w 50"/>
                <a:gd name="T1" fmla="*/ 3 h 89"/>
                <a:gd name="T2" fmla="*/ 24 w 50"/>
                <a:gd name="T3" fmla="*/ 14 h 89"/>
                <a:gd name="T4" fmla="*/ 15 w 50"/>
                <a:gd name="T5" fmla="*/ 19 h 89"/>
                <a:gd name="T6" fmla="*/ 0 w 50"/>
                <a:gd name="T7" fmla="*/ 38 h 89"/>
                <a:gd name="T8" fmla="*/ 4 w 50"/>
                <a:gd name="T9" fmla="*/ 51 h 89"/>
                <a:gd name="T10" fmla="*/ 0 w 50"/>
                <a:gd name="T11" fmla="*/ 62 h 89"/>
                <a:gd name="T12" fmla="*/ 7 w 50"/>
                <a:gd name="T13" fmla="*/ 72 h 89"/>
                <a:gd name="T14" fmla="*/ 6 w 50"/>
                <a:gd name="T15" fmla="*/ 81 h 89"/>
                <a:gd name="T16" fmla="*/ 13 w 50"/>
                <a:gd name="T17" fmla="*/ 83 h 89"/>
                <a:gd name="T18" fmla="*/ 23 w 50"/>
                <a:gd name="T19" fmla="*/ 65 h 89"/>
                <a:gd name="T20" fmla="*/ 33 w 50"/>
                <a:gd name="T21" fmla="*/ 48 h 89"/>
                <a:gd name="T22" fmla="*/ 23 w 50"/>
                <a:gd name="T23" fmla="*/ 29 h 89"/>
                <a:gd name="T24" fmla="*/ 34 w 50"/>
                <a:gd name="T25" fmla="*/ 18 h 89"/>
                <a:gd name="T26" fmla="*/ 48 w 50"/>
                <a:gd name="T27" fmla="*/ 6 h 89"/>
                <a:gd name="T28" fmla="*/ 42 w 50"/>
                <a:gd name="T29" fmla="*/ 3 h 8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0"/>
                <a:gd name="T46" fmla="*/ 0 h 89"/>
                <a:gd name="T47" fmla="*/ 50 w 50"/>
                <a:gd name="T48" fmla="*/ 89 h 8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0" h="89">
                  <a:moveTo>
                    <a:pt x="42" y="3"/>
                  </a:moveTo>
                  <a:cubicBezTo>
                    <a:pt x="27" y="4"/>
                    <a:pt x="15" y="0"/>
                    <a:pt x="24" y="14"/>
                  </a:cubicBezTo>
                  <a:cubicBezTo>
                    <a:pt x="21" y="18"/>
                    <a:pt x="20" y="18"/>
                    <a:pt x="15" y="19"/>
                  </a:cubicBezTo>
                  <a:cubicBezTo>
                    <a:pt x="7" y="24"/>
                    <a:pt x="7" y="31"/>
                    <a:pt x="0" y="38"/>
                  </a:cubicBezTo>
                  <a:cubicBezTo>
                    <a:pt x="1" y="44"/>
                    <a:pt x="2" y="46"/>
                    <a:pt x="4" y="51"/>
                  </a:cubicBezTo>
                  <a:cubicBezTo>
                    <a:pt x="3" y="55"/>
                    <a:pt x="1" y="58"/>
                    <a:pt x="0" y="62"/>
                  </a:cubicBezTo>
                  <a:cubicBezTo>
                    <a:pt x="1" y="68"/>
                    <a:pt x="1" y="70"/>
                    <a:pt x="7" y="72"/>
                  </a:cubicBezTo>
                  <a:cubicBezTo>
                    <a:pt x="10" y="76"/>
                    <a:pt x="8" y="76"/>
                    <a:pt x="6" y="81"/>
                  </a:cubicBezTo>
                  <a:cubicBezTo>
                    <a:pt x="7" y="88"/>
                    <a:pt x="9" y="89"/>
                    <a:pt x="13" y="83"/>
                  </a:cubicBezTo>
                  <a:cubicBezTo>
                    <a:pt x="15" y="71"/>
                    <a:pt x="12" y="67"/>
                    <a:pt x="23" y="65"/>
                  </a:cubicBezTo>
                  <a:cubicBezTo>
                    <a:pt x="31" y="61"/>
                    <a:pt x="27" y="54"/>
                    <a:pt x="33" y="48"/>
                  </a:cubicBezTo>
                  <a:cubicBezTo>
                    <a:pt x="30" y="40"/>
                    <a:pt x="27" y="36"/>
                    <a:pt x="23" y="29"/>
                  </a:cubicBezTo>
                  <a:cubicBezTo>
                    <a:pt x="24" y="24"/>
                    <a:pt x="29" y="21"/>
                    <a:pt x="34" y="18"/>
                  </a:cubicBezTo>
                  <a:cubicBezTo>
                    <a:pt x="37" y="8"/>
                    <a:pt x="36" y="7"/>
                    <a:pt x="48" y="6"/>
                  </a:cubicBezTo>
                  <a:cubicBezTo>
                    <a:pt x="50" y="1"/>
                    <a:pt x="50" y="3"/>
                    <a:pt x="42" y="3"/>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391" name="Freeform 2513"/>
            <p:cNvSpPr>
              <a:spLocks noChangeAspect="1"/>
            </p:cNvSpPr>
            <p:nvPr/>
          </p:nvSpPr>
          <p:spPr bwMode="auto">
            <a:xfrm>
              <a:off x="5065335" y="3593420"/>
              <a:ext cx="55578" cy="166734"/>
            </a:xfrm>
            <a:custGeom>
              <a:avLst/>
              <a:gdLst>
                <a:gd name="T0" fmla="*/ 27 w 29"/>
                <a:gd name="T1" fmla="*/ 0 h 87"/>
                <a:gd name="T2" fmla="*/ 19 w 29"/>
                <a:gd name="T3" fmla="*/ 15 h 87"/>
                <a:gd name="T4" fmla="*/ 13 w 29"/>
                <a:gd name="T5" fmla="*/ 30 h 87"/>
                <a:gd name="T6" fmla="*/ 7 w 29"/>
                <a:gd name="T7" fmla="*/ 38 h 87"/>
                <a:gd name="T8" fmla="*/ 1 w 29"/>
                <a:gd name="T9" fmla="*/ 57 h 87"/>
                <a:gd name="T10" fmla="*/ 9 w 29"/>
                <a:gd name="T11" fmla="*/ 78 h 87"/>
                <a:gd name="T12" fmla="*/ 12 w 29"/>
                <a:gd name="T13" fmla="*/ 85 h 87"/>
                <a:gd name="T14" fmla="*/ 24 w 29"/>
                <a:gd name="T15" fmla="*/ 32 h 87"/>
                <a:gd name="T16" fmla="*/ 25 w 29"/>
                <a:gd name="T17" fmla="*/ 17 h 87"/>
                <a:gd name="T18" fmla="*/ 29 w 29"/>
                <a:gd name="T19" fmla="*/ 8 h 87"/>
                <a:gd name="T20" fmla="*/ 27 w 29"/>
                <a:gd name="T21" fmla="*/ 0 h 8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87"/>
                <a:gd name="T35" fmla="*/ 29 w 29"/>
                <a:gd name="T36" fmla="*/ 87 h 8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87">
                  <a:moveTo>
                    <a:pt x="27" y="0"/>
                  </a:moveTo>
                  <a:cubicBezTo>
                    <a:pt x="24" y="5"/>
                    <a:pt x="23" y="11"/>
                    <a:pt x="19" y="15"/>
                  </a:cubicBezTo>
                  <a:cubicBezTo>
                    <a:pt x="18" y="21"/>
                    <a:pt x="17" y="26"/>
                    <a:pt x="13" y="30"/>
                  </a:cubicBezTo>
                  <a:cubicBezTo>
                    <a:pt x="11" y="37"/>
                    <a:pt x="13" y="35"/>
                    <a:pt x="7" y="38"/>
                  </a:cubicBezTo>
                  <a:cubicBezTo>
                    <a:pt x="5" y="44"/>
                    <a:pt x="5" y="51"/>
                    <a:pt x="1" y="57"/>
                  </a:cubicBezTo>
                  <a:cubicBezTo>
                    <a:pt x="0" y="64"/>
                    <a:pt x="2" y="76"/>
                    <a:pt x="9" y="78"/>
                  </a:cubicBezTo>
                  <a:cubicBezTo>
                    <a:pt x="10" y="80"/>
                    <a:pt x="11" y="87"/>
                    <a:pt x="12" y="85"/>
                  </a:cubicBezTo>
                  <a:cubicBezTo>
                    <a:pt x="18" y="68"/>
                    <a:pt x="18" y="49"/>
                    <a:pt x="24" y="32"/>
                  </a:cubicBezTo>
                  <a:cubicBezTo>
                    <a:pt x="24" y="27"/>
                    <a:pt x="24" y="22"/>
                    <a:pt x="25" y="17"/>
                  </a:cubicBezTo>
                  <a:cubicBezTo>
                    <a:pt x="26" y="14"/>
                    <a:pt x="29" y="8"/>
                    <a:pt x="29" y="8"/>
                  </a:cubicBezTo>
                  <a:cubicBezTo>
                    <a:pt x="28" y="2"/>
                    <a:pt x="29" y="5"/>
                    <a:pt x="27" y="0"/>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392" name="Freeform 2514"/>
            <p:cNvSpPr>
              <a:spLocks noChangeAspect="1"/>
            </p:cNvSpPr>
            <p:nvPr/>
          </p:nvSpPr>
          <p:spPr bwMode="auto">
            <a:xfrm>
              <a:off x="4653292" y="1910751"/>
              <a:ext cx="757010" cy="1975890"/>
            </a:xfrm>
            <a:custGeom>
              <a:avLst/>
              <a:gdLst>
                <a:gd name="T0" fmla="*/ 240 w 395"/>
                <a:gd name="T1" fmla="*/ 3 h 1031"/>
                <a:gd name="T2" fmla="*/ 240 w 395"/>
                <a:gd name="T3" fmla="*/ 33 h 1031"/>
                <a:gd name="T4" fmla="*/ 188 w 395"/>
                <a:gd name="T5" fmla="*/ 73 h 1031"/>
                <a:gd name="T6" fmla="*/ 144 w 395"/>
                <a:gd name="T7" fmla="*/ 130 h 1031"/>
                <a:gd name="T8" fmla="*/ 135 w 395"/>
                <a:gd name="T9" fmla="*/ 193 h 1031"/>
                <a:gd name="T10" fmla="*/ 103 w 395"/>
                <a:gd name="T11" fmla="*/ 302 h 1031"/>
                <a:gd name="T12" fmla="*/ 92 w 395"/>
                <a:gd name="T13" fmla="*/ 331 h 1031"/>
                <a:gd name="T14" fmla="*/ 87 w 395"/>
                <a:gd name="T15" fmla="*/ 358 h 1031"/>
                <a:gd name="T16" fmla="*/ 74 w 395"/>
                <a:gd name="T17" fmla="*/ 393 h 1031"/>
                <a:gd name="T18" fmla="*/ 29 w 395"/>
                <a:gd name="T19" fmla="*/ 457 h 1031"/>
                <a:gd name="T20" fmla="*/ 38 w 395"/>
                <a:gd name="T21" fmla="*/ 563 h 1031"/>
                <a:gd name="T22" fmla="*/ 45 w 395"/>
                <a:gd name="T23" fmla="*/ 633 h 1031"/>
                <a:gd name="T24" fmla="*/ 40 w 395"/>
                <a:gd name="T25" fmla="*/ 702 h 1031"/>
                <a:gd name="T26" fmla="*/ 21 w 395"/>
                <a:gd name="T27" fmla="*/ 773 h 1031"/>
                <a:gd name="T28" fmla="*/ 3 w 395"/>
                <a:gd name="T29" fmla="*/ 771 h 1031"/>
                <a:gd name="T30" fmla="*/ 35 w 395"/>
                <a:gd name="T31" fmla="*/ 865 h 1031"/>
                <a:gd name="T32" fmla="*/ 69 w 395"/>
                <a:gd name="T33" fmla="*/ 926 h 1031"/>
                <a:gd name="T34" fmla="*/ 94 w 395"/>
                <a:gd name="T35" fmla="*/ 1031 h 1031"/>
                <a:gd name="T36" fmla="*/ 136 w 395"/>
                <a:gd name="T37" fmla="*/ 993 h 1031"/>
                <a:gd name="T38" fmla="*/ 196 w 395"/>
                <a:gd name="T39" fmla="*/ 963 h 1031"/>
                <a:gd name="T40" fmla="*/ 207 w 395"/>
                <a:gd name="T41" fmla="*/ 939 h 1031"/>
                <a:gd name="T42" fmla="*/ 220 w 395"/>
                <a:gd name="T43" fmla="*/ 897 h 1031"/>
                <a:gd name="T44" fmla="*/ 201 w 395"/>
                <a:gd name="T45" fmla="*/ 790 h 1031"/>
                <a:gd name="T46" fmla="*/ 252 w 395"/>
                <a:gd name="T47" fmla="*/ 750 h 1031"/>
                <a:gd name="T48" fmla="*/ 284 w 395"/>
                <a:gd name="T49" fmla="*/ 745 h 1031"/>
                <a:gd name="T50" fmla="*/ 298 w 395"/>
                <a:gd name="T51" fmla="*/ 693 h 1031"/>
                <a:gd name="T52" fmla="*/ 255 w 395"/>
                <a:gd name="T53" fmla="*/ 645 h 1031"/>
                <a:gd name="T54" fmla="*/ 226 w 395"/>
                <a:gd name="T55" fmla="*/ 637 h 1031"/>
                <a:gd name="T56" fmla="*/ 226 w 395"/>
                <a:gd name="T57" fmla="*/ 507 h 1031"/>
                <a:gd name="T58" fmla="*/ 305 w 395"/>
                <a:gd name="T59" fmla="*/ 399 h 1031"/>
                <a:gd name="T60" fmla="*/ 332 w 395"/>
                <a:gd name="T61" fmla="*/ 365 h 1031"/>
                <a:gd name="T62" fmla="*/ 312 w 395"/>
                <a:gd name="T63" fmla="*/ 309 h 1031"/>
                <a:gd name="T64" fmla="*/ 372 w 395"/>
                <a:gd name="T65" fmla="*/ 229 h 1031"/>
                <a:gd name="T66" fmla="*/ 384 w 395"/>
                <a:gd name="T67" fmla="*/ 213 h 1031"/>
                <a:gd name="T68" fmla="*/ 365 w 395"/>
                <a:gd name="T69" fmla="*/ 133 h 1031"/>
                <a:gd name="T70" fmla="*/ 340 w 395"/>
                <a:gd name="T71" fmla="*/ 62 h 1031"/>
                <a:gd name="T72" fmla="*/ 253 w 395"/>
                <a:gd name="T73" fmla="*/ 0 h 103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95"/>
                <a:gd name="T112" fmla="*/ 0 h 1031"/>
                <a:gd name="T113" fmla="*/ 395 w 395"/>
                <a:gd name="T114" fmla="*/ 1031 h 103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95" h="1031">
                  <a:moveTo>
                    <a:pt x="253" y="0"/>
                  </a:moveTo>
                  <a:cubicBezTo>
                    <a:pt x="251" y="0"/>
                    <a:pt x="240" y="2"/>
                    <a:pt x="240" y="3"/>
                  </a:cubicBezTo>
                  <a:cubicBezTo>
                    <a:pt x="239" y="7"/>
                    <a:pt x="244" y="20"/>
                    <a:pt x="244" y="25"/>
                  </a:cubicBezTo>
                  <a:cubicBezTo>
                    <a:pt x="243" y="28"/>
                    <a:pt x="240" y="33"/>
                    <a:pt x="240" y="33"/>
                  </a:cubicBezTo>
                  <a:cubicBezTo>
                    <a:pt x="239" y="38"/>
                    <a:pt x="245" y="47"/>
                    <a:pt x="236" y="54"/>
                  </a:cubicBezTo>
                  <a:cubicBezTo>
                    <a:pt x="159" y="33"/>
                    <a:pt x="202" y="64"/>
                    <a:pt x="188" y="73"/>
                  </a:cubicBezTo>
                  <a:cubicBezTo>
                    <a:pt x="172" y="83"/>
                    <a:pt x="202" y="87"/>
                    <a:pt x="179" y="88"/>
                  </a:cubicBezTo>
                  <a:cubicBezTo>
                    <a:pt x="135" y="86"/>
                    <a:pt x="146" y="119"/>
                    <a:pt x="144" y="130"/>
                  </a:cubicBezTo>
                  <a:cubicBezTo>
                    <a:pt x="148" y="137"/>
                    <a:pt x="146" y="147"/>
                    <a:pt x="148" y="155"/>
                  </a:cubicBezTo>
                  <a:cubicBezTo>
                    <a:pt x="145" y="174"/>
                    <a:pt x="145" y="177"/>
                    <a:pt x="135" y="193"/>
                  </a:cubicBezTo>
                  <a:cubicBezTo>
                    <a:pt x="128" y="208"/>
                    <a:pt x="111" y="225"/>
                    <a:pt x="106" y="243"/>
                  </a:cubicBezTo>
                  <a:cubicBezTo>
                    <a:pt x="102" y="265"/>
                    <a:pt x="102" y="276"/>
                    <a:pt x="103" y="302"/>
                  </a:cubicBezTo>
                  <a:cubicBezTo>
                    <a:pt x="101" y="308"/>
                    <a:pt x="101" y="311"/>
                    <a:pt x="96" y="315"/>
                  </a:cubicBezTo>
                  <a:cubicBezTo>
                    <a:pt x="95" y="320"/>
                    <a:pt x="94" y="326"/>
                    <a:pt x="92" y="331"/>
                  </a:cubicBezTo>
                  <a:cubicBezTo>
                    <a:pt x="91" y="334"/>
                    <a:pt x="88" y="341"/>
                    <a:pt x="88" y="341"/>
                  </a:cubicBezTo>
                  <a:cubicBezTo>
                    <a:pt x="87" y="349"/>
                    <a:pt x="83" y="350"/>
                    <a:pt x="87" y="358"/>
                  </a:cubicBezTo>
                  <a:cubicBezTo>
                    <a:pt x="90" y="371"/>
                    <a:pt x="99" y="375"/>
                    <a:pt x="93" y="397"/>
                  </a:cubicBezTo>
                  <a:cubicBezTo>
                    <a:pt x="86" y="396"/>
                    <a:pt x="81" y="395"/>
                    <a:pt x="74" y="393"/>
                  </a:cubicBezTo>
                  <a:cubicBezTo>
                    <a:pt x="54" y="388"/>
                    <a:pt x="50" y="411"/>
                    <a:pt x="40" y="421"/>
                  </a:cubicBezTo>
                  <a:cubicBezTo>
                    <a:pt x="38" y="432"/>
                    <a:pt x="34" y="447"/>
                    <a:pt x="29" y="457"/>
                  </a:cubicBezTo>
                  <a:cubicBezTo>
                    <a:pt x="38" y="472"/>
                    <a:pt x="29" y="481"/>
                    <a:pt x="34" y="493"/>
                  </a:cubicBezTo>
                  <a:cubicBezTo>
                    <a:pt x="36" y="512"/>
                    <a:pt x="42" y="526"/>
                    <a:pt x="38" y="563"/>
                  </a:cubicBezTo>
                  <a:cubicBezTo>
                    <a:pt x="35" y="590"/>
                    <a:pt x="51" y="584"/>
                    <a:pt x="64" y="596"/>
                  </a:cubicBezTo>
                  <a:cubicBezTo>
                    <a:pt x="65" y="607"/>
                    <a:pt x="46" y="623"/>
                    <a:pt x="45" y="633"/>
                  </a:cubicBezTo>
                  <a:cubicBezTo>
                    <a:pt x="44" y="645"/>
                    <a:pt x="59" y="657"/>
                    <a:pt x="58" y="669"/>
                  </a:cubicBezTo>
                  <a:cubicBezTo>
                    <a:pt x="53" y="679"/>
                    <a:pt x="48" y="693"/>
                    <a:pt x="40" y="702"/>
                  </a:cubicBezTo>
                  <a:cubicBezTo>
                    <a:pt x="32" y="709"/>
                    <a:pt x="29" y="725"/>
                    <a:pt x="28" y="737"/>
                  </a:cubicBezTo>
                  <a:cubicBezTo>
                    <a:pt x="29" y="753"/>
                    <a:pt x="27" y="758"/>
                    <a:pt x="21" y="773"/>
                  </a:cubicBezTo>
                  <a:cubicBezTo>
                    <a:pt x="18" y="778"/>
                    <a:pt x="8" y="757"/>
                    <a:pt x="5" y="757"/>
                  </a:cubicBezTo>
                  <a:cubicBezTo>
                    <a:pt x="1" y="763"/>
                    <a:pt x="0" y="764"/>
                    <a:pt x="3" y="771"/>
                  </a:cubicBezTo>
                  <a:cubicBezTo>
                    <a:pt x="5" y="784"/>
                    <a:pt x="15" y="823"/>
                    <a:pt x="20" y="838"/>
                  </a:cubicBezTo>
                  <a:cubicBezTo>
                    <a:pt x="22" y="849"/>
                    <a:pt x="32" y="855"/>
                    <a:pt x="35" y="865"/>
                  </a:cubicBezTo>
                  <a:cubicBezTo>
                    <a:pt x="39" y="877"/>
                    <a:pt x="43" y="897"/>
                    <a:pt x="50" y="907"/>
                  </a:cubicBezTo>
                  <a:cubicBezTo>
                    <a:pt x="59" y="911"/>
                    <a:pt x="63" y="918"/>
                    <a:pt x="69" y="926"/>
                  </a:cubicBezTo>
                  <a:cubicBezTo>
                    <a:pt x="72" y="940"/>
                    <a:pt x="75" y="958"/>
                    <a:pt x="64" y="969"/>
                  </a:cubicBezTo>
                  <a:cubicBezTo>
                    <a:pt x="68" y="986"/>
                    <a:pt x="81" y="1021"/>
                    <a:pt x="94" y="1031"/>
                  </a:cubicBezTo>
                  <a:cubicBezTo>
                    <a:pt x="110" y="1029"/>
                    <a:pt x="124" y="1029"/>
                    <a:pt x="140" y="1027"/>
                  </a:cubicBezTo>
                  <a:cubicBezTo>
                    <a:pt x="148" y="1016"/>
                    <a:pt x="140" y="1004"/>
                    <a:pt x="136" y="993"/>
                  </a:cubicBezTo>
                  <a:cubicBezTo>
                    <a:pt x="141" y="973"/>
                    <a:pt x="160" y="970"/>
                    <a:pt x="177" y="969"/>
                  </a:cubicBezTo>
                  <a:cubicBezTo>
                    <a:pt x="184" y="966"/>
                    <a:pt x="189" y="966"/>
                    <a:pt x="196" y="963"/>
                  </a:cubicBezTo>
                  <a:cubicBezTo>
                    <a:pt x="197" y="956"/>
                    <a:pt x="201" y="951"/>
                    <a:pt x="204" y="945"/>
                  </a:cubicBezTo>
                  <a:cubicBezTo>
                    <a:pt x="205" y="943"/>
                    <a:pt x="207" y="939"/>
                    <a:pt x="207" y="939"/>
                  </a:cubicBezTo>
                  <a:cubicBezTo>
                    <a:pt x="209" y="929"/>
                    <a:pt x="212" y="918"/>
                    <a:pt x="215" y="909"/>
                  </a:cubicBezTo>
                  <a:cubicBezTo>
                    <a:pt x="216" y="905"/>
                    <a:pt x="220" y="897"/>
                    <a:pt x="220" y="897"/>
                  </a:cubicBezTo>
                  <a:cubicBezTo>
                    <a:pt x="223" y="877"/>
                    <a:pt x="220" y="851"/>
                    <a:pt x="226" y="832"/>
                  </a:cubicBezTo>
                  <a:cubicBezTo>
                    <a:pt x="224" y="801"/>
                    <a:pt x="227" y="803"/>
                    <a:pt x="201" y="790"/>
                  </a:cubicBezTo>
                  <a:cubicBezTo>
                    <a:pt x="206" y="783"/>
                    <a:pt x="227" y="780"/>
                    <a:pt x="236" y="779"/>
                  </a:cubicBezTo>
                  <a:cubicBezTo>
                    <a:pt x="248" y="772"/>
                    <a:pt x="241" y="756"/>
                    <a:pt x="252" y="750"/>
                  </a:cubicBezTo>
                  <a:cubicBezTo>
                    <a:pt x="256" y="753"/>
                    <a:pt x="257" y="760"/>
                    <a:pt x="260" y="764"/>
                  </a:cubicBezTo>
                  <a:cubicBezTo>
                    <a:pt x="271" y="760"/>
                    <a:pt x="276" y="753"/>
                    <a:pt x="284" y="745"/>
                  </a:cubicBezTo>
                  <a:cubicBezTo>
                    <a:pt x="280" y="729"/>
                    <a:pt x="264" y="732"/>
                    <a:pt x="245" y="731"/>
                  </a:cubicBezTo>
                  <a:cubicBezTo>
                    <a:pt x="247" y="722"/>
                    <a:pt x="295" y="707"/>
                    <a:pt x="298" y="693"/>
                  </a:cubicBezTo>
                  <a:cubicBezTo>
                    <a:pt x="300" y="679"/>
                    <a:pt x="283" y="659"/>
                    <a:pt x="272" y="651"/>
                  </a:cubicBezTo>
                  <a:cubicBezTo>
                    <a:pt x="271" y="644"/>
                    <a:pt x="262" y="646"/>
                    <a:pt x="255" y="645"/>
                  </a:cubicBezTo>
                  <a:cubicBezTo>
                    <a:pt x="247" y="638"/>
                    <a:pt x="253" y="642"/>
                    <a:pt x="240" y="640"/>
                  </a:cubicBezTo>
                  <a:cubicBezTo>
                    <a:pt x="235" y="639"/>
                    <a:pt x="226" y="637"/>
                    <a:pt x="226" y="637"/>
                  </a:cubicBezTo>
                  <a:cubicBezTo>
                    <a:pt x="218" y="626"/>
                    <a:pt x="221" y="632"/>
                    <a:pt x="221" y="605"/>
                  </a:cubicBezTo>
                  <a:cubicBezTo>
                    <a:pt x="221" y="585"/>
                    <a:pt x="219" y="536"/>
                    <a:pt x="226" y="507"/>
                  </a:cubicBezTo>
                  <a:cubicBezTo>
                    <a:pt x="230" y="491"/>
                    <a:pt x="240" y="477"/>
                    <a:pt x="249" y="464"/>
                  </a:cubicBezTo>
                  <a:cubicBezTo>
                    <a:pt x="266" y="441"/>
                    <a:pt x="282" y="417"/>
                    <a:pt x="305" y="399"/>
                  </a:cubicBezTo>
                  <a:cubicBezTo>
                    <a:pt x="312" y="393"/>
                    <a:pt x="317" y="387"/>
                    <a:pt x="324" y="381"/>
                  </a:cubicBezTo>
                  <a:cubicBezTo>
                    <a:pt x="331" y="369"/>
                    <a:pt x="329" y="375"/>
                    <a:pt x="332" y="365"/>
                  </a:cubicBezTo>
                  <a:cubicBezTo>
                    <a:pt x="330" y="342"/>
                    <a:pt x="344" y="349"/>
                    <a:pt x="336" y="334"/>
                  </a:cubicBezTo>
                  <a:cubicBezTo>
                    <a:pt x="335" y="327"/>
                    <a:pt x="318" y="313"/>
                    <a:pt x="312" y="309"/>
                  </a:cubicBezTo>
                  <a:cubicBezTo>
                    <a:pt x="314" y="296"/>
                    <a:pt x="334" y="264"/>
                    <a:pt x="344" y="251"/>
                  </a:cubicBezTo>
                  <a:cubicBezTo>
                    <a:pt x="350" y="241"/>
                    <a:pt x="360" y="231"/>
                    <a:pt x="372" y="229"/>
                  </a:cubicBezTo>
                  <a:cubicBezTo>
                    <a:pt x="380" y="225"/>
                    <a:pt x="386" y="229"/>
                    <a:pt x="395" y="227"/>
                  </a:cubicBezTo>
                  <a:cubicBezTo>
                    <a:pt x="388" y="225"/>
                    <a:pt x="387" y="220"/>
                    <a:pt x="384" y="213"/>
                  </a:cubicBezTo>
                  <a:cubicBezTo>
                    <a:pt x="383" y="206"/>
                    <a:pt x="377" y="199"/>
                    <a:pt x="373" y="193"/>
                  </a:cubicBezTo>
                  <a:cubicBezTo>
                    <a:pt x="370" y="173"/>
                    <a:pt x="378" y="150"/>
                    <a:pt x="365" y="133"/>
                  </a:cubicBezTo>
                  <a:cubicBezTo>
                    <a:pt x="362" y="120"/>
                    <a:pt x="351" y="107"/>
                    <a:pt x="346" y="94"/>
                  </a:cubicBezTo>
                  <a:cubicBezTo>
                    <a:pt x="345" y="80"/>
                    <a:pt x="352" y="69"/>
                    <a:pt x="340" y="62"/>
                  </a:cubicBezTo>
                  <a:cubicBezTo>
                    <a:pt x="327" y="46"/>
                    <a:pt x="304" y="36"/>
                    <a:pt x="287" y="24"/>
                  </a:cubicBezTo>
                  <a:cubicBezTo>
                    <a:pt x="276" y="16"/>
                    <a:pt x="267" y="5"/>
                    <a:pt x="253" y="0"/>
                  </a:cubicBezTo>
                  <a:close/>
                </a:path>
              </a:pathLst>
            </a:custGeom>
            <a:solidFill>
              <a:srgbClr val="8D9399"/>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393" name="Freeform 2516"/>
            <p:cNvSpPr>
              <a:spLocks noChangeAspect="1"/>
            </p:cNvSpPr>
            <p:nvPr/>
          </p:nvSpPr>
          <p:spPr bwMode="auto">
            <a:xfrm>
              <a:off x="4737093" y="1901255"/>
              <a:ext cx="187622" cy="224282"/>
            </a:xfrm>
            <a:custGeom>
              <a:avLst/>
              <a:gdLst>
                <a:gd name="T0" fmla="*/ 14 w 98"/>
                <a:gd name="T1" fmla="*/ 94 h 117"/>
                <a:gd name="T2" fmla="*/ 30 w 98"/>
                <a:gd name="T3" fmla="*/ 74 h 117"/>
                <a:gd name="T4" fmla="*/ 39 w 98"/>
                <a:gd name="T5" fmla="*/ 74 h 117"/>
                <a:gd name="T6" fmla="*/ 52 w 98"/>
                <a:gd name="T7" fmla="*/ 70 h 117"/>
                <a:gd name="T8" fmla="*/ 56 w 98"/>
                <a:gd name="T9" fmla="*/ 60 h 117"/>
                <a:gd name="T10" fmla="*/ 40 w 98"/>
                <a:gd name="T11" fmla="*/ 54 h 117"/>
                <a:gd name="T12" fmla="*/ 60 w 98"/>
                <a:gd name="T13" fmla="*/ 33 h 117"/>
                <a:gd name="T14" fmla="*/ 74 w 98"/>
                <a:gd name="T15" fmla="*/ 33 h 117"/>
                <a:gd name="T16" fmla="*/ 79 w 98"/>
                <a:gd name="T17" fmla="*/ 0 h 117"/>
                <a:gd name="T18" fmla="*/ 86 w 98"/>
                <a:gd name="T19" fmla="*/ 7 h 117"/>
                <a:gd name="T20" fmla="*/ 79 w 98"/>
                <a:gd name="T21" fmla="*/ 21 h 117"/>
                <a:gd name="T22" fmla="*/ 80 w 98"/>
                <a:gd name="T23" fmla="*/ 31 h 117"/>
                <a:gd name="T24" fmla="*/ 84 w 98"/>
                <a:gd name="T25" fmla="*/ 37 h 117"/>
                <a:gd name="T26" fmla="*/ 97 w 98"/>
                <a:gd name="T27" fmla="*/ 30 h 117"/>
                <a:gd name="T28" fmla="*/ 85 w 98"/>
                <a:gd name="T29" fmla="*/ 51 h 117"/>
                <a:gd name="T30" fmla="*/ 79 w 98"/>
                <a:gd name="T31" fmla="*/ 63 h 117"/>
                <a:gd name="T32" fmla="*/ 56 w 98"/>
                <a:gd name="T33" fmla="*/ 82 h 117"/>
                <a:gd name="T34" fmla="*/ 37 w 98"/>
                <a:gd name="T35" fmla="*/ 85 h 117"/>
                <a:gd name="T36" fmla="*/ 31 w 98"/>
                <a:gd name="T37" fmla="*/ 94 h 117"/>
                <a:gd name="T38" fmla="*/ 16 w 98"/>
                <a:gd name="T39" fmla="*/ 105 h 117"/>
                <a:gd name="T40" fmla="*/ 6 w 98"/>
                <a:gd name="T41" fmla="*/ 114 h 117"/>
                <a:gd name="T42" fmla="*/ 0 w 98"/>
                <a:gd name="T43" fmla="*/ 117 h 117"/>
                <a:gd name="T44" fmla="*/ 14 w 98"/>
                <a:gd name="T45" fmla="*/ 94 h 11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8"/>
                <a:gd name="T70" fmla="*/ 0 h 117"/>
                <a:gd name="T71" fmla="*/ 98 w 98"/>
                <a:gd name="T72" fmla="*/ 117 h 11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8" h="117">
                  <a:moveTo>
                    <a:pt x="14" y="94"/>
                  </a:moveTo>
                  <a:cubicBezTo>
                    <a:pt x="22" y="88"/>
                    <a:pt x="22" y="81"/>
                    <a:pt x="30" y="74"/>
                  </a:cubicBezTo>
                  <a:cubicBezTo>
                    <a:pt x="32" y="68"/>
                    <a:pt x="33" y="76"/>
                    <a:pt x="39" y="74"/>
                  </a:cubicBezTo>
                  <a:cubicBezTo>
                    <a:pt x="45" y="75"/>
                    <a:pt x="46" y="68"/>
                    <a:pt x="52" y="70"/>
                  </a:cubicBezTo>
                  <a:cubicBezTo>
                    <a:pt x="59" y="69"/>
                    <a:pt x="64" y="66"/>
                    <a:pt x="56" y="60"/>
                  </a:cubicBezTo>
                  <a:cubicBezTo>
                    <a:pt x="51" y="57"/>
                    <a:pt x="40" y="54"/>
                    <a:pt x="40" y="54"/>
                  </a:cubicBezTo>
                  <a:cubicBezTo>
                    <a:pt x="37" y="44"/>
                    <a:pt x="54" y="34"/>
                    <a:pt x="60" y="33"/>
                  </a:cubicBezTo>
                  <a:cubicBezTo>
                    <a:pt x="63" y="29"/>
                    <a:pt x="72" y="38"/>
                    <a:pt x="74" y="33"/>
                  </a:cubicBezTo>
                  <a:cubicBezTo>
                    <a:pt x="73" y="24"/>
                    <a:pt x="67" y="3"/>
                    <a:pt x="79" y="0"/>
                  </a:cubicBezTo>
                  <a:cubicBezTo>
                    <a:pt x="84" y="2"/>
                    <a:pt x="85" y="2"/>
                    <a:pt x="86" y="7"/>
                  </a:cubicBezTo>
                  <a:cubicBezTo>
                    <a:pt x="85" y="15"/>
                    <a:pt x="83" y="15"/>
                    <a:pt x="79" y="21"/>
                  </a:cubicBezTo>
                  <a:cubicBezTo>
                    <a:pt x="78" y="25"/>
                    <a:pt x="77" y="26"/>
                    <a:pt x="80" y="31"/>
                  </a:cubicBezTo>
                  <a:cubicBezTo>
                    <a:pt x="81" y="33"/>
                    <a:pt x="84" y="37"/>
                    <a:pt x="84" y="37"/>
                  </a:cubicBezTo>
                  <a:cubicBezTo>
                    <a:pt x="88" y="35"/>
                    <a:pt x="92" y="32"/>
                    <a:pt x="97" y="30"/>
                  </a:cubicBezTo>
                  <a:cubicBezTo>
                    <a:pt x="98" y="32"/>
                    <a:pt x="88" y="46"/>
                    <a:pt x="85" y="51"/>
                  </a:cubicBezTo>
                  <a:cubicBezTo>
                    <a:pt x="82" y="56"/>
                    <a:pt x="84" y="58"/>
                    <a:pt x="79" y="63"/>
                  </a:cubicBezTo>
                  <a:cubicBezTo>
                    <a:pt x="72" y="79"/>
                    <a:pt x="78" y="81"/>
                    <a:pt x="56" y="82"/>
                  </a:cubicBezTo>
                  <a:cubicBezTo>
                    <a:pt x="50" y="84"/>
                    <a:pt x="43" y="83"/>
                    <a:pt x="37" y="85"/>
                  </a:cubicBezTo>
                  <a:cubicBezTo>
                    <a:pt x="36" y="85"/>
                    <a:pt x="32" y="93"/>
                    <a:pt x="31" y="94"/>
                  </a:cubicBezTo>
                  <a:cubicBezTo>
                    <a:pt x="26" y="100"/>
                    <a:pt x="22" y="101"/>
                    <a:pt x="16" y="105"/>
                  </a:cubicBezTo>
                  <a:cubicBezTo>
                    <a:pt x="12" y="111"/>
                    <a:pt x="15" y="107"/>
                    <a:pt x="6" y="114"/>
                  </a:cubicBezTo>
                  <a:cubicBezTo>
                    <a:pt x="4" y="115"/>
                    <a:pt x="0" y="117"/>
                    <a:pt x="0" y="117"/>
                  </a:cubicBezTo>
                  <a:lnTo>
                    <a:pt x="14" y="94"/>
                  </a:ln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394" name="Freeform 2517"/>
            <p:cNvSpPr>
              <a:spLocks noChangeAspect="1"/>
            </p:cNvSpPr>
            <p:nvPr/>
          </p:nvSpPr>
          <p:spPr bwMode="auto">
            <a:xfrm>
              <a:off x="4227834" y="1544703"/>
              <a:ext cx="1397113" cy="1975890"/>
            </a:xfrm>
            <a:custGeom>
              <a:avLst/>
              <a:gdLst>
                <a:gd name="T0" fmla="*/ 1000 w 2919"/>
                <a:gd name="T1" fmla="*/ 3731 h 4123"/>
                <a:gd name="T2" fmla="*/ 1064 w 2919"/>
                <a:gd name="T3" fmla="*/ 3291 h 4123"/>
                <a:gd name="T4" fmla="*/ 1044 w 2919"/>
                <a:gd name="T5" fmla="*/ 2867 h 4123"/>
                <a:gd name="T6" fmla="*/ 1050 w 2919"/>
                <a:gd name="T7" fmla="*/ 2452 h 4123"/>
                <a:gd name="T8" fmla="*/ 1258 w 2919"/>
                <a:gd name="T9" fmla="*/ 2352 h 4123"/>
                <a:gd name="T10" fmla="*/ 1261 w 2919"/>
                <a:gd name="T11" fmla="*/ 2075 h 4123"/>
                <a:gd name="T12" fmla="*/ 1309 w 2919"/>
                <a:gd name="T13" fmla="*/ 1734 h 4123"/>
                <a:gd name="T14" fmla="*/ 1463 w 2919"/>
                <a:gd name="T15" fmla="*/ 1288 h 4123"/>
                <a:gd name="T16" fmla="*/ 1834 w 2919"/>
                <a:gd name="T17" fmla="*/ 980 h 4123"/>
                <a:gd name="T18" fmla="*/ 1967 w 2919"/>
                <a:gd name="T19" fmla="*/ 684 h 4123"/>
                <a:gd name="T20" fmla="*/ 2443 w 2919"/>
                <a:gd name="T21" fmla="*/ 676 h 4123"/>
                <a:gd name="T22" fmla="*/ 2514 w 2919"/>
                <a:gd name="T23" fmla="*/ 381 h 4123"/>
                <a:gd name="T24" fmla="*/ 2761 w 2919"/>
                <a:gd name="T25" fmla="*/ 406 h 4123"/>
                <a:gd name="T26" fmla="*/ 2857 w 2919"/>
                <a:gd name="T27" fmla="*/ 444 h 4123"/>
                <a:gd name="T28" fmla="*/ 2695 w 2919"/>
                <a:gd name="T29" fmla="*/ 268 h 4123"/>
                <a:gd name="T30" fmla="*/ 2647 w 2919"/>
                <a:gd name="T31" fmla="*/ 40 h 4123"/>
                <a:gd name="T32" fmla="*/ 2435 w 2919"/>
                <a:gd name="T33" fmla="*/ 244 h 4123"/>
                <a:gd name="T34" fmla="*/ 2319 w 2919"/>
                <a:gd name="T35" fmla="*/ 340 h 4123"/>
                <a:gd name="T36" fmla="*/ 2183 w 2919"/>
                <a:gd name="T37" fmla="*/ 168 h 4123"/>
                <a:gd name="T38" fmla="*/ 2007 w 2919"/>
                <a:gd name="T39" fmla="*/ 360 h 4123"/>
                <a:gd name="T40" fmla="*/ 1823 w 2919"/>
                <a:gd name="T41" fmla="*/ 632 h 4123"/>
                <a:gd name="T42" fmla="*/ 1695 w 2919"/>
                <a:gd name="T43" fmla="*/ 520 h 4123"/>
                <a:gd name="T44" fmla="*/ 1675 w 2919"/>
                <a:gd name="T45" fmla="*/ 648 h 4123"/>
                <a:gd name="T46" fmla="*/ 1523 w 2919"/>
                <a:gd name="T47" fmla="*/ 820 h 4123"/>
                <a:gd name="T48" fmla="*/ 1559 w 2919"/>
                <a:gd name="T49" fmla="*/ 996 h 4123"/>
                <a:gd name="T50" fmla="*/ 1324 w 2919"/>
                <a:gd name="T51" fmla="*/ 1244 h 4123"/>
                <a:gd name="T52" fmla="*/ 1368 w 2919"/>
                <a:gd name="T53" fmla="*/ 1380 h 4123"/>
                <a:gd name="T54" fmla="*/ 1220 w 2919"/>
                <a:gd name="T55" fmla="*/ 1444 h 4123"/>
                <a:gd name="T56" fmla="*/ 1116 w 2919"/>
                <a:gd name="T57" fmla="*/ 1656 h 4123"/>
                <a:gd name="T58" fmla="*/ 1092 w 2919"/>
                <a:gd name="T59" fmla="*/ 1784 h 4123"/>
                <a:gd name="T60" fmla="*/ 1044 w 2919"/>
                <a:gd name="T61" fmla="*/ 1968 h 4123"/>
                <a:gd name="T62" fmla="*/ 976 w 2919"/>
                <a:gd name="T63" fmla="*/ 2087 h 4123"/>
                <a:gd name="T64" fmla="*/ 720 w 2919"/>
                <a:gd name="T65" fmla="*/ 2375 h 4123"/>
                <a:gd name="T66" fmla="*/ 828 w 2919"/>
                <a:gd name="T67" fmla="*/ 2539 h 4123"/>
                <a:gd name="T68" fmla="*/ 608 w 2919"/>
                <a:gd name="T69" fmla="*/ 2539 h 4123"/>
                <a:gd name="T70" fmla="*/ 496 w 2919"/>
                <a:gd name="T71" fmla="*/ 2671 h 4123"/>
                <a:gd name="T72" fmla="*/ 332 w 2919"/>
                <a:gd name="T73" fmla="*/ 2791 h 4123"/>
                <a:gd name="T74" fmla="*/ 188 w 2919"/>
                <a:gd name="T75" fmla="*/ 2855 h 4123"/>
                <a:gd name="T76" fmla="*/ 296 w 2919"/>
                <a:gd name="T77" fmla="*/ 3011 h 4123"/>
                <a:gd name="T78" fmla="*/ 216 w 2919"/>
                <a:gd name="T79" fmla="*/ 3163 h 4123"/>
                <a:gd name="T80" fmla="*/ 8 w 2919"/>
                <a:gd name="T81" fmla="*/ 3295 h 4123"/>
                <a:gd name="T82" fmla="*/ 268 w 2919"/>
                <a:gd name="T83" fmla="*/ 3411 h 4123"/>
                <a:gd name="T84" fmla="*/ 160 w 2919"/>
                <a:gd name="T85" fmla="*/ 3471 h 4123"/>
                <a:gd name="T86" fmla="*/ 112 w 2919"/>
                <a:gd name="T87" fmla="*/ 3607 h 4123"/>
                <a:gd name="T88" fmla="*/ 116 w 2919"/>
                <a:gd name="T89" fmla="*/ 3679 h 4123"/>
                <a:gd name="T90" fmla="*/ 140 w 2919"/>
                <a:gd name="T91" fmla="*/ 3795 h 4123"/>
                <a:gd name="T92" fmla="*/ 312 w 2919"/>
                <a:gd name="T93" fmla="*/ 4103 h 4123"/>
                <a:gd name="T94" fmla="*/ 660 w 2919"/>
                <a:gd name="T95" fmla="*/ 3863 h 4123"/>
                <a:gd name="T96" fmla="*/ 896 w 2919"/>
                <a:gd name="T97" fmla="*/ 3739 h 412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919"/>
                <a:gd name="T148" fmla="*/ 0 h 4123"/>
                <a:gd name="T149" fmla="*/ 2919 w 2919"/>
                <a:gd name="T150" fmla="*/ 4123 h 412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919" h="4123">
                  <a:moveTo>
                    <a:pt x="908" y="3795"/>
                  </a:moveTo>
                  <a:cubicBezTo>
                    <a:pt x="936" y="3799"/>
                    <a:pt x="940" y="3846"/>
                    <a:pt x="969" y="3860"/>
                  </a:cubicBezTo>
                  <a:cubicBezTo>
                    <a:pt x="984" y="3828"/>
                    <a:pt x="1000" y="3779"/>
                    <a:pt x="1000" y="3731"/>
                  </a:cubicBezTo>
                  <a:cubicBezTo>
                    <a:pt x="1004" y="3695"/>
                    <a:pt x="1012" y="3591"/>
                    <a:pt x="1044" y="3575"/>
                  </a:cubicBezTo>
                  <a:cubicBezTo>
                    <a:pt x="1080" y="3527"/>
                    <a:pt x="1088" y="3503"/>
                    <a:pt x="1116" y="3447"/>
                  </a:cubicBezTo>
                  <a:cubicBezTo>
                    <a:pt x="1131" y="3395"/>
                    <a:pt x="1060" y="3339"/>
                    <a:pt x="1064" y="3291"/>
                  </a:cubicBezTo>
                  <a:cubicBezTo>
                    <a:pt x="1072" y="3259"/>
                    <a:pt x="1148" y="3192"/>
                    <a:pt x="1144" y="3152"/>
                  </a:cubicBezTo>
                  <a:cubicBezTo>
                    <a:pt x="1136" y="3128"/>
                    <a:pt x="1057" y="3114"/>
                    <a:pt x="1041" y="3066"/>
                  </a:cubicBezTo>
                  <a:cubicBezTo>
                    <a:pt x="1037" y="3010"/>
                    <a:pt x="1050" y="2922"/>
                    <a:pt x="1044" y="2867"/>
                  </a:cubicBezTo>
                  <a:cubicBezTo>
                    <a:pt x="1038" y="2795"/>
                    <a:pt x="1009" y="2712"/>
                    <a:pt x="1021" y="2658"/>
                  </a:cubicBezTo>
                  <a:cubicBezTo>
                    <a:pt x="1021" y="2606"/>
                    <a:pt x="1001" y="2620"/>
                    <a:pt x="1006" y="2586"/>
                  </a:cubicBezTo>
                  <a:cubicBezTo>
                    <a:pt x="1023" y="2550"/>
                    <a:pt x="1040" y="2479"/>
                    <a:pt x="1050" y="2452"/>
                  </a:cubicBezTo>
                  <a:cubicBezTo>
                    <a:pt x="1060" y="2425"/>
                    <a:pt x="1053" y="2442"/>
                    <a:pt x="1068" y="2423"/>
                  </a:cubicBezTo>
                  <a:cubicBezTo>
                    <a:pt x="1097" y="2381"/>
                    <a:pt x="1098" y="2363"/>
                    <a:pt x="1140" y="2336"/>
                  </a:cubicBezTo>
                  <a:cubicBezTo>
                    <a:pt x="1172" y="2324"/>
                    <a:pt x="1219" y="2351"/>
                    <a:pt x="1258" y="2352"/>
                  </a:cubicBezTo>
                  <a:cubicBezTo>
                    <a:pt x="1282" y="2291"/>
                    <a:pt x="1251" y="2230"/>
                    <a:pt x="1227" y="2178"/>
                  </a:cubicBezTo>
                  <a:cubicBezTo>
                    <a:pt x="1237" y="2136"/>
                    <a:pt x="1229" y="2151"/>
                    <a:pt x="1242" y="2118"/>
                  </a:cubicBezTo>
                  <a:cubicBezTo>
                    <a:pt x="1248" y="2101"/>
                    <a:pt x="1256" y="2090"/>
                    <a:pt x="1261" y="2075"/>
                  </a:cubicBezTo>
                  <a:cubicBezTo>
                    <a:pt x="1266" y="2060"/>
                    <a:pt x="1264" y="2041"/>
                    <a:pt x="1270" y="2025"/>
                  </a:cubicBezTo>
                  <a:cubicBezTo>
                    <a:pt x="1276" y="2009"/>
                    <a:pt x="1291" y="2027"/>
                    <a:pt x="1297" y="1979"/>
                  </a:cubicBezTo>
                  <a:cubicBezTo>
                    <a:pt x="1301" y="1899"/>
                    <a:pt x="1291" y="1804"/>
                    <a:pt x="1309" y="1734"/>
                  </a:cubicBezTo>
                  <a:cubicBezTo>
                    <a:pt x="1339" y="1683"/>
                    <a:pt x="1347" y="1664"/>
                    <a:pt x="1432" y="1528"/>
                  </a:cubicBezTo>
                  <a:cubicBezTo>
                    <a:pt x="1449" y="1493"/>
                    <a:pt x="1462" y="1497"/>
                    <a:pt x="1479" y="1391"/>
                  </a:cubicBezTo>
                  <a:cubicBezTo>
                    <a:pt x="1479" y="1340"/>
                    <a:pt x="1474" y="1332"/>
                    <a:pt x="1463" y="1288"/>
                  </a:cubicBezTo>
                  <a:cubicBezTo>
                    <a:pt x="1471" y="1170"/>
                    <a:pt x="1432" y="1122"/>
                    <a:pt x="1644" y="1113"/>
                  </a:cubicBezTo>
                  <a:cubicBezTo>
                    <a:pt x="1599" y="1074"/>
                    <a:pt x="1638" y="1067"/>
                    <a:pt x="1650" y="1047"/>
                  </a:cubicBezTo>
                  <a:cubicBezTo>
                    <a:pt x="1662" y="992"/>
                    <a:pt x="1560" y="908"/>
                    <a:pt x="1834" y="980"/>
                  </a:cubicBezTo>
                  <a:cubicBezTo>
                    <a:pt x="1866" y="972"/>
                    <a:pt x="1834" y="899"/>
                    <a:pt x="1863" y="868"/>
                  </a:cubicBezTo>
                  <a:cubicBezTo>
                    <a:pt x="1871" y="836"/>
                    <a:pt x="1845" y="806"/>
                    <a:pt x="1849" y="773"/>
                  </a:cubicBezTo>
                  <a:cubicBezTo>
                    <a:pt x="1920" y="785"/>
                    <a:pt x="1896" y="693"/>
                    <a:pt x="1967" y="684"/>
                  </a:cubicBezTo>
                  <a:cubicBezTo>
                    <a:pt x="2039" y="708"/>
                    <a:pt x="2055" y="728"/>
                    <a:pt x="2085" y="804"/>
                  </a:cubicBezTo>
                  <a:cubicBezTo>
                    <a:pt x="2166" y="816"/>
                    <a:pt x="2326" y="813"/>
                    <a:pt x="2416" y="740"/>
                  </a:cubicBezTo>
                  <a:cubicBezTo>
                    <a:pt x="2431" y="709"/>
                    <a:pt x="2423" y="720"/>
                    <a:pt x="2443" y="676"/>
                  </a:cubicBezTo>
                  <a:cubicBezTo>
                    <a:pt x="2440" y="551"/>
                    <a:pt x="2419" y="548"/>
                    <a:pt x="2419" y="504"/>
                  </a:cubicBezTo>
                  <a:cubicBezTo>
                    <a:pt x="2419" y="460"/>
                    <a:pt x="2426" y="432"/>
                    <a:pt x="2442" y="412"/>
                  </a:cubicBezTo>
                  <a:cubicBezTo>
                    <a:pt x="2458" y="392"/>
                    <a:pt x="2460" y="387"/>
                    <a:pt x="2514" y="381"/>
                  </a:cubicBezTo>
                  <a:cubicBezTo>
                    <a:pt x="2542" y="324"/>
                    <a:pt x="2521" y="323"/>
                    <a:pt x="2578" y="310"/>
                  </a:cubicBezTo>
                  <a:cubicBezTo>
                    <a:pt x="2622" y="334"/>
                    <a:pt x="2673" y="357"/>
                    <a:pt x="2700" y="385"/>
                  </a:cubicBezTo>
                  <a:cubicBezTo>
                    <a:pt x="2724" y="388"/>
                    <a:pt x="2745" y="394"/>
                    <a:pt x="2761" y="406"/>
                  </a:cubicBezTo>
                  <a:cubicBezTo>
                    <a:pt x="2772" y="422"/>
                    <a:pt x="2775" y="456"/>
                    <a:pt x="2778" y="482"/>
                  </a:cubicBezTo>
                  <a:cubicBezTo>
                    <a:pt x="2772" y="510"/>
                    <a:pt x="2760" y="525"/>
                    <a:pt x="2766" y="575"/>
                  </a:cubicBezTo>
                  <a:cubicBezTo>
                    <a:pt x="2791" y="551"/>
                    <a:pt x="2833" y="468"/>
                    <a:pt x="2857" y="444"/>
                  </a:cubicBezTo>
                  <a:cubicBezTo>
                    <a:pt x="2865" y="408"/>
                    <a:pt x="2907" y="376"/>
                    <a:pt x="2915" y="340"/>
                  </a:cubicBezTo>
                  <a:cubicBezTo>
                    <a:pt x="2907" y="280"/>
                    <a:pt x="2859" y="296"/>
                    <a:pt x="2799" y="292"/>
                  </a:cubicBezTo>
                  <a:cubicBezTo>
                    <a:pt x="2763" y="280"/>
                    <a:pt x="2683" y="292"/>
                    <a:pt x="2695" y="268"/>
                  </a:cubicBezTo>
                  <a:cubicBezTo>
                    <a:pt x="2755" y="224"/>
                    <a:pt x="2823" y="240"/>
                    <a:pt x="2879" y="184"/>
                  </a:cubicBezTo>
                  <a:cubicBezTo>
                    <a:pt x="2919" y="144"/>
                    <a:pt x="2823" y="80"/>
                    <a:pt x="2803" y="80"/>
                  </a:cubicBezTo>
                  <a:cubicBezTo>
                    <a:pt x="2663" y="48"/>
                    <a:pt x="2751" y="40"/>
                    <a:pt x="2647" y="40"/>
                  </a:cubicBezTo>
                  <a:cubicBezTo>
                    <a:pt x="2643" y="52"/>
                    <a:pt x="2563" y="160"/>
                    <a:pt x="2563" y="160"/>
                  </a:cubicBezTo>
                  <a:cubicBezTo>
                    <a:pt x="2555" y="168"/>
                    <a:pt x="2527" y="0"/>
                    <a:pt x="2511" y="4"/>
                  </a:cubicBezTo>
                  <a:cubicBezTo>
                    <a:pt x="2491" y="20"/>
                    <a:pt x="2447" y="224"/>
                    <a:pt x="2435" y="244"/>
                  </a:cubicBezTo>
                  <a:cubicBezTo>
                    <a:pt x="2423" y="308"/>
                    <a:pt x="2427" y="136"/>
                    <a:pt x="2407" y="112"/>
                  </a:cubicBezTo>
                  <a:cubicBezTo>
                    <a:pt x="2399" y="148"/>
                    <a:pt x="2375" y="256"/>
                    <a:pt x="2359" y="292"/>
                  </a:cubicBezTo>
                  <a:cubicBezTo>
                    <a:pt x="2343" y="320"/>
                    <a:pt x="2335" y="320"/>
                    <a:pt x="2319" y="340"/>
                  </a:cubicBezTo>
                  <a:cubicBezTo>
                    <a:pt x="2307" y="352"/>
                    <a:pt x="2287" y="380"/>
                    <a:pt x="2287" y="380"/>
                  </a:cubicBezTo>
                  <a:cubicBezTo>
                    <a:pt x="2287" y="296"/>
                    <a:pt x="2323" y="132"/>
                    <a:pt x="2319" y="48"/>
                  </a:cubicBezTo>
                  <a:cubicBezTo>
                    <a:pt x="2319" y="40"/>
                    <a:pt x="2199" y="164"/>
                    <a:pt x="2183" y="168"/>
                  </a:cubicBezTo>
                  <a:cubicBezTo>
                    <a:pt x="2159" y="192"/>
                    <a:pt x="2131" y="200"/>
                    <a:pt x="2099" y="212"/>
                  </a:cubicBezTo>
                  <a:cubicBezTo>
                    <a:pt x="2071" y="248"/>
                    <a:pt x="2059" y="276"/>
                    <a:pt x="2039" y="312"/>
                  </a:cubicBezTo>
                  <a:cubicBezTo>
                    <a:pt x="2031" y="328"/>
                    <a:pt x="2007" y="360"/>
                    <a:pt x="2007" y="360"/>
                  </a:cubicBezTo>
                  <a:cubicBezTo>
                    <a:pt x="1999" y="408"/>
                    <a:pt x="2011" y="484"/>
                    <a:pt x="1951" y="492"/>
                  </a:cubicBezTo>
                  <a:cubicBezTo>
                    <a:pt x="1923" y="480"/>
                    <a:pt x="1907" y="484"/>
                    <a:pt x="1883" y="500"/>
                  </a:cubicBezTo>
                  <a:cubicBezTo>
                    <a:pt x="1859" y="544"/>
                    <a:pt x="1875" y="604"/>
                    <a:pt x="1823" y="632"/>
                  </a:cubicBezTo>
                  <a:cubicBezTo>
                    <a:pt x="1807" y="604"/>
                    <a:pt x="1835" y="564"/>
                    <a:pt x="1815" y="540"/>
                  </a:cubicBezTo>
                  <a:cubicBezTo>
                    <a:pt x="1811" y="512"/>
                    <a:pt x="1787" y="452"/>
                    <a:pt x="1763" y="440"/>
                  </a:cubicBezTo>
                  <a:cubicBezTo>
                    <a:pt x="1723" y="448"/>
                    <a:pt x="1703" y="480"/>
                    <a:pt x="1695" y="520"/>
                  </a:cubicBezTo>
                  <a:cubicBezTo>
                    <a:pt x="1695" y="568"/>
                    <a:pt x="1691" y="648"/>
                    <a:pt x="1723" y="692"/>
                  </a:cubicBezTo>
                  <a:cubicBezTo>
                    <a:pt x="1715" y="708"/>
                    <a:pt x="1715" y="716"/>
                    <a:pt x="1699" y="700"/>
                  </a:cubicBezTo>
                  <a:cubicBezTo>
                    <a:pt x="1687" y="688"/>
                    <a:pt x="1683" y="664"/>
                    <a:pt x="1675" y="648"/>
                  </a:cubicBezTo>
                  <a:cubicBezTo>
                    <a:pt x="1663" y="628"/>
                    <a:pt x="1647" y="572"/>
                    <a:pt x="1627" y="560"/>
                  </a:cubicBezTo>
                  <a:cubicBezTo>
                    <a:pt x="1607" y="588"/>
                    <a:pt x="1595" y="648"/>
                    <a:pt x="1579" y="676"/>
                  </a:cubicBezTo>
                  <a:cubicBezTo>
                    <a:pt x="1571" y="724"/>
                    <a:pt x="1559" y="784"/>
                    <a:pt x="1523" y="820"/>
                  </a:cubicBezTo>
                  <a:cubicBezTo>
                    <a:pt x="1515" y="844"/>
                    <a:pt x="1475" y="900"/>
                    <a:pt x="1475" y="900"/>
                  </a:cubicBezTo>
                  <a:cubicBezTo>
                    <a:pt x="1467" y="972"/>
                    <a:pt x="1444" y="972"/>
                    <a:pt x="1535" y="976"/>
                  </a:cubicBezTo>
                  <a:cubicBezTo>
                    <a:pt x="1555" y="980"/>
                    <a:pt x="1579" y="960"/>
                    <a:pt x="1559" y="996"/>
                  </a:cubicBezTo>
                  <a:cubicBezTo>
                    <a:pt x="1543" y="1024"/>
                    <a:pt x="1471" y="1024"/>
                    <a:pt x="1471" y="1024"/>
                  </a:cubicBezTo>
                  <a:cubicBezTo>
                    <a:pt x="1444" y="1040"/>
                    <a:pt x="1444" y="1092"/>
                    <a:pt x="1420" y="1112"/>
                  </a:cubicBezTo>
                  <a:cubicBezTo>
                    <a:pt x="1396" y="1160"/>
                    <a:pt x="1348" y="1196"/>
                    <a:pt x="1324" y="1244"/>
                  </a:cubicBezTo>
                  <a:cubicBezTo>
                    <a:pt x="1336" y="1276"/>
                    <a:pt x="1352" y="1288"/>
                    <a:pt x="1372" y="1312"/>
                  </a:cubicBezTo>
                  <a:cubicBezTo>
                    <a:pt x="1328" y="1332"/>
                    <a:pt x="1296" y="1336"/>
                    <a:pt x="1248" y="1344"/>
                  </a:cubicBezTo>
                  <a:cubicBezTo>
                    <a:pt x="1220" y="1396"/>
                    <a:pt x="1332" y="1376"/>
                    <a:pt x="1368" y="1380"/>
                  </a:cubicBezTo>
                  <a:cubicBezTo>
                    <a:pt x="1376" y="1380"/>
                    <a:pt x="1392" y="1416"/>
                    <a:pt x="1384" y="1416"/>
                  </a:cubicBezTo>
                  <a:cubicBezTo>
                    <a:pt x="1372" y="1416"/>
                    <a:pt x="1344" y="1416"/>
                    <a:pt x="1332" y="1416"/>
                  </a:cubicBezTo>
                  <a:cubicBezTo>
                    <a:pt x="1288" y="1424"/>
                    <a:pt x="1264" y="1436"/>
                    <a:pt x="1220" y="1444"/>
                  </a:cubicBezTo>
                  <a:cubicBezTo>
                    <a:pt x="1196" y="1468"/>
                    <a:pt x="1172" y="1484"/>
                    <a:pt x="1152" y="1508"/>
                  </a:cubicBezTo>
                  <a:cubicBezTo>
                    <a:pt x="1140" y="1520"/>
                    <a:pt x="1124" y="1556"/>
                    <a:pt x="1124" y="1556"/>
                  </a:cubicBezTo>
                  <a:cubicBezTo>
                    <a:pt x="1136" y="1584"/>
                    <a:pt x="1124" y="1624"/>
                    <a:pt x="1116" y="1656"/>
                  </a:cubicBezTo>
                  <a:cubicBezTo>
                    <a:pt x="1156" y="1664"/>
                    <a:pt x="1180" y="1684"/>
                    <a:pt x="1224" y="1688"/>
                  </a:cubicBezTo>
                  <a:cubicBezTo>
                    <a:pt x="1204" y="1712"/>
                    <a:pt x="1184" y="1728"/>
                    <a:pt x="1152" y="1732"/>
                  </a:cubicBezTo>
                  <a:cubicBezTo>
                    <a:pt x="1124" y="1748"/>
                    <a:pt x="1108" y="1752"/>
                    <a:pt x="1092" y="1784"/>
                  </a:cubicBezTo>
                  <a:cubicBezTo>
                    <a:pt x="1112" y="1872"/>
                    <a:pt x="1100" y="1772"/>
                    <a:pt x="1076" y="1828"/>
                  </a:cubicBezTo>
                  <a:cubicBezTo>
                    <a:pt x="1068" y="1848"/>
                    <a:pt x="1088" y="1896"/>
                    <a:pt x="1092" y="1916"/>
                  </a:cubicBezTo>
                  <a:cubicBezTo>
                    <a:pt x="1064" y="1920"/>
                    <a:pt x="1000" y="1912"/>
                    <a:pt x="1044" y="1968"/>
                  </a:cubicBezTo>
                  <a:cubicBezTo>
                    <a:pt x="1036" y="1988"/>
                    <a:pt x="1032" y="2004"/>
                    <a:pt x="1028" y="2016"/>
                  </a:cubicBezTo>
                  <a:cubicBezTo>
                    <a:pt x="1016" y="2020"/>
                    <a:pt x="1020" y="2032"/>
                    <a:pt x="1012" y="2040"/>
                  </a:cubicBezTo>
                  <a:cubicBezTo>
                    <a:pt x="956" y="2103"/>
                    <a:pt x="1020" y="2067"/>
                    <a:pt x="976" y="2087"/>
                  </a:cubicBezTo>
                  <a:cubicBezTo>
                    <a:pt x="952" y="2147"/>
                    <a:pt x="904" y="2195"/>
                    <a:pt x="840" y="2203"/>
                  </a:cubicBezTo>
                  <a:cubicBezTo>
                    <a:pt x="804" y="2223"/>
                    <a:pt x="812" y="2207"/>
                    <a:pt x="800" y="2235"/>
                  </a:cubicBezTo>
                  <a:cubicBezTo>
                    <a:pt x="788" y="2291"/>
                    <a:pt x="752" y="2331"/>
                    <a:pt x="720" y="2375"/>
                  </a:cubicBezTo>
                  <a:cubicBezTo>
                    <a:pt x="752" y="2463"/>
                    <a:pt x="768" y="2443"/>
                    <a:pt x="792" y="2479"/>
                  </a:cubicBezTo>
                  <a:cubicBezTo>
                    <a:pt x="832" y="2471"/>
                    <a:pt x="876" y="2427"/>
                    <a:pt x="912" y="2407"/>
                  </a:cubicBezTo>
                  <a:cubicBezTo>
                    <a:pt x="908" y="2463"/>
                    <a:pt x="888" y="2527"/>
                    <a:pt x="828" y="2539"/>
                  </a:cubicBezTo>
                  <a:cubicBezTo>
                    <a:pt x="800" y="2559"/>
                    <a:pt x="800" y="2559"/>
                    <a:pt x="764" y="2555"/>
                  </a:cubicBezTo>
                  <a:cubicBezTo>
                    <a:pt x="716" y="2543"/>
                    <a:pt x="684" y="2539"/>
                    <a:pt x="652" y="2495"/>
                  </a:cubicBezTo>
                  <a:cubicBezTo>
                    <a:pt x="636" y="2507"/>
                    <a:pt x="608" y="2539"/>
                    <a:pt x="608" y="2539"/>
                  </a:cubicBezTo>
                  <a:cubicBezTo>
                    <a:pt x="600" y="2571"/>
                    <a:pt x="588" y="2591"/>
                    <a:pt x="564" y="2611"/>
                  </a:cubicBezTo>
                  <a:cubicBezTo>
                    <a:pt x="556" y="2643"/>
                    <a:pt x="544" y="2655"/>
                    <a:pt x="532" y="2683"/>
                  </a:cubicBezTo>
                  <a:cubicBezTo>
                    <a:pt x="604" y="2695"/>
                    <a:pt x="516" y="2675"/>
                    <a:pt x="496" y="2671"/>
                  </a:cubicBezTo>
                  <a:cubicBezTo>
                    <a:pt x="456" y="2651"/>
                    <a:pt x="432" y="2659"/>
                    <a:pt x="380" y="2663"/>
                  </a:cubicBezTo>
                  <a:cubicBezTo>
                    <a:pt x="356" y="2675"/>
                    <a:pt x="336" y="2691"/>
                    <a:pt x="312" y="2703"/>
                  </a:cubicBezTo>
                  <a:cubicBezTo>
                    <a:pt x="324" y="2771"/>
                    <a:pt x="320" y="2743"/>
                    <a:pt x="332" y="2791"/>
                  </a:cubicBezTo>
                  <a:cubicBezTo>
                    <a:pt x="328" y="2823"/>
                    <a:pt x="316" y="2843"/>
                    <a:pt x="308" y="2875"/>
                  </a:cubicBezTo>
                  <a:cubicBezTo>
                    <a:pt x="308" y="2851"/>
                    <a:pt x="312" y="2827"/>
                    <a:pt x="304" y="2803"/>
                  </a:cubicBezTo>
                  <a:cubicBezTo>
                    <a:pt x="300" y="2795"/>
                    <a:pt x="208" y="2847"/>
                    <a:pt x="188" y="2855"/>
                  </a:cubicBezTo>
                  <a:cubicBezTo>
                    <a:pt x="168" y="2887"/>
                    <a:pt x="156" y="2911"/>
                    <a:pt x="120" y="2927"/>
                  </a:cubicBezTo>
                  <a:cubicBezTo>
                    <a:pt x="136" y="2983"/>
                    <a:pt x="156" y="2979"/>
                    <a:pt x="216" y="2983"/>
                  </a:cubicBezTo>
                  <a:cubicBezTo>
                    <a:pt x="240" y="2999"/>
                    <a:pt x="268" y="2999"/>
                    <a:pt x="296" y="3011"/>
                  </a:cubicBezTo>
                  <a:cubicBezTo>
                    <a:pt x="252" y="3035"/>
                    <a:pt x="184" y="2995"/>
                    <a:pt x="140" y="2979"/>
                  </a:cubicBezTo>
                  <a:cubicBezTo>
                    <a:pt x="76" y="2983"/>
                    <a:pt x="64" y="2983"/>
                    <a:pt x="28" y="3031"/>
                  </a:cubicBezTo>
                  <a:cubicBezTo>
                    <a:pt x="4" y="3167"/>
                    <a:pt x="108" y="3159"/>
                    <a:pt x="216" y="3163"/>
                  </a:cubicBezTo>
                  <a:cubicBezTo>
                    <a:pt x="240" y="3167"/>
                    <a:pt x="452" y="3143"/>
                    <a:pt x="424" y="3183"/>
                  </a:cubicBezTo>
                  <a:cubicBezTo>
                    <a:pt x="352" y="3179"/>
                    <a:pt x="276" y="3183"/>
                    <a:pt x="216" y="3175"/>
                  </a:cubicBezTo>
                  <a:cubicBezTo>
                    <a:pt x="0" y="3179"/>
                    <a:pt x="16" y="3127"/>
                    <a:pt x="8" y="3295"/>
                  </a:cubicBezTo>
                  <a:cubicBezTo>
                    <a:pt x="12" y="3375"/>
                    <a:pt x="8" y="3419"/>
                    <a:pt x="88" y="3451"/>
                  </a:cubicBezTo>
                  <a:cubicBezTo>
                    <a:pt x="144" y="3443"/>
                    <a:pt x="180" y="3431"/>
                    <a:pt x="232" y="3423"/>
                  </a:cubicBezTo>
                  <a:cubicBezTo>
                    <a:pt x="244" y="3419"/>
                    <a:pt x="256" y="3415"/>
                    <a:pt x="268" y="3411"/>
                  </a:cubicBezTo>
                  <a:cubicBezTo>
                    <a:pt x="276" y="3407"/>
                    <a:pt x="284" y="3411"/>
                    <a:pt x="292" y="3407"/>
                  </a:cubicBezTo>
                  <a:cubicBezTo>
                    <a:pt x="296" y="3407"/>
                    <a:pt x="312" y="3395"/>
                    <a:pt x="308" y="3399"/>
                  </a:cubicBezTo>
                  <a:cubicBezTo>
                    <a:pt x="268" y="3439"/>
                    <a:pt x="216" y="3459"/>
                    <a:pt x="160" y="3471"/>
                  </a:cubicBezTo>
                  <a:cubicBezTo>
                    <a:pt x="128" y="3483"/>
                    <a:pt x="104" y="3495"/>
                    <a:pt x="76" y="3511"/>
                  </a:cubicBezTo>
                  <a:cubicBezTo>
                    <a:pt x="64" y="3531"/>
                    <a:pt x="56" y="3539"/>
                    <a:pt x="32" y="3547"/>
                  </a:cubicBezTo>
                  <a:cubicBezTo>
                    <a:pt x="92" y="3575"/>
                    <a:pt x="88" y="3543"/>
                    <a:pt x="112" y="3607"/>
                  </a:cubicBezTo>
                  <a:cubicBezTo>
                    <a:pt x="96" y="3655"/>
                    <a:pt x="84" y="3683"/>
                    <a:pt x="44" y="3723"/>
                  </a:cubicBezTo>
                  <a:cubicBezTo>
                    <a:pt x="36" y="3731"/>
                    <a:pt x="60" y="3715"/>
                    <a:pt x="68" y="3711"/>
                  </a:cubicBezTo>
                  <a:cubicBezTo>
                    <a:pt x="84" y="3699"/>
                    <a:pt x="116" y="3679"/>
                    <a:pt x="116" y="3679"/>
                  </a:cubicBezTo>
                  <a:cubicBezTo>
                    <a:pt x="140" y="3691"/>
                    <a:pt x="132" y="3703"/>
                    <a:pt x="120" y="3723"/>
                  </a:cubicBezTo>
                  <a:cubicBezTo>
                    <a:pt x="132" y="3763"/>
                    <a:pt x="148" y="3787"/>
                    <a:pt x="192" y="3795"/>
                  </a:cubicBezTo>
                  <a:cubicBezTo>
                    <a:pt x="168" y="3811"/>
                    <a:pt x="168" y="3799"/>
                    <a:pt x="140" y="3795"/>
                  </a:cubicBezTo>
                  <a:cubicBezTo>
                    <a:pt x="112" y="3799"/>
                    <a:pt x="104" y="3803"/>
                    <a:pt x="88" y="3823"/>
                  </a:cubicBezTo>
                  <a:cubicBezTo>
                    <a:pt x="96" y="3915"/>
                    <a:pt x="120" y="3959"/>
                    <a:pt x="188" y="4031"/>
                  </a:cubicBezTo>
                  <a:cubicBezTo>
                    <a:pt x="228" y="4055"/>
                    <a:pt x="268" y="4083"/>
                    <a:pt x="312" y="4103"/>
                  </a:cubicBezTo>
                  <a:cubicBezTo>
                    <a:pt x="332" y="4111"/>
                    <a:pt x="372" y="4123"/>
                    <a:pt x="372" y="4123"/>
                  </a:cubicBezTo>
                  <a:cubicBezTo>
                    <a:pt x="408" y="4107"/>
                    <a:pt x="492" y="4035"/>
                    <a:pt x="532" y="4007"/>
                  </a:cubicBezTo>
                  <a:cubicBezTo>
                    <a:pt x="584" y="3967"/>
                    <a:pt x="620" y="3899"/>
                    <a:pt x="660" y="3863"/>
                  </a:cubicBezTo>
                  <a:cubicBezTo>
                    <a:pt x="680" y="3823"/>
                    <a:pt x="740" y="3811"/>
                    <a:pt x="776" y="3783"/>
                  </a:cubicBezTo>
                  <a:cubicBezTo>
                    <a:pt x="800" y="3727"/>
                    <a:pt x="824" y="3667"/>
                    <a:pt x="836" y="3607"/>
                  </a:cubicBezTo>
                  <a:cubicBezTo>
                    <a:pt x="856" y="3599"/>
                    <a:pt x="888" y="3707"/>
                    <a:pt x="896" y="3739"/>
                  </a:cubicBezTo>
                  <a:cubicBezTo>
                    <a:pt x="900" y="3799"/>
                    <a:pt x="932" y="3767"/>
                    <a:pt x="908" y="3795"/>
                  </a:cubicBezTo>
                  <a:close/>
                </a:path>
              </a:pathLst>
            </a:custGeom>
            <a:solidFill>
              <a:srgbClr val="8D9399"/>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395" name="Freeform 2519"/>
            <p:cNvSpPr>
              <a:spLocks noChangeAspect="1"/>
            </p:cNvSpPr>
            <p:nvPr/>
          </p:nvSpPr>
          <p:spPr bwMode="auto">
            <a:xfrm>
              <a:off x="5244046" y="3139194"/>
              <a:ext cx="72826" cy="57513"/>
            </a:xfrm>
            <a:custGeom>
              <a:avLst/>
              <a:gdLst>
                <a:gd name="T0" fmla="*/ 21 w 38"/>
                <a:gd name="T1" fmla="*/ 4 h 30"/>
                <a:gd name="T2" fmla="*/ 0 w 38"/>
                <a:gd name="T3" fmla="*/ 8 h 30"/>
                <a:gd name="T4" fmla="*/ 19 w 38"/>
                <a:gd name="T5" fmla="*/ 30 h 30"/>
                <a:gd name="T6" fmla="*/ 38 w 38"/>
                <a:gd name="T7" fmla="*/ 15 h 30"/>
                <a:gd name="T8" fmla="*/ 17 w 38"/>
                <a:gd name="T9" fmla="*/ 5 h 30"/>
                <a:gd name="T10" fmla="*/ 8 w 38"/>
                <a:gd name="T11" fmla="*/ 2 h 30"/>
                <a:gd name="T12" fmla="*/ 21 w 38"/>
                <a:gd name="T13" fmla="*/ 4 h 30"/>
                <a:gd name="T14" fmla="*/ 0 60000 65536"/>
                <a:gd name="T15" fmla="*/ 0 60000 65536"/>
                <a:gd name="T16" fmla="*/ 0 60000 65536"/>
                <a:gd name="T17" fmla="*/ 0 60000 65536"/>
                <a:gd name="T18" fmla="*/ 0 60000 65536"/>
                <a:gd name="T19" fmla="*/ 0 60000 65536"/>
                <a:gd name="T20" fmla="*/ 0 60000 65536"/>
                <a:gd name="T21" fmla="*/ 0 w 38"/>
                <a:gd name="T22" fmla="*/ 0 h 30"/>
                <a:gd name="T23" fmla="*/ 38 w 38"/>
                <a:gd name="T24" fmla="*/ 30 h 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8" h="30">
                  <a:moveTo>
                    <a:pt x="21" y="4"/>
                  </a:moveTo>
                  <a:cubicBezTo>
                    <a:pt x="13" y="1"/>
                    <a:pt x="4" y="0"/>
                    <a:pt x="0" y="8"/>
                  </a:cubicBezTo>
                  <a:cubicBezTo>
                    <a:pt x="1" y="26"/>
                    <a:pt x="4" y="26"/>
                    <a:pt x="19" y="30"/>
                  </a:cubicBezTo>
                  <a:cubicBezTo>
                    <a:pt x="29" y="28"/>
                    <a:pt x="31" y="22"/>
                    <a:pt x="38" y="15"/>
                  </a:cubicBezTo>
                  <a:cubicBezTo>
                    <a:pt x="36" y="5"/>
                    <a:pt x="27" y="6"/>
                    <a:pt x="17" y="5"/>
                  </a:cubicBezTo>
                  <a:cubicBezTo>
                    <a:pt x="9" y="3"/>
                    <a:pt x="11" y="5"/>
                    <a:pt x="8" y="2"/>
                  </a:cubicBezTo>
                  <a:lnTo>
                    <a:pt x="21" y="4"/>
                  </a:ln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396" name="Freeform 2520"/>
            <p:cNvSpPr>
              <a:spLocks noChangeAspect="1"/>
            </p:cNvSpPr>
            <p:nvPr/>
          </p:nvSpPr>
          <p:spPr bwMode="auto">
            <a:xfrm>
              <a:off x="5130495" y="1694188"/>
              <a:ext cx="824086" cy="1477597"/>
            </a:xfrm>
            <a:custGeom>
              <a:avLst/>
              <a:gdLst>
                <a:gd name="T0" fmla="*/ 1628 w 1720"/>
                <a:gd name="T1" fmla="*/ 2255 h 3083"/>
                <a:gd name="T2" fmla="*/ 1720 w 1720"/>
                <a:gd name="T3" fmla="*/ 1955 h 3083"/>
                <a:gd name="T4" fmla="*/ 1456 w 1720"/>
                <a:gd name="T5" fmla="*/ 1775 h 3083"/>
                <a:gd name="T6" fmla="*/ 1448 w 1720"/>
                <a:gd name="T7" fmla="*/ 1683 h 3083"/>
                <a:gd name="T8" fmla="*/ 1432 w 1720"/>
                <a:gd name="T9" fmla="*/ 1583 h 3083"/>
                <a:gd name="T10" fmla="*/ 1352 w 1720"/>
                <a:gd name="T11" fmla="*/ 1512 h 3083"/>
                <a:gd name="T12" fmla="*/ 1264 w 1720"/>
                <a:gd name="T13" fmla="*/ 1320 h 3083"/>
                <a:gd name="T14" fmla="*/ 1276 w 1720"/>
                <a:gd name="T15" fmla="*/ 1188 h 3083"/>
                <a:gd name="T16" fmla="*/ 1132 w 1720"/>
                <a:gd name="T17" fmla="*/ 992 h 3083"/>
                <a:gd name="T18" fmla="*/ 1120 w 1720"/>
                <a:gd name="T19" fmla="*/ 688 h 3083"/>
                <a:gd name="T20" fmla="*/ 1072 w 1720"/>
                <a:gd name="T21" fmla="*/ 600 h 3083"/>
                <a:gd name="T22" fmla="*/ 908 w 1720"/>
                <a:gd name="T23" fmla="*/ 512 h 3083"/>
                <a:gd name="T24" fmla="*/ 880 w 1720"/>
                <a:gd name="T25" fmla="*/ 312 h 3083"/>
                <a:gd name="T26" fmla="*/ 968 w 1720"/>
                <a:gd name="T27" fmla="*/ 132 h 3083"/>
                <a:gd name="T28" fmla="*/ 888 w 1720"/>
                <a:gd name="T29" fmla="*/ 168 h 3083"/>
                <a:gd name="T30" fmla="*/ 813 w 1720"/>
                <a:gd name="T31" fmla="*/ 72 h 3083"/>
                <a:gd name="T32" fmla="*/ 693 w 1720"/>
                <a:gd name="T33" fmla="*/ 0 h 3083"/>
                <a:gd name="T34" fmla="*/ 573 w 1720"/>
                <a:gd name="T35" fmla="*/ 76 h 3083"/>
                <a:gd name="T36" fmla="*/ 545 w 1720"/>
                <a:gd name="T37" fmla="*/ 244 h 3083"/>
                <a:gd name="T38" fmla="*/ 533 w 1720"/>
                <a:gd name="T39" fmla="*/ 416 h 3083"/>
                <a:gd name="T40" fmla="*/ 409 w 1720"/>
                <a:gd name="T41" fmla="*/ 484 h 3083"/>
                <a:gd name="T42" fmla="*/ 153 w 1720"/>
                <a:gd name="T43" fmla="*/ 412 h 3083"/>
                <a:gd name="T44" fmla="*/ 9 w 1720"/>
                <a:gd name="T45" fmla="*/ 436 h 3083"/>
                <a:gd name="T46" fmla="*/ 265 w 1720"/>
                <a:gd name="T47" fmla="*/ 620 h 3083"/>
                <a:gd name="T48" fmla="*/ 390 w 1720"/>
                <a:gd name="T49" fmla="*/ 756 h 3083"/>
                <a:gd name="T50" fmla="*/ 477 w 1720"/>
                <a:gd name="T51" fmla="*/ 1016 h 3083"/>
                <a:gd name="T52" fmla="*/ 495 w 1720"/>
                <a:gd name="T53" fmla="*/ 1224 h 3083"/>
                <a:gd name="T54" fmla="*/ 580 w 1720"/>
                <a:gd name="T55" fmla="*/ 1365 h 3083"/>
                <a:gd name="T56" fmla="*/ 681 w 1720"/>
                <a:gd name="T57" fmla="*/ 1396 h 3083"/>
                <a:gd name="T58" fmla="*/ 741 w 1720"/>
                <a:gd name="T59" fmla="*/ 1432 h 3083"/>
                <a:gd name="T60" fmla="*/ 545 w 1720"/>
                <a:gd name="T61" fmla="*/ 1959 h 3083"/>
                <a:gd name="T62" fmla="*/ 489 w 1720"/>
                <a:gd name="T63" fmla="*/ 2051 h 3083"/>
                <a:gd name="T64" fmla="*/ 369 w 1720"/>
                <a:gd name="T65" fmla="*/ 2239 h 3083"/>
                <a:gd name="T66" fmla="*/ 457 w 1720"/>
                <a:gd name="T67" fmla="*/ 2559 h 3083"/>
                <a:gd name="T68" fmla="*/ 457 w 1720"/>
                <a:gd name="T69" fmla="*/ 2987 h 3083"/>
                <a:gd name="T70" fmla="*/ 485 w 1720"/>
                <a:gd name="T71" fmla="*/ 2999 h 3083"/>
                <a:gd name="T72" fmla="*/ 657 w 1720"/>
                <a:gd name="T73" fmla="*/ 3055 h 3083"/>
                <a:gd name="T74" fmla="*/ 729 w 1720"/>
                <a:gd name="T75" fmla="*/ 3083 h 3083"/>
                <a:gd name="T76" fmla="*/ 956 w 1720"/>
                <a:gd name="T77" fmla="*/ 2991 h 3083"/>
                <a:gd name="T78" fmla="*/ 1024 w 1720"/>
                <a:gd name="T79" fmla="*/ 2955 h 3083"/>
                <a:gd name="T80" fmla="*/ 1192 w 1720"/>
                <a:gd name="T81" fmla="*/ 2859 h 3083"/>
                <a:gd name="T82" fmla="*/ 1372 w 1720"/>
                <a:gd name="T83" fmla="*/ 2783 h 3083"/>
                <a:gd name="T84" fmla="*/ 1396 w 1720"/>
                <a:gd name="T85" fmla="*/ 2723 h 3083"/>
                <a:gd name="T86" fmla="*/ 1576 w 1720"/>
                <a:gd name="T87" fmla="*/ 2351 h 308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720"/>
                <a:gd name="T133" fmla="*/ 0 h 3083"/>
                <a:gd name="T134" fmla="*/ 1720 w 1720"/>
                <a:gd name="T135" fmla="*/ 3083 h 308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720" h="3083">
                  <a:moveTo>
                    <a:pt x="1576" y="2351"/>
                  </a:moveTo>
                  <a:cubicBezTo>
                    <a:pt x="1584" y="2323"/>
                    <a:pt x="1604" y="2279"/>
                    <a:pt x="1628" y="2255"/>
                  </a:cubicBezTo>
                  <a:cubicBezTo>
                    <a:pt x="1636" y="2223"/>
                    <a:pt x="1636" y="2191"/>
                    <a:pt x="1648" y="2159"/>
                  </a:cubicBezTo>
                  <a:cubicBezTo>
                    <a:pt x="1656" y="2087"/>
                    <a:pt x="1688" y="2023"/>
                    <a:pt x="1720" y="1955"/>
                  </a:cubicBezTo>
                  <a:cubicBezTo>
                    <a:pt x="1700" y="1907"/>
                    <a:pt x="1640" y="1879"/>
                    <a:pt x="1592" y="1839"/>
                  </a:cubicBezTo>
                  <a:cubicBezTo>
                    <a:pt x="1548" y="1811"/>
                    <a:pt x="1480" y="1791"/>
                    <a:pt x="1456" y="1775"/>
                  </a:cubicBezTo>
                  <a:cubicBezTo>
                    <a:pt x="1452" y="1767"/>
                    <a:pt x="1440" y="1751"/>
                    <a:pt x="1440" y="1751"/>
                  </a:cubicBezTo>
                  <a:cubicBezTo>
                    <a:pt x="1440" y="1727"/>
                    <a:pt x="1440" y="1703"/>
                    <a:pt x="1448" y="1683"/>
                  </a:cubicBezTo>
                  <a:cubicBezTo>
                    <a:pt x="1452" y="1671"/>
                    <a:pt x="1480" y="1631"/>
                    <a:pt x="1480" y="1631"/>
                  </a:cubicBezTo>
                  <a:cubicBezTo>
                    <a:pt x="1476" y="1595"/>
                    <a:pt x="1460" y="1603"/>
                    <a:pt x="1432" y="1583"/>
                  </a:cubicBezTo>
                  <a:cubicBezTo>
                    <a:pt x="1420" y="1575"/>
                    <a:pt x="1396" y="1559"/>
                    <a:pt x="1396" y="1559"/>
                  </a:cubicBezTo>
                  <a:cubicBezTo>
                    <a:pt x="1384" y="1543"/>
                    <a:pt x="1368" y="1524"/>
                    <a:pt x="1352" y="1512"/>
                  </a:cubicBezTo>
                  <a:cubicBezTo>
                    <a:pt x="1332" y="1484"/>
                    <a:pt x="1340" y="1496"/>
                    <a:pt x="1324" y="1472"/>
                  </a:cubicBezTo>
                  <a:cubicBezTo>
                    <a:pt x="1312" y="1420"/>
                    <a:pt x="1280" y="1372"/>
                    <a:pt x="1264" y="1320"/>
                  </a:cubicBezTo>
                  <a:cubicBezTo>
                    <a:pt x="1264" y="1288"/>
                    <a:pt x="1264" y="1260"/>
                    <a:pt x="1268" y="1228"/>
                  </a:cubicBezTo>
                  <a:cubicBezTo>
                    <a:pt x="1268" y="1216"/>
                    <a:pt x="1276" y="1188"/>
                    <a:pt x="1276" y="1188"/>
                  </a:cubicBezTo>
                  <a:cubicBezTo>
                    <a:pt x="1272" y="1148"/>
                    <a:pt x="1248" y="1080"/>
                    <a:pt x="1204" y="1064"/>
                  </a:cubicBezTo>
                  <a:cubicBezTo>
                    <a:pt x="1188" y="1040"/>
                    <a:pt x="1156" y="1008"/>
                    <a:pt x="1132" y="992"/>
                  </a:cubicBezTo>
                  <a:cubicBezTo>
                    <a:pt x="1120" y="972"/>
                    <a:pt x="1104" y="932"/>
                    <a:pt x="1080" y="924"/>
                  </a:cubicBezTo>
                  <a:cubicBezTo>
                    <a:pt x="1056" y="840"/>
                    <a:pt x="1052" y="756"/>
                    <a:pt x="1120" y="688"/>
                  </a:cubicBezTo>
                  <a:cubicBezTo>
                    <a:pt x="1124" y="672"/>
                    <a:pt x="1128" y="644"/>
                    <a:pt x="1120" y="632"/>
                  </a:cubicBezTo>
                  <a:cubicBezTo>
                    <a:pt x="1108" y="616"/>
                    <a:pt x="1088" y="612"/>
                    <a:pt x="1072" y="600"/>
                  </a:cubicBezTo>
                  <a:cubicBezTo>
                    <a:pt x="1044" y="576"/>
                    <a:pt x="1020" y="556"/>
                    <a:pt x="984" y="544"/>
                  </a:cubicBezTo>
                  <a:cubicBezTo>
                    <a:pt x="968" y="528"/>
                    <a:pt x="932" y="520"/>
                    <a:pt x="908" y="512"/>
                  </a:cubicBezTo>
                  <a:cubicBezTo>
                    <a:pt x="888" y="492"/>
                    <a:pt x="876" y="448"/>
                    <a:pt x="872" y="416"/>
                  </a:cubicBezTo>
                  <a:cubicBezTo>
                    <a:pt x="864" y="380"/>
                    <a:pt x="861" y="344"/>
                    <a:pt x="880" y="312"/>
                  </a:cubicBezTo>
                  <a:cubicBezTo>
                    <a:pt x="888" y="288"/>
                    <a:pt x="888" y="260"/>
                    <a:pt x="908" y="240"/>
                  </a:cubicBezTo>
                  <a:cubicBezTo>
                    <a:pt x="924" y="212"/>
                    <a:pt x="972" y="128"/>
                    <a:pt x="968" y="132"/>
                  </a:cubicBezTo>
                  <a:cubicBezTo>
                    <a:pt x="956" y="148"/>
                    <a:pt x="892" y="256"/>
                    <a:pt x="880" y="264"/>
                  </a:cubicBezTo>
                  <a:cubicBezTo>
                    <a:pt x="872" y="228"/>
                    <a:pt x="876" y="204"/>
                    <a:pt x="888" y="168"/>
                  </a:cubicBezTo>
                  <a:cubicBezTo>
                    <a:pt x="884" y="132"/>
                    <a:pt x="892" y="108"/>
                    <a:pt x="864" y="88"/>
                  </a:cubicBezTo>
                  <a:cubicBezTo>
                    <a:pt x="849" y="76"/>
                    <a:pt x="813" y="72"/>
                    <a:pt x="813" y="72"/>
                  </a:cubicBezTo>
                  <a:cubicBezTo>
                    <a:pt x="789" y="48"/>
                    <a:pt x="757" y="36"/>
                    <a:pt x="729" y="16"/>
                  </a:cubicBezTo>
                  <a:cubicBezTo>
                    <a:pt x="717" y="8"/>
                    <a:pt x="693" y="0"/>
                    <a:pt x="693" y="0"/>
                  </a:cubicBezTo>
                  <a:cubicBezTo>
                    <a:pt x="669" y="4"/>
                    <a:pt x="657" y="0"/>
                    <a:pt x="645" y="24"/>
                  </a:cubicBezTo>
                  <a:cubicBezTo>
                    <a:pt x="637" y="72"/>
                    <a:pt x="621" y="72"/>
                    <a:pt x="573" y="76"/>
                  </a:cubicBezTo>
                  <a:cubicBezTo>
                    <a:pt x="557" y="92"/>
                    <a:pt x="549" y="116"/>
                    <a:pt x="537" y="136"/>
                  </a:cubicBezTo>
                  <a:cubicBezTo>
                    <a:pt x="529" y="172"/>
                    <a:pt x="529" y="208"/>
                    <a:pt x="545" y="244"/>
                  </a:cubicBezTo>
                  <a:cubicBezTo>
                    <a:pt x="548" y="283"/>
                    <a:pt x="560" y="337"/>
                    <a:pt x="558" y="366"/>
                  </a:cubicBezTo>
                  <a:cubicBezTo>
                    <a:pt x="544" y="390"/>
                    <a:pt x="540" y="403"/>
                    <a:pt x="533" y="416"/>
                  </a:cubicBezTo>
                  <a:cubicBezTo>
                    <a:pt x="526" y="440"/>
                    <a:pt x="537" y="408"/>
                    <a:pt x="513" y="444"/>
                  </a:cubicBezTo>
                  <a:cubicBezTo>
                    <a:pt x="497" y="456"/>
                    <a:pt x="441" y="472"/>
                    <a:pt x="409" y="484"/>
                  </a:cubicBezTo>
                  <a:cubicBezTo>
                    <a:pt x="357" y="492"/>
                    <a:pt x="245" y="504"/>
                    <a:pt x="197" y="492"/>
                  </a:cubicBezTo>
                  <a:cubicBezTo>
                    <a:pt x="181" y="460"/>
                    <a:pt x="181" y="432"/>
                    <a:pt x="153" y="412"/>
                  </a:cubicBezTo>
                  <a:cubicBezTo>
                    <a:pt x="141" y="392"/>
                    <a:pt x="105" y="380"/>
                    <a:pt x="81" y="372"/>
                  </a:cubicBezTo>
                  <a:cubicBezTo>
                    <a:pt x="41" y="384"/>
                    <a:pt x="41" y="392"/>
                    <a:pt x="9" y="436"/>
                  </a:cubicBezTo>
                  <a:cubicBezTo>
                    <a:pt x="0" y="456"/>
                    <a:pt x="27" y="455"/>
                    <a:pt x="66" y="482"/>
                  </a:cubicBezTo>
                  <a:cubicBezTo>
                    <a:pt x="108" y="513"/>
                    <a:pt x="171" y="567"/>
                    <a:pt x="265" y="620"/>
                  </a:cubicBezTo>
                  <a:cubicBezTo>
                    <a:pt x="309" y="651"/>
                    <a:pt x="309" y="642"/>
                    <a:pt x="330" y="668"/>
                  </a:cubicBezTo>
                  <a:cubicBezTo>
                    <a:pt x="369" y="701"/>
                    <a:pt x="393" y="722"/>
                    <a:pt x="390" y="756"/>
                  </a:cubicBezTo>
                  <a:cubicBezTo>
                    <a:pt x="363" y="848"/>
                    <a:pt x="438" y="911"/>
                    <a:pt x="450" y="947"/>
                  </a:cubicBezTo>
                  <a:cubicBezTo>
                    <a:pt x="465" y="990"/>
                    <a:pt x="469" y="995"/>
                    <a:pt x="477" y="1016"/>
                  </a:cubicBezTo>
                  <a:cubicBezTo>
                    <a:pt x="485" y="1032"/>
                    <a:pt x="492" y="1059"/>
                    <a:pt x="495" y="1077"/>
                  </a:cubicBezTo>
                  <a:cubicBezTo>
                    <a:pt x="491" y="1109"/>
                    <a:pt x="486" y="1193"/>
                    <a:pt x="495" y="1224"/>
                  </a:cubicBezTo>
                  <a:cubicBezTo>
                    <a:pt x="522" y="1266"/>
                    <a:pt x="535" y="1281"/>
                    <a:pt x="537" y="1301"/>
                  </a:cubicBezTo>
                  <a:cubicBezTo>
                    <a:pt x="557" y="1341"/>
                    <a:pt x="555" y="1352"/>
                    <a:pt x="580" y="1365"/>
                  </a:cubicBezTo>
                  <a:cubicBezTo>
                    <a:pt x="580" y="1369"/>
                    <a:pt x="617" y="1380"/>
                    <a:pt x="633" y="1380"/>
                  </a:cubicBezTo>
                  <a:cubicBezTo>
                    <a:pt x="649" y="1384"/>
                    <a:pt x="665" y="1392"/>
                    <a:pt x="681" y="1396"/>
                  </a:cubicBezTo>
                  <a:cubicBezTo>
                    <a:pt x="689" y="1400"/>
                    <a:pt x="705" y="1404"/>
                    <a:pt x="705" y="1404"/>
                  </a:cubicBezTo>
                  <a:cubicBezTo>
                    <a:pt x="717" y="1416"/>
                    <a:pt x="741" y="1432"/>
                    <a:pt x="741" y="1432"/>
                  </a:cubicBezTo>
                  <a:cubicBezTo>
                    <a:pt x="753" y="1488"/>
                    <a:pt x="737" y="1536"/>
                    <a:pt x="705" y="1583"/>
                  </a:cubicBezTo>
                  <a:cubicBezTo>
                    <a:pt x="673" y="1671"/>
                    <a:pt x="617" y="1879"/>
                    <a:pt x="545" y="1959"/>
                  </a:cubicBezTo>
                  <a:cubicBezTo>
                    <a:pt x="533" y="1975"/>
                    <a:pt x="525" y="1995"/>
                    <a:pt x="509" y="2003"/>
                  </a:cubicBezTo>
                  <a:cubicBezTo>
                    <a:pt x="501" y="2023"/>
                    <a:pt x="497" y="2035"/>
                    <a:pt x="489" y="2051"/>
                  </a:cubicBezTo>
                  <a:cubicBezTo>
                    <a:pt x="485" y="2059"/>
                    <a:pt x="481" y="2075"/>
                    <a:pt x="481" y="2075"/>
                  </a:cubicBezTo>
                  <a:cubicBezTo>
                    <a:pt x="461" y="2107"/>
                    <a:pt x="381" y="2167"/>
                    <a:pt x="369" y="2239"/>
                  </a:cubicBezTo>
                  <a:cubicBezTo>
                    <a:pt x="349" y="2315"/>
                    <a:pt x="365" y="2435"/>
                    <a:pt x="413" y="2507"/>
                  </a:cubicBezTo>
                  <a:cubicBezTo>
                    <a:pt x="421" y="2535"/>
                    <a:pt x="445" y="2535"/>
                    <a:pt x="457" y="2559"/>
                  </a:cubicBezTo>
                  <a:cubicBezTo>
                    <a:pt x="473" y="2591"/>
                    <a:pt x="465" y="2655"/>
                    <a:pt x="473" y="2687"/>
                  </a:cubicBezTo>
                  <a:cubicBezTo>
                    <a:pt x="477" y="2787"/>
                    <a:pt x="473" y="2887"/>
                    <a:pt x="457" y="2987"/>
                  </a:cubicBezTo>
                  <a:cubicBezTo>
                    <a:pt x="457" y="2995"/>
                    <a:pt x="453" y="3003"/>
                    <a:pt x="461" y="3007"/>
                  </a:cubicBezTo>
                  <a:cubicBezTo>
                    <a:pt x="469" y="3011"/>
                    <a:pt x="485" y="2999"/>
                    <a:pt x="485" y="2999"/>
                  </a:cubicBezTo>
                  <a:cubicBezTo>
                    <a:pt x="525" y="3007"/>
                    <a:pt x="561" y="3019"/>
                    <a:pt x="597" y="3031"/>
                  </a:cubicBezTo>
                  <a:cubicBezTo>
                    <a:pt x="621" y="3039"/>
                    <a:pt x="637" y="3047"/>
                    <a:pt x="657" y="3055"/>
                  </a:cubicBezTo>
                  <a:cubicBezTo>
                    <a:pt x="661" y="3055"/>
                    <a:pt x="669" y="3059"/>
                    <a:pt x="669" y="3059"/>
                  </a:cubicBezTo>
                  <a:cubicBezTo>
                    <a:pt x="685" y="3075"/>
                    <a:pt x="705" y="3079"/>
                    <a:pt x="729" y="3083"/>
                  </a:cubicBezTo>
                  <a:cubicBezTo>
                    <a:pt x="769" y="3075"/>
                    <a:pt x="801" y="3055"/>
                    <a:pt x="841" y="3047"/>
                  </a:cubicBezTo>
                  <a:cubicBezTo>
                    <a:pt x="880" y="3027"/>
                    <a:pt x="912" y="2999"/>
                    <a:pt x="956" y="2991"/>
                  </a:cubicBezTo>
                  <a:cubicBezTo>
                    <a:pt x="968" y="2983"/>
                    <a:pt x="980" y="2967"/>
                    <a:pt x="992" y="2963"/>
                  </a:cubicBezTo>
                  <a:cubicBezTo>
                    <a:pt x="1004" y="2959"/>
                    <a:pt x="1024" y="2955"/>
                    <a:pt x="1024" y="2955"/>
                  </a:cubicBezTo>
                  <a:cubicBezTo>
                    <a:pt x="1040" y="2931"/>
                    <a:pt x="1092" y="2915"/>
                    <a:pt x="1120" y="2907"/>
                  </a:cubicBezTo>
                  <a:cubicBezTo>
                    <a:pt x="1132" y="2887"/>
                    <a:pt x="1168" y="2867"/>
                    <a:pt x="1192" y="2859"/>
                  </a:cubicBezTo>
                  <a:cubicBezTo>
                    <a:pt x="1212" y="2827"/>
                    <a:pt x="1276" y="2839"/>
                    <a:pt x="1312" y="2831"/>
                  </a:cubicBezTo>
                  <a:cubicBezTo>
                    <a:pt x="1336" y="2811"/>
                    <a:pt x="1348" y="2791"/>
                    <a:pt x="1372" y="2783"/>
                  </a:cubicBezTo>
                  <a:cubicBezTo>
                    <a:pt x="1380" y="2779"/>
                    <a:pt x="1396" y="2767"/>
                    <a:pt x="1396" y="2767"/>
                  </a:cubicBezTo>
                  <a:cubicBezTo>
                    <a:pt x="1389" y="2753"/>
                    <a:pt x="1388" y="2743"/>
                    <a:pt x="1396" y="2723"/>
                  </a:cubicBezTo>
                  <a:cubicBezTo>
                    <a:pt x="1412" y="2675"/>
                    <a:pt x="1465" y="2573"/>
                    <a:pt x="1500" y="2534"/>
                  </a:cubicBezTo>
                  <a:cubicBezTo>
                    <a:pt x="1530" y="2472"/>
                    <a:pt x="1555" y="2397"/>
                    <a:pt x="1576" y="2351"/>
                  </a:cubicBezTo>
                  <a:close/>
                </a:path>
              </a:pathLst>
            </a:custGeom>
            <a:solidFill>
              <a:srgbClr val="8D9399"/>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397" name="Freeform 2521"/>
            <p:cNvSpPr>
              <a:spLocks noChangeAspect="1"/>
            </p:cNvSpPr>
            <p:nvPr>
              <p:custDataLst>
                <p:tags r:id="rId26"/>
              </p:custDataLst>
            </p:nvPr>
          </p:nvSpPr>
          <p:spPr bwMode="auto">
            <a:xfrm>
              <a:off x="5419884" y="3397938"/>
              <a:ext cx="553863" cy="339217"/>
            </a:xfrm>
            <a:custGeom>
              <a:avLst/>
              <a:gdLst>
                <a:gd name="T0" fmla="*/ 1156 w 1156"/>
                <a:gd name="T1" fmla="*/ 416 h 708"/>
                <a:gd name="T2" fmla="*/ 1132 w 1156"/>
                <a:gd name="T3" fmla="*/ 380 h 708"/>
                <a:gd name="T4" fmla="*/ 1104 w 1156"/>
                <a:gd name="T5" fmla="*/ 312 h 708"/>
                <a:gd name="T6" fmla="*/ 1032 w 1156"/>
                <a:gd name="T7" fmla="*/ 224 h 708"/>
                <a:gd name="T8" fmla="*/ 976 w 1156"/>
                <a:gd name="T9" fmla="*/ 92 h 708"/>
                <a:gd name="T10" fmla="*/ 945 w 1156"/>
                <a:gd name="T11" fmla="*/ 63 h 708"/>
                <a:gd name="T12" fmla="*/ 819 w 1156"/>
                <a:gd name="T13" fmla="*/ 99 h 708"/>
                <a:gd name="T14" fmla="*/ 764 w 1156"/>
                <a:gd name="T15" fmla="*/ 96 h 708"/>
                <a:gd name="T16" fmla="*/ 684 w 1156"/>
                <a:gd name="T17" fmla="*/ 50 h 708"/>
                <a:gd name="T18" fmla="*/ 648 w 1156"/>
                <a:gd name="T19" fmla="*/ 20 h 708"/>
                <a:gd name="T20" fmla="*/ 602 w 1156"/>
                <a:gd name="T21" fmla="*/ 6 h 708"/>
                <a:gd name="T22" fmla="*/ 532 w 1156"/>
                <a:gd name="T23" fmla="*/ 20 h 708"/>
                <a:gd name="T24" fmla="*/ 460 w 1156"/>
                <a:gd name="T25" fmla="*/ 52 h 708"/>
                <a:gd name="T26" fmla="*/ 496 w 1156"/>
                <a:gd name="T27" fmla="*/ 220 h 708"/>
                <a:gd name="T28" fmla="*/ 484 w 1156"/>
                <a:gd name="T29" fmla="*/ 308 h 708"/>
                <a:gd name="T30" fmla="*/ 448 w 1156"/>
                <a:gd name="T31" fmla="*/ 344 h 708"/>
                <a:gd name="T32" fmla="*/ 356 w 1156"/>
                <a:gd name="T33" fmla="*/ 340 h 708"/>
                <a:gd name="T34" fmla="*/ 348 w 1156"/>
                <a:gd name="T35" fmla="*/ 324 h 708"/>
                <a:gd name="T36" fmla="*/ 288 w 1156"/>
                <a:gd name="T37" fmla="*/ 296 h 708"/>
                <a:gd name="T38" fmla="*/ 252 w 1156"/>
                <a:gd name="T39" fmla="*/ 240 h 708"/>
                <a:gd name="T40" fmla="*/ 216 w 1156"/>
                <a:gd name="T41" fmla="*/ 212 h 708"/>
                <a:gd name="T42" fmla="*/ 180 w 1156"/>
                <a:gd name="T43" fmla="*/ 172 h 708"/>
                <a:gd name="T44" fmla="*/ 148 w 1156"/>
                <a:gd name="T45" fmla="*/ 192 h 708"/>
                <a:gd name="T46" fmla="*/ 76 w 1156"/>
                <a:gd name="T47" fmla="*/ 236 h 708"/>
                <a:gd name="T48" fmla="*/ 48 w 1156"/>
                <a:gd name="T49" fmla="*/ 296 h 708"/>
                <a:gd name="T50" fmla="*/ 16 w 1156"/>
                <a:gd name="T51" fmla="*/ 364 h 708"/>
                <a:gd name="T52" fmla="*/ 0 w 1156"/>
                <a:gd name="T53" fmla="*/ 484 h 708"/>
                <a:gd name="T54" fmla="*/ 36 w 1156"/>
                <a:gd name="T55" fmla="*/ 708 h 708"/>
                <a:gd name="T56" fmla="*/ 69 w 1156"/>
                <a:gd name="T57" fmla="*/ 638 h 708"/>
                <a:gd name="T58" fmla="*/ 96 w 1156"/>
                <a:gd name="T59" fmla="*/ 608 h 708"/>
                <a:gd name="T60" fmla="*/ 204 w 1156"/>
                <a:gd name="T61" fmla="*/ 576 h 708"/>
                <a:gd name="T62" fmla="*/ 230 w 1156"/>
                <a:gd name="T63" fmla="*/ 546 h 708"/>
                <a:gd name="T64" fmla="*/ 240 w 1156"/>
                <a:gd name="T65" fmla="*/ 561 h 708"/>
                <a:gd name="T66" fmla="*/ 287 w 1156"/>
                <a:gd name="T67" fmla="*/ 566 h 708"/>
                <a:gd name="T68" fmla="*/ 303 w 1156"/>
                <a:gd name="T69" fmla="*/ 539 h 708"/>
                <a:gd name="T70" fmla="*/ 330 w 1156"/>
                <a:gd name="T71" fmla="*/ 567 h 708"/>
                <a:gd name="T72" fmla="*/ 410 w 1156"/>
                <a:gd name="T73" fmla="*/ 549 h 708"/>
                <a:gd name="T74" fmla="*/ 489 w 1156"/>
                <a:gd name="T75" fmla="*/ 527 h 708"/>
                <a:gd name="T76" fmla="*/ 576 w 1156"/>
                <a:gd name="T77" fmla="*/ 533 h 708"/>
                <a:gd name="T78" fmla="*/ 576 w 1156"/>
                <a:gd name="T79" fmla="*/ 504 h 708"/>
                <a:gd name="T80" fmla="*/ 638 w 1156"/>
                <a:gd name="T81" fmla="*/ 470 h 708"/>
                <a:gd name="T82" fmla="*/ 657 w 1156"/>
                <a:gd name="T83" fmla="*/ 516 h 708"/>
                <a:gd name="T84" fmla="*/ 690 w 1156"/>
                <a:gd name="T85" fmla="*/ 530 h 708"/>
                <a:gd name="T86" fmla="*/ 784 w 1156"/>
                <a:gd name="T87" fmla="*/ 536 h 708"/>
                <a:gd name="T88" fmla="*/ 879 w 1156"/>
                <a:gd name="T89" fmla="*/ 588 h 708"/>
                <a:gd name="T90" fmla="*/ 944 w 1156"/>
                <a:gd name="T91" fmla="*/ 620 h 708"/>
                <a:gd name="T92" fmla="*/ 960 w 1156"/>
                <a:gd name="T93" fmla="*/ 614 h 708"/>
                <a:gd name="T94" fmla="*/ 1094 w 1156"/>
                <a:gd name="T95" fmla="*/ 566 h 708"/>
                <a:gd name="T96" fmla="*/ 1088 w 1156"/>
                <a:gd name="T97" fmla="*/ 522 h 708"/>
                <a:gd name="T98" fmla="*/ 1137 w 1156"/>
                <a:gd name="T99" fmla="*/ 447 h 708"/>
                <a:gd name="T100" fmla="*/ 1156 w 1156"/>
                <a:gd name="T101" fmla="*/ 416 h 70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156"/>
                <a:gd name="T154" fmla="*/ 0 h 708"/>
                <a:gd name="T155" fmla="*/ 1156 w 1156"/>
                <a:gd name="T156" fmla="*/ 708 h 70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156" h="708">
                  <a:moveTo>
                    <a:pt x="1156" y="416"/>
                  </a:moveTo>
                  <a:cubicBezTo>
                    <a:pt x="1148" y="404"/>
                    <a:pt x="1144" y="392"/>
                    <a:pt x="1132" y="380"/>
                  </a:cubicBezTo>
                  <a:cubicBezTo>
                    <a:pt x="1124" y="356"/>
                    <a:pt x="1128" y="328"/>
                    <a:pt x="1104" y="312"/>
                  </a:cubicBezTo>
                  <a:cubicBezTo>
                    <a:pt x="1096" y="292"/>
                    <a:pt x="1052" y="232"/>
                    <a:pt x="1032" y="224"/>
                  </a:cubicBezTo>
                  <a:cubicBezTo>
                    <a:pt x="1036" y="132"/>
                    <a:pt x="1048" y="140"/>
                    <a:pt x="976" y="92"/>
                  </a:cubicBezTo>
                  <a:cubicBezTo>
                    <a:pt x="972" y="76"/>
                    <a:pt x="953" y="83"/>
                    <a:pt x="945" y="63"/>
                  </a:cubicBezTo>
                  <a:cubicBezTo>
                    <a:pt x="845" y="72"/>
                    <a:pt x="831" y="92"/>
                    <a:pt x="819" y="99"/>
                  </a:cubicBezTo>
                  <a:cubicBezTo>
                    <a:pt x="789" y="104"/>
                    <a:pt x="786" y="98"/>
                    <a:pt x="764" y="96"/>
                  </a:cubicBezTo>
                  <a:cubicBezTo>
                    <a:pt x="740" y="60"/>
                    <a:pt x="719" y="78"/>
                    <a:pt x="684" y="50"/>
                  </a:cubicBezTo>
                  <a:cubicBezTo>
                    <a:pt x="672" y="38"/>
                    <a:pt x="664" y="24"/>
                    <a:pt x="648" y="20"/>
                  </a:cubicBezTo>
                  <a:cubicBezTo>
                    <a:pt x="636" y="0"/>
                    <a:pt x="626" y="10"/>
                    <a:pt x="602" y="6"/>
                  </a:cubicBezTo>
                  <a:cubicBezTo>
                    <a:pt x="564" y="9"/>
                    <a:pt x="564" y="0"/>
                    <a:pt x="532" y="20"/>
                  </a:cubicBezTo>
                  <a:cubicBezTo>
                    <a:pt x="509" y="32"/>
                    <a:pt x="483" y="62"/>
                    <a:pt x="460" y="52"/>
                  </a:cubicBezTo>
                  <a:cubicBezTo>
                    <a:pt x="432" y="88"/>
                    <a:pt x="456" y="192"/>
                    <a:pt x="496" y="220"/>
                  </a:cubicBezTo>
                  <a:cubicBezTo>
                    <a:pt x="504" y="252"/>
                    <a:pt x="512" y="288"/>
                    <a:pt x="484" y="308"/>
                  </a:cubicBezTo>
                  <a:cubicBezTo>
                    <a:pt x="472" y="328"/>
                    <a:pt x="472" y="336"/>
                    <a:pt x="448" y="344"/>
                  </a:cubicBezTo>
                  <a:cubicBezTo>
                    <a:pt x="416" y="344"/>
                    <a:pt x="388" y="348"/>
                    <a:pt x="356" y="340"/>
                  </a:cubicBezTo>
                  <a:cubicBezTo>
                    <a:pt x="352" y="340"/>
                    <a:pt x="352" y="328"/>
                    <a:pt x="348" y="324"/>
                  </a:cubicBezTo>
                  <a:cubicBezTo>
                    <a:pt x="336" y="312"/>
                    <a:pt x="304" y="300"/>
                    <a:pt x="288" y="296"/>
                  </a:cubicBezTo>
                  <a:cubicBezTo>
                    <a:pt x="276" y="276"/>
                    <a:pt x="268" y="256"/>
                    <a:pt x="252" y="240"/>
                  </a:cubicBezTo>
                  <a:cubicBezTo>
                    <a:pt x="244" y="228"/>
                    <a:pt x="216" y="212"/>
                    <a:pt x="216" y="212"/>
                  </a:cubicBezTo>
                  <a:cubicBezTo>
                    <a:pt x="208" y="196"/>
                    <a:pt x="192" y="180"/>
                    <a:pt x="180" y="172"/>
                  </a:cubicBezTo>
                  <a:cubicBezTo>
                    <a:pt x="160" y="180"/>
                    <a:pt x="172" y="188"/>
                    <a:pt x="148" y="192"/>
                  </a:cubicBezTo>
                  <a:cubicBezTo>
                    <a:pt x="124" y="208"/>
                    <a:pt x="96" y="216"/>
                    <a:pt x="76" y="236"/>
                  </a:cubicBezTo>
                  <a:cubicBezTo>
                    <a:pt x="68" y="260"/>
                    <a:pt x="64" y="280"/>
                    <a:pt x="48" y="296"/>
                  </a:cubicBezTo>
                  <a:cubicBezTo>
                    <a:pt x="40" y="320"/>
                    <a:pt x="20" y="336"/>
                    <a:pt x="16" y="364"/>
                  </a:cubicBezTo>
                  <a:cubicBezTo>
                    <a:pt x="12" y="420"/>
                    <a:pt x="8" y="436"/>
                    <a:pt x="0" y="484"/>
                  </a:cubicBezTo>
                  <a:cubicBezTo>
                    <a:pt x="4" y="536"/>
                    <a:pt x="0" y="696"/>
                    <a:pt x="36" y="708"/>
                  </a:cubicBezTo>
                  <a:cubicBezTo>
                    <a:pt x="39" y="684"/>
                    <a:pt x="59" y="655"/>
                    <a:pt x="69" y="638"/>
                  </a:cubicBezTo>
                  <a:cubicBezTo>
                    <a:pt x="79" y="621"/>
                    <a:pt x="83" y="639"/>
                    <a:pt x="96" y="608"/>
                  </a:cubicBezTo>
                  <a:cubicBezTo>
                    <a:pt x="117" y="605"/>
                    <a:pt x="162" y="570"/>
                    <a:pt x="204" y="576"/>
                  </a:cubicBezTo>
                  <a:cubicBezTo>
                    <a:pt x="226" y="564"/>
                    <a:pt x="216" y="548"/>
                    <a:pt x="230" y="546"/>
                  </a:cubicBezTo>
                  <a:cubicBezTo>
                    <a:pt x="236" y="544"/>
                    <a:pt x="231" y="558"/>
                    <a:pt x="240" y="561"/>
                  </a:cubicBezTo>
                  <a:cubicBezTo>
                    <a:pt x="249" y="564"/>
                    <a:pt x="269" y="561"/>
                    <a:pt x="287" y="566"/>
                  </a:cubicBezTo>
                  <a:cubicBezTo>
                    <a:pt x="299" y="552"/>
                    <a:pt x="299" y="560"/>
                    <a:pt x="303" y="539"/>
                  </a:cubicBezTo>
                  <a:cubicBezTo>
                    <a:pt x="323" y="551"/>
                    <a:pt x="315" y="561"/>
                    <a:pt x="330" y="567"/>
                  </a:cubicBezTo>
                  <a:cubicBezTo>
                    <a:pt x="381" y="536"/>
                    <a:pt x="393" y="531"/>
                    <a:pt x="410" y="549"/>
                  </a:cubicBezTo>
                  <a:cubicBezTo>
                    <a:pt x="410" y="531"/>
                    <a:pt x="414" y="530"/>
                    <a:pt x="489" y="527"/>
                  </a:cubicBezTo>
                  <a:cubicBezTo>
                    <a:pt x="511" y="536"/>
                    <a:pt x="562" y="537"/>
                    <a:pt x="576" y="533"/>
                  </a:cubicBezTo>
                  <a:cubicBezTo>
                    <a:pt x="590" y="529"/>
                    <a:pt x="566" y="515"/>
                    <a:pt x="576" y="504"/>
                  </a:cubicBezTo>
                  <a:cubicBezTo>
                    <a:pt x="576" y="488"/>
                    <a:pt x="625" y="468"/>
                    <a:pt x="638" y="470"/>
                  </a:cubicBezTo>
                  <a:cubicBezTo>
                    <a:pt x="642" y="486"/>
                    <a:pt x="641" y="508"/>
                    <a:pt x="657" y="516"/>
                  </a:cubicBezTo>
                  <a:cubicBezTo>
                    <a:pt x="669" y="524"/>
                    <a:pt x="690" y="530"/>
                    <a:pt x="690" y="530"/>
                  </a:cubicBezTo>
                  <a:cubicBezTo>
                    <a:pt x="726" y="526"/>
                    <a:pt x="752" y="524"/>
                    <a:pt x="784" y="536"/>
                  </a:cubicBezTo>
                  <a:cubicBezTo>
                    <a:pt x="786" y="551"/>
                    <a:pt x="840" y="567"/>
                    <a:pt x="879" y="588"/>
                  </a:cubicBezTo>
                  <a:cubicBezTo>
                    <a:pt x="899" y="617"/>
                    <a:pt x="932" y="612"/>
                    <a:pt x="944" y="620"/>
                  </a:cubicBezTo>
                  <a:cubicBezTo>
                    <a:pt x="954" y="612"/>
                    <a:pt x="960" y="614"/>
                    <a:pt x="960" y="614"/>
                  </a:cubicBezTo>
                  <a:cubicBezTo>
                    <a:pt x="986" y="576"/>
                    <a:pt x="998" y="552"/>
                    <a:pt x="1094" y="566"/>
                  </a:cubicBezTo>
                  <a:cubicBezTo>
                    <a:pt x="1097" y="543"/>
                    <a:pt x="1101" y="578"/>
                    <a:pt x="1088" y="522"/>
                  </a:cubicBezTo>
                  <a:cubicBezTo>
                    <a:pt x="1091" y="488"/>
                    <a:pt x="1117" y="475"/>
                    <a:pt x="1137" y="447"/>
                  </a:cubicBezTo>
                  <a:cubicBezTo>
                    <a:pt x="1140" y="428"/>
                    <a:pt x="1145" y="422"/>
                    <a:pt x="1156" y="416"/>
                  </a:cubicBezTo>
                  <a:close/>
                </a:path>
              </a:pathLst>
            </a:custGeom>
            <a:solidFill>
              <a:srgbClr val="8D9399"/>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398" name="Freeform 2522"/>
            <p:cNvSpPr>
              <a:spLocks noChangeAspect="1"/>
            </p:cNvSpPr>
            <p:nvPr>
              <p:custDataLst>
                <p:tags r:id="rId27"/>
              </p:custDataLst>
            </p:nvPr>
          </p:nvSpPr>
          <p:spPr bwMode="auto">
            <a:xfrm>
              <a:off x="5437130" y="3622165"/>
              <a:ext cx="456122" cy="362215"/>
            </a:xfrm>
            <a:custGeom>
              <a:avLst/>
              <a:gdLst>
                <a:gd name="T0" fmla="*/ 912 w 952"/>
                <a:gd name="T1" fmla="*/ 152 h 758"/>
                <a:gd name="T2" fmla="*/ 808 w 952"/>
                <a:gd name="T3" fmla="*/ 104 h 758"/>
                <a:gd name="T4" fmla="*/ 756 w 952"/>
                <a:gd name="T5" fmla="*/ 80 h 758"/>
                <a:gd name="T6" fmla="*/ 656 w 952"/>
                <a:gd name="T7" fmla="*/ 60 h 758"/>
                <a:gd name="T8" fmla="*/ 616 w 952"/>
                <a:gd name="T9" fmla="*/ 48 h 758"/>
                <a:gd name="T10" fmla="*/ 600 w 952"/>
                <a:gd name="T11" fmla="*/ 0 h 758"/>
                <a:gd name="T12" fmla="*/ 544 w 952"/>
                <a:gd name="T13" fmla="*/ 24 h 758"/>
                <a:gd name="T14" fmla="*/ 546 w 952"/>
                <a:gd name="T15" fmla="*/ 66 h 758"/>
                <a:gd name="T16" fmla="*/ 492 w 952"/>
                <a:gd name="T17" fmla="*/ 68 h 758"/>
                <a:gd name="T18" fmla="*/ 456 w 952"/>
                <a:gd name="T19" fmla="*/ 60 h 758"/>
                <a:gd name="T20" fmla="*/ 372 w 952"/>
                <a:gd name="T21" fmla="*/ 84 h 758"/>
                <a:gd name="T22" fmla="*/ 340 w 952"/>
                <a:gd name="T23" fmla="*/ 68 h 758"/>
                <a:gd name="T24" fmla="*/ 304 w 952"/>
                <a:gd name="T25" fmla="*/ 92 h 758"/>
                <a:gd name="T26" fmla="*/ 268 w 952"/>
                <a:gd name="T27" fmla="*/ 68 h 758"/>
                <a:gd name="T28" fmla="*/ 204 w 952"/>
                <a:gd name="T29" fmla="*/ 92 h 758"/>
                <a:gd name="T30" fmla="*/ 176 w 952"/>
                <a:gd name="T31" fmla="*/ 104 h 758"/>
                <a:gd name="T32" fmla="*/ 128 w 952"/>
                <a:gd name="T33" fmla="*/ 108 h 758"/>
                <a:gd name="T34" fmla="*/ 84 w 952"/>
                <a:gd name="T35" fmla="*/ 132 h 758"/>
                <a:gd name="T36" fmla="*/ 60 w 952"/>
                <a:gd name="T37" fmla="*/ 140 h 758"/>
                <a:gd name="T38" fmla="*/ 36 w 952"/>
                <a:gd name="T39" fmla="*/ 168 h 758"/>
                <a:gd name="T40" fmla="*/ 4 w 952"/>
                <a:gd name="T41" fmla="*/ 216 h 758"/>
                <a:gd name="T42" fmla="*/ 24 w 952"/>
                <a:gd name="T43" fmla="*/ 328 h 758"/>
                <a:gd name="T44" fmla="*/ 52 w 952"/>
                <a:gd name="T45" fmla="*/ 420 h 758"/>
                <a:gd name="T46" fmla="*/ 128 w 952"/>
                <a:gd name="T47" fmla="*/ 450 h 758"/>
                <a:gd name="T48" fmla="*/ 201 w 952"/>
                <a:gd name="T49" fmla="*/ 480 h 758"/>
                <a:gd name="T50" fmla="*/ 315 w 952"/>
                <a:gd name="T51" fmla="*/ 504 h 758"/>
                <a:gd name="T52" fmla="*/ 359 w 952"/>
                <a:gd name="T53" fmla="*/ 657 h 758"/>
                <a:gd name="T54" fmla="*/ 443 w 952"/>
                <a:gd name="T55" fmla="*/ 684 h 758"/>
                <a:gd name="T56" fmla="*/ 509 w 952"/>
                <a:gd name="T57" fmla="*/ 758 h 758"/>
                <a:gd name="T58" fmla="*/ 615 w 952"/>
                <a:gd name="T59" fmla="*/ 725 h 758"/>
                <a:gd name="T60" fmla="*/ 683 w 952"/>
                <a:gd name="T61" fmla="*/ 714 h 758"/>
                <a:gd name="T62" fmla="*/ 723 w 952"/>
                <a:gd name="T63" fmla="*/ 696 h 758"/>
                <a:gd name="T64" fmla="*/ 707 w 952"/>
                <a:gd name="T65" fmla="*/ 680 h 758"/>
                <a:gd name="T66" fmla="*/ 734 w 952"/>
                <a:gd name="T67" fmla="*/ 645 h 758"/>
                <a:gd name="T68" fmla="*/ 765 w 952"/>
                <a:gd name="T69" fmla="*/ 644 h 758"/>
                <a:gd name="T70" fmla="*/ 813 w 952"/>
                <a:gd name="T71" fmla="*/ 599 h 758"/>
                <a:gd name="T72" fmla="*/ 818 w 952"/>
                <a:gd name="T73" fmla="*/ 620 h 758"/>
                <a:gd name="T74" fmla="*/ 852 w 952"/>
                <a:gd name="T75" fmla="*/ 640 h 758"/>
                <a:gd name="T76" fmla="*/ 852 w 952"/>
                <a:gd name="T77" fmla="*/ 592 h 758"/>
                <a:gd name="T78" fmla="*/ 825 w 952"/>
                <a:gd name="T79" fmla="*/ 566 h 758"/>
                <a:gd name="T80" fmla="*/ 824 w 952"/>
                <a:gd name="T81" fmla="*/ 528 h 758"/>
                <a:gd name="T82" fmla="*/ 834 w 952"/>
                <a:gd name="T83" fmla="*/ 459 h 758"/>
                <a:gd name="T84" fmla="*/ 830 w 952"/>
                <a:gd name="T85" fmla="*/ 425 h 758"/>
                <a:gd name="T86" fmla="*/ 885 w 952"/>
                <a:gd name="T87" fmla="*/ 329 h 758"/>
                <a:gd name="T88" fmla="*/ 914 w 952"/>
                <a:gd name="T89" fmla="*/ 312 h 758"/>
                <a:gd name="T90" fmla="*/ 952 w 952"/>
                <a:gd name="T91" fmla="*/ 288 h 758"/>
                <a:gd name="T92" fmla="*/ 941 w 952"/>
                <a:gd name="T93" fmla="*/ 261 h 758"/>
                <a:gd name="T94" fmla="*/ 904 w 952"/>
                <a:gd name="T95" fmla="*/ 248 h 758"/>
                <a:gd name="T96" fmla="*/ 902 w 952"/>
                <a:gd name="T97" fmla="*/ 225 h 758"/>
                <a:gd name="T98" fmla="*/ 924 w 952"/>
                <a:gd name="T99" fmla="*/ 144 h 758"/>
                <a:gd name="T100" fmla="*/ 912 w 952"/>
                <a:gd name="T101" fmla="*/ 152 h 75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952"/>
                <a:gd name="T154" fmla="*/ 0 h 758"/>
                <a:gd name="T155" fmla="*/ 952 w 952"/>
                <a:gd name="T156" fmla="*/ 758 h 75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952" h="758">
                  <a:moveTo>
                    <a:pt x="912" y="152"/>
                  </a:moveTo>
                  <a:cubicBezTo>
                    <a:pt x="844" y="140"/>
                    <a:pt x="856" y="120"/>
                    <a:pt x="808" y="104"/>
                  </a:cubicBezTo>
                  <a:cubicBezTo>
                    <a:pt x="792" y="88"/>
                    <a:pt x="776" y="92"/>
                    <a:pt x="756" y="80"/>
                  </a:cubicBezTo>
                  <a:cubicBezTo>
                    <a:pt x="736" y="48"/>
                    <a:pt x="696" y="60"/>
                    <a:pt x="656" y="60"/>
                  </a:cubicBezTo>
                  <a:cubicBezTo>
                    <a:pt x="648" y="60"/>
                    <a:pt x="620" y="52"/>
                    <a:pt x="616" y="48"/>
                  </a:cubicBezTo>
                  <a:cubicBezTo>
                    <a:pt x="604" y="36"/>
                    <a:pt x="600" y="0"/>
                    <a:pt x="600" y="0"/>
                  </a:cubicBezTo>
                  <a:cubicBezTo>
                    <a:pt x="580" y="4"/>
                    <a:pt x="544" y="24"/>
                    <a:pt x="544" y="24"/>
                  </a:cubicBezTo>
                  <a:cubicBezTo>
                    <a:pt x="532" y="34"/>
                    <a:pt x="542" y="50"/>
                    <a:pt x="546" y="66"/>
                  </a:cubicBezTo>
                  <a:cubicBezTo>
                    <a:pt x="531" y="68"/>
                    <a:pt x="507" y="69"/>
                    <a:pt x="492" y="68"/>
                  </a:cubicBezTo>
                  <a:cubicBezTo>
                    <a:pt x="476" y="72"/>
                    <a:pt x="472" y="64"/>
                    <a:pt x="456" y="60"/>
                  </a:cubicBezTo>
                  <a:cubicBezTo>
                    <a:pt x="416" y="64"/>
                    <a:pt x="380" y="48"/>
                    <a:pt x="372" y="84"/>
                  </a:cubicBezTo>
                  <a:cubicBezTo>
                    <a:pt x="368" y="68"/>
                    <a:pt x="356" y="64"/>
                    <a:pt x="340" y="68"/>
                  </a:cubicBezTo>
                  <a:cubicBezTo>
                    <a:pt x="328" y="80"/>
                    <a:pt x="320" y="88"/>
                    <a:pt x="304" y="92"/>
                  </a:cubicBezTo>
                  <a:cubicBezTo>
                    <a:pt x="288" y="116"/>
                    <a:pt x="280" y="80"/>
                    <a:pt x="268" y="68"/>
                  </a:cubicBezTo>
                  <a:cubicBezTo>
                    <a:pt x="260" y="108"/>
                    <a:pt x="244" y="96"/>
                    <a:pt x="204" y="92"/>
                  </a:cubicBezTo>
                  <a:cubicBezTo>
                    <a:pt x="192" y="60"/>
                    <a:pt x="184" y="100"/>
                    <a:pt x="176" y="104"/>
                  </a:cubicBezTo>
                  <a:cubicBezTo>
                    <a:pt x="160" y="108"/>
                    <a:pt x="144" y="108"/>
                    <a:pt x="128" y="108"/>
                  </a:cubicBezTo>
                  <a:cubicBezTo>
                    <a:pt x="112" y="116"/>
                    <a:pt x="100" y="124"/>
                    <a:pt x="84" y="132"/>
                  </a:cubicBezTo>
                  <a:cubicBezTo>
                    <a:pt x="76" y="136"/>
                    <a:pt x="60" y="140"/>
                    <a:pt x="60" y="140"/>
                  </a:cubicBezTo>
                  <a:cubicBezTo>
                    <a:pt x="52" y="156"/>
                    <a:pt x="52" y="164"/>
                    <a:pt x="36" y="168"/>
                  </a:cubicBezTo>
                  <a:cubicBezTo>
                    <a:pt x="28" y="188"/>
                    <a:pt x="16" y="200"/>
                    <a:pt x="4" y="216"/>
                  </a:cubicBezTo>
                  <a:cubicBezTo>
                    <a:pt x="4" y="236"/>
                    <a:pt x="0" y="320"/>
                    <a:pt x="24" y="328"/>
                  </a:cubicBezTo>
                  <a:cubicBezTo>
                    <a:pt x="32" y="356"/>
                    <a:pt x="20" y="408"/>
                    <a:pt x="52" y="420"/>
                  </a:cubicBezTo>
                  <a:cubicBezTo>
                    <a:pt x="83" y="429"/>
                    <a:pt x="100" y="442"/>
                    <a:pt x="128" y="450"/>
                  </a:cubicBezTo>
                  <a:cubicBezTo>
                    <a:pt x="148" y="462"/>
                    <a:pt x="201" y="480"/>
                    <a:pt x="201" y="480"/>
                  </a:cubicBezTo>
                  <a:cubicBezTo>
                    <a:pt x="231" y="495"/>
                    <a:pt x="287" y="480"/>
                    <a:pt x="315" y="504"/>
                  </a:cubicBezTo>
                  <a:cubicBezTo>
                    <a:pt x="319" y="528"/>
                    <a:pt x="343" y="641"/>
                    <a:pt x="359" y="657"/>
                  </a:cubicBezTo>
                  <a:cubicBezTo>
                    <a:pt x="396" y="660"/>
                    <a:pt x="422" y="663"/>
                    <a:pt x="443" y="684"/>
                  </a:cubicBezTo>
                  <a:cubicBezTo>
                    <a:pt x="485" y="708"/>
                    <a:pt x="492" y="726"/>
                    <a:pt x="509" y="758"/>
                  </a:cubicBezTo>
                  <a:cubicBezTo>
                    <a:pt x="563" y="758"/>
                    <a:pt x="566" y="755"/>
                    <a:pt x="615" y="725"/>
                  </a:cubicBezTo>
                  <a:cubicBezTo>
                    <a:pt x="636" y="750"/>
                    <a:pt x="657" y="750"/>
                    <a:pt x="683" y="714"/>
                  </a:cubicBezTo>
                  <a:cubicBezTo>
                    <a:pt x="701" y="709"/>
                    <a:pt x="719" y="701"/>
                    <a:pt x="723" y="696"/>
                  </a:cubicBezTo>
                  <a:cubicBezTo>
                    <a:pt x="741" y="686"/>
                    <a:pt x="705" y="688"/>
                    <a:pt x="707" y="680"/>
                  </a:cubicBezTo>
                  <a:cubicBezTo>
                    <a:pt x="709" y="672"/>
                    <a:pt x="725" y="651"/>
                    <a:pt x="734" y="645"/>
                  </a:cubicBezTo>
                  <a:cubicBezTo>
                    <a:pt x="746" y="642"/>
                    <a:pt x="765" y="644"/>
                    <a:pt x="765" y="644"/>
                  </a:cubicBezTo>
                  <a:cubicBezTo>
                    <a:pt x="773" y="628"/>
                    <a:pt x="791" y="597"/>
                    <a:pt x="813" y="599"/>
                  </a:cubicBezTo>
                  <a:cubicBezTo>
                    <a:pt x="823" y="595"/>
                    <a:pt x="812" y="613"/>
                    <a:pt x="818" y="620"/>
                  </a:cubicBezTo>
                  <a:cubicBezTo>
                    <a:pt x="824" y="627"/>
                    <a:pt x="837" y="630"/>
                    <a:pt x="852" y="640"/>
                  </a:cubicBezTo>
                  <a:cubicBezTo>
                    <a:pt x="884" y="632"/>
                    <a:pt x="872" y="608"/>
                    <a:pt x="852" y="592"/>
                  </a:cubicBezTo>
                  <a:cubicBezTo>
                    <a:pt x="839" y="587"/>
                    <a:pt x="845" y="594"/>
                    <a:pt x="825" y="566"/>
                  </a:cubicBezTo>
                  <a:cubicBezTo>
                    <a:pt x="821" y="558"/>
                    <a:pt x="824" y="528"/>
                    <a:pt x="824" y="528"/>
                  </a:cubicBezTo>
                  <a:cubicBezTo>
                    <a:pt x="822" y="512"/>
                    <a:pt x="818" y="482"/>
                    <a:pt x="834" y="459"/>
                  </a:cubicBezTo>
                  <a:cubicBezTo>
                    <a:pt x="835" y="442"/>
                    <a:pt x="822" y="447"/>
                    <a:pt x="830" y="425"/>
                  </a:cubicBezTo>
                  <a:cubicBezTo>
                    <a:pt x="834" y="417"/>
                    <a:pt x="861" y="375"/>
                    <a:pt x="885" y="329"/>
                  </a:cubicBezTo>
                  <a:cubicBezTo>
                    <a:pt x="897" y="321"/>
                    <a:pt x="914" y="312"/>
                    <a:pt x="914" y="312"/>
                  </a:cubicBezTo>
                  <a:cubicBezTo>
                    <a:pt x="930" y="296"/>
                    <a:pt x="940" y="308"/>
                    <a:pt x="952" y="288"/>
                  </a:cubicBezTo>
                  <a:cubicBezTo>
                    <a:pt x="948" y="280"/>
                    <a:pt x="949" y="269"/>
                    <a:pt x="941" y="261"/>
                  </a:cubicBezTo>
                  <a:cubicBezTo>
                    <a:pt x="923" y="257"/>
                    <a:pt x="904" y="248"/>
                    <a:pt x="904" y="248"/>
                  </a:cubicBezTo>
                  <a:cubicBezTo>
                    <a:pt x="896" y="224"/>
                    <a:pt x="902" y="239"/>
                    <a:pt x="902" y="225"/>
                  </a:cubicBezTo>
                  <a:cubicBezTo>
                    <a:pt x="912" y="204"/>
                    <a:pt x="921" y="164"/>
                    <a:pt x="924" y="144"/>
                  </a:cubicBezTo>
                  <a:cubicBezTo>
                    <a:pt x="900" y="152"/>
                    <a:pt x="896" y="152"/>
                    <a:pt x="912" y="152"/>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399" name="Freeform 2523"/>
            <p:cNvSpPr>
              <a:spLocks noChangeAspect="1"/>
            </p:cNvSpPr>
            <p:nvPr>
              <p:custDataLst>
                <p:tags r:id="rId28"/>
              </p:custDataLst>
            </p:nvPr>
          </p:nvSpPr>
          <p:spPr bwMode="auto">
            <a:xfrm>
              <a:off x="5358556" y="3815730"/>
              <a:ext cx="251059" cy="153318"/>
            </a:xfrm>
            <a:custGeom>
              <a:avLst/>
              <a:gdLst>
                <a:gd name="T0" fmla="*/ 192 w 527"/>
                <a:gd name="T1" fmla="*/ 0 h 322"/>
                <a:gd name="T2" fmla="*/ 395 w 527"/>
                <a:gd name="T3" fmla="*/ 84 h 322"/>
                <a:gd name="T4" fmla="*/ 479 w 527"/>
                <a:gd name="T5" fmla="*/ 96 h 322"/>
                <a:gd name="T6" fmla="*/ 507 w 527"/>
                <a:gd name="T7" fmla="*/ 216 h 322"/>
                <a:gd name="T8" fmla="*/ 527 w 527"/>
                <a:gd name="T9" fmla="*/ 252 h 322"/>
                <a:gd name="T10" fmla="*/ 443 w 527"/>
                <a:gd name="T11" fmla="*/ 267 h 322"/>
                <a:gd name="T12" fmla="*/ 375 w 527"/>
                <a:gd name="T13" fmla="*/ 292 h 322"/>
                <a:gd name="T14" fmla="*/ 277 w 527"/>
                <a:gd name="T15" fmla="*/ 304 h 322"/>
                <a:gd name="T16" fmla="*/ 170 w 527"/>
                <a:gd name="T17" fmla="*/ 318 h 322"/>
                <a:gd name="T18" fmla="*/ 8 w 527"/>
                <a:gd name="T19" fmla="*/ 312 h 322"/>
                <a:gd name="T20" fmla="*/ 16 w 527"/>
                <a:gd name="T21" fmla="*/ 288 h 322"/>
                <a:gd name="T22" fmla="*/ 96 w 527"/>
                <a:gd name="T23" fmla="*/ 156 h 322"/>
                <a:gd name="T24" fmla="*/ 144 w 527"/>
                <a:gd name="T25" fmla="*/ 116 h 322"/>
                <a:gd name="T26" fmla="*/ 176 w 527"/>
                <a:gd name="T27" fmla="*/ 64 h 322"/>
                <a:gd name="T28" fmla="*/ 192 w 527"/>
                <a:gd name="T29" fmla="*/ 40 h 322"/>
                <a:gd name="T30" fmla="*/ 192 w 527"/>
                <a:gd name="T31" fmla="*/ 0 h 32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7"/>
                <a:gd name="T49" fmla="*/ 0 h 322"/>
                <a:gd name="T50" fmla="*/ 527 w 527"/>
                <a:gd name="T51" fmla="*/ 322 h 32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7" h="322">
                  <a:moveTo>
                    <a:pt x="192" y="0"/>
                  </a:moveTo>
                  <a:cubicBezTo>
                    <a:pt x="228" y="12"/>
                    <a:pt x="283" y="52"/>
                    <a:pt x="395" y="84"/>
                  </a:cubicBezTo>
                  <a:cubicBezTo>
                    <a:pt x="411" y="84"/>
                    <a:pt x="463" y="84"/>
                    <a:pt x="479" y="96"/>
                  </a:cubicBezTo>
                  <a:cubicBezTo>
                    <a:pt x="491" y="136"/>
                    <a:pt x="499" y="176"/>
                    <a:pt x="507" y="216"/>
                  </a:cubicBezTo>
                  <a:cubicBezTo>
                    <a:pt x="511" y="228"/>
                    <a:pt x="527" y="252"/>
                    <a:pt x="527" y="252"/>
                  </a:cubicBezTo>
                  <a:cubicBezTo>
                    <a:pt x="490" y="253"/>
                    <a:pt x="484" y="250"/>
                    <a:pt x="443" y="267"/>
                  </a:cubicBezTo>
                  <a:cubicBezTo>
                    <a:pt x="423" y="271"/>
                    <a:pt x="375" y="292"/>
                    <a:pt x="375" y="292"/>
                  </a:cubicBezTo>
                  <a:cubicBezTo>
                    <a:pt x="334" y="294"/>
                    <a:pt x="314" y="303"/>
                    <a:pt x="277" y="304"/>
                  </a:cubicBezTo>
                  <a:cubicBezTo>
                    <a:pt x="242" y="308"/>
                    <a:pt x="206" y="314"/>
                    <a:pt x="170" y="318"/>
                  </a:cubicBezTo>
                  <a:cubicBezTo>
                    <a:pt x="113" y="315"/>
                    <a:pt x="100" y="322"/>
                    <a:pt x="8" y="312"/>
                  </a:cubicBezTo>
                  <a:cubicBezTo>
                    <a:pt x="0" y="312"/>
                    <a:pt x="16" y="288"/>
                    <a:pt x="16" y="288"/>
                  </a:cubicBezTo>
                  <a:cubicBezTo>
                    <a:pt x="28" y="180"/>
                    <a:pt x="8" y="180"/>
                    <a:pt x="96" y="156"/>
                  </a:cubicBezTo>
                  <a:cubicBezTo>
                    <a:pt x="112" y="140"/>
                    <a:pt x="124" y="124"/>
                    <a:pt x="144" y="116"/>
                  </a:cubicBezTo>
                  <a:cubicBezTo>
                    <a:pt x="160" y="96"/>
                    <a:pt x="164" y="84"/>
                    <a:pt x="176" y="64"/>
                  </a:cubicBezTo>
                  <a:cubicBezTo>
                    <a:pt x="180" y="56"/>
                    <a:pt x="192" y="40"/>
                    <a:pt x="192" y="40"/>
                  </a:cubicBezTo>
                  <a:cubicBezTo>
                    <a:pt x="184" y="8"/>
                    <a:pt x="180" y="20"/>
                    <a:pt x="192" y="0"/>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400" name="Freeform 2524"/>
            <p:cNvSpPr>
              <a:spLocks noChangeAspect="1"/>
            </p:cNvSpPr>
            <p:nvPr>
              <p:custDataLst>
                <p:tags r:id="rId29"/>
              </p:custDataLst>
            </p:nvPr>
          </p:nvSpPr>
          <p:spPr bwMode="auto">
            <a:xfrm>
              <a:off x="5680523" y="3591502"/>
              <a:ext cx="749344" cy="726346"/>
            </a:xfrm>
            <a:custGeom>
              <a:avLst/>
              <a:gdLst>
                <a:gd name="T0" fmla="*/ 586 w 1566"/>
                <a:gd name="T1" fmla="*/ 52 h 1516"/>
                <a:gd name="T2" fmla="*/ 550 w 1566"/>
                <a:gd name="T3" fmla="*/ 160 h 1516"/>
                <a:gd name="T4" fmla="*/ 422 w 1566"/>
                <a:gd name="T5" fmla="*/ 196 h 1516"/>
                <a:gd name="T6" fmla="*/ 394 w 1566"/>
                <a:gd name="T7" fmla="*/ 292 h 1516"/>
                <a:gd name="T8" fmla="*/ 430 w 1566"/>
                <a:gd name="T9" fmla="*/ 324 h 1516"/>
                <a:gd name="T10" fmla="*/ 382 w 1566"/>
                <a:gd name="T11" fmla="*/ 388 h 1516"/>
                <a:gd name="T12" fmla="*/ 326 w 1566"/>
                <a:gd name="T13" fmla="*/ 520 h 1516"/>
                <a:gd name="T14" fmla="*/ 318 w 1566"/>
                <a:gd name="T15" fmla="*/ 628 h 1516"/>
                <a:gd name="T16" fmla="*/ 346 w 1566"/>
                <a:gd name="T17" fmla="*/ 700 h 1516"/>
                <a:gd name="T18" fmla="*/ 290 w 1566"/>
                <a:gd name="T19" fmla="*/ 664 h 1516"/>
                <a:gd name="T20" fmla="*/ 206 w 1566"/>
                <a:gd name="T21" fmla="*/ 732 h 1516"/>
                <a:gd name="T22" fmla="*/ 214 w 1566"/>
                <a:gd name="T23" fmla="*/ 752 h 1516"/>
                <a:gd name="T24" fmla="*/ 130 w 1566"/>
                <a:gd name="T25" fmla="*/ 808 h 1516"/>
                <a:gd name="T26" fmla="*/ 62 w 1566"/>
                <a:gd name="T27" fmla="*/ 816 h 1516"/>
                <a:gd name="T28" fmla="*/ 14 w 1566"/>
                <a:gd name="T29" fmla="*/ 888 h 1516"/>
                <a:gd name="T30" fmla="*/ 105 w 1566"/>
                <a:gd name="T31" fmla="*/ 1084 h 1516"/>
                <a:gd name="T32" fmla="*/ 106 w 1566"/>
                <a:gd name="T33" fmla="*/ 1188 h 1516"/>
                <a:gd name="T34" fmla="*/ 27 w 1566"/>
                <a:gd name="T35" fmla="*/ 1266 h 1516"/>
                <a:gd name="T36" fmla="*/ 91 w 1566"/>
                <a:gd name="T37" fmla="*/ 1336 h 1516"/>
                <a:gd name="T38" fmla="*/ 142 w 1566"/>
                <a:gd name="T39" fmla="*/ 1516 h 1516"/>
                <a:gd name="T40" fmla="*/ 205 w 1566"/>
                <a:gd name="T41" fmla="*/ 1458 h 1516"/>
                <a:gd name="T42" fmla="*/ 232 w 1566"/>
                <a:gd name="T43" fmla="*/ 1426 h 1516"/>
                <a:gd name="T44" fmla="*/ 357 w 1566"/>
                <a:gd name="T45" fmla="*/ 1339 h 1516"/>
                <a:gd name="T46" fmla="*/ 498 w 1566"/>
                <a:gd name="T47" fmla="*/ 1309 h 1516"/>
                <a:gd name="T48" fmla="*/ 700 w 1566"/>
                <a:gd name="T49" fmla="*/ 1320 h 1516"/>
                <a:gd name="T50" fmla="*/ 777 w 1566"/>
                <a:gd name="T51" fmla="*/ 1350 h 1516"/>
                <a:gd name="T52" fmla="*/ 867 w 1566"/>
                <a:gd name="T53" fmla="*/ 1365 h 1516"/>
                <a:gd name="T54" fmla="*/ 922 w 1566"/>
                <a:gd name="T55" fmla="*/ 1312 h 1516"/>
                <a:gd name="T56" fmla="*/ 1006 w 1566"/>
                <a:gd name="T57" fmla="*/ 1308 h 1516"/>
                <a:gd name="T58" fmla="*/ 1089 w 1566"/>
                <a:gd name="T59" fmla="*/ 1266 h 1516"/>
                <a:gd name="T60" fmla="*/ 1162 w 1566"/>
                <a:gd name="T61" fmla="*/ 1327 h 1516"/>
                <a:gd name="T62" fmla="*/ 1270 w 1566"/>
                <a:gd name="T63" fmla="*/ 1236 h 1516"/>
                <a:gd name="T64" fmla="*/ 1386 w 1566"/>
                <a:gd name="T65" fmla="*/ 1261 h 1516"/>
                <a:gd name="T66" fmla="*/ 1369 w 1566"/>
                <a:gd name="T67" fmla="*/ 1204 h 1516"/>
                <a:gd name="T68" fmla="*/ 1447 w 1566"/>
                <a:gd name="T69" fmla="*/ 1000 h 1516"/>
                <a:gd name="T70" fmla="*/ 1498 w 1566"/>
                <a:gd name="T71" fmla="*/ 928 h 1516"/>
                <a:gd name="T72" fmla="*/ 1374 w 1566"/>
                <a:gd name="T73" fmla="*/ 748 h 1516"/>
                <a:gd name="T74" fmla="*/ 1498 w 1566"/>
                <a:gd name="T75" fmla="*/ 680 h 1516"/>
                <a:gd name="T76" fmla="*/ 1558 w 1566"/>
                <a:gd name="T77" fmla="*/ 640 h 1516"/>
                <a:gd name="T78" fmla="*/ 1522 w 1566"/>
                <a:gd name="T79" fmla="*/ 556 h 1516"/>
                <a:gd name="T80" fmla="*/ 1318 w 1566"/>
                <a:gd name="T81" fmla="*/ 432 h 1516"/>
                <a:gd name="T82" fmla="*/ 1210 w 1566"/>
                <a:gd name="T83" fmla="*/ 360 h 1516"/>
                <a:gd name="T84" fmla="*/ 1086 w 1566"/>
                <a:gd name="T85" fmla="*/ 168 h 1516"/>
                <a:gd name="T86" fmla="*/ 926 w 1566"/>
                <a:gd name="T87" fmla="*/ 64 h 1516"/>
                <a:gd name="T88" fmla="*/ 854 w 1566"/>
                <a:gd name="T89" fmla="*/ 64 h 1516"/>
                <a:gd name="T90" fmla="*/ 606 w 1566"/>
                <a:gd name="T91" fmla="*/ 16 h 151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66"/>
                <a:gd name="T139" fmla="*/ 0 h 1516"/>
                <a:gd name="T140" fmla="*/ 1566 w 1566"/>
                <a:gd name="T141" fmla="*/ 1516 h 151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66" h="1516">
                  <a:moveTo>
                    <a:pt x="606" y="16"/>
                  </a:moveTo>
                  <a:cubicBezTo>
                    <a:pt x="598" y="44"/>
                    <a:pt x="602" y="36"/>
                    <a:pt x="586" y="52"/>
                  </a:cubicBezTo>
                  <a:cubicBezTo>
                    <a:pt x="574" y="68"/>
                    <a:pt x="546" y="104"/>
                    <a:pt x="542" y="120"/>
                  </a:cubicBezTo>
                  <a:cubicBezTo>
                    <a:pt x="554" y="136"/>
                    <a:pt x="554" y="140"/>
                    <a:pt x="550" y="160"/>
                  </a:cubicBezTo>
                  <a:cubicBezTo>
                    <a:pt x="538" y="160"/>
                    <a:pt x="486" y="152"/>
                    <a:pt x="466" y="160"/>
                  </a:cubicBezTo>
                  <a:cubicBezTo>
                    <a:pt x="450" y="168"/>
                    <a:pt x="442" y="188"/>
                    <a:pt x="422" y="196"/>
                  </a:cubicBezTo>
                  <a:cubicBezTo>
                    <a:pt x="418" y="208"/>
                    <a:pt x="410" y="232"/>
                    <a:pt x="410" y="232"/>
                  </a:cubicBezTo>
                  <a:cubicBezTo>
                    <a:pt x="406" y="264"/>
                    <a:pt x="402" y="268"/>
                    <a:pt x="394" y="292"/>
                  </a:cubicBezTo>
                  <a:cubicBezTo>
                    <a:pt x="398" y="300"/>
                    <a:pt x="398" y="312"/>
                    <a:pt x="406" y="316"/>
                  </a:cubicBezTo>
                  <a:cubicBezTo>
                    <a:pt x="414" y="320"/>
                    <a:pt x="430" y="324"/>
                    <a:pt x="430" y="324"/>
                  </a:cubicBezTo>
                  <a:cubicBezTo>
                    <a:pt x="466" y="360"/>
                    <a:pt x="430" y="360"/>
                    <a:pt x="406" y="376"/>
                  </a:cubicBezTo>
                  <a:cubicBezTo>
                    <a:pt x="390" y="388"/>
                    <a:pt x="398" y="384"/>
                    <a:pt x="382" y="388"/>
                  </a:cubicBezTo>
                  <a:cubicBezTo>
                    <a:pt x="362" y="420"/>
                    <a:pt x="350" y="456"/>
                    <a:pt x="322" y="484"/>
                  </a:cubicBezTo>
                  <a:cubicBezTo>
                    <a:pt x="318" y="496"/>
                    <a:pt x="326" y="520"/>
                    <a:pt x="326" y="520"/>
                  </a:cubicBezTo>
                  <a:cubicBezTo>
                    <a:pt x="314" y="552"/>
                    <a:pt x="318" y="536"/>
                    <a:pt x="314" y="564"/>
                  </a:cubicBezTo>
                  <a:cubicBezTo>
                    <a:pt x="314" y="584"/>
                    <a:pt x="314" y="608"/>
                    <a:pt x="318" y="628"/>
                  </a:cubicBezTo>
                  <a:cubicBezTo>
                    <a:pt x="322" y="648"/>
                    <a:pt x="354" y="660"/>
                    <a:pt x="362" y="684"/>
                  </a:cubicBezTo>
                  <a:cubicBezTo>
                    <a:pt x="358" y="696"/>
                    <a:pt x="362" y="700"/>
                    <a:pt x="346" y="700"/>
                  </a:cubicBezTo>
                  <a:cubicBezTo>
                    <a:pt x="334" y="700"/>
                    <a:pt x="310" y="680"/>
                    <a:pt x="310" y="680"/>
                  </a:cubicBezTo>
                  <a:cubicBezTo>
                    <a:pt x="314" y="660"/>
                    <a:pt x="310" y="656"/>
                    <a:pt x="290" y="664"/>
                  </a:cubicBezTo>
                  <a:cubicBezTo>
                    <a:pt x="274" y="680"/>
                    <a:pt x="270" y="696"/>
                    <a:pt x="254" y="708"/>
                  </a:cubicBezTo>
                  <a:cubicBezTo>
                    <a:pt x="214" y="704"/>
                    <a:pt x="230" y="708"/>
                    <a:pt x="206" y="732"/>
                  </a:cubicBezTo>
                  <a:cubicBezTo>
                    <a:pt x="206" y="736"/>
                    <a:pt x="202" y="740"/>
                    <a:pt x="202" y="744"/>
                  </a:cubicBezTo>
                  <a:cubicBezTo>
                    <a:pt x="202" y="748"/>
                    <a:pt x="214" y="748"/>
                    <a:pt x="214" y="752"/>
                  </a:cubicBezTo>
                  <a:cubicBezTo>
                    <a:pt x="218" y="772"/>
                    <a:pt x="190" y="772"/>
                    <a:pt x="178" y="776"/>
                  </a:cubicBezTo>
                  <a:cubicBezTo>
                    <a:pt x="174" y="796"/>
                    <a:pt x="150" y="804"/>
                    <a:pt x="130" y="808"/>
                  </a:cubicBezTo>
                  <a:cubicBezTo>
                    <a:pt x="122" y="804"/>
                    <a:pt x="118" y="792"/>
                    <a:pt x="110" y="792"/>
                  </a:cubicBezTo>
                  <a:cubicBezTo>
                    <a:pt x="98" y="792"/>
                    <a:pt x="70" y="808"/>
                    <a:pt x="62" y="816"/>
                  </a:cubicBezTo>
                  <a:cubicBezTo>
                    <a:pt x="42" y="828"/>
                    <a:pt x="24" y="820"/>
                    <a:pt x="0" y="820"/>
                  </a:cubicBezTo>
                  <a:cubicBezTo>
                    <a:pt x="22" y="849"/>
                    <a:pt x="2" y="860"/>
                    <a:pt x="14" y="888"/>
                  </a:cubicBezTo>
                  <a:cubicBezTo>
                    <a:pt x="10" y="903"/>
                    <a:pt x="67" y="1014"/>
                    <a:pt x="82" y="1040"/>
                  </a:cubicBezTo>
                  <a:cubicBezTo>
                    <a:pt x="90" y="1052"/>
                    <a:pt x="101" y="1072"/>
                    <a:pt x="105" y="1084"/>
                  </a:cubicBezTo>
                  <a:cubicBezTo>
                    <a:pt x="109" y="1096"/>
                    <a:pt x="124" y="1113"/>
                    <a:pt x="126" y="1120"/>
                  </a:cubicBezTo>
                  <a:cubicBezTo>
                    <a:pt x="122" y="1156"/>
                    <a:pt x="130" y="1164"/>
                    <a:pt x="106" y="1188"/>
                  </a:cubicBezTo>
                  <a:cubicBezTo>
                    <a:pt x="75" y="1201"/>
                    <a:pt x="65" y="1216"/>
                    <a:pt x="52" y="1237"/>
                  </a:cubicBezTo>
                  <a:cubicBezTo>
                    <a:pt x="39" y="1250"/>
                    <a:pt x="31" y="1254"/>
                    <a:pt x="27" y="1266"/>
                  </a:cubicBezTo>
                  <a:cubicBezTo>
                    <a:pt x="23" y="1278"/>
                    <a:pt x="31" y="1300"/>
                    <a:pt x="30" y="1312"/>
                  </a:cubicBezTo>
                  <a:cubicBezTo>
                    <a:pt x="36" y="1342"/>
                    <a:pt x="51" y="1328"/>
                    <a:pt x="91" y="1336"/>
                  </a:cubicBezTo>
                  <a:cubicBezTo>
                    <a:pt x="106" y="1347"/>
                    <a:pt x="118" y="1348"/>
                    <a:pt x="126" y="1368"/>
                  </a:cubicBezTo>
                  <a:cubicBezTo>
                    <a:pt x="122" y="1416"/>
                    <a:pt x="114" y="1476"/>
                    <a:pt x="142" y="1516"/>
                  </a:cubicBezTo>
                  <a:cubicBezTo>
                    <a:pt x="158" y="1512"/>
                    <a:pt x="142" y="1492"/>
                    <a:pt x="163" y="1485"/>
                  </a:cubicBezTo>
                  <a:cubicBezTo>
                    <a:pt x="171" y="1465"/>
                    <a:pt x="185" y="1466"/>
                    <a:pt x="205" y="1458"/>
                  </a:cubicBezTo>
                  <a:cubicBezTo>
                    <a:pt x="209" y="1454"/>
                    <a:pt x="215" y="1450"/>
                    <a:pt x="219" y="1446"/>
                  </a:cubicBezTo>
                  <a:cubicBezTo>
                    <a:pt x="223" y="1442"/>
                    <a:pt x="228" y="1430"/>
                    <a:pt x="232" y="1426"/>
                  </a:cubicBezTo>
                  <a:cubicBezTo>
                    <a:pt x="264" y="1416"/>
                    <a:pt x="247" y="1392"/>
                    <a:pt x="290" y="1368"/>
                  </a:cubicBezTo>
                  <a:cubicBezTo>
                    <a:pt x="310" y="1356"/>
                    <a:pt x="357" y="1339"/>
                    <a:pt x="357" y="1339"/>
                  </a:cubicBezTo>
                  <a:cubicBezTo>
                    <a:pt x="379" y="1339"/>
                    <a:pt x="394" y="1332"/>
                    <a:pt x="418" y="1336"/>
                  </a:cubicBezTo>
                  <a:cubicBezTo>
                    <a:pt x="454" y="1335"/>
                    <a:pt x="472" y="1335"/>
                    <a:pt x="498" y="1309"/>
                  </a:cubicBezTo>
                  <a:cubicBezTo>
                    <a:pt x="535" y="1312"/>
                    <a:pt x="582" y="1305"/>
                    <a:pt x="616" y="1308"/>
                  </a:cubicBezTo>
                  <a:cubicBezTo>
                    <a:pt x="630" y="1317"/>
                    <a:pt x="678" y="1318"/>
                    <a:pt x="700" y="1320"/>
                  </a:cubicBezTo>
                  <a:cubicBezTo>
                    <a:pt x="721" y="1333"/>
                    <a:pt x="729" y="1317"/>
                    <a:pt x="750" y="1296"/>
                  </a:cubicBezTo>
                  <a:cubicBezTo>
                    <a:pt x="750" y="1318"/>
                    <a:pt x="769" y="1350"/>
                    <a:pt x="777" y="1350"/>
                  </a:cubicBezTo>
                  <a:cubicBezTo>
                    <a:pt x="789" y="1344"/>
                    <a:pt x="783" y="1329"/>
                    <a:pt x="855" y="1330"/>
                  </a:cubicBezTo>
                  <a:cubicBezTo>
                    <a:pt x="863" y="1334"/>
                    <a:pt x="859" y="1365"/>
                    <a:pt x="867" y="1365"/>
                  </a:cubicBezTo>
                  <a:cubicBezTo>
                    <a:pt x="875" y="1361"/>
                    <a:pt x="898" y="1344"/>
                    <a:pt x="898" y="1344"/>
                  </a:cubicBezTo>
                  <a:cubicBezTo>
                    <a:pt x="902" y="1336"/>
                    <a:pt x="914" y="1316"/>
                    <a:pt x="922" y="1312"/>
                  </a:cubicBezTo>
                  <a:cubicBezTo>
                    <a:pt x="924" y="1291"/>
                    <a:pt x="964" y="1305"/>
                    <a:pt x="964" y="1305"/>
                  </a:cubicBezTo>
                  <a:cubicBezTo>
                    <a:pt x="976" y="1309"/>
                    <a:pt x="994" y="1304"/>
                    <a:pt x="1006" y="1308"/>
                  </a:cubicBezTo>
                  <a:cubicBezTo>
                    <a:pt x="1012" y="1335"/>
                    <a:pt x="1013" y="1346"/>
                    <a:pt x="1041" y="1350"/>
                  </a:cubicBezTo>
                  <a:cubicBezTo>
                    <a:pt x="1047" y="1323"/>
                    <a:pt x="1066" y="1293"/>
                    <a:pt x="1089" y="1266"/>
                  </a:cubicBezTo>
                  <a:cubicBezTo>
                    <a:pt x="1108" y="1264"/>
                    <a:pt x="1122" y="1252"/>
                    <a:pt x="1132" y="1261"/>
                  </a:cubicBezTo>
                  <a:cubicBezTo>
                    <a:pt x="1144" y="1271"/>
                    <a:pt x="1125" y="1305"/>
                    <a:pt x="1162" y="1327"/>
                  </a:cubicBezTo>
                  <a:cubicBezTo>
                    <a:pt x="1206" y="1315"/>
                    <a:pt x="1159" y="1267"/>
                    <a:pt x="1222" y="1275"/>
                  </a:cubicBezTo>
                  <a:cubicBezTo>
                    <a:pt x="1236" y="1275"/>
                    <a:pt x="1254" y="1241"/>
                    <a:pt x="1270" y="1236"/>
                  </a:cubicBezTo>
                  <a:cubicBezTo>
                    <a:pt x="1309" y="1252"/>
                    <a:pt x="1327" y="1269"/>
                    <a:pt x="1334" y="1284"/>
                  </a:cubicBezTo>
                  <a:cubicBezTo>
                    <a:pt x="1354" y="1288"/>
                    <a:pt x="1389" y="1296"/>
                    <a:pt x="1386" y="1261"/>
                  </a:cubicBezTo>
                  <a:cubicBezTo>
                    <a:pt x="1387" y="1254"/>
                    <a:pt x="1395" y="1246"/>
                    <a:pt x="1392" y="1237"/>
                  </a:cubicBezTo>
                  <a:cubicBezTo>
                    <a:pt x="1389" y="1228"/>
                    <a:pt x="1378" y="1236"/>
                    <a:pt x="1369" y="1204"/>
                  </a:cubicBezTo>
                  <a:cubicBezTo>
                    <a:pt x="1357" y="1140"/>
                    <a:pt x="1370" y="1072"/>
                    <a:pt x="1426" y="1036"/>
                  </a:cubicBezTo>
                  <a:cubicBezTo>
                    <a:pt x="1434" y="1016"/>
                    <a:pt x="1450" y="1017"/>
                    <a:pt x="1447" y="1000"/>
                  </a:cubicBezTo>
                  <a:cubicBezTo>
                    <a:pt x="1491" y="999"/>
                    <a:pt x="1507" y="982"/>
                    <a:pt x="1537" y="975"/>
                  </a:cubicBezTo>
                  <a:cubicBezTo>
                    <a:pt x="1533" y="955"/>
                    <a:pt x="1518" y="940"/>
                    <a:pt x="1498" y="928"/>
                  </a:cubicBezTo>
                  <a:cubicBezTo>
                    <a:pt x="1482" y="904"/>
                    <a:pt x="1466" y="884"/>
                    <a:pt x="1438" y="876"/>
                  </a:cubicBezTo>
                  <a:cubicBezTo>
                    <a:pt x="1418" y="848"/>
                    <a:pt x="1386" y="772"/>
                    <a:pt x="1374" y="748"/>
                  </a:cubicBezTo>
                  <a:cubicBezTo>
                    <a:pt x="1370" y="740"/>
                    <a:pt x="1358" y="724"/>
                    <a:pt x="1358" y="724"/>
                  </a:cubicBezTo>
                  <a:cubicBezTo>
                    <a:pt x="1378" y="684"/>
                    <a:pt x="1462" y="680"/>
                    <a:pt x="1498" y="680"/>
                  </a:cubicBezTo>
                  <a:cubicBezTo>
                    <a:pt x="1514" y="676"/>
                    <a:pt x="1518" y="664"/>
                    <a:pt x="1534" y="660"/>
                  </a:cubicBezTo>
                  <a:cubicBezTo>
                    <a:pt x="1542" y="652"/>
                    <a:pt x="1554" y="648"/>
                    <a:pt x="1558" y="640"/>
                  </a:cubicBezTo>
                  <a:cubicBezTo>
                    <a:pt x="1562" y="632"/>
                    <a:pt x="1566" y="616"/>
                    <a:pt x="1566" y="616"/>
                  </a:cubicBezTo>
                  <a:cubicBezTo>
                    <a:pt x="1558" y="540"/>
                    <a:pt x="1566" y="584"/>
                    <a:pt x="1522" y="556"/>
                  </a:cubicBezTo>
                  <a:cubicBezTo>
                    <a:pt x="1490" y="512"/>
                    <a:pt x="1426" y="512"/>
                    <a:pt x="1378" y="508"/>
                  </a:cubicBezTo>
                  <a:cubicBezTo>
                    <a:pt x="1358" y="480"/>
                    <a:pt x="1354" y="440"/>
                    <a:pt x="1318" y="432"/>
                  </a:cubicBezTo>
                  <a:cubicBezTo>
                    <a:pt x="1274" y="436"/>
                    <a:pt x="1282" y="436"/>
                    <a:pt x="1250" y="416"/>
                  </a:cubicBezTo>
                  <a:cubicBezTo>
                    <a:pt x="1246" y="392"/>
                    <a:pt x="1234" y="368"/>
                    <a:pt x="1210" y="360"/>
                  </a:cubicBezTo>
                  <a:cubicBezTo>
                    <a:pt x="1202" y="332"/>
                    <a:pt x="1154" y="320"/>
                    <a:pt x="1134" y="292"/>
                  </a:cubicBezTo>
                  <a:cubicBezTo>
                    <a:pt x="1118" y="236"/>
                    <a:pt x="1118" y="212"/>
                    <a:pt x="1086" y="168"/>
                  </a:cubicBezTo>
                  <a:cubicBezTo>
                    <a:pt x="1082" y="124"/>
                    <a:pt x="1078" y="48"/>
                    <a:pt x="1046" y="16"/>
                  </a:cubicBezTo>
                  <a:cubicBezTo>
                    <a:pt x="978" y="20"/>
                    <a:pt x="974" y="48"/>
                    <a:pt x="926" y="64"/>
                  </a:cubicBezTo>
                  <a:cubicBezTo>
                    <a:pt x="914" y="80"/>
                    <a:pt x="906" y="80"/>
                    <a:pt x="890" y="84"/>
                  </a:cubicBezTo>
                  <a:cubicBezTo>
                    <a:pt x="878" y="80"/>
                    <a:pt x="854" y="64"/>
                    <a:pt x="854" y="64"/>
                  </a:cubicBezTo>
                  <a:cubicBezTo>
                    <a:pt x="818" y="8"/>
                    <a:pt x="746" y="32"/>
                    <a:pt x="682" y="28"/>
                  </a:cubicBezTo>
                  <a:cubicBezTo>
                    <a:pt x="666" y="24"/>
                    <a:pt x="614" y="0"/>
                    <a:pt x="606" y="16"/>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401" name="Freeform 2525"/>
            <p:cNvSpPr>
              <a:spLocks noChangeAspect="1"/>
            </p:cNvSpPr>
            <p:nvPr>
              <p:custDataLst>
                <p:tags r:id="rId30"/>
              </p:custDataLst>
            </p:nvPr>
          </p:nvSpPr>
          <p:spPr bwMode="auto">
            <a:xfrm>
              <a:off x="5701604" y="3972881"/>
              <a:ext cx="1592594" cy="1096226"/>
            </a:xfrm>
            <a:custGeom>
              <a:avLst/>
              <a:gdLst>
                <a:gd name="T0" fmla="*/ 1359 w 3327"/>
                <a:gd name="T1" fmla="*/ 260 h 2288"/>
                <a:gd name="T2" fmla="*/ 1347 w 3327"/>
                <a:gd name="T3" fmla="*/ 440 h 2288"/>
                <a:gd name="T4" fmla="*/ 1195 w 3327"/>
                <a:gd name="T5" fmla="*/ 464 h 2288"/>
                <a:gd name="T6" fmla="*/ 1087 w 3327"/>
                <a:gd name="T7" fmla="*/ 464 h 2288"/>
                <a:gd name="T8" fmla="*/ 975 w 3327"/>
                <a:gd name="T9" fmla="*/ 548 h 2288"/>
                <a:gd name="T10" fmla="*/ 823 w 3327"/>
                <a:gd name="T11" fmla="*/ 572 h 2288"/>
                <a:gd name="T12" fmla="*/ 710 w 3327"/>
                <a:gd name="T13" fmla="*/ 501 h 2288"/>
                <a:gd name="T14" fmla="*/ 451 w 3327"/>
                <a:gd name="T15" fmla="*/ 516 h 2288"/>
                <a:gd name="T16" fmla="*/ 187 w 3327"/>
                <a:gd name="T17" fmla="*/ 632 h 2288"/>
                <a:gd name="T18" fmla="*/ 98 w 3327"/>
                <a:gd name="T19" fmla="*/ 723 h 2288"/>
                <a:gd name="T20" fmla="*/ 183 w 3327"/>
                <a:gd name="T21" fmla="*/ 849 h 2288"/>
                <a:gd name="T22" fmla="*/ 231 w 3327"/>
                <a:gd name="T23" fmla="*/ 1012 h 2288"/>
                <a:gd name="T24" fmla="*/ 77 w 3327"/>
                <a:gd name="T25" fmla="*/ 1253 h 2288"/>
                <a:gd name="T26" fmla="*/ 79 w 3327"/>
                <a:gd name="T27" fmla="*/ 1448 h 2288"/>
                <a:gd name="T28" fmla="*/ 0 w 3327"/>
                <a:gd name="T29" fmla="*/ 1664 h 2288"/>
                <a:gd name="T30" fmla="*/ 161 w 3327"/>
                <a:gd name="T31" fmla="*/ 1773 h 2288"/>
                <a:gd name="T32" fmla="*/ 618 w 3327"/>
                <a:gd name="T33" fmla="*/ 1704 h 2288"/>
                <a:gd name="T34" fmla="*/ 902 w 3327"/>
                <a:gd name="T35" fmla="*/ 1529 h 2288"/>
                <a:gd name="T36" fmla="*/ 978 w 3327"/>
                <a:gd name="T37" fmla="*/ 1430 h 2288"/>
                <a:gd name="T38" fmla="*/ 1148 w 3327"/>
                <a:gd name="T39" fmla="*/ 1452 h 2288"/>
                <a:gd name="T40" fmla="*/ 1388 w 3327"/>
                <a:gd name="T41" fmla="*/ 1538 h 2288"/>
                <a:gd name="T42" fmla="*/ 1476 w 3327"/>
                <a:gd name="T43" fmla="*/ 1649 h 2288"/>
                <a:gd name="T44" fmla="*/ 1557 w 3327"/>
                <a:gd name="T45" fmla="*/ 1802 h 2288"/>
                <a:gd name="T46" fmla="*/ 1505 w 3327"/>
                <a:gd name="T47" fmla="*/ 1907 h 2288"/>
                <a:gd name="T48" fmla="*/ 1430 w 3327"/>
                <a:gd name="T49" fmla="*/ 1961 h 2288"/>
                <a:gd name="T50" fmla="*/ 1407 w 3327"/>
                <a:gd name="T51" fmla="*/ 2140 h 2288"/>
                <a:gd name="T52" fmla="*/ 1433 w 3327"/>
                <a:gd name="T53" fmla="*/ 2280 h 2288"/>
                <a:gd name="T54" fmla="*/ 1523 w 3327"/>
                <a:gd name="T55" fmla="*/ 2189 h 2288"/>
                <a:gd name="T56" fmla="*/ 1687 w 3327"/>
                <a:gd name="T57" fmla="*/ 2060 h 2288"/>
                <a:gd name="T58" fmla="*/ 1783 w 3327"/>
                <a:gd name="T59" fmla="*/ 1832 h 2288"/>
                <a:gd name="T60" fmla="*/ 1959 w 3327"/>
                <a:gd name="T61" fmla="*/ 1668 h 2288"/>
                <a:gd name="T62" fmla="*/ 1975 w 3327"/>
                <a:gd name="T63" fmla="*/ 1800 h 2288"/>
                <a:gd name="T64" fmla="*/ 2271 w 3327"/>
                <a:gd name="T65" fmla="*/ 1796 h 2288"/>
                <a:gd name="T66" fmla="*/ 2295 w 3327"/>
                <a:gd name="T67" fmla="*/ 1896 h 2288"/>
                <a:gd name="T68" fmla="*/ 2211 w 3327"/>
                <a:gd name="T69" fmla="*/ 2024 h 2288"/>
                <a:gd name="T70" fmla="*/ 2455 w 3327"/>
                <a:gd name="T71" fmla="*/ 2072 h 2288"/>
                <a:gd name="T72" fmla="*/ 2623 w 3327"/>
                <a:gd name="T73" fmla="*/ 2148 h 2288"/>
                <a:gd name="T74" fmla="*/ 2723 w 3327"/>
                <a:gd name="T75" fmla="*/ 2000 h 2288"/>
                <a:gd name="T76" fmla="*/ 2827 w 3327"/>
                <a:gd name="T77" fmla="*/ 1892 h 2288"/>
                <a:gd name="T78" fmla="*/ 2995 w 3327"/>
                <a:gd name="T79" fmla="*/ 1716 h 2288"/>
                <a:gd name="T80" fmla="*/ 2787 w 3327"/>
                <a:gd name="T81" fmla="*/ 1832 h 2288"/>
                <a:gd name="T82" fmla="*/ 2607 w 3327"/>
                <a:gd name="T83" fmla="*/ 1724 h 2288"/>
                <a:gd name="T84" fmla="*/ 2667 w 3327"/>
                <a:gd name="T85" fmla="*/ 1556 h 2288"/>
                <a:gd name="T86" fmla="*/ 2767 w 3327"/>
                <a:gd name="T87" fmla="*/ 1420 h 2288"/>
                <a:gd name="T88" fmla="*/ 2935 w 3327"/>
                <a:gd name="T89" fmla="*/ 1296 h 2288"/>
                <a:gd name="T90" fmla="*/ 3099 w 3327"/>
                <a:gd name="T91" fmla="*/ 1148 h 2288"/>
                <a:gd name="T92" fmla="*/ 3127 w 3327"/>
                <a:gd name="T93" fmla="*/ 908 h 2288"/>
                <a:gd name="T94" fmla="*/ 3295 w 3327"/>
                <a:gd name="T95" fmla="*/ 756 h 2288"/>
                <a:gd name="T96" fmla="*/ 2979 w 3327"/>
                <a:gd name="T97" fmla="*/ 344 h 2288"/>
                <a:gd name="T98" fmla="*/ 2659 w 3327"/>
                <a:gd name="T99" fmla="*/ 344 h 2288"/>
                <a:gd name="T100" fmla="*/ 2379 w 3327"/>
                <a:gd name="T101" fmla="*/ 396 h 2288"/>
                <a:gd name="T102" fmla="*/ 2211 w 3327"/>
                <a:gd name="T103" fmla="*/ 296 h 2288"/>
                <a:gd name="T104" fmla="*/ 1959 w 3327"/>
                <a:gd name="T105" fmla="*/ 128 h 2288"/>
                <a:gd name="T106" fmla="*/ 1599 w 3327"/>
                <a:gd name="T107" fmla="*/ 80 h 2288"/>
                <a:gd name="T108" fmla="*/ 1483 w 3327"/>
                <a:gd name="T109" fmla="*/ 180 h 228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327"/>
                <a:gd name="T166" fmla="*/ 0 h 2288"/>
                <a:gd name="T167" fmla="*/ 3327 w 3327"/>
                <a:gd name="T168" fmla="*/ 2288 h 228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327" h="2288">
                  <a:moveTo>
                    <a:pt x="1407" y="204"/>
                  </a:moveTo>
                  <a:cubicBezTo>
                    <a:pt x="1403" y="204"/>
                    <a:pt x="1407" y="212"/>
                    <a:pt x="1403" y="216"/>
                  </a:cubicBezTo>
                  <a:cubicBezTo>
                    <a:pt x="1391" y="236"/>
                    <a:pt x="1379" y="248"/>
                    <a:pt x="1359" y="260"/>
                  </a:cubicBezTo>
                  <a:cubicBezTo>
                    <a:pt x="1351" y="272"/>
                    <a:pt x="1347" y="284"/>
                    <a:pt x="1335" y="296"/>
                  </a:cubicBezTo>
                  <a:cubicBezTo>
                    <a:pt x="1331" y="308"/>
                    <a:pt x="1323" y="332"/>
                    <a:pt x="1323" y="332"/>
                  </a:cubicBezTo>
                  <a:cubicBezTo>
                    <a:pt x="1323" y="364"/>
                    <a:pt x="1315" y="416"/>
                    <a:pt x="1347" y="440"/>
                  </a:cubicBezTo>
                  <a:cubicBezTo>
                    <a:pt x="1339" y="492"/>
                    <a:pt x="1339" y="500"/>
                    <a:pt x="1291" y="484"/>
                  </a:cubicBezTo>
                  <a:cubicBezTo>
                    <a:pt x="1279" y="468"/>
                    <a:pt x="1251" y="448"/>
                    <a:pt x="1231" y="440"/>
                  </a:cubicBezTo>
                  <a:cubicBezTo>
                    <a:pt x="1203" y="444"/>
                    <a:pt x="1215" y="452"/>
                    <a:pt x="1195" y="464"/>
                  </a:cubicBezTo>
                  <a:cubicBezTo>
                    <a:pt x="1187" y="484"/>
                    <a:pt x="1183" y="480"/>
                    <a:pt x="1163" y="476"/>
                  </a:cubicBezTo>
                  <a:cubicBezTo>
                    <a:pt x="1131" y="484"/>
                    <a:pt x="1151" y="516"/>
                    <a:pt x="1119" y="528"/>
                  </a:cubicBezTo>
                  <a:cubicBezTo>
                    <a:pt x="1087" y="516"/>
                    <a:pt x="1095" y="492"/>
                    <a:pt x="1087" y="464"/>
                  </a:cubicBezTo>
                  <a:cubicBezTo>
                    <a:pt x="1027" y="468"/>
                    <a:pt x="1055" y="464"/>
                    <a:pt x="1027" y="492"/>
                  </a:cubicBezTo>
                  <a:cubicBezTo>
                    <a:pt x="1023" y="508"/>
                    <a:pt x="1011" y="516"/>
                    <a:pt x="1003" y="528"/>
                  </a:cubicBezTo>
                  <a:cubicBezTo>
                    <a:pt x="999" y="552"/>
                    <a:pt x="995" y="556"/>
                    <a:pt x="975" y="548"/>
                  </a:cubicBezTo>
                  <a:cubicBezTo>
                    <a:pt x="959" y="504"/>
                    <a:pt x="975" y="512"/>
                    <a:pt x="923" y="508"/>
                  </a:cubicBezTo>
                  <a:cubicBezTo>
                    <a:pt x="907" y="504"/>
                    <a:pt x="899" y="500"/>
                    <a:pt x="883" y="504"/>
                  </a:cubicBezTo>
                  <a:cubicBezTo>
                    <a:pt x="871" y="540"/>
                    <a:pt x="847" y="548"/>
                    <a:pt x="823" y="572"/>
                  </a:cubicBezTo>
                  <a:cubicBezTo>
                    <a:pt x="811" y="532"/>
                    <a:pt x="823" y="532"/>
                    <a:pt x="771" y="536"/>
                  </a:cubicBezTo>
                  <a:cubicBezTo>
                    <a:pt x="755" y="540"/>
                    <a:pt x="747" y="548"/>
                    <a:pt x="731" y="552"/>
                  </a:cubicBezTo>
                  <a:cubicBezTo>
                    <a:pt x="711" y="524"/>
                    <a:pt x="714" y="529"/>
                    <a:pt x="710" y="501"/>
                  </a:cubicBezTo>
                  <a:cubicBezTo>
                    <a:pt x="694" y="505"/>
                    <a:pt x="695" y="524"/>
                    <a:pt x="675" y="528"/>
                  </a:cubicBezTo>
                  <a:cubicBezTo>
                    <a:pt x="575" y="516"/>
                    <a:pt x="611" y="528"/>
                    <a:pt x="567" y="512"/>
                  </a:cubicBezTo>
                  <a:cubicBezTo>
                    <a:pt x="527" y="516"/>
                    <a:pt x="491" y="512"/>
                    <a:pt x="451" y="516"/>
                  </a:cubicBezTo>
                  <a:cubicBezTo>
                    <a:pt x="415" y="552"/>
                    <a:pt x="359" y="540"/>
                    <a:pt x="315" y="540"/>
                  </a:cubicBezTo>
                  <a:cubicBezTo>
                    <a:pt x="291" y="552"/>
                    <a:pt x="263" y="568"/>
                    <a:pt x="235" y="576"/>
                  </a:cubicBezTo>
                  <a:cubicBezTo>
                    <a:pt x="219" y="592"/>
                    <a:pt x="211" y="616"/>
                    <a:pt x="187" y="632"/>
                  </a:cubicBezTo>
                  <a:cubicBezTo>
                    <a:pt x="167" y="660"/>
                    <a:pt x="179" y="652"/>
                    <a:pt x="159" y="660"/>
                  </a:cubicBezTo>
                  <a:cubicBezTo>
                    <a:pt x="151" y="672"/>
                    <a:pt x="115" y="684"/>
                    <a:pt x="115" y="684"/>
                  </a:cubicBezTo>
                  <a:cubicBezTo>
                    <a:pt x="110" y="707"/>
                    <a:pt x="107" y="714"/>
                    <a:pt x="98" y="723"/>
                  </a:cubicBezTo>
                  <a:cubicBezTo>
                    <a:pt x="108" y="740"/>
                    <a:pt x="111" y="764"/>
                    <a:pt x="114" y="778"/>
                  </a:cubicBezTo>
                  <a:cubicBezTo>
                    <a:pt x="123" y="793"/>
                    <a:pt x="148" y="796"/>
                    <a:pt x="161" y="810"/>
                  </a:cubicBezTo>
                  <a:cubicBezTo>
                    <a:pt x="169" y="818"/>
                    <a:pt x="177" y="837"/>
                    <a:pt x="183" y="849"/>
                  </a:cubicBezTo>
                  <a:cubicBezTo>
                    <a:pt x="209" y="851"/>
                    <a:pt x="221" y="864"/>
                    <a:pt x="221" y="872"/>
                  </a:cubicBezTo>
                  <a:cubicBezTo>
                    <a:pt x="228" y="908"/>
                    <a:pt x="236" y="933"/>
                    <a:pt x="235" y="956"/>
                  </a:cubicBezTo>
                  <a:cubicBezTo>
                    <a:pt x="235" y="964"/>
                    <a:pt x="239" y="1004"/>
                    <a:pt x="231" y="1012"/>
                  </a:cubicBezTo>
                  <a:cubicBezTo>
                    <a:pt x="215" y="1038"/>
                    <a:pt x="161" y="1092"/>
                    <a:pt x="139" y="1116"/>
                  </a:cubicBezTo>
                  <a:cubicBezTo>
                    <a:pt x="135" y="1132"/>
                    <a:pt x="105" y="1139"/>
                    <a:pt x="99" y="1156"/>
                  </a:cubicBezTo>
                  <a:cubicBezTo>
                    <a:pt x="87" y="1178"/>
                    <a:pt x="87" y="1228"/>
                    <a:pt x="77" y="1253"/>
                  </a:cubicBezTo>
                  <a:cubicBezTo>
                    <a:pt x="67" y="1278"/>
                    <a:pt x="44" y="1290"/>
                    <a:pt x="39" y="1304"/>
                  </a:cubicBezTo>
                  <a:cubicBezTo>
                    <a:pt x="35" y="1316"/>
                    <a:pt x="44" y="1340"/>
                    <a:pt x="44" y="1340"/>
                  </a:cubicBezTo>
                  <a:cubicBezTo>
                    <a:pt x="65" y="1394"/>
                    <a:pt x="63" y="1400"/>
                    <a:pt x="79" y="1448"/>
                  </a:cubicBezTo>
                  <a:cubicBezTo>
                    <a:pt x="59" y="1456"/>
                    <a:pt x="57" y="1479"/>
                    <a:pt x="53" y="1493"/>
                  </a:cubicBezTo>
                  <a:cubicBezTo>
                    <a:pt x="35" y="1509"/>
                    <a:pt x="19" y="1544"/>
                    <a:pt x="19" y="1544"/>
                  </a:cubicBezTo>
                  <a:cubicBezTo>
                    <a:pt x="15" y="1596"/>
                    <a:pt x="8" y="1638"/>
                    <a:pt x="0" y="1664"/>
                  </a:cubicBezTo>
                  <a:cubicBezTo>
                    <a:pt x="18" y="1683"/>
                    <a:pt x="21" y="1685"/>
                    <a:pt x="29" y="1700"/>
                  </a:cubicBezTo>
                  <a:cubicBezTo>
                    <a:pt x="56" y="1698"/>
                    <a:pt x="115" y="1703"/>
                    <a:pt x="139" y="1712"/>
                  </a:cubicBezTo>
                  <a:cubicBezTo>
                    <a:pt x="159" y="1742"/>
                    <a:pt x="155" y="1752"/>
                    <a:pt x="161" y="1773"/>
                  </a:cubicBezTo>
                  <a:cubicBezTo>
                    <a:pt x="213" y="1671"/>
                    <a:pt x="279" y="1743"/>
                    <a:pt x="348" y="1728"/>
                  </a:cubicBezTo>
                  <a:cubicBezTo>
                    <a:pt x="408" y="1732"/>
                    <a:pt x="476" y="1735"/>
                    <a:pt x="536" y="1739"/>
                  </a:cubicBezTo>
                  <a:cubicBezTo>
                    <a:pt x="572" y="1719"/>
                    <a:pt x="575" y="1713"/>
                    <a:pt x="618" y="1704"/>
                  </a:cubicBezTo>
                  <a:cubicBezTo>
                    <a:pt x="646" y="1688"/>
                    <a:pt x="695" y="1668"/>
                    <a:pt x="723" y="1656"/>
                  </a:cubicBezTo>
                  <a:cubicBezTo>
                    <a:pt x="735" y="1616"/>
                    <a:pt x="774" y="1616"/>
                    <a:pt x="810" y="1604"/>
                  </a:cubicBezTo>
                  <a:cubicBezTo>
                    <a:pt x="822" y="1566"/>
                    <a:pt x="843" y="1538"/>
                    <a:pt x="902" y="1529"/>
                  </a:cubicBezTo>
                  <a:cubicBezTo>
                    <a:pt x="896" y="1515"/>
                    <a:pt x="871" y="1517"/>
                    <a:pt x="879" y="1505"/>
                  </a:cubicBezTo>
                  <a:cubicBezTo>
                    <a:pt x="878" y="1482"/>
                    <a:pt x="875" y="1464"/>
                    <a:pt x="919" y="1468"/>
                  </a:cubicBezTo>
                  <a:cubicBezTo>
                    <a:pt x="939" y="1464"/>
                    <a:pt x="971" y="1461"/>
                    <a:pt x="978" y="1430"/>
                  </a:cubicBezTo>
                  <a:cubicBezTo>
                    <a:pt x="1010" y="1424"/>
                    <a:pt x="1030" y="1420"/>
                    <a:pt x="1062" y="1416"/>
                  </a:cubicBezTo>
                  <a:cubicBezTo>
                    <a:pt x="1083" y="1424"/>
                    <a:pt x="1079" y="1424"/>
                    <a:pt x="1095" y="1436"/>
                  </a:cubicBezTo>
                  <a:cubicBezTo>
                    <a:pt x="1107" y="1448"/>
                    <a:pt x="1132" y="1452"/>
                    <a:pt x="1148" y="1452"/>
                  </a:cubicBezTo>
                  <a:cubicBezTo>
                    <a:pt x="1199" y="1472"/>
                    <a:pt x="1194" y="1470"/>
                    <a:pt x="1260" y="1466"/>
                  </a:cubicBezTo>
                  <a:cubicBezTo>
                    <a:pt x="1280" y="1474"/>
                    <a:pt x="1273" y="1475"/>
                    <a:pt x="1289" y="1487"/>
                  </a:cubicBezTo>
                  <a:cubicBezTo>
                    <a:pt x="1371" y="1491"/>
                    <a:pt x="1383" y="1499"/>
                    <a:pt x="1388" y="1538"/>
                  </a:cubicBezTo>
                  <a:cubicBezTo>
                    <a:pt x="1376" y="1604"/>
                    <a:pt x="1370" y="1614"/>
                    <a:pt x="1395" y="1612"/>
                  </a:cubicBezTo>
                  <a:cubicBezTo>
                    <a:pt x="1403" y="1628"/>
                    <a:pt x="1416" y="1620"/>
                    <a:pt x="1427" y="1640"/>
                  </a:cubicBezTo>
                  <a:cubicBezTo>
                    <a:pt x="1439" y="1644"/>
                    <a:pt x="1476" y="1649"/>
                    <a:pt x="1476" y="1649"/>
                  </a:cubicBezTo>
                  <a:cubicBezTo>
                    <a:pt x="1492" y="1673"/>
                    <a:pt x="1491" y="1720"/>
                    <a:pt x="1515" y="1736"/>
                  </a:cubicBezTo>
                  <a:cubicBezTo>
                    <a:pt x="1523" y="1760"/>
                    <a:pt x="1535" y="1760"/>
                    <a:pt x="1539" y="1780"/>
                  </a:cubicBezTo>
                  <a:cubicBezTo>
                    <a:pt x="1546" y="1791"/>
                    <a:pt x="1548" y="1787"/>
                    <a:pt x="1557" y="1802"/>
                  </a:cubicBezTo>
                  <a:cubicBezTo>
                    <a:pt x="1590" y="1821"/>
                    <a:pt x="1617" y="1845"/>
                    <a:pt x="1637" y="1859"/>
                  </a:cubicBezTo>
                  <a:lnTo>
                    <a:pt x="1640" y="1886"/>
                  </a:lnTo>
                  <a:cubicBezTo>
                    <a:pt x="1592" y="1894"/>
                    <a:pt x="1557" y="1899"/>
                    <a:pt x="1505" y="1907"/>
                  </a:cubicBezTo>
                  <a:cubicBezTo>
                    <a:pt x="1476" y="1901"/>
                    <a:pt x="1455" y="1895"/>
                    <a:pt x="1433" y="1893"/>
                  </a:cubicBezTo>
                  <a:cubicBezTo>
                    <a:pt x="1417" y="1897"/>
                    <a:pt x="1428" y="1910"/>
                    <a:pt x="1424" y="1926"/>
                  </a:cubicBezTo>
                  <a:cubicBezTo>
                    <a:pt x="1424" y="1937"/>
                    <a:pt x="1424" y="1949"/>
                    <a:pt x="1430" y="1961"/>
                  </a:cubicBezTo>
                  <a:cubicBezTo>
                    <a:pt x="1448" y="1980"/>
                    <a:pt x="1461" y="2006"/>
                    <a:pt x="1463" y="2022"/>
                  </a:cubicBezTo>
                  <a:cubicBezTo>
                    <a:pt x="1440" y="2061"/>
                    <a:pt x="1446" y="2058"/>
                    <a:pt x="1437" y="2067"/>
                  </a:cubicBezTo>
                  <a:cubicBezTo>
                    <a:pt x="1449" y="2035"/>
                    <a:pt x="1416" y="2112"/>
                    <a:pt x="1407" y="2140"/>
                  </a:cubicBezTo>
                  <a:cubicBezTo>
                    <a:pt x="1399" y="2164"/>
                    <a:pt x="1410" y="2187"/>
                    <a:pt x="1400" y="2216"/>
                  </a:cubicBezTo>
                  <a:cubicBezTo>
                    <a:pt x="1384" y="2212"/>
                    <a:pt x="1371" y="2231"/>
                    <a:pt x="1355" y="2235"/>
                  </a:cubicBezTo>
                  <a:cubicBezTo>
                    <a:pt x="1368" y="2270"/>
                    <a:pt x="1386" y="2271"/>
                    <a:pt x="1433" y="2280"/>
                  </a:cubicBezTo>
                  <a:cubicBezTo>
                    <a:pt x="1453" y="2288"/>
                    <a:pt x="1447" y="2267"/>
                    <a:pt x="1463" y="2259"/>
                  </a:cubicBezTo>
                  <a:cubicBezTo>
                    <a:pt x="1478" y="2247"/>
                    <a:pt x="1490" y="2241"/>
                    <a:pt x="1503" y="2234"/>
                  </a:cubicBezTo>
                  <a:cubicBezTo>
                    <a:pt x="1515" y="2222"/>
                    <a:pt x="1511" y="2197"/>
                    <a:pt x="1523" y="2189"/>
                  </a:cubicBezTo>
                  <a:cubicBezTo>
                    <a:pt x="1565" y="2178"/>
                    <a:pt x="1616" y="2169"/>
                    <a:pt x="1643" y="2186"/>
                  </a:cubicBezTo>
                  <a:cubicBezTo>
                    <a:pt x="1647" y="2154"/>
                    <a:pt x="1635" y="2132"/>
                    <a:pt x="1659" y="2116"/>
                  </a:cubicBezTo>
                  <a:cubicBezTo>
                    <a:pt x="1663" y="2096"/>
                    <a:pt x="1663" y="2068"/>
                    <a:pt x="1687" y="2060"/>
                  </a:cubicBezTo>
                  <a:cubicBezTo>
                    <a:pt x="1703" y="2036"/>
                    <a:pt x="1719" y="2016"/>
                    <a:pt x="1731" y="1988"/>
                  </a:cubicBezTo>
                  <a:cubicBezTo>
                    <a:pt x="1739" y="1956"/>
                    <a:pt x="1743" y="1924"/>
                    <a:pt x="1755" y="1892"/>
                  </a:cubicBezTo>
                  <a:cubicBezTo>
                    <a:pt x="1759" y="1868"/>
                    <a:pt x="1755" y="1840"/>
                    <a:pt x="1783" y="1832"/>
                  </a:cubicBezTo>
                  <a:cubicBezTo>
                    <a:pt x="1799" y="1816"/>
                    <a:pt x="1807" y="1804"/>
                    <a:pt x="1831" y="1796"/>
                  </a:cubicBezTo>
                  <a:cubicBezTo>
                    <a:pt x="1855" y="1756"/>
                    <a:pt x="1867" y="1736"/>
                    <a:pt x="1915" y="1724"/>
                  </a:cubicBezTo>
                  <a:cubicBezTo>
                    <a:pt x="1939" y="1708"/>
                    <a:pt x="1943" y="1692"/>
                    <a:pt x="1959" y="1668"/>
                  </a:cubicBezTo>
                  <a:cubicBezTo>
                    <a:pt x="1991" y="1684"/>
                    <a:pt x="1983" y="1708"/>
                    <a:pt x="1995" y="1736"/>
                  </a:cubicBezTo>
                  <a:cubicBezTo>
                    <a:pt x="1983" y="1772"/>
                    <a:pt x="1991" y="1756"/>
                    <a:pt x="1979" y="1788"/>
                  </a:cubicBezTo>
                  <a:cubicBezTo>
                    <a:pt x="1979" y="1792"/>
                    <a:pt x="1975" y="1800"/>
                    <a:pt x="1975" y="1800"/>
                  </a:cubicBezTo>
                  <a:cubicBezTo>
                    <a:pt x="1983" y="1868"/>
                    <a:pt x="2027" y="1836"/>
                    <a:pt x="2067" y="1812"/>
                  </a:cubicBezTo>
                  <a:cubicBezTo>
                    <a:pt x="2111" y="1784"/>
                    <a:pt x="2167" y="1808"/>
                    <a:pt x="2219" y="1808"/>
                  </a:cubicBezTo>
                  <a:cubicBezTo>
                    <a:pt x="2259" y="1800"/>
                    <a:pt x="2239" y="1804"/>
                    <a:pt x="2271" y="1796"/>
                  </a:cubicBezTo>
                  <a:cubicBezTo>
                    <a:pt x="2299" y="1776"/>
                    <a:pt x="2303" y="1776"/>
                    <a:pt x="2335" y="1772"/>
                  </a:cubicBezTo>
                  <a:cubicBezTo>
                    <a:pt x="2343" y="1796"/>
                    <a:pt x="2347" y="1820"/>
                    <a:pt x="2323" y="1836"/>
                  </a:cubicBezTo>
                  <a:cubicBezTo>
                    <a:pt x="2311" y="1856"/>
                    <a:pt x="2319" y="1888"/>
                    <a:pt x="2295" y="1896"/>
                  </a:cubicBezTo>
                  <a:cubicBezTo>
                    <a:pt x="2275" y="1916"/>
                    <a:pt x="2271" y="1936"/>
                    <a:pt x="2251" y="1952"/>
                  </a:cubicBezTo>
                  <a:cubicBezTo>
                    <a:pt x="2243" y="1960"/>
                    <a:pt x="2227" y="1976"/>
                    <a:pt x="2227" y="1976"/>
                  </a:cubicBezTo>
                  <a:cubicBezTo>
                    <a:pt x="2223" y="1992"/>
                    <a:pt x="2211" y="2024"/>
                    <a:pt x="2211" y="2024"/>
                  </a:cubicBezTo>
                  <a:cubicBezTo>
                    <a:pt x="2231" y="2052"/>
                    <a:pt x="2259" y="2024"/>
                    <a:pt x="2283" y="2016"/>
                  </a:cubicBezTo>
                  <a:cubicBezTo>
                    <a:pt x="2315" y="2028"/>
                    <a:pt x="2339" y="2004"/>
                    <a:pt x="2383" y="2028"/>
                  </a:cubicBezTo>
                  <a:cubicBezTo>
                    <a:pt x="2411" y="2036"/>
                    <a:pt x="2435" y="2044"/>
                    <a:pt x="2455" y="2072"/>
                  </a:cubicBezTo>
                  <a:cubicBezTo>
                    <a:pt x="2479" y="2112"/>
                    <a:pt x="2459" y="2176"/>
                    <a:pt x="2503" y="2204"/>
                  </a:cubicBezTo>
                  <a:cubicBezTo>
                    <a:pt x="2555" y="2196"/>
                    <a:pt x="2559" y="2192"/>
                    <a:pt x="2599" y="2180"/>
                  </a:cubicBezTo>
                  <a:cubicBezTo>
                    <a:pt x="2611" y="2164"/>
                    <a:pt x="2619" y="2168"/>
                    <a:pt x="2623" y="2148"/>
                  </a:cubicBezTo>
                  <a:cubicBezTo>
                    <a:pt x="2627" y="2124"/>
                    <a:pt x="2623" y="2104"/>
                    <a:pt x="2643" y="2088"/>
                  </a:cubicBezTo>
                  <a:cubicBezTo>
                    <a:pt x="2647" y="2076"/>
                    <a:pt x="2659" y="2060"/>
                    <a:pt x="2667" y="2052"/>
                  </a:cubicBezTo>
                  <a:cubicBezTo>
                    <a:pt x="2683" y="2040"/>
                    <a:pt x="2703" y="2016"/>
                    <a:pt x="2723" y="2000"/>
                  </a:cubicBezTo>
                  <a:cubicBezTo>
                    <a:pt x="2731" y="1980"/>
                    <a:pt x="2767" y="1980"/>
                    <a:pt x="2775" y="1956"/>
                  </a:cubicBezTo>
                  <a:cubicBezTo>
                    <a:pt x="2779" y="1928"/>
                    <a:pt x="2783" y="1924"/>
                    <a:pt x="2803" y="1908"/>
                  </a:cubicBezTo>
                  <a:cubicBezTo>
                    <a:pt x="2811" y="1904"/>
                    <a:pt x="2827" y="1892"/>
                    <a:pt x="2827" y="1892"/>
                  </a:cubicBezTo>
                  <a:cubicBezTo>
                    <a:pt x="2875" y="1904"/>
                    <a:pt x="2847" y="1900"/>
                    <a:pt x="2907" y="1896"/>
                  </a:cubicBezTo>
                  <a:cubicBezTo>
                    <a:pt x="2931" y="1888"/>
                    <a:pt x="2931" y="1880"/>
                    <a:pt x="2943" y="1860"/>
                  </a:cubicBezTo>
                  <a:cubicBezTo>
                    <a:pt x="2955" y="1812"/>
                    <a:pt x="2983" y="1768"/>
                    <a:pt x="2995" y="1716"/>
                  </a:cubicBezTo>
                  <a:cubicBezTo>
                    <a:pt x="2995" y="1712"/>
                    <a:pt x="2963" y="1728"/>
                    <a:pt x="2955" y="1728"/>
                  </a:cubicBezTo>
                  <a:cubicBezTo>
                    <a:pt x="2919" y="1736"/>
                    <a:pt x="2879" y="1744"/>
                    <a:pt x="2847" y="1764"/>
                  </a:cubicBezTo>
                  <a:cubicBezTo>
                    <a:pt x="2835" y="1804"/>
                    <a:pt x="2823" y="1808"/>
                    <a:pt x="2787" y="1832"/>
                  </a:cubicBezTo>
                  <a:cubicBezTo>
                    <a:pt x="2759" y="1828"/>
                    <a:pt x="2739" y="1812"/>
                    <a:pt x="2715" y="1796"/>
                  </a:cubicBezTo>
                  <a:cubicBezTo>
                    <a:pt x="2691" y="1760"/>
                    <a:pt x="2675" y="1772"/>
                    <a:pt x="2643" y="1748"/>
                  </a:cubicBezTo>
                  <a:cubicBezTo>
                    <a:pt x="2631" y="1740"/>
                    <a:pt x="2607" y="1724"/>
                    <a:pt x="2607" y="1724"/>
                  </a:cubicBezTo>
                  <a:cubicBezTo>
                    <a:pt x="2603" y="1708"/>
                    <a:pt x="2579" y="1676"/>
                    <a:pt x="2579" y="1676"/>
                  </a:cubicBezTo>
                  <a:cubicBezTo>
                    <a:pt x="2587" y="1640"/>
                    <a:pt x="2579" y="1644"/>
                    <a:pt x="2623" y="1640"/>
                  </a:cubicBezTo>
                  <a:cubicBezTo>
                    <a:pt x="2655" y="1616"/>
                    <a:pt x="2647" y="1584"/>
                    <a:pt x="2667" y="1556"/>
                  </a:cubicBezTo>
                  <a:cubicBezTo>
                    <a:pt x="2671" y="1536"/>
                    <a:pt x="2679" y="1492"/>
                    <a:pt x="2695" y="1476"/>
                  </a:cubicBezTo>
                  <a:cubicBezTo>
                    <a:pt x="2703" y="1468"/>
                    <a:pt x="2719" y="1460"/>
                    <a:pt x="2719" y="1460"/>
                  </a:cubicBezTo>
                  <a:cubicBezTo>
                    <a:pt x="2727" y="1436"/>
                    <a:pt x="2747" y="1428"/>
                    <a:pt x="2767" y="1420"/>
                  </a:cubicBezTo>
                  <a:cubicBezTo>
                    <a:pt x="2783" y="1400"/>
                    <a:pt x="2787" y="1396"/>
                    <a:pt x="2811" y="1388"/>
                  </a:cubicBezTo>
                  <a:cubicBezTo>
                    <a:pt x="2831" y="1368"/>
                    <a:pt x="2859" y="1372"/>
                    <a:pt x="2887" y="1368"/>
                  </a:cubicBezTo>
                  <a:cubicBezTo>
                    <a:pt x="2895" y="1324"/>
                    <a:pt x="2891" y="1308"/>
                    <a:pt x="2935" y="1296"/>
                  </a:cubicBezTo>
                  <a:cubicBezTo>
                    <a:pt x="2947" y="1280"/>
                    <a:pt x="2963" y="1260"/>
                    <a:pt x="2979" y="1248"/>
                  </a:cubicBezTo>
                  <a:cubicBezTo>
                    <a:pt x="2991" y="1216"/>
                    <a:pt x="3019" y="1188"/>
                    <a:pt x="3051" y="1176"/>
                  </a:cubicBezTo>
                  <a:cubicBezTo>
                    <a:pt x="3063" y="1164"/>
                    <a:pt x="3083" y="1152"/>
                    <a:pt x="3099" y="1148"/>
                  </a:cubicBezTo>
                  <a:cubicBezTo>
                    <a:pt x="3119" y="1120"/>
                    <a:pt x="3095" y="1060"/>
                    <a:pt x="3075" y="1032"/>
                  </a:cubicBezTo>
                  <a:cubicBezTo>
                    <a:pt x="3071" y="1000"/>
                    <a:pt x="3071" y="976"/>
                    <a:pt x="3079" y="956"/>
                  </a:cubicBezTo>
                  <a:cubicBezTo>
                    <a:pt x="3083" y="940"/>
                    <a:pt x="3107" y="916"/>
                    <a:pt x="3127" y="908"/>
                  </a:cubicBezTo>
                  <a:cubicBezTo>
                    <a:pt x="3135" y="880"/>
                    <a:pt x="3195" y="868"/>
                    <a:pt x="3223" y="860"/>
                  </a:cubicBezTo>
                  <a:cubicBezTo>
                    <a:pt x="3251" y="840"/>
                    <a:pt x="3291" y="848"/>
                    <a:pt x="3319" y="828"/>
                  </a:cubicBezTo>
                  <a:cubicBezTo>
                    <a:pt x="3315" y="776"/>
                    <a:pt x="3327" y="788"/>
                    <a:pt x="3295" y="756"/>
                  </a:cubicBezTo>
                  <a:cubicBezTo>
                    <a:pt x="3275" y="700"/>
                    <a:pt x="3231" y="576"/>
                    <a:pt x="3203" y="512"/>
                  </a:cubicBezTo>
                  <a:cubicBezTo>
                    <a:pt x="3219" y="396"/>
                    <a:pt x="3219" y="360"/>
                    <a:pt x="3139" y="348"/>
                  </a:cubicBezTo>
                  <a:cubicBezTo>
                    <a:pt x="3091" y="328"/>
                    <a:pt x="3031" y="360"/>
                    <a:pt x="2979" y="344"/>
                  </a:cubicBezTo>
                  <a:cubicBezTo>
                    <a:pt x="2935" y="360"/>
                    <a:pt x="2951" y="364"/>
                    <a:pt x="2887" y="368"/>
                  </a:cubicBezTo>
                  <a:cubicBezTo>
                    <a:pt x="2795" y="332"/>
                    <a:pt x="2779" y="368"/>
                    <a:pt x="2727" y="384"/>
                  </a:cubicBezTo>
                  <a:cubicBezTo>
                    <a:pt x="2679" y="380"/>
                    <a:pt x="2691" y="376"/>
                    <a:pt x="2659" y="344"/>
                  </a:cubicBezTo>
                  <a:cubicBezTo>
                    <a:pt x="2643" y="328"/>
                    <a:pt x="2595" y="328"/>
                    <a:pt x="2575" y="320"/>
                  </a:cubicBezTo>
                  <a:cubicBezTo>
                    <a:pt x="2543" y="320"/>
                    <a:pt x="2523" y="368"/>
                    <a:pt x="2491" y="380"/>
                  </a:cubicBezTo>
                  <a:cubicBezTo>
                    <a:pt x="2459" y="392"/>
                    <a:pt x="2403" y="392"/>
                    <a:pt x="2379" y="396"/>
                  </a:cubicBezTo>
                  <a:cubicBezTo>
                    <a:pt x="2363" y="404"/>
                    <a:pt x="2351" y="408"/>
                    <a:pt x="2335" y="412"/>
                  </a:cubicBezTo>
                  <a:cubicBezTo>
                    <a:pt x="2307" y="412"/>
                    <a:pt x="2279" y="416"/>
                    <a:pt x="2251" y="408"/>
                  </a:cubicBezTo>
                  <a:cubicBezTo>
                    <a:pt x="2247" y="408"/>
                    <a:pt x="2231" y="316"/>
                    <a:pt x="2211" y="296"/>
                  </a:cubicBezTo>
                  <a:cubicBezTo>
                    <a:pt x="2179" y="240"/>
                    <a:pt x="2095" y="276"/>
                    <a:pt x="2055" y="272"/>
                  </a:cubicBezTo>
                  <a:cubicBezTo>
                    <a:pt x="2011" y="276"/>
                    <a:pt x="1995" y="288"/>
                    <a:pt x="1979" y="244"/>
                  </a:cubicBezTo>
                  <a:cubicBezTo>
                    <a:pt x="1979" y="220"/>
                    <a:pt x="1967" y="156"/>
                    <a:pt x="1959" y="128"/>
                  </a:cubicBezTo>
                  <a:cubicBezTo>
                    <a:pt x="1939" y="92"/>
                    <a:pt x="1875" y="36"/>
                    <a:pt x="1831" y="20"/>
                  </a:cubicBezTo>
                  <a:cubicBezTo>
                    <a:pt x="1803" y="0"/>
                    <a:pt x="1735" y="32"/>
                    <a:pt x="1695" y="36"/>
                  </a:cubicBezTo>
                  <a:cubicBezTo>
                    <a:pt x="1667" y="52"/>
                    <a:pt x="1627" y="72"/>
                    <a:pt x="1599" y="80"/>
                  </a:cubicBezTo>
                  <a:cubicBezTo>
                    <a:pt x="1595" y="92"/>
                    <a:pt x="1583" y="108"/>
                    <a:pt x="1575" y="116"/>
                  </a:cubicBezTo>
                  <a:cubicBezTo>
                    <a:pt x="1567" y="124"/>
                    <a:pt x="1539" y="180"/>
                    <a:pt x="1539" y="180"/>
                  </a:cubicBezTo>
                  <a:cubicBezTo>
                    <a:pt x="1519" y="208"/>
                    <a:pt x="1515" y="172"/>
                    <a:pt x="1483" y="180"/>
                  </a:cubicBezTo>
                  <a:cubicBezTo>
                    <a:pt x="1471" y="188"/>
                    <a:pt x="1443" y="196"/>
                    <a:pt x="1443" y="196"/>
                  </a:cubicBezTo>
                  <a:lnTo>
                    <a:pt x="1407" y="204"/>
                  </a:ln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402" name="Freeform 2526"/>
            <p:cNvSpPr>
              <a:spLocks noChangeAspect="1"/>
            </p:cNvSpPr>
            <p:nvPr>
              <p:custDataLst>
                <p:tags r:id="rId31"/>
              </p:custDataLst>
            </p:nvPr>
          </p:nvSpPr>
          <p:spPr bwMode="auto">
            <a:xfrm>
              <a:off x="6115563" y="4651315"/>
              <a:ext cx="371797" cy="396712"/>
            </a:xfrm>
            <a:custGeom>
              <a:avLst/>
              <a:gdLst>
                <a:gd name="T0" fmla="*/ 484 w 776"/>
                <a:gd name="T1" fmla="*/ 824 h 826"/>
                <a:gd name="T2" fmla="*/ 532 w 776"/>
                <a:gd name="T3" fmla="*/ 800 h 826"/>
                <a:gd name="T4" fmla="*/ 552 w 776"/>
                <a:gd name="T5" fmla="*/ 696 h 826"/>
                <a:gd name="T6" fmla="*/ 592 w 776"/>
                <a:gd name="T7" fmla="*/ 608 h 826"/>
                <a:gd name="T8" fmla="*/ 564 w 776"/>
                <a:gd name="T9" fmla="*/ 548 h 826"/>
                <a:gd name="T10" fmla="*/ 576 w 776"/>
                <a:gd name="T11" fmla="*/ 476 h 826"/>
                <a:gd name="T12" fmla="*/ 640 w 776"/>
                <a:gd name="T13" fmla="*/ 492 h 826"/>
                <a:gd name="T14" fmla="*/ 776 w 776"/>
                <a:gd name="T15" fmla="*/ 468 h 826"/>
                <a:gd name="T16" fmla="*/ 748 w 776"/>
                <a:gd name="T17" fmla="*/ 432 h 826"/>
                <a:gd name="T18" fmla="*/ 688 w 776"/>
                <a:gd name="T19" fmla="*/ 384 h 826"/>
                <a:gd name="T20" fmla="*/ 640 w 776"/>
                <a:gd name="T21" fmla="*/ 312 h 826"/>
                <a:gd name="T22" fmla="*/ 556 w 776"/>
                <a:gd name="T23" fmla="*/ 224 h 826"/>
                <a:gd name="T24" fmla="*/ 508 w 776"/>
                <a:gd name="T25" fmla="*/ 188 h 826"/>
                <a:gd name="T26" fmla="*/ 420 w 776"/>
                <a:gd name="T27" fmla="*/ 72 h 826"/>
                <a:gd name="T28" fmla="*/ 388 w 776"/>
                <a:gd name="T29" fmla="*/ 48 h 826"/>
                <a:gd name="T30" fmla="*/ 244 w 776"/>
                <a:gd name="T31" fmla="*/ 28 h 826"/>
                <a:gd name="T32" fmla="*/ 196 w 776"/>
                <a:gd name="T33" fmla="*/ 0 h 826"/>
                <a:gd name="T34" fmla="*/ 112 w 776"/>
                <a:gd name="T35" fmla="*/ 12 h 826"/>
                <a:gd name="T36" fmla="*/ 16 w 776"/>
                <a:gd name="T37" fmla="*/ 56 h 826"/>
                <a:gd name="T38" fmla="*/ 48 w 776"/>
                <a:gd name="T39" fmla="*/ 124 h 826"/>
                <a:gd name="T40" fmla="*/ 100 w 776"/>
                <a:gd name="T41" fmla="*/ 172 h 826"/>
                <a:gd name="T42" fmla="*/ 135 w 776"/>
                <a:gd name="T43" fmla="*/ 212 h 826"/>
                <a:gd name="T44" fmla="*/ 173 w 776"/>
                <a:gd name="T45" fmla="*/ 245 h 826"/>
                <a:gd name="T46" fmla="*/ 194 w 776"/>
                <a:gd name="T47" fmla="*/ 282 h 826"/>
                <a:gd name="T48" fmla="*/ 233 w 776"/>
                <a:gd name="T49" fmla="*/ 332 h 826"/>
                <a:gd name="T50" fmla="*/ 300 w 776"/>
                <a:gd name="T51" fmla="*/ 364 h 826"/>
                <a:gd name="T52" fmla="*/ 317 w 776"/>
                <a:gd name="T53" fmla="*/ 393 h 826"/>
                <a:gd name="T54" fmla="*/ 400 w 776"/>
                <a:gd name="T55" fmla="*/ 600 h 826"/>
                <a:gd name="T56" fmla="*/ 429 w 776"/>
                <a:gd name="T57" fmla="*/ 701 h 826"/>
                <a:gd name="T58" fmla="*/ 452 w 776"/>
                <a:gd name="T59" fmla="*/ 780 h 826"/>
                <a:gd name="T60" fmla="*/ 474 w 776"/>
                <a:gd name="T61" fmla="*/ 810 h 826"/>
                <a:gd name="T62" fmla="*/ 484 w 776"/>
                <a:gd name="T63" fmla="*/ 824 h 82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76"/>
                <a:gd name="T97" fmla="*/ 0 h 826"/>
                <a:gd name="T98" fmla="*/ 776 w 776"/>
                <a:gd name="T99" fmla="*/ 826 h 82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76" h="826">
                  <a:moveTo>
                    <a:pt x="484" y="824"/>
                  </a:moveTo>
                  <a:cubicBezTo>
                    <a:pt x="503" y="815"/>
                    <a:pt x="500" y="803"/>
                    <a:pt x="532" y="800"/>
                  </a:cubicBezTo>
                  <a:cubicBezTo>
                    <a:pt x="544" y="764"/>
                    <a:pt x="532" y="728"/>
                    <a:pt x="552" y="696"/>
                  </a:cubicBezTo>
                  <a:cubicBezTo>
                    <a:pt x="560" y="660"/>
                    <a:pt x="580" y="640"/>
                    <a:pt x="592" y="608"/>
                  </a:cubicBezTo>
                  <a:cubicBezTo>
                    <a:pt x="588" y="584"/>
                    <a:pt x="580" y="564"/>
                    <a:pt x="564" y="548"/>
                  </a:cubicBezTo>
                  <a:cubicBezTo>
                    <a:pt x="556" y="504"/>
                    <a:pt x="544" y="484"/>
                    <a:pt x="576" y="476"/>
                  </a:cubicBezTo>
                  <a:cubicBezTo>
                    <a:pt x="596" y="480"/>
                    <a:pt x="640" y="492"/>
                    <a:pt x="640" y="492"/>
                  </a:cubicBezTo>
                  <a:cubicBezTo>
                    <a:pt x="688" y="488"/>
                    <a:pt x="728" y="476"/>
                    <a:pt x="776" y="468"/>
                  </a:cubicBezTo>
                  <a:cubicBezTo>
                    <a:pt x="772" y="448"/>
                    <a:pt x="768" y="440"/>
                    <a:pt x="748" y="432"/>
                  </a:cubicBezTo>
                  <a:cubicBezTo>
                    <a:pt x="740" y="416"/>
                    <a:pt x="704" y="392"/>
                    <a:pt x="688" y="384"/>
                  </a:cubicBezTo>
                  <a:cubicBezTo>
                    <a:pt x="680" y="360"/>
                    <a:pt x="656" y="336"/>
                    <a:pt x="640" y="312"/>
                  </a:cubicBezTo>
                  <a:cubicBezTo>
                    <a:pt x="604" y="260"/>
                    <a:pt x="652" y="232"/>
                    <a:pt x="556" y="224"/>
                  </a:cubicBezTo>
                  <a:cubicBezTo>
                    <a:pt x="540" y="196"/>
                    <a:pt x="532" y="204"/>
                    <a:pt x="508" y="188"/>
                  </a:cubicBezTo>
                  <a:cubicBezTo>
                    <a:pt x="528" y="84"/>
                    <a:pt x="536" y="76"/>
                    <a:pt x="420" y="72"/>
                  </a:cubicBezTo>
                  <a:cubicBezTo>
                    <a:pt x="416" y="56"/>
                    <a:pt x="400" y="56"/>
                    <a:pt x="388" y="48"/>
                  </a:cubicBezTo>
                  <a:cubicBezTo>
                    <a:pt x="344" y="64"/>
                    <a:pt x="288" y="36"/>
                    <a:pt x="244" y="28"/>
                  </a:cubicBezTo>
                  <a:cubicBezTo>
                    <a:pt x="228" y="16"/>
                    <a:pt x="196" y="0"/>
                    <a:pt x="196" y="0"/>
                  </a:cubicBezTo>
                  <a:cubicBezTo>
                    <a:pt x="168" y="4"/>
                    <a:pt x="112" y="12"/>
                    <a:pt x="112" y="12"/>
                  </a:cubicBezTo>
                  <a:cubicBezTo>
                    <a:pt x="96" y="56"/>
                    <a:pt x="56" y="52"/>
                    <a:pt x="16" y="56"/>
                  </a:cubicBezTo>
                  <a:cubicBezTo>
                    <a:pt x="0" y="104"/>
                    <a:pt x="16" y="92"/>
                    <a:pt x="48" y="124"/>
                  </a:cubicBezTo>
                  <a:cubicBezTo>
                    <a:pt x="52" y="136"/>
                    <a:pt x="60" y="156"/>
                    <a:pt x="100" y="172"/>
                  </a:cubicBezTo>
                  <a:cubicBezTo>
                    <a:pt x="116" y="192"/>
                    <a:pt x="123" y="197"/>
                    <a:pt x="135" y="212"/>
                  </a:cubicBezTo>
                  <a:cubicBezTo>
                    <a:pt x="158" y="231"/>
                    <a:pt x="153" y="233"/>
                    <a:pt x="173" y="245"/>
                  </a:cubicBezTo>
                  <a:cubicBezTo>
                    <a:pt x="177" y="261"/>
                    <a:pt x="185" y="263"/>
                    <a:pt x="194" y="282"/>
                  </a:cubicBezTo>
                  <a:cubicBezTo>
                    <a:pt x="214" y="302"/>
                    <a:pt x="213" y="312"/>
                    <a:pt x="233" y="332"/>
                  </a:cubicBezTo>
                  <a:cubicBezTo>
                    <a:pt x="261" y="342"/>
                    <a:pt x="300" y="364"/>
                    <a:pt x="300" y="364"/>
                  </a:cubicBezTo>
                  <a:cubicBezTo>
                    <a:pt x="311" y="381"/>
                    <a:pt x="300" y="354"/>
                    <a:pt x="317" y="393"/>
                  </a:cubicBezTo>
                  <a:cubicBezTo>
                    <a:pt x="443" y="449"/>
                    <a:pt x="398" y="557"/>
                    <a:pt x="400" y="600"/>
                  </a:cubicBezTo>
                  <a:cubicBezTo>
                    <a:pt x="422" y="668"/>
                    <a:pt x="414" y="645"/>
                    <a:pt x="429" y="701"/>
                  </a:cubicBezTo>
                  <a:cubicBezTo>
                    <a:pt x="433" y="729"/>
                    <a:pt x="446" y="764"/>
                    <a:pt x="452" y="780"/>
                  </a:cubicBezTo>
                  <a:cubicBezTo>
                    <a:pt x="461" y="794"/>
                    <a:pt x="464" y="798"/>
                    <a:pt x="474" y="810"/>
                  </a:cubicBezTo>
                  <a:cubicBezTo>
                    <a:pt x="478" y="826"/>
                    <a:pt x="484" y="816"/>
                    <a:pt x="484" y="824"/>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403" name="Freeform 2527"/>
            <p:cNvSpPr>
              <a:spLocks noChangeAspect="1"/>
            </p:cNvSpPr>
            <p:nvPr>
              <p:custDataLst>
                <p:tags r:id="rId32"/>
              </p:custDataLst>
            </p:nvPr>
          </p:nvSpPr>
          <p:spPr bwMode="auto">
            <a:xfrm>
              <a:off x="5557869" y="4697310"/>
              <a:ext cx="952490" cy="684183"/>
            </a:xfrm>
            <a:custGeom>
              <a:avLst/>
              <a:gdLst>
                <a:gd name="T0" fmla="*/ 1831 w 1991"/>
                <a:gd name="T1" fmla="*/ 1035 h 1428"/>
                <a:gd name="T2" fmla="*/ 1927 w 1991"/>
                <a:gd name="T3" fmla="*/ 827 h 1428"/>
                <a:gd name="T4" fmla="*/ 1947 w 1991"/>
                <a:gd name="T5" fmla="*/ 684 h 1428"/>
                <a:gd name="T6" fmla="*/ 1759 w 1991"/>
                <a:gd name="T7" fmla="*/ 747 h 1428"/>
                <a:gd name="T8" fmla="*/ 1659 w 1991"/>
                <a:gd name="T9" fmla="*/ 743 h 1428"/>
                <a:gd name="T10" fmla="*/ 1603 w 1991"/>
                <a:gd name="T11" fmla="*/ 636 h 1428"/>
                <a:gd name="T12" fmla="*/ 1483 w 1991"/>
                <a:gd name="T13" fmla="*/ 296 h 1428"/>
                <a:gd name="T14" fmla="*/ 1399 w 1991"/>
                <a:gd name="T15" fmla="*/ 236 h 1428"/>
                <a:gd name="T16" fmla="*/ 1299 w 1991"/>
                <a:gd name="T17" fmla="*/ 116 h 1428"/>
                <a:gd name="T18" fmla="*/ 1207 w 1991"/>
                <a:gd name="T19" fmla="*/ 24 h 1428"/>
                <a:gd name="T20" fmla="*/ 1079 w 1991"/>
                <a:gd name="T21" fmla="*/ 100 h 1428"/>
                <a:gd name="T22" fmla="*/ 915 w 1991"/>
                <a:gd name="T23" fmla="*/ 192 h 1428"/>
                <a:gd name="T24" fmla="*/ 835 w 1991"/>
                <a:gd name="T25" fmla="*/ 228 h 1428"/>
                <a:gd name="T26" fmla="*/ 483 w 1991"/>
                <a:gd name="T27" fmla="*/ 228 h 1428"/>
                <a:gd name="T28" fmla="*/ 363 w 1991"/>
                <a:gd name="T29" fmla="*/ 320 h 1428"/>
                <a:gd name="T30" fmla="*/ 319 w 1991"/>
                <a:gd name="T31" fmla="*/ 372 h 1428"/>
                <a:gd name="T32" fmla="*/ 219 w 1991"/>
                <a:gd name="T33" fmla="*/ 680 h 1428"/>
                <a:gd name="T34" fmla="*/ 161 w 1991"/>
                <a:gd name="T35" fmla="*/ 800 h 1428"/>
                <a:gd name="T36" fmla="*/ 20 w 1991"/>
                <a:gd name="T37" fmla="*/ 866 h 1428"/>
                <a:gd name="T38" fmla="*/ 105 w 1991"/>
                <a:gd name="T39" fmla="*/ 927 h 1428"/>
                <a:gd name="T40" fmla="*/ 225 w 1991"/>
                <a:gd name="T41" fmla="*/ 1076 h 1428"/>
                <a:gd name="T42" fmla="*/ 315 w 1991"/>
                <a:gd name="T43" fmla="*/ 1111 h 1428"/>
                <a:gd name="T44" fmla="*/ 422 w 1991"/>
                <a:gd name="T45" fmla="*/ 1233 h 1428"/>
                <a:gd name="T46" fmla="*/ 491 w 1991"/>
                <a:gd name="T47" fmla="*/ 1248 h 1428"/>
                <a:gd name="T48" fmla="*/ 600 w 1991"/>
                <a:gd name="T49" fmla="*/ 1301 h 1428"/>
                <a:gd name="T50" fmla="*/ 656 w 1991"/>
                <a:gd name="T51" fmla="*/ 1329 h 1428"/>
                <a:gd name="T52" fmla="*/ 725 w 1991"/>
                <a:gd name="T53" fmla="*/ 1425 h 1428"/>
                <a:gd name="T54" fmla="*/ 1026 w 1991"/>
                <a:gd name="T55" fmla="*/ 1397 h 1428"/>
                <a:gd name="T56" fmla="*/ 1230 w 1991"/>
                <a:gd name="T57" fmla="*/ 1359 h 1428"/>
                <a:gd name="T58" fmla="*/ 1311 w 1991"/>
                <a:gd name="T59" fmla="*/ 1295 h 1428"/>
                <a:gd name="T60" fmla="*/ 1455 w 1991"/>
                <a:gd name="T61" fmla="*/ 1203 h 1428"/>
                <a:gd name="T62" fmla="*/ 1557 w 1991"/>
                <a:gd name="T63" fmla="*/ 1158 h 1428"/>
                <a:gd name="T64" fmla="*/ 1803 w 1991"/>
                <a:gd name="T65" fmla="*/ 1195 h 14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91"/>
                <a:gd name="T100" fmla="*/ 0 h 1428"/>
                <a:gd name="T101" fmla="*/ 1991 w 1991"/>
                <a:gd name="T102" fmla="*/ 1428 h 14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91" h="1428">
                  <a:moveTo>
                    <a:pt x="1847" y="1195"/>
                  </a:moveTo>
                  <a:cubicBezTo>
                    <a:pt x="1855" y="1139"/>
                    <a:pt x="1851" y="1087"/>
                    <a:pt x="1831" y="1035"/>
                  </a:cubicBezTo>
                  <a:cubicBezTo>
                    <a:pt x="1835" y="963"/>
                    <a:pt x="1815" y="903"/>
                    <a:pt x="1875" y="863"/>
                  </a:cubicBezTo>
                  <a:cubicBezTo>
                    <a:pt x="1879" y="847"/>
                    <a:pt x="1911" y="835"/>
                    <a:pt x="1927" y="827"/>
                  </a:cubicBezTo>
                  <a:cubicBezTo>
                    <a:pt x="1939" y="823"/>
                    <a:pt x="1963" y="815"/>
                    <a:pt x="1963" y="815"/>
                  </a:cubicBezTo>
                  <a:cubicBezTo>
                    <a:pt x="1991" y="787"/>
                    <a:pt x="1975" y="712"/>
                    <a:pt x="1947" y="684"/>
                  </a:cubicBezTo>
                  <a:cubicBezTo>
                    <a:pt x="1935" y="644"/>
                    <a:pt x="1863" y="672"/>
                    <a:pt x="1823" y="676"/>
                  </a:cubicBezTo>
                  <a:cubicBezTo>
                    <a:pt x="1815" y="708"/>
                    <a:pt x="1791" y="735"/>
                    <a:pt x="1759" y="747"/>
                  </a:cubicBezTo>
                  <a:cubicBezTo>
                    <a:pt x="1747" y="775"/>
                    <a:pt x="1735" y="767"/>
                    <a:pt x="1703" y="763"/>
                  </a:cubicBezTo>
                  <a:cubicBezTo>
                    <a:pt x="1687" y="755"/>
                    <a:pt x="1675" y="751"/>
                    <a:pt x="1659" y="743"/>
                  </a:cubicBezTo>
                  <a:cubicBezTo>
                    <a:pt x="1647" y="727"/>
                    <a:pt x="1639" y="708"/>
                    <a:pt x="1627" y="696"/>
                  </a:cubicBezTo>
                  <a:cubicBezTo>
                    <a:pt x="1619" y="688"/>
                    <a:pt x="1603" y="636"/>
                    <a:pt x="1603" y="636"/>
                  </a:cubicBezTo>
                  <a:cubicBezTo>
                    <a:pt x="1595" y="604"/>
                    <a:pt x="1587" y="560"/>
                    <a:pt x="1567" y="500"/>
                  </a:cubicBezTo>
                  <a:cubicBezTo>
                    <a:pt x="1583" y="396"/>
                    <a:pt x="1563" y="324"/>
                    <a:pt x="1483" y="296"/>
                  </a:cubicBezTo>
                  <a:cubicBezTo>
                    <a:pt x="1475" y="276"/>
                    <a:pt x="1467" y="268"/>
                    <a:pt x="1447" y="260"/>
                  </a:cubicBezTo>
                  <a:cubicBezTo>
                    <a:pt x="1431" y="244"/>
                    <a:pt x="1419" y="244"/>
                    <a:pt x="1399" y="236"/>
                  </a:cubicBezTo>
                  <a:cubicBezTo>
                    <a:pt x="1387" y="216"/>
                    <a:pt x="1379" y="204"/>
                    <a:pt x="1363" y="192"/>
                  </a:cubicBezTo>
                  <a:cubicBezTo>
                    <a:pt x="1359" y="176"/>
                    <a:pt x="1319" y="124"/>
                    <a:pt x="1299" y="116"/>
                  </a:cubicBezTo>
                  <a:cubicBezTo>
                    <a:pt x="1291" y="88"/>
                    <a:pt x="1255" y="76"/>
                    <a:pt x="1231" y="60"/>
                  </a:cubicBezTo>
                  <a:cubicBezTo>
                    <a:pt x="1223" y="48"/>
                    <a:pt x="1219" y="36"/>
                    <a:pt x="1207" y="24"/>
                  </a:cubicBezTo>
                  <a:cubicBezTo>
                    <a:pt x="1199" y="0"/>
                    <a:pt x="1135" y="44"/>
                    <a:pt x="1135" y="44"/>
                  </a:cubicBezTo>
                  <a:cubicBezTo>
                    <a:pt x="1111" y="76"/>
                    <a:pt x="1123" y="92"/>
                    <a:pt x="1079" y="100"/>
                  </a:cubicBezTo>
                  <a:cubicBezTo>
                    <a:pt x="1063" y="108"/>
                    <a:pt x="1043" y="116"/>
                    <a:pt x="1027" y="128"/>
                  </a:cubicBezTo>
                  <a:cubicBezTo>
                    <a:pt x="1015" y="164"/>
                    <a:pt x="943" y="168"/>
                    <a:pt x="915" y="192"/>
                  </a:cubicBezTo>
                  <a:cubicBezTo>
                    <a:pt x="899" y="196"/>
                    <a:pt x="871" y="204"/>
                    <a:pt x="871" y="204"/>
                  </a:cubicBezTo>
                  <a:cubicBezTo>
                    <a:pt x="859" y="216"/>
                    <a:pt x="847" y="220"/>
                    <a:pt x="835" y="228"/>
                  </a:cubicBezTo>
                  <a:cubicBezTo>
                    <a:pt x="723" y="216"/>
                    <a:pt x="787" y="220"/>
                    <a:pt x="643" y="216"/>
                  </a:cubicBezTo>
                  <a:cubicBezTo>
                    <a:pt x="535" y="220"/>
                    <a:pt x="543" y="180"/>
                    <a:pt x="483" y="228"/>
                  </a:cubicBezTo>
                  <a:cubicBezTo>
                    <a:pt x="475" y="248"/>
                    <a:pt x="435" y="292"/>
                    <a:pt x="411" y="296"/>
                  </a:cubicBezTo>
                  <a:cubicBezTo>
                    <a:pt x="399" y="312"/>
                    <a:pt x="383" y="312"/>
                    <a:pt x="363" y="320"/>
                  </a:cubicBezTo>
                  <a:cubicBezTo>
                    <a:pt x="359" y="320"/>
                    <a:pt x="351" y="324"/>
                    <a:pt x="351" y="324"/>
                  </a:cubicBezTo>
                  <a:cubicBezTo>
                    <a:pt x="339" y="340"/>
                    <a:pt x="331" y="360"/>
                    <a:pt x="319" y="372"/>
                  </a:cubicBezTo>
                  <a:cubicBezTo>
                    <a:pt x="295" y="440"/>
                    <a:pt x="287" y="528"/>
                    <a:pt x="247" y="588"/>
                  </a:cubicBezTo>
                  <a:cubicBezTo>
                    <a:pt x="233" y="623"/>
                    <a:pt x="235" y="632"/>
                    <a:pt x="219" y="680"/>
                  </a:cubicBezTo>
                  <a:cubicBezTo>
                    <a:pt x="215" y="720"/>
                    <a:pt x="203" y="725"/>
                    <a:pt x="183" y="753"/>
                  </a:cubicBezTo>
                  <a:cubicBezTo>
                    <a:pt x="173" y="772"/>
                    <a:pt x="174" y="780"/>
                    <a:pt x="161" y="800"/>
                  </a:cubicBezTo>
                  <a:cubicBezTo>
                    <a:pt x="144" y="813"/>
                    <a:pt x="98" y="825"/>
                    <a:pt x="83" y="849"/>
                  </a:cubicBezTo>
                  <a:cubicBezTo>
                    <a:pt x="60" y="860"/>
                    <a:pt x="27" y="862"/>
                    <a:pt x="20" y="866"/>
                  </a:cubicBezTo>
                  <a:cubicBezTo>
                    <a:pt x="0" y="878"/>
                    <a:pt x="33" y="866"/>
                    <a:pt x="36" y="881"/>
                  </a:cubicBezTo>
                  <a:cubicBezTo>
                    <a:pt x="50" y="921"/>
                    <a:pt x="90" y="912"/>
                    <a:pt x="105" y="927"/>
                  </a:cubicBezTo>
                  <a:cubicBezTo>
                    <a:pt x="129" y="959"/>
                    <a:pt x="141" y="962"/>
                    <a:pt x="163" y="991"/>
                  </a:cubicBezTo>
                  <a:cubicBezTo>
                    <a:pt x="170" y="1017"/>
                    <a:pt x="206" y="1035"/>
                    <a:pt x="225" y="1076"/>
                  </a:cubicBezTo>
                  <a:cubicBezTo>
                    <a:pt x="248" y="1083"/>
                    <a:pt x="257" y="1079"/>
                    <a:pt x="281" y="1086"/>
                  </a:cubicBezTo>
                  <a:cubicBezTo>
                    <a:pt x="293" y="1090"/>
                    <a:pt x="315" y="1111"/>
                    <a:pt x="315" y="1111"/>
                  </a:cubicBezTo>
                  <a:cubicBezTo>
                    <a:pt x="319" y="1199"/>
                    <a:pt x="288" y="1233"/>
                    <a:pt x="375" y="1231"/>
                  </a:cubicBezTo>
                  <a:cubicBezTo>
                    <a:pt x="391" y="1235"/>
                    <a:pt x="399" y="1226"/>
                    <a:pt x="422" y="1233"/>
                  </a:cubicBezTo>
                  <a:cubicBezTo>
                    <a:pt x="430" y="1237"/>
                    <a:pt x="462" y="1251"/>
                    <a:pt x="462" y="1251"/>
                  </a:cubicBezTo>
                  <a:cubicBezTo>
                    <a:pt x="473" y="1253"/>
                    <a:pt x="475" y="1254"/>
                    <a:pt x="491" y="1248"/>
                  </a:cubicBezTo>
                  <a:cubicBezTo>
                    <a:pt x="497" y="1235"/>
                    <a:pt x="498" y="1226"/>
                    <a:pt x="557" y="1206"/>
                  </a:cubicBezTo>
                  <a:cubicBezTo>
                    <a:pt x="581" y="1214"/>
                    <a:pt x="609" y="1265"/>
                    <a:pt x="600" y="1301"/>
                  </a:cubicBezTo>
                  <a:cubicBezTo>
                    <a:pt x="604" y="1309"/>
                    <a:pt x="618" y="1301"/>
                    <a:pt x="629" y="1316"/>
                  </a:cubicBezTo>
                  <a:cubicBezTo>
                    <a:pt x="641" y="1320"/>
                    <a:pt x="656" y="1329"/>
                    <a:pt x="656" y="1329"/>
                  </a:cubicBezTo>
                  <a:cubicBezTo>
                    <a:pt x="698" y="1392"/>
                    <a:pt x="678" y="1401"/>
                    <a:pt x="685" y="1415"/>
                  </a:cubicBezTo>
                  <a:cubicBezTo>
                    <a:pt x="704" y="1421"/>
                    <a:pt x="707" y="1423"/>
                    <a:pt x="725" y="1425"/>
                  </a:cubicBezTo>
                  <a:cubicBezTo>
                    <a:pt x="747" y="1428"/>
                    <a:pt x="771" y="1425"/>
                    <a:pt x="795" y="1425"/>
                  </a:cubicBezTo>
                  <a:cubicBezTo>
                    <a:pt x="871" y="1421"/>
                    <a:pt x="942" y="1409"/>
                    <a:pt x="1026" y="1397"/>
                  </a:cubicBezTo>
                  <a:cubicBezTo>
                    <a:pt x="1074" y="1389"/>
                    <a:pt x="1122" y="1385"/>
                    <a:pt x="1175" y="1380"/>
                  </a:cubicBezTo>
                  <a:cubicBezTo>
                    <a:pt x="1196" y="1371"/>
                    <a:pt x="1230" y="1359"/>
                    <a:pt x="1230" y="1359"/>
                  </a:cubicBezTo>
                  <a:cubicBezTo>
                    <a:pt x="1242" y="1351"/>
                    <a:pt x="1251" y="1346"/>
                    <a:pt x="1263" y="1338"/>
                  </a:cubicBezTo>
                  <a:cubicBezTo>
                    <a:pt x="1267" y="1322"/>
                    <a:pt x="1295" y="1307"/>
                    <a:pt x="1311" y="1295"/>
                  </a:cubicBezTo>
                  <a:cubicBezTo>
                    <a:pt x="1323" y="1274"/>
                    <a:pt x="1343" y="1257"/>
                    <a:pt x="1355" y="1233"/>
                  </a:cubicBezTo>
                  <a:cubicBezTo>
                    <a:pt x="1382" y="1216"/>
                    <a:pt x="1428" y="1213"/>
                    <a:pt x="1455" y="1203"/>
                  </a:cubicBezTo>
                  <a:cubicBezTo>
                    <a:pt x="1476" y="1182"/>
                    <a:pt x="1519" y="1175"/>
                    <a:pt x="1519" y="1175"/>
                  </a:cubicBezTo>
                  <a:cubicBezTo>
                    <a:pt x="1527" y="1167"/>
                    <a:pt x="1557" y="1158"/>
                    <a:pt x="1557" y="1158"/>
                  </a:cubicBezTo>
                  <a:cubicBezTo>
                    <a:pt x="1581" y="1162"/>
                    <a:pt x="1605" y="1154"/>
                    <a:pt x="1629" y="1158"/>
                  </a:cubicBezTo>
                  <a:cubicBezTo>
                    <a:pt x="1670" y="1172"/>
                    <a:pt x="1773" y="1197"/>
                    <a:pt x="1803" y="1195"/>
                  </a:cubicBezTo>
                  <a:cubicBezTo>
                    <a:pt x="1811" y="1195"/>
                    <a:pt x="1871" y="1219"/>
                    <a:pt x="1847" y="1195"/>
                  </a:cubicBezTo>
                  <a:close/>
                </a:path>
              </a:pathLst>
            </a:custGeom>
            <a:solidFill>
              <a:srgbClr val="8D9399"/>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404" name="Freeform 2528"/>
            <p:cNvSpPr>
              <a:spLocks noChangeAspect="1"/>
            </p:cNvSpPr>
            <p:nvPr>
              <p:custDataLst>
                <p:tags r:id="rId33"/>
              </p:custDataLst>
            </p:nvPr>
          </p:nvSpPr>
          <p:spPr bwMode="auto">
            <a:xfrm>
              <a:off x="5828092" y="5251172"/>
              <a:ext cx="632438" cy="479120"/>
            </a:xfrm>
            <a:custGeom>
              <a:avLst/>
              <a:gdLst>
                <a:gd name="T0" fmla="*/ 1283 w 1320"/>
                <a:gd name="T1" fmla="*/ 578 h 999"/>
                <a:gd name="T2" fmla="*/ 1276 w 1320"/>
                <a:gd name="T3" fmla="*/ 507 h 999"/>
                <a:gd name="T4" fmla="*/ 1216 w 1320"/>
                <a:gd name="T5" fmla="*/ 480 h 999"/>
                <a:gd name="T6" fmla="*/ 1192 w 1320"/>
                <a:gd name="T7" fmla="*/ 464 h 999"/>
                <a:gd name="T8" fmla="*/ 1188 w 1320"/>
                <a:gd name="T9" fmla="*/ 368 h 999"/>
                <a:gd name="T10" fmla="*/ 1192 w 1320"/>
                <a:gd name="T11" fmla="*/ 288 h 999"/>
                <a:gd name="T12" fmla="*/ 1312 w 1320"/>
                <a:gd name="T13" fmla="*/ 128 h 999"/>
                <a:gd name="T14" fmla="*/ 1272 w 1320"/>
                <a:gd name="T15" fmla="*/ 48 h 999"/>
                <a:gd name="T16" fmla="*/ 1216 w 1320"/>
                <a:gd name="T17" fmla="*/ 40 h 999"/>
                <a:gd name="T18" fmla="*/ 1104 w 1320"/>
                <a:gd name="T19" fmla="*/ 16 h 999"/>
                <a:gd name="T20" fmla="*/ 1044 w 1320"/>
                <a:gd name="T21" fmla="*/ 0 h 999"/>
                <a:gd name="T22" fmla="*/ 924 w 1320"/>
                <a:gd name="T23" fmla="*/ 24 h 999"/>
                <a:gd name="T24" fmla="*/ 888 w 1320"/>
                <a:gd name="T25" fmla="*/ 48 h 999"/>
                <a:gd name="T26" fmla="*/ 784 w 1320"/>
                <a:gd name="T27" fmla="*/ 80 h 999"/>
                <a:gd name="T28" fmla="*/ 760 w 1320"/>
                <a:gd name="T29" fmla="*/ 112 h 999"/>
                <a:gd name="T30" fmla="*/ 736 w 1320"/>
                <a:gd name="T31" fmla="*/ 140 h 999"/>
                <a:gd name="T32" fmla="*/ 700 w 1320"/>
                <a:gd name="T33" fmla="*/ 172 h 999"/>
                <a:gd name="T34" fmla="*/ 612 w 1320"/>
                <a:gd name="T35" fmla="*/ 224 h 999"/>
                <a:gd name="T36" fmla="*/ 192 w 1320"/>
                <a:gd name="T37" fmla="*/ 272 h 999"/>
                <a:gd name="T38" fmla="*/ 96 w 1320"/>
                <a:gd name="T39" fmla="*/ 196 h 999"/>
                <a:gd name="T40" fmla="*/ 60 w 1320"/>
                <a:gd name="T41" fmla="*/ 160 h 999"/>
                <a:gd name="T42" fmla="*/ 16 w 1320"/>
                <a:gd name="T43" fmla="*/ 244 h 999"/>
                <a:gd name="T44" fmla="*/ 36 w 1320"/>
                <a:gd name="T45" fmla="*/ 370 h 999"/>
                <a:gd name="T46" fmla="*/ 51 w 1320"/>
                <a:gd name="T47" fmla="*/ 410 h 999"/>
                <a:gd name="T48" fmla="*/ 124 w 1320"/>
                <a:gd name="T49" fmla="*/ 432 h 999"/>
                <a:gd name="T50" fmla="*/ 156 w 1320"/>
                <a:gd name="T51" fmla="*/ 460 h 999"/>
                <a:gd name="T52" fmla="*/ 129 w 1320"/>
                <a:gd name="T53" fmla="*/ 541 h 999"/>
                <a:gd name="T54" fmla="*/ 84 w 1320"/>
                <a:gd name="T55" fmla="*/ 571 h 999"/>
                <a:gd name="T56" fmla="*/ 88 w 1320"/>
                <a:gd name="T57" fmla="*/ 603 h 999"/>
                <a:gd name="T58" fmla="*/ 86 w 1320"/>
                <a:gd name="T59" fmla="*/ 662 h 999"/>
                <a:gd name="T60" fmla="*/ 78 w 1320"/>
                <a:gd name="T61" fmla="*/ 739 h 999"/>
                <a:gd name="T62" fmla="*/ 93 w 1320"/>
                <a:gd name="T63" fmla="*/ 764 h 999"/>
                <a:gd name="T64" fmla="*/ 160 w 1320"/>
                <a:gd name="T65" fmla="*/ 799 h 999"/>
                <a:gd name="T66" fmla="*/ 216 w 1320"/>
                <a:gd name="T67" fmla="*/ 835 h 999"/>
                <a:gd name="T68" fmla="*/ 252 w 1320"/>
                <a:gd name="T69" fmla="*/ 907 h 999"/>
                <a:gd name="T70" fmla="*/ 248 w 1320"/>
                <a:gd name="T71" fmla="*/ 999 h 999"/>
                <a:gd name="T72" fmla="*/ 269 w 1320"/>
                <a:gd name="T73" fmla="*/ 977 h 999"/>
                <a:gd name="T74" fmla="*/ 438 w 1320"/>
                <a:gd name="T75" fmla="*/ 956 h 999"/>
                <a:gd name="T76" fmla="*/ 450 w 1320"/>
                <a:gd name="T77" fmla="*/ 923 h 999"/>
                <a:gd name="T78" fmla="*/ 500 w 1320"/>
                <a:gd name="T79" fmla="*/ 878 h 999"/>
                <a:gd name="T80" fmla="*/ 536 w 1320"/>
                <a:gd name="T81" fmla="*/ 865 h 999"/>
                <a:gd name="T82" fmla="*/ 600 w 1320"/>
                <a:gd name="T83" fmla="*/ 887 h 999"/>
                <a:gd name="T84" fmla="*/ 720 w 1320"/>
                <a:gd name="T85" fmla="*/ 911 h 999"/>
                <a:gd name="T86" fmla="*/ 819 w 1320"/>
                <a:gd name="T87" fmla="*/ 898 h 999"/>
                <a:gd name="T88" fmla="*/ 852 w 1320"/>
                <a:gd name="T89" fmla="*/ 883 h 999"/>
                <a:gd name="T90" fmla="*/ 928 w 1320"/>
                <a:gd name="T91" fmla="*/ 855 h 999"/>
                <a:gd name="T92" fmla="*/ 924 w 1320"/>
                <a:gd name="T93" fmla="*/ 770 h 999"/>
                <a:gd name="T94" fmla="*/ 917 w 1320"/>
                <a:gd name="T95" fmla="*/ 722 h 999"/>
                <a:gd name="T96" fmla="*/ 941 w 1320"/>
                <a:gd name="T97" fmla="*/ 730 h 999"/>
                <a:gd name="T98" fmla="*/ 965 w 1320"/>
                <a:gd name="T99" fmla="*/ 749 h 999"/>
                <a:gd name="T100" fmla="*/ 1002 w 1320"/>
                <a:gd name="T101" fmla="*/ 767 h 999"/>
                <a:gd name="T102" fmla="*/ 969 w 1320"/>
                <a:gd name="T103" fmla="*/ 737 h 999"/>
                <a:gd name="T104" fmla="*/ 975 w 1320"/>
                <a:gd name="T105" fmla="*/ 716 h 999"/>
                <a:gd name="T106" fmla="*/ 992 w 1320"/>
                <a:gd name="T107" fmla="*/ 701 h 999"/>
                <a:gd name="T108" fmla="*/ 995 w 1320"/>
                <a:gd name="T109" fmla="*/ 685 h 999"/>
                <a:gd name="T110" fmla="*/ 1007 w 1320"/>
                <a:gd name="T111" fmla="*/ 655 h 999"/>
                <a:gd name="T112" fmla="*/ 1037 w 1320"/>
                <a:gd name="T113" fmla="*/ 638 h 999"/>
                <a:gd name="T114" fmla="*/ 1118 w 1320"/>
                <a:gd name="T115" fmla="*/ 586 h 999"/>
                <a:gd name="T116" fmla="*/ 1200 w 1320"/>
                <a:gd name="T117" fmla="*/ 603 h 999"/>
                <a:gd name="T118" fmla="*/ 1257 w 1320"/>
                <a:gd name="T119" fmla="*/ 596 h 999"/>
                <a:gd name="T120" fmla="*/ 1283 w 1320"/>
                <a:gd name="T121" fmla="*/ 578 h 99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320"/>
                <a:gd name="T184" fmla="*/ 0 h 999"/>
                <a:gd name="T185" fmla="*/ 1320 w 1320"/>
                <a:gd name="T186" fmla="*/ 999 h 99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320" h="999">
                  <a:moveTo>
                    <a:pt x="1283" y="578"/>
                  </a:moveTo>
                  <a:cubicBezTo>
                    <a:pt x="1307" y="570"/>
                    <a:pt x="1284" y="527"/>
                    <a:pt x="1276" y="507"/>
                  </a:cubicBezTo>
                  <a:cubicBezTo>
                    <a:pt x="1272" y="500"/>
                    <a:pt x="1224" y="484"/>
                    <a:pt x="1216" y="480"/>
                  </a:cubicBezTo>
                  <a:cubicBezTo>
                    <a:pt x="1208" y="476"/>
                    <a:pt x="1192" y="464"/>
                    <a:pt x="1192" y="464"/>
                  </a:cubicBezTo>
                  <a:cubicBezTo>
                    <a:pt x="1172" y="436"/>
                    <a:pt x="1184" y="400"/>
                    <a:pt x="1188" y="368"/>
                  </a:cubicBezTo>
                  <a:cubicBezTo>
                    <a:pt x="1188" y="340"/>
                    <a:pt x="1192" y="316"/>
                    <a:pt x="1192" y="288"/>
                  </a:cubicBezTo>
                  <a:cubicBezTo>
                    <a:pt x="1200" y="164"/>
                    <a:pt x="1196" y="144"/>
                    <a:pt x="1312" y="128"/>
                  </a:cubicBezTo>
                  <a:cubicBezTo>
                    <a:pt x="1320" y="116"/>
                    <a:pt x="1292" y="56"/>
                    <a:pt x="1272" y="48"/>
                  </a:cubicBezTo>
                  <a:cubicBezTo>
                    <a:pt x="1256" y="40"/>
                    <a:pt x="1228" y="40"/>
                    <a:pt x="1216" y="40"/>
                  </a:cubicBezTo>
                  <a:cubicBezTo>
                    <a:pt x="1176" y="28"/>
                    <a:pt x="1144" y="20"/>
                    <a:pt x="1104" y="16"/>
                  </a:cubicBezTo>
                  <a:cubicBezTo>
                    <a:pt x="1084" y="8"/>
                    <a:pt x="1064" y="4"/>
                    <a:pt x="1044" y="0"/>
                  </a:cubicBezTo>
                  <a:cubicBezTo>
                    <a:pt x="996" y="4"/>
                    <a:pt x="968" y="8"/>
                    <a:pt x="924" y="24"/>
                  </a:cubicBezTo>
                  <a:cubicBezTo>
                    <a:pt x="912" y="28"/>
                    <a:pt x="900" y="44"/>
                    <a:pt x="888" y="48"/>
                  </a:cubicBezTo>
                  <a:cubicBezTo>
                    <a:pt x="852" y="56"/>
                    <a:pt x="816" y="64"/>
                    <a:pt x="784" y="80"/>
                  </a:cubicBezTo>
                  <a:cubicBezTo>
                    <a:pt x="780" y="96"/>
                    <a:pt x="772" y="104"/>
                    <a:pt x="760" y="112"/>
                  </a:cubicBezTo>
                  <a:cubicBezTo>
                    <a:pt x="752" y="128"/>
                    <a:pt x="752" y="136"/>
                    <a:pt x="736" y="140"/>
                  </a:cubicBezTo>
                  <a:cubicBezTo>
                    <a:pt x="708" y="168"/>
                    <a:pt x="720" y="156"/>
                    <a:pt x="700" y="172"/>
                  </a:cubicBezTo>
                  <a:cubicBezTo>
                    <a:pt x="688" y="208"/>
                    <a:pt x="648" y="200"/>
                    <a:pt x="612" y="224"/>
                  </a:cubicBezTo>
                  <a:cubicBezTo>
                    <a:pt x="492" y="232"/>
                    <a:pt x="336" y="264"/>
                    <a:pt x="192" y="272"/>
                  </a:cubicBezTo>
                  <a:cubicBezTo>
                    <a:pt x="72" y="264"/>
                    <a:pt x="152" y="252"/>
                    <a:pt x="96" y="196"/>
                  </a:cubicBezTo>
                  <a:cubicBezTo>
                    <a:pt x="88" y="168"/>
                    <a:pt x="80" y="172"/>
                    <a:pt x="60" y="160"/>
                  </a:cubicBezTo>
                  <a:cubicBezTo>
                    <a:pt x="48" y="191"/>
                    <a:pt x="33" y="242"/>
                    <a:pt x="16" y="244"/>
                  </a:cubicBezTo>
                  <a:cubicBezTo>
                    <a:pt x="0" y="288"/>
                    <a:pt x="27" y="326"/>
                    <a:pt x="36" y="370"/>
                  </a:cubicBezTo>
                  <a:cubicBezTo>
                    <a:pt x="39" y="397"/>
                    <a:pt x="43" y="406"/>
                    <a:pt x="51" y="410"/>
                  </a:cubicBezTo>
                  <a:cubicBezTo>
                    <a:pt x="86" y="415"/>
                    <a:pt x="108" y="424"/>
                    <a:pt x="124" y="432"/>
                  </a:cubicBezTo>
                  <a:cubicBezTo>
                    <a:pt x="136" y="448"/>
                    <a:pt x="140" y="448"/>
                    <a:pt x="156" y="460"/>
                  </a:cubicBezTo>
                  <a:cubicBezTo>
                    <a:pt x="169" y="502"/>
                    <a:pt x="142" y="523"/>
                    <a:pt x="129" y="541"/>
                  </a:cubicBezTo>
                  <a:cubicBezTo>
                    <a:pt x="115" y="557"/>
                    <a:pt x="91" y="559"/>
                    <a:pt x="84" y="571"/>
                  </a:cubicBezTo>
                  <a:cubicBezTo>
                    <a:pt x="80" y="592"/>
                    <a:pt x="80" y="583"/>
                    <a:pt x="88" y="603"/>
                  </a:cubicBezTo>
                  <a:cubicBezTo>
                    <a:pt x="92" y="626"/>
                    <a:pt x="87" y="637"/>
                    <a:pt x="86" y="662"/>
                  </a:cubicBezTo>
                  <a:cubicBezTo>
                    <a:pt x="89" y="695"/>
                    <a:pt x="86" y="715"/>
                    <a:pt x="78" y="739"/>
                  </a:cubicBezTo>
                  <a:cubicBezTo>
                    <a:pt x="84" y="755"/>
                    <a:pt x="79" y="754"/>
                    <a:pt x="93" y="764"/>
                  </a:cubicBezTo>
                  <a:cubicBezTo>
                    <a:pt x="107" y="774"/>
                    <a:pt x="139" y="787"/>
                    <a:pt x="160" y="799"/>
                  </a:cubicBezTo>
                  <a:cubicBezTo>
                    <a:pt x="183" y="817"/>
                    <a:pt x="201" y="817"/>
                    <a:pt x="216" y="835"/>
                  </a:cubicBezTo>
                  <a:cubicBezTo>
                    <a:pt x="232" y="859"/>
                    <a:pt x="245" y="878"/>
                    <a:pt x="252" y="907"/>
                  </a:cubicBezTo>
                  <a:cubicBezTo>
                    <a:pt x="248" y="943"/>
                    <a:pt x="244" y="963"/>
                    <a:pt x="248" y="999"/>
                  </a:cubicBezTo>
                  <a:cubicBezTo>
                    <a:pt x="252" y="983"/>
                    <a:pt x="269" y="977"/>
                    <a:pt x="269" y="977"/>
                  </a:cubicBezTo>
                  <a:cubicBezTo>
                    <a:pt x="311" y="961"/>
                    <a:pt x="422" y="956"/>
                    <a:pt x="438" y="956"/>
                  </a:cubicBezTo>
                  <a:cubicBezTo>
                    <a:pt x="444" y="941"/>
                    <a:pt x="447" y="931"/>
                    <a:pt x="450" y="923"/>
                  </a:cubicBezTo>
                  <a:cubicBezTo>
                    <a:pt x="477" y="911"/>
                    <a:pt x="480" y="899"/>
                    <a:pt x="500" y="878"/>
                  </a:cubicBezTo>
                  <a:cubicBezTo>
                    <a:pt x="516" y="866"/>
                    <a:pt x="516" y="869"/>
                    <a:pt x="536" y="865"/>
                  </a:cubicBezTo>
                  <a:cubicBezTo>
                    <a:pt x="568" y="869"/>
                    <a:pt x="576" y="875"/>
                    <a:pt x="600" y="887"/>
                  </a:cubicBezTo>
                  <a:cubicBezTo>
                    <a:pt x="650" y="920"/>
                    <a:pt x="668" y="907"/>
                    <a:pt x="720" y="911"/>
                  </a:cubicBezTo>
                  <a:cubicBezTo>
                    <a:pt x="753" y="911"/>
                    <a:pt x="777" y="913"/>
                    <a:pt x="819" y="898"/>
                  </a:cubicBezTo>
                  <a:cubicBezTo>
                    <a:pt x="831" y="894"/>
                    <a:pt x="848" y="881"/>
                    <a:pt x="852" y="883"/>
                  </a:cubicBezTo>
                  <a:cubicBezTo>
                    <a:pt x="869" y="859"/>
                    <a:pt x="900" y="863"/>
                    <a:pt x="928" y="855"/>
                  </a:cubicBezTo>
                  <a:cubicBezTo>
                    <a:pt x="948" y="827"/>
                    <a:pt x="931" y="802"/>
                    <a:pt x="924" y="770"/>
                  </a:cubicBezTo>
                  <a:cubicBezTo>
                    <a:pt x="904" y="753"/>
                    <a:pt x="917" y="722"/>
                    <a:pt x="917" y="722"/>
                  </a:cubicBezTo>
                  <a:cubicBezTo>
                    <a:pt x="933" y="719"/>
                    <a:pt x="925" y="718"/>
                    <a:pt x="941" y="730"/>
                  </a:cubicBezTo>
                  <a:cubicBezTo>
                    <a:pt x="951" y="745"/>
                    <a:pt x="955" y="743"/>
                    <a:pt x="965" y="749"/>
                  </a:cubicBezTo>
                  <a:cubicBezTo>
                    <a:pt x="975" y="755"/>
                    <a:pt x="1001" y="769"/>
                    <a:pt x="1002" y="767"/>
                  </a:cubicBezTo>
                  <a:cubicBezTo>
                    <a:pt x="992" y="728"/>
                    <a:pt x="973" y="745"/>
                    <a:pt x="969" y="737"/>
                  </a:cubicBezTo>
                  <a:cubicBezTo>
                    <a:pt x="965" y="729"/>
                    <a:pt x="971" y="722"/>
                    <a:pt x="975" y="716"/>
                  </a:cubicBezTo>
                  <a:cubicBezTo>
                    <a:pt x="979" y="716"/>
                    <a:pt x="988" y="701"/>
                    <a:pt x="992" y="701"/>
                  </a:cubicBezTo>
                  <a:cubicBezTo>
                    <a:pt x="996" y="697"/>
                    <a:pt x="995" y="689"/>
                    <a:pt x="995" y="685"/>
                  </a:cubicBezTo>
                  <a:cubicBezTo>
                    <a:pt x="995" y="673"/>
                    <a:pt x="1003" y="663"/>
                    <a:pt x="1007" y="655"/>
                  </a:cubicBezTo>
                  <a:cubicBezTo>
                    <a:pt x="1011" y="644"/>
                    <a:pt x="1029" y="642"/>
                    <a:pt x="1037" y="638"/>
                  </a:cubicBezTo>
                  <a:cubicBezTo>
                    <a:pt x="1065" y="620"/>
                    <a:pt x="1082" y="598"/>
                    <a:pt x="1118" y="586"/>
                  </a:cubicBezTo>
                  <a:cubicBezTo>
                    <a:pt x="1145" y="581"/>
                    <a:pt x="1157" y="602"/>
                    <a:pt x="1200" y="603"/>
                  </a:cubicBezTo>
                  <a:cubicBezTo>
                    <a:pt x="1222" y="603"/>
                    <a:pt x="1243" y="600"/>
                    <a:pt x="1257" y="596"/>
                  </a:cubicBezTo>
                  <a:cubicBezTo>
                    <a:pt x="1271" y="592"/>
                    <a:pt x="1266" y="583"/>
                    <a:pt x="1283" y="578"/>
                  </a:cubicBezTo>
                  <a:close/>
                </a:path>
              </a:pathLst>
            </a:custGeom>
            <a:solidFill>
              <a:srgbClr val="8D9399"/>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405" name="Freeform 2529"/>
            <p:cNvSpPr>
              <a:spLocks noChangeAspect="1"/>
            </p:cNvSpPr>
            <p:nvPr>
              <p:custDataLst>
                <p:tags r:id="rId34"/>
              </p:custDataLst>
            </p:nvPr>
          </p:nvSpPr>
          <p:spPr bwMode="auto">
            <a:xfrm>
              <a:off x="5680523" y="5590389"/>
              <a:ext cx="268307" cy="245309"/>
            </a:xfrm>
            <a:custGeom>
              <a:avLst/>
              <a:gdLst>
                <a:gd name="T0" fmla="*/ 380 w 559"/>
                <a:gd name="T1" fmla="*/ 28 h 512"/>
                <a:gd name="T2" fmla="*/ 200 w 559"/>
                <a:gd name="T3" fmla="*/ 83 h 512"/>
                <a:gd name="T4" fmla="*/ 155 w 559"/>
                <a:gd name="T5" fmla="*/ 102 h 512"/>
                <a:gd name="T6" fmla="*/ 52 w 559"/>
                <a:gd name="T7" fmla="*/ 160 h 512"/>
                <a:gd name="T8" fmla="*/ 32 w 559"/>
                <a:gd name="T9" fmla="*/ 200 h 512"/>
                <a:gd name="T10" fmla="*/ 0 w 559"/>
                <a:gd name="T11" fmla="*/ 268 h 512"/>
                <a:gd name="T12" fmla="*/ 16 w 559"/>
                <a:gd name="T13" fmla="*/ 380 h 512"/>
                <a:gd name="T14" fmla="*/ 43 w 559"/>
                <a:gd name="T15" fmla="*/ 437 h 512"/>
                <a:gd name="T16" fmla="*/ 80 w 559"/>
                <a:gd name="T17" fmla="*/ 484 h 512"/>
                <a:gd name="T18" fmla="*/ 121 w 559"/>
                <a:gd name="T19" fmla="*/ 512 h 512"/>
                <a:gd name="T20" fmla="*/ 216 w 559"/>
                <a:gd name="T21" fmla="*/ 484 h 512"/>
                <a:gd name="T22" fmla="*/ 298 w 559"/>
                <a:gd name="T23" fmla="*/ 456 h 512"/>
                <a:gd name="T24" fmla="*/ 329 w 559"/>
                <a:gd name="T25" fmla="*/ 426 h 512"/>
                <a:gd name="T26" fmla="*/ 392 w 559"/>
                <a:gd name="T27" fmla="*/ 369 h 512"/>
                <a:gd name="T28" fmla="*/ 556 w 559"/>
                <a:gd name="T29" fmla="*/ 284 h 512"/>
                <a:gd name="T30" fmla="*/ 559 w 559"/>
                <a:gd name="T31" fmla="*/ 198 h 512"/>
                <a:gd name="T32" fmla="*/ 508 w 559"/>
                <a:gd name="T33" fmla="*/ 116 h 512"/>
                <a:gd name="T34" fmla="*/ 396 w 559"/>
                <a:gd name="T35" fmla="*/ 56 h 512"/>
                <a:gd name="T36" fmla="*/ 380 w 559"/>
                <a:gd name="T37" fmla="*/ 28 h 51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59"/>
                <a:gd name="T58" fmla="*/ 0 h 512"/>
                <a:gd name="T59" fmla="*/ 559 w 559"/>
                <a:gd name="T60" fmla="*/ 512 h 51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59" h="512">
                  <a:moveTo>
                    <a:pt x="380" y="28"/>
                  </a:moveTo>
                  <a:cubicBezTo>
                    <a:pt x="310" y="36"/>
                    <a:pt x="242" y="57"/>
                    <a:pt x="200" y="83"/>
                  </a:cubicBezTo>
                  <a:cubicBezTo>
                    <a:pt x="184" y="87"/>
                    <a:pt x="155" y="102"/>
                    <a:pt x="155" y="102"/>
                  </a:cubicBezTo>
                  <a:cubicBezTo>
                    <a:pt x="110" y="107"/>
                    <a:pt x="74" y="123"/>
                    <a:pt x="52" y="160"/>
                  </a:cubicBezTo>
                  <a:cubicBezTo>
                    <a:pt x="48" y="180"/>
                    <a:pt x="49" y="188"/>
                    <a:pt x="32" y="200"/>
                  </a:cubicBezTo>
                  <a:cubicBezTo>
                    <a:pt x="16" y="220"/>
                    <a:pt x="5" y="227"/>
                    <a:pt x="0" y="268"/>
                  </a:cubicBezTo>
                  <a:cubicBezTo>
                    <a:pt x="4" y="308"/>
                    <a:pt x="5" y="341"/>
                    <a:pt x="16" y="380"/>
                  </a:cubicBezTo>
                  <a:cubicBezTo>
                    <a:pt x="23" y="401"/>
                    <a:pt x="27" y="421"/>
                    <a:pt x="43" y="437"/>
                  </a:cubicBezTo>
                  <a:cubicBezTo>
                    <a:pt x="51" y="457"/>
                    <a:pt x="76" y="467"/>
                    <a:pt x="80" y="484"/>
                  </a:cubicBezTo>
                  <a:cubicBezTo>
                    <a:pt x="94" y="494"/>
                    <a:pt x="101" y="491"/>
                    <a:pt x="121" y="512"/>
                  </a:cubicBezTo>
                  <a:cubicBezTo>
                    <a:pt x="154" y="503"/>
                    <a:pt x="184" y="492"/>
                    <a:pt x="216" y="484"/>
                  </a:cubicBezTo>
                  <a:cubicBezTo>
                    <a:pt x="248" y="477"/>
                    <a:pt x="275" y="468"/>
                    <a:pt x="298" y="456"/>
                  </a:cubicBezTo>
                  <a:cubicBezTo>
                    <a:pt x="313" y="447"/>
                    <a:pt x="317" y="440"/>
                    <a:pt x="329" y="426"/>
                  </a:cubicBezTo>
                  <a:cubicBezTo>
                    <a:pt x="356" y="395"/>
                    <a:pt x="352" y="397"/>
                    <a:pt x="392" y="369"/>
                  </a:cubicBezTo>
                  <a:cubicBezTo>
                    <a:pt x="433" y="360"/>
                    <a:pt x="542" y="398"/>
                    <a:pt x="556" y="284"/>
                  </a:cubicBezTo>
                  <a:cubicBezTo>
                    <a:pt x="555" y="257"/>
                    <a:pt x="557" y="233"/>
                    <a:pt x="559" y="198"/>
                  </a:cubicBezTo>
                  <a:cubicBezTo>
                    <a:pt x="552" y="166"/>
                    <a:pt x="535" y="140"/>
                    <a:pt x="508" y="116"/>
                  </a:cubicBezTo>
                  <a:cubicBezTo>
                    <a:pt x="464" y="92"/>
                    <a:pt x="432" y="68"/>
                    <a:pt x="396" y="56"/>
                  </a:cubicBezTo>
                  <a:cubicBezTo>
                    <a:pt x="392" y="48"/>
                    <a:pt x="380" y="0"/>
                    <a:pt x="380" y="28"/>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406" name="Freeform 2530"/>
            <p:cNvSpPr>
              <a:spLocks noChangeAspect="1"/>
            </p:cNvSpPr>
            <p:nvPr>
              <p:custDataLst>
                <p:tags r:id="rId35"/>
              </p:custDataLst>
            </p:nvPr>
          </p:nvSpPr>
          <p:spPr bwMode="auto">
            <a:xfrm>
              <a:off x="5546370" y="5598055"/>
              <a:ext cx="222311" cy="440790"/>
            </a:xfrm>
            <a:custGeom>
              <a:avLst/>
              <a:gdLst>
                <a:gd name="T0" fmla="*/ 76 w 116"/>
                <a:gd name="T1" fmla="*/ 47 h 230"/>
                <a:gd name="T2" fmla="*/ 72 w 116"/>
                <a:gd name="T3" fmla="*/ 34 h 230"/>
                <a:gd name="T4" fmla="*/ 68 w 116"/>
                <a:gd name="T5" fmla="*/ 23 h 230"/>
                <a:gd name="T6" fmla="*/ 54 w 116"/>
                <a:gd name="T7" fmla="*/ 20 h 230"/>
                <a:gd name="T8" fmla="*/ 46 w 116"/>
                <a:gd name="T9" fmla="*/ 13 h 230"/>
                <a:gd name="T10" fmla="*/ 39 w 116"/>
                <a:gd name="T11" fmla="*/ 5 h 230"/>
                <a:gd name="T12" fmla="*/ 30 w 116"/>
                <a:gd name="T13" fmla="*/ 10 h 230"/>
                <a:gd name="T14" fmla="*/ 21 w 116"/>
                <a:gd name="T15" fmla="*/ 0 h 230"/>
                <a:gd name="T16" fmla="*/ 8 w 116"/>
                <a:gd name="T17" fmla="*/ 19 h 230"/>
                <a:gd name="T18" fmla="*/ 2 w 116"/>
                <a:gd name="T19" fmla="*/ 32 h 230"/>
                <a:gd name="T20" fmla="*/ 4 w 116"/>
                <a:gd name="T21" fmla="*/ 37 h 230"/>
                <a:gd name="T22" fmla="*/ 9 w 116"/>
                <a:gd name="T23" fmla="*/ 48 h 230"/>
                <a:gd name="T24" fmla="*/ 22 w 116"/>
                <a:gd name="T25" fmla="*/ 69 h 230"/>
                <a:gd name="T26" fmla="*/ 20 w 116"/>
                <a:gd name="T27" fmla="*/ 78 h 230"/>
                <a:gd name="T28" fmla="*/ 26 w 116"/>
                <a:gd name="T29" fmla="*/ 161 h 230"/>
                <a:gd name="T30" fmla="*/ 36 w 116"/>
                <a:gd name="T31" fmla="*/ 187 h 230"/>
                <a:gd name="T32" fmla="*/ 55 w 116"/>
                <a:gd name="T33" fmla="*/ 193 h 230"/>
                <a:gd name="T34" fmla="*/ 63 w 116"/>
                <a:gd name="T35" fmla="*/ 199 h 230"/>
                <a:gd name="T36" fmla="*/ 82 w 116"/>
                <a:gd name="T37" fmla="*/ 230 h 230"/>
                <a:gd name="T38" fmla="*/ 81 w 116"/>
                <a:gd name="T39" fmla="*/ 202 h 230"/>
                <a:gd name="T40" fmla="*/ 95 w 116"/>
                <a:gd name="T41" fmla="*/ 180 h 230"/>
                <a:gd name="T42" fmla="*/ 99 w 116"/>
                <a:gd name="T43" fmla="*/ 161 h 230"/>
                <a:gd name="T44" fmla="*/ 108 w 116"/>
                <a:gd name="T45" fmla="*/ 150 h 230"/>
                <a:gd name="T46" fmla="*/ 109 w 116"/>
                <a:gd name="T47" fmla="*/ 136 h 230"/>
                <a:gd name="T48" fmla="*/ 105 w 116"/>
                <a:gd name="T49" fmla="*/ 126 h 230"/>
                <a:gd name="T50" fmla="*/ 100 w 116"/>
                <a:gd name="T51" fmla="*/ 124 h 230"/>
                <a:gd name="T52" fmla="*/ 91 w 116"/>
                <a:gd name="T53" fmla="*/ 117 h 230"/>
                <a:gd name="T54" fmla="*/ 81 w 116"/>
                <a:gd name="T55" fmla="*/ 106 h 230"/>
                <a:gd name="T56" fmla="*/ 72 w 116"/>
                <a:gd name="T57" fmla="*/ 84 h 230"/>
                <a:gd name="T58" fmla="*/ 70 w 116"/>
                <a:gd name="T59" fmla="*/ 61 h 230"/>
                <a:gd name="T60" fmla="*/ 76 w 116"/>
                <a:gd name="T61" fmla="*/ 47 h 23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6"/>
                <a:gd name="T94" fmla="*/ 0 h 230"/>
                <a:gd name="T95" fmla="*/ 116 w 116"/>
                <a:gd name="T96" fmla="*/ 230 h 23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6" h="230">
                  <a:moveTo>
                    <a:pt x="76" y="47"/>
                  </a:moveTo>
                  <a:cubicBezTo>
                    <a:pt x="73" y="47"/>
                    <a:pt x="70" y="39"/>
                    <a:pt x="72" y="34"/>
                  </a:cubicBezTo>
                  <a:cubicBezTo>
                    <a:pt x="71" y="30"/>
                    <a:pt x="69" y="26"/>
                    <a:pt x="68" y="23"/>
                  </a:cubicBezTo>
                  <a:cubicBezTo>
                    <a:pt x="64" y="21"/>
                    <a:pt x="59" y="23"/>
                    <a:pt x="54" y="20"/>
                  </a:cubicBezTo>
                  <a:cubicBezTo>
                    <a:pt x="48" y="17"/>
                    <a:pt x="47" y="14"/>
                    <a:pt x="46" y="13"/>
                  </a:cubicBezTo>
                  <a:cubicBezTo>
                    <a:pt x="43" y="11"/>
                    <a:pt x="41" y="5"/>
                    <a:pt x="39" y="5"/>
                  </a:cubicBezTo>
                  <a:cubicBezTo>
                    <a:pt x="37" y="8"/>
                    <a:pt x="34" y="9"/>
                    <a:pt x="30" y="10"/>
                  </a:cubicBezTo>
                  <a:cubicBezTo>
                    <a:pt x="23" y="8"/>
                    <a:pt x="25" y="5"/>
                    <a:pt x="21" y="0"/>
                  </a:cubicBezTo>
                  <a:cubicBezTo>
                    <a:pt x="13" y="6"/>
                    <a:pt x="10" y="14"/>
                    <a:pt x="8" y="19"/>
                  </a:cubicBezTo>
                  <a:cubicBezTo>
                    <a:pt x="6" y="26"/>
                    <a:pt x="4" y="28"/>
                    <a:pt x="2" y="32"/>
                  </a:cubicBezTo>
                  <a:cubicBezTo>
                    <a:pt x="0" y="37"/>
                    <a:pt x="1" y="34"/>
                    <a:pt x="4" y="37"/>
                  </a:cubicBezTo>
                  <a:cubicBezTo>
                    <a:pt x="6" y="41"/>
                    <a:pt x="7" y="44"/>
                    <a:pt x="9" y="48"/>
                  </a:cubicBezTo>
                  <a:cubicBezTo>
                    <a:pt x="10" y="57"/>
                    <a:pt x="13" y="65"/>
                    <a:pt x="22" y="69"/>
                  </a:cubicBezTo>
                  <a:cubicBezTo>
                    <a:pt x="23" y="73"/>
                    <a:pt x="22" y="74"/>
                    <a:pt x="20" y="78"/>
                  </a:cubicBezTo>
                  <a:cubicBezTo>
                    <a:pt x="17" y="88"/>
                    <a:pt x="22" y="159"/>
                    <a:pt x="26" y="161"/>
                  </a:cubicBezTo>
                  <a:cubicBezTo>
                    <a:pt x="30" y="169"/>
                    <a:pt x="33" y="179"/>
                    <a:pt x="36" y="187"/>
                  </a:cubicBezTo>
                  <a:cubicBezTo>
                    <a:pt x="37" y="191"/>
                    <a:pt x="51" y="192"/>
                    <a:pt x="55" y="193"/>
                  </a:cubicBezTo>
                  <a:cubicBezTo>
                    <a:pt x="58" y="195"/>
                    <a:pt x="59" y="198"/>
                    <a:pt x="63" y="199"/>
                  </a:cubicBezTo>
                  <a:cubicBezTo>
                    <a:pt x="69" y="209"/>
                    <a:pt x="77" y="221"/>
                    <a:pt x="82" y="230"/>
                  </a:cubicBezTo>
                  <a:cubicBezTo>
                    <a:pt x="85" y="224"/>
                    <a:pt x="81" y="210"/>
                    <a:pt x="81" y="202"/>
                  </a:cubicBezTo>
                  <a:cubicBezTo>
                    <a:pt x="83" y="194"/>
                    <a:pt x="72" y="187"/>
                    <a:pt x="95" y="180"/>
                  </a:cubicBezTo>
                  <a:cubicBezTo>
                    <a:pt x="98" y="174"/>
                    <a:pt x="101" y="169"/>
                    <a:pt x="99" y="161"/>
                  </a:cubicBezTo>
                  <a:cubicBezTo>
                    <a:pt x="95" y="154"/>
                    <a:pt x="100" y="153"/>
                    <a:pt x="108" y="150"/>
                  </a:cubicBezTo>
                  <a:cubicBezTo>
                    <a:pt x="116" y="152"/>
                    <a:pt x="113" y="145"/>
                    <a:pt x="109" y="136"/>
                  </a:cubicBezTo>
                  <a:cubicBezTo>
                    <a:pt x="107" y="133"/>
                    <a:pt x="107" y="129"/>
                    <a:pt x="105" y="126"/>
                  </a:cubicBezTo>
                  <a:cubicBezTo>
                    <a:pt x="104" y="124"/>
                    <a:pt x="100" y="124"/>
                    <a:pt x="100" y="124"/>
                  </a:cubicBezTo>
                  <a:cubicBezTo>
                    <a:pt x="97" y="121"/>
                    <a:pt x="91" y="117"/>
                    <a:pt x="91" y="117"/>
                  </a:cubicBezTo>
                  <a:cubicBezTo>
                    <a:pt x="88" y="113"/>
                    <a:pt x="85" y="109"/>
                    <a:pt x="81" y="106"/>
                  </a:cubicBezTo>
                  <a:cubicBezTo>
                    <a:pt x="78" y="101"/>
                    <a:pt x="73" y="94"/>
                    <a:pt x="72" y="84"/>
                  </a:cubicBezTo>
                  <a:cubicBezTo>
                    <a:pt x="71" y="76"/>
                    <a:pt x="70" y="66"/>
                    <a:pt x="70" y="61"/>
                  </a:cubicBezTo>
                  <a:cubicBezTo>
                    <a:pt x="71" y="55"/>
                    <a:pt x="75" y="49"/>
                    <a:pt x="76" y="47"/>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407" name="Freeform 2533"/>
            <p:cNvSpPr>
              <a:spLocks noChangeAspect="1"/>
            </p:cNvSpPr>
            <p:nvPr/>
          </p:nvSpPr>
          <p:spPr bwMode="auto">
            <a:xfrm>
              <a:off x="6266971" y="5808687"/>
              <a:ext cx="30671" cy="32593"/>
            </a:xfrm>
            <a:custGeom>
              <a:avLst/>
              <a:gdLst>
                <a:gd name="T0" fmla="*/ 13 w 16"/>
                <a:gd name="T1" fmla="*/ 3 h 17"/>
                <a:gd name="T2" fmla="*/ 3 w 16"/>
                <a:gd name="T3" fmla="*/ 8 h 17"/>
                <a:gd name="T4" fmla="*/ 2 w 16"/>
                <a:gd name="T5" fmla="*/ 17 h 17"/>
                <a:gd name="T6" fmla="*/ 12 w 16"/>
                <a:gd name="T7" fmla="*/ 13 h 17"/>
                <a:gd name="T8" fmla="*/ 13 w 16"/>
                <a:gd name="T9" fmla="*/ 3 h 17"/>
                <a:gd name="T10" fmla="*/ 0 60000 65536"/>
                <a:gd name="T11" fmla="*/ 0 60000 65536"/>
                <a:gd name="T12" fmla="*/ 0 60000 65536"/>
                <a:gd name="T13" fmla="*/ 0 60000 65536"/>
                <a:gd name="T14" fmla="*/ 0 60000 65536"/>
                <a:gd name="T15" fmla="*/ 0 w 16"/>
                <a:gd name="T16" fmla="*/ 0 h 17"/>
                <a:gd name="T17" fmla="*/ 16 w 16"/>
                <a:gd name="T18" fmla="*/ 17 h 17"/>
              </a:gdLst>
              <a:ahLst/>
              <a:cxnLst>
                <a:cxn ang="T10">
                  <a:pos x="T0" y="T1"/>
                </a:cxn>
                <a:cxn ang="T11">
                  <a:pos x="T2" y="T3"/>
                </a:cxn>
                <a:cxn ang="T12">
                  <a:pos x="T4" y="T5"/>
                </a:cxn>
                <a:cxn ang="T13">
                  <a:pos x="T6" y="T7"/>
                </a:cxn>
                <a:cxn ang="T14">
                  <a:pos x="T8" y="T9"/>
                </a:cxn>
              </a:cxnLst>
              <a:rect l="T15" t="T16" r="T17" b="T18"/>
              <a:pathLst>
                <a:path w="16" h="17">
                  <a:moveTo>
                    <a:pt x="13" y="3"/>
                  </a:moveTo>
                  <a:cubicBezTo>
                    <a:pt x="10" y="5"/>
                    <a:pt x="7" y="7"/>
                    <a:pt x="3" y="8"/>
                  </a:cubicBezTo>
                  <a:cubicBezTo>
                    <a:pt x="1" y="15"/>
                    <a:pt x="0" y="12"/>
                    <a:pt x="2" y="17"/>
                  </a:cubicBezTo>
                  <a:cubicBezTo>
                    <a:pt x="6" y="16"/>
                    <a:pt x="8" y="14"/>
                    <a:pt x="12" y="13"/>
                  </a:cubicBezTo>
                  <a:cubicBezTo>
                    <a:pt x="13" y="11"/>
                    <a:pt x="16" y="0"/>
                    <a:pt x="13" y="3"/>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408" name="Freeform 2534"/>
            <p:cNvSpPr>
              <a:spLocks noChangeAspect="1"/>
            </p:cNvSpPr>
            <p:nvPr/>
          </p:nvSpPr>
          <p:spPr bwMode="auto">
            <a:xfrm>
              <a:off x="6288057" y="5519667"/>
              <a:ext cx="306706" cy="298606"/>
            </a:xfrm>
            <a:custGeom>
              <a:avLst/>
              <a:gdLst>
                <a:gd name="T0" fmla="*/ 340 w 640"/>
                <a:gd name="T1" fmla="*/ 20 h 623"/>
                <a:gd name="T2" fmla="*/ 384 w 640"/>
                <a:gd name="T3" fmla="*/ 92 h 623"/>
                <a:gd name="T4" fmla="*/ 468 w 640"/>
                <a:gd name="T5" fmla="*/ 140 h 623"/>
                <a:gd name="T6" fmla="*/ 604 w 640"/>
                <a:gd name="T7" fmla="*/ 156 h 623"/>
                <a:gd name="T8" fmla="*/ 588 w 640"/>
                <a:gd name="T9" fmla="*/ 248 h 623"/>
                <a:gd name="T10" fmla="*/ 516 w 640"/>
                <a:gd name="T11" fmla="*/ 252 h 623"/>
                <a:gd name="T12" fmla="*/ 472 w 640"/>
                <a:gd name="T13" fmla="*/ 264 h 623"/>
                <a:gd name="T14" fmla="*/ 388 w 640"/>
                <a:gd name="T15" fmla="*/ 284 h 623"/>
                <a:gd name="T16" fmla="*/ 324 w 640"/>
                <a:gd name="T17" fmla="*/ 312 h 623"/>
                <a:gd name="T18" fmla="*/ 280 w 640"/>
                <a:gd name="T19" fmla="*/ 395 h 623"/>
                <a:gd name="T20" fmla="*/ 208 w 640"/>
                <a:gd name="T21" fmla="*/ 451 h 623"/>
                <a:gd name="T22" fmla="*/ 160 w 640"/>
                <a:gd name="T23" fmla="*/ 519 h 623"/>
                <a:gd name="T24" fmla="*/ 84 w 640"/>
                <a:gd name="T25" fmla="*/ 591 h 623"/>
                <a:gd name="T26" fmla="*/ 56 w 640"/>
                <a:gd name="T27" fmla="*/ 599 h 623"/>
                <a:gd name="T28" fmla="*/ 100 w 640"/>
                <a:gd name="T29" fmla="*/ 519 h 623"/>
                <a:gd name="T30" fmla="*/ 124 w 640"/>
                <a:gd name="T31" fmla="*/ 487 h 623"/>
                <a:gd name="T32" fmla="*/ 72 w 640"/>
                <a:gd name="T33" fmla="*/ 491 h 623"/>
                <a:gd name="T34" fmla="*/ 0 w 640"/>
                <a:gd name="T35" fmla="*/ 475 h 623"/>
                <a:gd name="T36" fmla="*/ 28 w 640"/>
                <a:gd name="T37" fmla="*/ 439 h 623"/>
                <a:gd name="T38" fmla="*/ 48 w 640"/>
                <a:gd name="T39" fmla="*/ 384 h 623"/>
                <a:gd name="T40" fmla="*/ 38 w 640"/>
                <a:gd name="T41" fmla="*/ 342 h 623"/>
                <a:gd name="T42" fmla="*/ 81 w 640"/>
                <a:gd name="T43" fmla="*/ 254 h 623"/>
                <a:gd name="T44" fmla="*/ 42 w 640"/>
                <a:gd name="T45" fmla="*/ 209 h 623"/>
                <a:gd name="T46" fmla="*/ 4 w 640"/>
                <a:gd name="T47" fmla="*/ 176 h 623"/>
                <a:gd name="T48" fmla="*/ 28 w 640"/>
                <a:gd name="T49" fmla="*/ 144 h 623"/>
                <a:gd name="T50" fmla="*/ 48 w 640"/>
                <a:gd name="T51" fmla="*/ 88 h 623"/>
                <a:gd name="T52" fmla="*/ 72 w 640"/>
                <a:gd name="T53" fmla="*/ 80 h 623"/>
                <a:gd name="T54" fmla="*/ 156 w 640"/>
                <a:gd name="T55" fmla="*/ 24 h 623"/>
                <a:gd name="T56" fmla="*/ 216 w 640"/>
                <a:gd name="T57" fmla="*/ 40 h 623"/>
                <a:gd name="T58" fmla="*/ 296 w 640"/>
                <a:gd name="T59" fmla="*/ 36 h 623"/>
                <a:gd name="T60" fmla="*/ 340 w 640"/>
                <a:gd name="T61" fmla="*/ 20 h 62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640"/>
                <a:gd name="T94" fmla="*/ 0 h 623"/>
                <a:gd name="T95" fmla="*/ 640 w 640"/>
                <a:gd name="T96" fmla="*/ 623 h 623"/>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640" h="623">
                  <a:moveTo>
                    <a:pt x="340" y="20"/>
                  </a:moveTo>
                  <a:cubicBezTo>
                    <a:pt x="352" y="56"/>
                    <a:pt x="352" y="72"/>
                    <a:pt x="384" y="92"/>
                  </a:cubicBezTo>
                  <a:cubicBezTo>
                    <a:pt x="400" y="136"/>
                    <a:pt x="424" y="136"/>
                    <a:pt x="468" y="140"/>
                  </a:cubicBezTo>
                  <a:cubicBezTo>
                    <a:pt x="512" y="148"/>
                    <a:pt x="604" y="156"/>
                    <a:pt x="604" y="156"/>
                  </a:cubicBezTo>
                  <a:cubicBezTo>
                    <a:pt x="640" y="168"/>
                    <a:pt x="616" y="244"/>
                    <a:pt x="588" y="248"/>
                  </a:cubicBezTo>
                  <a:cubicBezTo>
                    <a:pt x="564" y="252"/>
                    <a:pt x="540" y="252"/>
                    <a:pt x="516" y="252"/>
                  </a:cubicBezTo>
                  <a:cubicBezTo>
                    <a:pt x="500" y="256"/>
                    <a:pt x="472" y="264"/>
                    <a:pt x="472" y="264"/>
                  </a:cubicBezTo>
                  <a:cubicBezTo>
                    <a:pt x="444" y="284"/>
                    <a:pt x="424" y="280"/>
                    <a:pt x="388" y="284"/>
                  </a:cubicBezTo>
                  <a:cubicBezTo>
                    <a:pt x="368" y="292"/>
                    <a:pt x="344" y="300"/>
                    <a:pt x="324" y="312"/>
                  </a:cubicBezTo>
                  <a:cubicBezTo>
                    <a:pt x="316" y="339"/>
                    <a:pt x="312" y="383"/>
                    <a:pt x="280" y="395"/>
                  </a:cubicBezTo>
                  <a:cubicBezTo>
                    <a:pt x="264" y="415"/>
                    <a:pt x="232" y="443"/>
                    <a:pt x="208" y="451"/>
                  </a:cubicBezTo>
                  <a:cubicBezTo>
                    <a:pt x="196" y="471"/>
                    <a:pt x="180" y="507"/>
                    <a:pt x="160" y="519"/>
                  </a:cubicBezTo>
                  <a:cubicBezTo>
                    <a:pt x="152" y="535"/>
                    <a:pt x="104" y="583"/>
                    <a:pt x="84" y="591"/>
                  </a:cubicBezTo>
                  <a:cubicBezTo>
                    <a:pt x="80" y="615"/>
                    <a:pt x="68" y="623"/>
                    <a:pt x="56" y="599"/>
                  </a:cubicBezTo>
                  <a:cubicBezTo>
                    <a:pt x="64" y="579"/>
                    <a:pt x="80" y="531"/>
                    <a:pt x="100" y="519"/>
                  </a:cubicBezTo>
                  <a:cubicBezTo>
                    <a:pt x="108" y="499"/>
                    <a:pt x="120" y="503"/>
                    <a:pt x="124" y="487"/>
                  </a:cubicBezTo>
                  <a:cubicBezTo>
                    <a:pt x="116" y="447"/>
                    <a:pt x="96" y="483"/>
                    <a:pt x="72" y="491"/>
                  </a:cubicBezTo>
                  <a:cubicBezTo>
                    <a:pt x="40" y="487"/>
                    <a:pt x="28" y="479"/>
                    <a:pt x="0" y="475"/>
                  </a:cubicBezTo>
                  <a:cubicBezTo>
                    <a:pt x="12" y="463"/>
                    <a:pt x="16" y="451"/>
                    <a:pt x="28" y="439"/>
                  </a:cubicBezTo>
                  <a:cubicBezTo>
                    <a:pt x="32" y="423"/>
                    <a:pt x="44" y="400"/>
                    <a:pt x="48" y="384"/>
                  </a:cubicBezTo>
                  <a:cubicBezTo>
                    <a:pt x="44" y="364"/>
                    <a:pt x="46" y="362"/>
                    <a:pt x="38" y="342"/>
                  </a:cubicBezTo>
                  <a:cubicBezTo>
                    <a:pt x="42" y="303"/>
                    <a:pt x="59" y="275"/>
                    <a:pt x="81" y="254"/>
                  </a:cubicBezTo>
                  <a:cubicBezTo>
                    <a:pt x="83" y="232"/>
                    <a:pt x="55" y="222"/>
                    <a:pt x="42" y="209"/>
                  </a:cubicBezTo>
                  <a:cubicBezTo>
                    <a:pt x="38" y="194"/>
                    <a:pt x="42" y="183"/>
                    <a:pt x="4" y="176"/>
                  </a:cubicBezTo>
                  <a:cubicBezTo>
                    <a:pt x="8" y="160"/>
                    <a:pt x="16" y="152"/>
                    <a:pt x="28" y="144"/>
                  </a:cubicBezTo>
                  <a:cubicBezTo>
                    <a:pt x="36" y="128"/>
                    <a:pt x="40" y="100"/>
                    <a:pt x="48" y="88"/>
                  </a:cubicBezTo>
                  <a:cubicBezTo>
                    <a:pt x="52" y="80"/>
                    <a:pt x="64" y="84"/>
                    <a:pt x="72" y="80"/>
                  </a:cubicBezTo>
                  <a:cubicBezTo>
                    <a:pt x="100" y="60"/>
                    <a:pt x="128" y="44"/>
                    <a:pt x="156" y="24"/>
                  </a:cubicBezTo>
                  <a:cubicBezTo>
                    <a:pt x="176" y="28"/>
                    <a:pt x="216" y="40"/>
                    <a:pt x="216" y="40"/>
                  </a:cubicBezTo>
                  <a:cubicBezTo>
                    <a:pt x="236" y="56"/>
                    <a:pt x="272" y="36"/>
                    <a:pt x="296" y="36"/>
                  </a:cubicBezTo>
                  <a:cubicBezTo>
                    <a:pt x="300" y="32"/>
                    <a:pt x="340" y="0"/>
                    <a:pt x="340" y="20"/>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409" name="Freeform 2535"/>
            <p:cNvSpPr>
              <a:spLocks noChangeAspect="1"/>
            </p:cNvSpPr>
            <p:nvPr>
              <p:custDataLst>
                <p:tags r:id="rId36"/>
              </p:custDataLst>
            </p:nvPr>
          </p:nvSpPr>
          <p:spPr bwMode="auto">
            <a:xfrm>
              <a:off x="5145827" y="5266504"/>
              <a:ext cx="400545" cy="362215"/>
            </a:xfrm>
            <a:custGeom>
              <a:avLst/>
              <a:gdLst>
                <a:gd name="T0" fmla="*/ 177 w 209"/>
                <a:gd name="T1" fmla="*/ 6 h 189"/>
                <a:gd name="T2" fmla="*/ 168 w 209"/>
                <a:gd name="T3" fmla="*/ 19 h 189"/>
                <a:gd name="T4" fmla="*/ 154 w 209"/>
                <a:gd name="T5" fmla="*/ 5 h 189"/>
                <a:gd name="T6" fmla="*/ 132 w 209"/>
                <a:gd name="T7" fmla="*/ 3 h 189"/>
                <a:gd name="T8" fmla="*/ 102 w 209"/>
                <a:gd name="T9" fmla="*/ 7 h 189"/>
                <a:gd name="T10" fmla="*/ 80 w 209"/>
                <a:gd name="T11" fmla="*/ 9 h 189"/>
                <a:gd name="T12" fmla="*/ 65 w 209"/>
                <a:gd name="T13" fmla="*/ 5 h 189"/>
                <a:gd name="T14" fmla="*/ 43 w 209"/>
                <a:gd name="T15" fmla="*/ 9 h 189"/>
                <a:gd name="T16" fmla="*/ 33 w 209"/>
                <a:gd name="T17" fmla="*/ 16 h 189"/>
                <a:gd name="T18" fmla="*/ 23 w 209"/>
                <a:gd name="T19" fmla="*/ 17 h 189"/>
                <a:gd name="T20" fmla="*/ 18 w 209"/>
                <a:gd name="T21" fmla="*/ 14 h 189"/>
                <a:gd name="T22" fmla="*/ 3 w 209"/>
                <a:gd name="T23" fmla="*/ 6 h 189"/>
                <a:gd name="T24" fmla="*/ 0 w 209"/>
                <a:gd name="T25" fmla="*/ 21 h 189"/>
                <a:gd name="T26" fmla="*/ 4 w 209"/>
                <a:gd name="T27" fmla="*/ 39 h 189"/>
                <a:gd name="T28" fmla="*/ 16 w 209"/>
                <a:gd name="T29" fmla="*/ 48 h 189"/>
                <a:gd name="T30" fmla="*/ 29 w 209"/>
                <a:gd name="T31" fmla="*/ 67 h 189"/>
                <a:gd name="T32" fmla="*/ 38 w 209"/>
                <a:gd name="T33" fmla="*/ 84 h 189"/>
                <a:gd name="T34" fmla="*/ 57 w 209"/>
                <a:gd name="T35" fmla="*/ 102 h 189"/>
                <a:gd name="T36" fmla="*/ 69 w 209"/>
                <a:gd name="T37" fmla="*/ 112 h 189"/>
                <a:gd name="T38" fmla="*/ 75 w 209"/>
                <a:gd name="T39" fmla="*/ 116 h 189"/>
                <a:gd name="T40" fmla="*/ 83 w 209"/>
                <a:gd name="T41" fmla="*/ 126 h 189"/>
                <a:gd name="T42" fmla="*/ 91 w 209"/>
                <a:gd name="T43" fmla="*/ 135 h 189"/>
                <a:gd name="T44" fmla="*/ 105 w 209"/>
                <a:gd name="T45" fmla="*/ 152 h 189"/>
                <a:gd name="T46" fmla="*/ 119 w 209"/>
                <a:gd name="T47" fmla="*/ 163 h 189"/>
                <a:gd name="T48" fmla="*/ 132 w 209"/>
                <a:gd name="T49" fmla="*/ 175 h 189"/>
                <a:gd name="T50" fmla="*/ 148 w 209"/>
                <a:gd name="T51" fmla="*/ 182 h 189"/>
                <a:gd name="T52" fmla="*/ 158 w 209"/>
                <a:gd name="T53" fmla="*/ 189 h 189"/>
                <a:gd name="T54" fmla="*/ 158 w 209"/>
                <a:gd name="T55" fmla="*/ 169 h 189"/>
                <a:gd name="T56" fmla="*/ 161 w 209"/>
                <a:gd name="T57" fmla="*/ 158 h 189"/>
                <a:gd name="T58" fmla="*/ 166 w 209"/>
                <a:gd name="T59" fmla="*/ 142 h 189"/>
                <a:gd name="T60" fmla="*/ 185 w 209"/>
                <a:gd name="T61" fmla="*/ 131 h 189"/>
                <a:gd name="T62" fmla="*/ 184 w 209"/>
                <a:gd name="T63" fmla="*/ 121 h 189"/>
                <a:gd name="T64" fmla="*/ 189 w 209"/>
                <a:gd name="T65" fmla="*/ 110 h 189"/>
                <a:gd name="T66" fmla="*/ 206 w 209"/>
                <a:gd name="T67" fmla="*/ 111 h 189"/>
                <a:gd name="T68" fmla="*/ 206 w 209"/>
                <a:gd name="T69" fmla="*/ 98 h 189"/>
                <a:gd name="T70" fmla="*/ 192 w 209"/>
                <a:gd name="T71" fmla="*/ 82 h 189"/>
                <a:gd name="T72" fmla="*/ 208 w 209"/>
                <a:gd name="T73" fmla="*/ 77 h 189"/>
                <a:gd name="T74" fmla="*/ 197 w 209"/>
                <a:gd name="T75" fmla="*/ 68 h 189"/>
                <a:gd name="T76" fmla="*/ 190 w 209"/>
                <a:gd name="T77" fmla="*/ 60 h 189"/>
                <a:gd name="T78" fmla="*/ 183 w 209"/>
                <a:gd name="T79" fmla="*/ 50 h 189"/>
                <a:gd name="T80" fmla="*/ 184 w 209"/>
                <a:gd name="T81" fmla="*/ 24 h 189"/>
                <a:gd name="T82" fmla="*/ 177 w 209"/>
                <a:gd name="T83" fmla="*/ 6 h 18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09"/>
                <a:gd name="T127" fmla="*/ 0 h 189"/>
                <a:gd name="T128" fmla="*/ 209 w 209"/>
                <a:gd name="T129" fmla="*/ 189 h 18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09" h="189">
                  <a:moveTo>
                    <a:pt x="177" y="6"/>
                  </a:moveTo>
                  <a:cubicBezTo>
                    <a:pt x="175" y="11"/>
                    <a:pt x="181" y="16"/>
                    <a:pt x="168" y="19"/>
                  </a:cubicBezTo>
                  <a:cubicBezTo>
                    <a:pt x="155" y="20"/>
                    <a:pt x="157" y="14"/>
                    <a:pt x="154" y="5"/>
                  </a:cubicBezTo>
                  <a:cubicBezTo>
                    <a:pt x="152" y="4"/>
                    <a:pt x="132" y="3"/>
                    <a:pt x="132" y="3"/>
                  </a:cubicBezTo>
                  <a:cubicBezTo>
                    <a:pt x="123" y="1"/>
                    <a:pt x="116" y="6"/>
                    <a:pt x="102" y="7"/>
                  </a:cubicBezTo>
                  <a:cubicBezTo>
                    <a:pt x="92" y="7"/>
                    <a:pt x="89" y="9"/>
                    <a:pt x="80" y="9"/>
                  </a:cubicBezTo>
                  <a:cubicBezTo>
                    <a:pt x="78" y="9"/>
                    <a:pt x="65" y="5"/>
                    <a:pt x="65" y="5"/>
                  </a:cubicBezTo>
                  <a:cubicBezTo>
                    <a:pt x="60" y="0"/>
                    <a:pt x="44" y="4"/>
                    <a:pt x="43" y="9"/>
                  </a:cubicBezTo>
                  <a:cubicBezTo>
                    <a:pt x="41" y="13"/>
                    <a:pt x="33" y="16"/>
                    <a:pt x="33" y="16"/>
                  </a:cubicBezTo>
                  <a:cubicBezTo>
                    <a:pt x="29" y="17"/>
                    <a:pt x="28" y="18"/>
                    <a:pt x="23" y="17"/>
                  </a:cubicBezTo>
                  <a:cubicBezTo>
                    <a:pt x="21" y="15"/>
                    <a:pt x="22" y="15"/>
                    <a:pt x="18" y="14"/>
                  </a:cubicBezTo>
                  <a:cubicBezTo>
                    <a:pt x="17" y="10"/>
                    <a:pt x="10" y="8"/>
                    <a:pt x="3" y="6"/>
                  </a:cubicBezTo>
                  <a:cubicBezTo>
                    <a:pt x="1" y="13"/>
                    <a:pt x="4" y="3"/>
                    <a:pt x="0" y="21"/>
                  </a:cubicBezTo>
                  <a:cubicBezTo>
                    <a:pt x="0" y="26"/>
                    <a:pt x="1" y="35"/>
                    <a:pt x="4" y="39"/>
                  </a:cubicBezTo>
                  <a:cubicBezTo>
                    <a:pt x="7" y="44"/>
                    <a:pt x="8" y="40"/>
                    <a:pt x="16" y="48"/>
                  </a:cubicBezTo>
                  <a:cubicBezTo>
                    <a:pt x="24" y="53"/>
                    <a:pt x="25" y="62"/>
                    <a:pt x="29" y="67"/>
                  </a:cubicBezTo>
                  <a:cubicBezTo>
                    <a:pt x="32" y="72"/>
                    <a:pt x="35" y="79"/>
                    <a:pt x="38" y="84"/>
                  </a:cubicBezTo>
                  <a:cubicBezTo>
                    <a:pt x="40" y="89"/>
                    <a:pt x="51" y="100"/>
                    <a:pt x="57" y="102"/>
                  </a:cubicBezTo>
                  <a:cubicBezTo>
                    <a:pt x="60" y="106"/>
                    <a:pt x="60" y="111"/>
                    <a:pt x="69" y="112"/>
                  </a:cubicBezTo>
                  <a:cubicBezTo>
                    <a:pt x="73" y="113"/>
                    <a:pt x="75" y="116"/>
                    <a:pt x="75" y="116"/>
                  </a:cubicBezTo>
                  <a:cubicBezTo>
                    <a:pt x="77" y="120"/>
                    <a:pt x="75" y="124"/>
                    <a:pt x="83" y="126"/>
                  </a:cubicBezTo>
                  <a:cubicBezTo>
                    <a:pt x="89" y="130"/>
                    <a:pt x="90" y="131"/>
                    <a:pt x="91" y="135"/>
                  </a:cubicBezTo>
                  <a:cubicBezTo>
                    <a:pt x="96" y="140"/>
                    <a:pt x="99" y="148"/>
                    <a:pt x="105" y="152"/>
                  </a:cubicBezTo>
                  <a:cubicBezTo>
                    <a:pt x="109" y="155"/>
                    <a:pt x="113" y="151"/>
                    <a:pt x="119" y="163"/>
                  </a:cubicBezTo>
                  <a:cubicBezTo>
                    <a:pt x="128" y="168"/>
                    <a:pt x="127" y="172"/>
                    <a:pt x="132" y="175"/>
                  </a:cubicBezTo>
                  <a:cubicBezTo>
                    <a:pt x="137" y="178"/>
                    <a:pt x="143" y="179"/>
                    <a:pt x="148" y="182"/>
                  </a:cubicBezTo>
                  <a:cubicBezTo>
                    <a:pt x="151" y="182"/>
                    <a:pt x="158" y="189"/>
                    <a:pt x="158" y="189"/>
                  </a:cubicBezTo>
                  <a:cubicBezTo>
                    <a:pt x="160" y="186"/>
                    <a:pt x="164" y="172"/>
                    <a:pt x="158" y="169"/>
                  </a:cubicBezTo>
                  <a:cubicBezTo>
                    <a:pt x="164" y="160"/>
                    <a:pt x="155" y="160"/>
                    <a:pt x="161" y="158"/>
                  </a:cubicBezTo>
                  <a:cubicBezTo>
                    <a:pt x="167" y="151"/>
                    <a:pt x="166" y="149"/>
                    <a:pt x="166" y="142"/>
                  </a:cubicBezTo>
                  <a:cubicBezTo>
                    <a:pt x="168" y="138"/>
                    <a:pt x="172" y="130"/>
                    <a:pt x="185" y="131"/>
                  </a:cubicBezTo>
                  <a:cubicBezTo>
                    <a:pt x="186" y="127"/>
                    <a:pt x="183" y="124"/>
                    <a:pt x="184" y="121"/>
                  </a:cubicBezTo>
                  <a:cubicBezTo>
                    <a:pt x="184" y="118"/>
                    <a:pt x="187" y="112"/>
                    <a:pt x="189" y="110"/>
                  </a:cubicBezTo>
                  <a:cubicBezTo>
                    <a:pt x="193" y="109"/>
                    <a:pt x="203" y="113"/>
                    <a:pt x="206" y="111"/>
                  </a:cubicBezTo>
                  <a:cubicBezTo>
                    <a:pt x="208" y="105"/>
                    <a:pt x="208" y="104"/>
                    <a:pt x="206" y="98"/>
                  </a:cubicBezTo>
                  <a:cubicBezTo>
                    <a:pt x="203" y="94"/>
                    <a:pt x="191" y="86"/>
                    <a:pt x="192" y="82"/>
                  </a:cubicBezTo>
                  <a:cubicBezTo>
                    <a:pt x="200" y="82"/>
                    <a:pt x="203" y="81"/>
                    <a:pt x="208" y="77"/>
                  </a:cubicBezTo>
                  <a:cubicBezTo>
                    <a:pt x="209" y="70"/>
                    <a:pt x="201" y="69"/>
                    <a:pt x="197" y="68"/>
                  </a:cubicBezTo>
                  <a:cubicBezTo>
                    <a:pt x="193" y="64"/>
                    <a:pt x="192" y="66"/>
                    <a:pt x="190" y="60"/>
                  </a:cubicBezTo>
                  <a:cubicBezTo>
                    <a:pt x="186" y="56"/>
                    <a:pt x="184" y="54"/>
                    <a:pt x="183" y="50"/>
                  </a:cubicBezTo>
                  <a:cubicBezTo>
                    <a:pt x="180" y="41"/>
                    <a:pt x="184" y="31"/>
                    <a:pt x="184" y="24"/>
                  </a:cubicBezTo>
                  <a:cubicBezTo>
                    <a:pt x="187" y="15"/>
                    <a:pt x="178" y="10"/>
                    <a:pt x="177" y="6"/>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410" name="Freeform 2537"/>
            <p:cNvSpPr>
              <a:spLocks noChangeAspect="1"/>
            </p:cNvSpPr>
            <p:nvPr>
              <p:custDataLst>
                <p:tags r:id="rId37"/>
              </p:custDataLst>
            </p:nvPr>
          </p:nvSpPr>
          <p:spPr bwMode="auto">
            <a:xfrm>
              <a:off x="4908183" y="5046109"/>
              <a:ext cx="287472" cy="228062"/>
            </a:xfrm>
            <a:custGeom>
              <a:avLst/>
              <a:gdLst>
                <a:gd name="T0" fmla="*/ 183 w 598"/>
                <a:gd name="T1" fmla="*/ 162 h 474"/>
                <a:gd name="T2" fmla="*/ 265 w 598"/>
                <a:gd name="T3" fmla="*/ 139 h 474"/>
                <a:gd name="T4" fmla="*/ 337 w 598"/>
                <a:gd name="T5" fmla="*/ 99 h 474"/>
                <a:gd name="T6" fmla="*/ 428 w 598"/>
                <a:gd name="T7" fmla="*/ 66 h 474"/>
                <a:gd name="T8" fmla="*/ 505 w 598"/>
                <a:gd name="T9" fmla="*/ 51 h 474"/>
                <a:gd name="T10" fmla="*/ 543 w 598"/>
                <a:gd name="T11" fmla="*/ 0 h 474"/>
                <a:gd name="T12" fmla="*/ 591 w 598"/>
                <a:gd name="T13" fmla="*/ 74 h 474"/>
                <a:gd name="T14" fmla="*/ 590 w 598"/>
                <a:gd name="T15" fmla="*/ 96 h 474"/>
                <a:gd name="T16" fmla="*/ 565 w 598"/>
                <a:gd name="T17" fmla="*/ 123 h 474"/>
                <a:gd name="T18" fmla="*/ 529 w 598"/>
                <a:gd name="T19" fmla="*/ 163 h 474"/>
                <a:gd name="T20" fmla="*/ 468 w 598"/>
                <a:gd name="T21" fmla="*/ 188 h 474"/>
                <a:gd name="T22" fmla="*/ 474 w 598"/>
                <a:gd name="T23" fmla="*/ 288 h 474"/>
                <a:gd name="T24" fmla="*/ 399 w 598"/>
                <a:gd name="T25" fmla="*/ 345 h 474"/>
                <a:gd name="T26" fmla="*/ 395 w 598"/>
                <a:gd name="T27" fmla="*/ 432 h 474"/>
                <a:gd name="T28" fmla="*/ 366 w 598"/>
                <a:gd name="T29" fmla="*/ 449 h 474"/>
                <a:gd name="T30" fmla="*/ 338 w 598"/>
                <a:gd name="T31" fmla="*/ 422 h 474"/>
                <a:gd name="T32" fmla="*/ 266 w 598"/>
                <a:gd name="T33" fmla="*/ 431 h 474"/>
                <a:gd name="T34" fmla="*/ 255 w 598"/>
                <a:gd name="T35" fmla="*/ 375 h 474"/>
                <a:gd name="T36" fmla="*/ 228 w 598"/>
                <a:gd name="T37" fmla="*/ 423 h 474"/>
                <a:gd name="T38" fmla="*/ 205 w 598"/>
                <a:gd name="T39" fmla="*/ 451 h 474"/>
                <a:gd name="T40" fmla="*/ 161 w 598"/>
                <a:gd name="T41" fmla="*/ 437 h 474"/>
                <a:gd name="T42" fmla="*/ 60 w 598"/>
                <a:gd name="T43" fmla="*/ 474 h 474"/>
                <a:gd name="T44" fmla="*/ 36 w 598"/>
                <a:gd name="T45" fmla="*/ 468 h 474"/>
                <a:gd name="T46" fmla="*/ 29 w 598"/>
                <a:gd name="T47" fmla="*/ 351 h 474"/>
                <a:gd name="T48" fmla="*/ 11 w 598"/>
                <a:gd name="T49" fmla="*/ 288 h 474"/>
                <a:gd name="T50" fmla="*/ 35 w 598"/>
                <a:gd name="T51" fmla="*/ 252 h 474"/>
                <a:gd name="T52" fmla="*/ 0 w 598"/>
                <a:gd name="T53" fmla="*/ 227 h 474"/>
                <a:gd name="T54" fmla="*/ 29 w 598"/>
                <a:gd name="T55" fmla="*/ 139 h 474"/>
                <a:gd name="T56" fmla="*/ 183 w 598"/>
                <a:gd name="T57" fmla="*/ 162 h 47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98"/>
                <a:gd name="T88" fmla="*/ 0 h 474"/>
                <a:gd name="T89" fmla="*/ 598 w 598"/>
                <a:gd name="T90" fmla="*/ 474 h 47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98" h="474">
                  <a:moveTo>
                    <a:pt x="183" y="162"/>
                  </a:moveTo>
                  <a:cubicBezTo>
                    <a:pt x="257" y="150"/>
                    <a:pt x="217" y="163"/>
                    <a:pt x="265" y="139"/>
                  </a:cubicBezTo>
                  <a:cubicBezTo>
                    <a:pt x="285" y="115"/>
                    <a:pt x="317" y="122"/>
                    <a:pt x="337" y="99"/>
                  </a:cubicBezTo>
                  <a:cubicBezTo>
                    <a:pt x="378" y="95"/>
                    <a:pt x="413" y="101"/>
                    <a:pt x="428" y="66"/>
                  </a:cubicBezTo>
                  <a:cubicBezTo>
                    <a:pt x="449" y="60"/>
                    <a:pt x="481" y="63"/>
                    <a:pt x="505" y="51"/>
                  </a:cubicBezTo>
                  <a:cubicBezTo>
                    <a:pt x="513" y="35"/>
                    <a:pt x="535" y="16"/>
                    <a:pt x="543" y="0"/>
                  </a:cubicBezTo>
                  <a:cubicBezTo>
                    <a:pt x="560" y="18"/>
                    <a:pt x="576" y="51"/>
                    <a:pt x="591" y="74"/>
                  </a:cubicBezTo>
                  <a:cubicBezTo>
                    <a:pt x="595" y="82"/>
                    <a:pt x="598" y="88"/>
                    <a:pt x="590" y="96"/>
                  </a:cubicBezTo>
                  <a:cubicBezTo>
                    <a:pt x="573" y="102"/>
                    <a:pt x="565" y="123"/>
                    <a:pt x="565" y="123"/>
                  </a:cubicBezTo>
                  <a:cubicBezTo>
                    <a:pt x="551" y="153"/>
                    <a:pt x="529" y="163"/>
                    <a:pt x="529" y="163"/>
                  </a:cubicBezTo>
                  <a:cubicBezTo>
                    <a:pt x="512" y="179"/>
                    <a:pt x="494" y="189"/>
                    <a:pt x="468" y="188"/>
                  </a:cubicBezTo>
                  <a:cubicBezTo>
                    <a:pt x="450" y="218"/>
                    <a:pt x="466" y="268"/>
                    <a:pt x="474" y="288"/>
                  </a:cubicBezTo>
                  <a:cubicBezTo>
                    <a:pt x="462" y="314"/>
                    <a:pt x="412" y="321"/>
                    <a:pt x="399" y="345"/>
                  </a:cubicBezTo>
                  <a:cubicBezTo>
                    <a:pt x="391" y="369"/>
                    <a:pt x="431" y="422"/>
                    <a:pt x="395" y="432"/>
                  </a:cubicBezTo>
                  <a:cubicBezTo>
                    <a:pt x="383" y="450"/>
                    <a:pt x="366" y="449"/>
                    <a:pt x="366" y="449"/>
                  </a:cubicBezTo>
                  <a:cubicBezTo>
                    <a:pt x="336" y="453"/>
                    <a:pt x="338" y="422"/>
                    <a:pt x="338" y="422"/>
                  </a:cubicBezTo>
                  <a:cubicBezTo>
                    <a:pt x="326" y="426"/>
                    <a:pt x="278" y="439"/>
                    <a:pt x="266" y="431"/>
                  </a:cubicBezTo>
                  <a:cubicBezTo>
                    <a:pt x="269" y="404"/>
                    <a:pt x="264" y="398"/>
                    <a:pt x="255" y="375"/>
                  </a:cubicBezTo>
                  <a:cubicBezTo>
                    <a:pt x="251" y="398"/>
                    <a:pt x="236" y="410"/>
                    <a:pt x="228" y="423"/>
                  </a:cubicBezTo>
                  <a:cubicBezTo>
                    <a:pt x="220" y="436"/>
                    <a:pt x="216" y="449"/>
                    <a:pt x="205" y="451"/>
                  </a:cubicBezTo>
                  <a:cubicBezTo>
                    <a:pt x="165" y="447"/>
                    <a:pt x="170" y="450"/>
                    <a:pt x="161" y="437"/>
                  </a:cubicBezTo>
                  <a:cubicBezTo>
                    <a:pt x="96" y="441"/>
                    <a:pt x="88" y="466"/>
                    <a:pt x="60" y="474"/>
                  </a:cubicBezTo>
                  <a:cubicBezTo>
                    <a:pt x="60" y="473"/>
                    <a:pt x="36" y="468"/>
                    <a:pt x="36" y="468"/>
                  </a:cubicBezTo>
                  <a:cubicBezTo>
                    <a:pt x="17" y="450"/>
                    <a:pt x="33" y="379"/>
                    <a:pt x="29" y="351"/>
                  </a:cubicBezTo>
                  <a:cubicBezTo>
                    <a:pt x="45" y="318"/>
                    <a:pt x="47" y="296"/>
                    <a:pt x="11" y="288"/>
                  </a:cubicBezTo>
                  <a:cubicBezTo>
                    <a:pt x="15" y="269"/>
                    <a:pt x="23" y="280"/>
                    <a:pt x="35" y="252"/>
                  </a:cubicBezTo>
                  <a:cubicBezTo>
                    <a:pt x="19" y="236"/>
                    <a:pt x="16" y="239"/>
                    <a:pt x="0" y="227"/>
                  </a:cubicBezTo>
                  <a:cubicBezTo>
                    <a:pt x="16" y="203"/>
                    <a:pt x="41" y="162"/>
                    <a:pt x="29" y="139"/>
                  </a:cubicBezTo>
                  <a:cubicBezTo>
                    <a:pt x="61" y="131"/>
                    <a:pt x="147" y="161"/>
                    <a:pt x="183" y="162"/>
                  </a:cubicBezTo>
                  <a:close/>
                </a:path>
              </a:pathLst>
            </a:custGeom>
            <a:solidFill>
              <a:srgbClr val="8D9399"/>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411" name="Freeform 2538"/>
            <p:cNvSpPr>
              <a:spLocks noChangeAspect="1"/>
            </p:cNvSpPr>
            <p:nvPr>
              <p:custDataLst>
                <p:tags r:id="rId38"/>
              </p:custDataLst>
            </p:nvPr>
          </p:nvSpPr>
          <p:spPr bwMode="auto">
            <a:xfrm>
              <a:off x="5166908" y="4762470"/>
              <a:ext cx="609440" cy="421625"/>
            </a:xfrm>
            <a:custGeom>
              <a:avLst/>
              <a:gdLst>
                <a:gd name="T0" fmla="*/ 833 w 1273"/>
                <a:gd name="T1" fmla="*/ 727 h 878"/>
                <a:gd name="T2" fmla="*/ 905 w 1273"/>
                <a:gd name="T3" fmla="*/ 703 h 878"/>
                <a:gd name="T4" fmla="*/ 957 w 1273"/>
                <a:gd name="T5" fmla="*/ 675 h 878"/>
                <a:gd name="T6" fmla="*/ 977 w 1273"/>
                <a:gd name="T7" fmla="*/ 659 h 878"/>
                <a:gd name="T8" fmla="*/ 1021 w 1273"/>
                <a:gd name="T9" fmla="*/ 587 h 878"/>
                <a:gd name="T10" fmla="*/ 1037 w 1273"/>
                <a:gd name="T11" fmla="*/ 535 h 878"/>
                <a:gd name="T12" fmla="*/ 1045 w 1273"/>
                <a:gd name="T13" fmla="*/ 511 h 878"/>
                <a:gd name="T14" fmla="*/ 1073 w 1273"/>
                <a:gd name="T15" fmla="*/ 439 h 878"/>
                <a:gd name="T16" fmla="*/ 1093 w 1273"/>
                <a:gd name="T17" fmla="*/ 387 h 878"/>
                <a:gd name="T18" fmla="*/ 1169 w 1273"/>
                <a:gd name="T19" fmla="*/ 187 h 878"/>
                <a:gd name="T20" fmla="*/ 1216 w 1273"/>
                <a:gd name="T21" fmla="*/ 162 h 878"/>
                <a:gd name="T22" fmla="*/ 1273 w 1273"/>
                <a:gd name="T23" fmla="*/ 131 h 878"/>
                <a:gd name="T24" fmla="*/ 1145 w 1273"/>
                <a:gd name="T25" fmla="*/ 51 h 878"/>
                <a:gd name="T26" fmla="*/ 1116 w 1273"/>
                <a:gd name="T27" fmla="*/ 16 h 878"/>
                <a:gd name="T28" fmla="*/ 1053 w 1273"/>
                <a:gd name="T29" fmla="*/ 27 h 878"/>
                <a:gd name="T30" fmla="*/ 988 w 1273"/>
                <a:gd name="T31" fmla="*/ 1 h 878"/>
                <a:gd name="T32" fmla="*/ 903 w 1273"/>
                <a:gd name="T33" fmla="*/ 9 h 878"/>
                <a:gd name="T34" fmla="*/ 822 w 1273"/>
                <a:gd name="T35" fmla="*/ 10 h 878"/>
                <a:gd name="T36" fmla="*/ 772 w 1273"/>
                <a:gd name="T37" fmla="*/ 63 h 878"/>
                <a:gd name="T38" fmla="*/ 732 w 1273"/>
                <a:gd name="T39" fmla="*/ 129 h 878"/>
                <a:gd name="T40" fmla="*/ 685 w 1273"/>
                <a:gd name="T41" fmla="*/ 135 h 878"/>
                <a:gd name="T42" fmla="*/ 649 w 1273"/>
                <a:gd name="T43" fmla="*/ 123 h 878"/>
                <a:gd name="T44" fmla="*/ 529 w 1273"/>
                <a:gd name="T45" fmla="*/ 175 h 878"/>
                <a:gd name="T46" fmla="*/ 506 w 1273"/>
                <a:gd name="T47" fmla="*/ 227 h 878"/>
                <a:gd name="T48" fmla="*/ 271 w 1273"/>
                <a:gd name="T49" fmla="*/ 309 h 878"/>
                <a:gd name="T50" fmla="*/ 246 w 1273"/>
                <a:gd name="T51" fmla="*/ 289 h 878"/>
                <a:gd name="T52" fmla="*/ 222 w 1273"/>
                <a:gd name="T53" fmla="*/ 267 h 878"/>
                <a:gd name="T54" fmla="*/ 182 w 1273"/>
                <a:gd name="T55" fmla="*/ 251 h 878"/>
                <a:gd name="T56" fmla="*/ 135 w 1273"/>
                <a:gd name="T57" fmla="*/ 232 h 878"/>
                <a:gd name="T58" fmla="*/ 142 w 1273"/>
                <a:gd name="T59" fmla="*/ 342 h 878"/>
                <a:gd name="T60" fmla="*/ 25 w 1273"/>
                <a:gd name="T61" fmla="*/ 348 h 878"/>
                <a:gd name="T62" fmla="*/ 48 w 1273"/>
                <a:gd name="T63" fmla="*/ 360 h 878"/>
                <a:gd name="T64" fmla="*/ 88 w 1273"/>
                <a:gd name="T65" fmla="*/ 412 h 878"/>
                <a:gd name="T66" fmla="*/ 52 w 1273"/>
                <a:gd name="T67" fmla="*/ 462 h 878"/>
                <a:gd name="T68" fmla="*/ 7 w 1273"/>
                <a:gd name="T69" fmla="*/ 589 h 878"/>
                <a:gd name="T70" fmla="*/ 38 w 1273"/>
                <a:gd name="T71" fmla="*/ 639 h 878"/>
                <a:gd name="T72" fmla="*/ 55 w 1273"/>
                <a:gd name="T73" fmla="*/ 687 h 878"/>
                <a:gd name="T74" fmla="*/ 78 w 1273"/>
                <a:gd name="T75" fmla="*/ 703 h 878"/>
                <a:gd name="T76" fmla="*/ 112 w 1273"/>
                <a:gd name="T77" fmla="*/ 735 h 878"/>
                <a:gd name="T78" fmla="*/ 182 w 1273"/>
                <a:gd name="T79" fmla="*/ 759 h 878"/>
                <a:gd name="T80" fmla="*/ 237 w 1273"/>
                <a:gd name="T81" fmla="*/ 804 h 878"/>
                <a:gd name="T82" fmla="*/ 283 w 1273"/>
                <a:gd name="T83" fmla="*/ 829 h 878"/>
                <a:gd name="T84" fmla="*/ 310 w 1273"/>
                <a:gd name="T85" fmla="*/ 859 h 878"/>
                <a:gd name="T86" fmla="*/ 411 w 1273"/>
                <a:gd name="T87" fmla="*/ 868 h 878"/>
                <a:gd name="T88" fmla="*/ 471 w 1273"/>
                <a:gd name="T89" fmla="*/ 874 h 878"/>
                <a:gd name="T90" fmla="*/ 516 w 1273"/>
                <a:gd name="T91" fmla="*/ 852 h 878"/>
                <a:gd name="T92" fmla="*/ 542 w 1273"/>
                <a:gd name="T93" fmla="*/ 835 h 878"/>
                <a:gd name="T94" fmla="*/ 594 w 1273"/>
                <a:gd name="T95" fmla="*/ 803 h 878"/>
                <a:gd name="T96" fmla="*/ 645 w 1273"/>
                <a:gd name="T97" fmla="*/ 779 h 878"/>
                <a:gd name="T98" fmla="*/ 709 w 1273"/>
                <a:gd name="T99" fmla="*/ 723 h 878"/>
                <a:gd name="T100" fmla="*/ 833 w 1273"/>
                <a:gd name="T101" fmla="*/ 727 h 87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273"/>
                <a:gd name="T154" fmla="*/ 0 h 878"/>
                <a:gd name="T155" fmla="*/ 1273 w 1273"/>
                <a:gd name="T156" fmla="*/ 878 h 87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273" h="878">
                  <a:moveTo>
                    <a:pt x="833" y="727"/>
                  </a:moveTo>
                  <a:cubicBezTo>
                    <a:pt x="861" y="723"/>
                    <a:pt x="881" y="719"/>
                    <a:pt x="905" y="703"/>
                  </a:cubicBezTo>
                  <a:cubicBezTo>
                    <a:pt x="917" y="687"/>
                    <a:pt x="937" y="683"/>
                    <a:pt x="957" y="675"/>
                  </a:cubicBezTo>
                  <a:cubicBezTo>
                    <a:pt x="969" y="668"/>
                    <a:pt x="966" y="674"/>
                    <a:pt x="977" y="659"/>
                  </a:cubicBezTo>
                  <a:cubicBezTo>
                    <a:pt x="993" y="639"/>
                    <a:pt x="997" y="603"/>
                    <a:pt x="1021" y="587"/>
                  </a:cubicBezTo>
                  <a:cubicBezTo>
                    <a:pt x="1025" y="571"/>
                    <a:pt x="1033" y="551"/>
                    <a:pt x="1037" y="535"/>
                  </a:cubicBezTo>
                  <a:cubicBezTo>
                    <a:pt x="1041" y="527"/>
                    <a:pt x="1045" y="511"/>
                    <a:pt x="1045" y="511"/>
                  </a:cubicBezTo>
                  <a:cubicBezTo>
                    <a:pt x="1049" y="483"/>
                    <a:pt x="1053" y="459"/>
                    <a:pt x="1073" y="439"/>
                  </a:cubicBezTo>
                  <a:cubicBezTo>
                    <a:pt x="1077" y="423"/>
                    <a:pt x="1081" y="403"/>
                    <a:pt x="1093" y="387"/>
                  </a:cubicBezTo>
                  <a:cubicBezTo>
                    <a:pt x="1101" y="343"/>
                    <a:pt x="1129" y="215"/>
                    <a:pt x="1169" y="187"/>
                  </a:cubicBezTo>
                  <a:cubicBezTo>
                    <a:pt x="1201" y="172"/>
                    <a:pt x="1207" y="178"/>
                    <a:pt x="1216" y="162"/>
                  </a:cubicBezTo>
                  <a:cubicBezTo>
                    <a:pt x="1249" y="148"/>
                    <a:pt x="1257" y="144"/>
                    <a:pt x="1273" y="131"/>
                  </a:cubicBezTo>
                  <a:cubicBezTo>
                    <a:pt x="1269" y="31"/>
                    <a:pt x="1225" y="59"/>
                    <a:pt x="1145" y="51"/>
                  </a:cubicBezTo>
                  <a:cubicBezTo>
                    <a:pt x="1129" y="35"/>
                    <a:pt x="1136" y="24"/>
                    <a:pt x="1116" y="16"/>
                  </a:cubicBezTo>
                  <a:cubicBezTo>
                    <a:pt x="1101" y="16"/>
                    <a:pt x="1074" y="29"/>
                    <a:pt x="1053" y="27"/>
                  </a:cubicBezTo>
                  <a:cubicBezTo>
                    <a:pt x="1032" y="25"/>
                    <a:pt x="1013" y="4"/>
                    <a:pt x="988" y="1"/>
                  </a:cubicBezTo>
                  <a:cubicBezTo>
                    <a:pt x="954" y="0"/>
                    <a:pt x="931" y="8"/>
                    <a:pt x="903" y="9"/>
                  </a:cubicBezTo>
                  <a:cubicBezTo>
                    <a:pt x="875" y="10"/>
                    <a:pt x="844" y="1"/>
                    <a:pt x="822" y="10"/>
                  </a:cubicBezTo>
                  <a:cubicBezTo>
                    <a:pt x="802" y="22"/>
                    <a:pt x="788" y="47"/>
                    <a:pt x="772" y="63"/>
                  </a:cubicBezTo>
                  <a:cubicBezTo>
                    <a:pt x="768" y="95"/>
                    <a:pt x="771" y="136"/>
                    <a:pt x="732" y="129"/>
                  </a:cubicBezTo>
                  <a:cubicBezTo>
                    <a:pt x="716" y="129"/>
                    <a:pt x="701" y="139"/>
                    <a:pt x="685" y="135"/>
                  </a:cubicBezTo>
                  <a:cubicBezTo>
                    <a:pt x="673" y="131"/>
                    <a:pt x="649" y="123"/>
                    <a:pt x="649" y="123"/>
                  </a:cubicBezTo>
                  <a:cubicBezTo>
                    <a:pt x="610" y="180"/>
                    <a:pt x="615" y="172"/>
                    <a:pt x="529" y="175"/>
                  </a:cubicBezTo>
                  <a:cubicBezTo>
                    <a:pt x="499" y="181"/>
                    <a:pt x="499" y="208"/>
                    <a:pt x="506" y="227"/>
                  </a:cubicBezTo>
                  <a:cubicBezTo>
                    <a:pt x="504" y="333"/>
                    <a:pt x="441" y="282"/>
                    <a:pt x="271" y="309"/>
                  </a:cubicBezTo>
                  <a:cubicBezTo>
                    <a:pt x="264" y="300"/>
                    <a:pt x="254" y="296"/>
                    <a:pt x="246" y="289"/>
                  </a:cubicBezTo>
                  <a:cubicBezTo>
                    <a:pt x="238" y="282"/>
                    <a:pt x="255" y="277"/>
                    <a:pt x="222" y="267"/>
                  </a:cubicBezTo>
                  <a:cubicBezTo>
                    <a:pt x="205" y="252"/>
                    <a:pt x="182" y="251"/>
                    <a:pt x="182" y="251"/>
                  </a:cubicBezTo>
                  <a:cubicBezTo>
                    <a:pt x="171" y="248"/>
                    <a:pt x="145" y="232"/>
                    <a:pt x="135" y="232"/>
                  </a:cubicBezTo>
                  <a:cubicBezTo>
                    <a:pt x="128" y="247"/>
                    <a:pt x="181" y="270"/>
                    <a:pt x="142" y="342"/>
                  </a:cubicBezTo>
                  <a:cubicBezTo>
                    <a:pt x="90" y="346"/>
                    <a:pt x="60" y="346"/>
                    <a:pt x="25" y="348"/>
                  </a:cubicBezTo>
                  <a:cubicBezTo>
                    <a:pt x="0" y="351"/>
                    <a:pt x="40" y="355"/>
                    <a:pt x="48" y="360"/>
                  </a:cubicBezTo>
                  <a:cubicBezTo>
                    <a:pt x="58" y="370"/>
                    <a:pt x="76" y="375"/>
                    <a:pt x="88" y="412"/>
                  </a:cubicBezTo>
                  <a:cubicBezTo>
                    <a:pt x="66" y="418"/>
                    <a:pt x="64" y="454"/>
                    <a:pt x="52" y="462"/>
                  </a:cubicBezTo>
                  <a:cubicBezTo>
                    <a:pt x="70" y="544"/>
                    <a:pt x="58" y="570"/>
                    <a:pt x="7" y="589"/>
                  </a:cubicBezTo>
                  <a:cubicBezTo>
                    <a:pt x="19" y="609"/>
                    <a:pt x="27" y="619"/>
                    <a:pt x="38" y="639"/>
                  </a:cubicBezTo>
                  <a:cubicBezTo>
                    <a:pt x="42" y="651"/>
                    <a:pt x="57" y="672"/>
                    <a:pt x="55" y="687"/>
                  </a:cubicBezTo>
                  <a:cubicBezTo>
                    <a:pt x="70" y="693"/>
                    <a:pt x="78" y="703"/>
                    <a:pt x="78" y="703"/>
                  </a:cubicBezTo>
                  <a:cubicBezTo>
                    <a:pt x="99" y="708"/>
                    <a:pt x="103" y="721"/>
                    <a:pt x="112" y="735"/>
                  </a:cubicBezTo>
                  <a:cubicBezTo>
                    <a:pt x="130" y="742"/>
                    <a:pt x="158" y="751"/>
                    <a:pt x="182" y="759"/>
                  </a:cubicBezTo>
                  <a:cubicBezTo>
                    <a:pt x="203" y="773"/>
                    <a:pt x="235" y="784"/>
                    <a:pt x="237" y="804"/>
                  </a:cubicBezTo>
                  <a:cubicBezTo>
                    <a:pt x="264" y="807"/>
                    <a:pt x="271" y="820"/>
                    <a:pt x="283" y="829"/>
                  </a:cubicBezTo>
                  <a:cubicBezTo>
                    <a:pt x="305" y="845"/>
                    <a:pt x="289" y="853"/>
                    <a:pt x="310" y="859"/>
                  </a:cubicBezTo>
                  <a:cubicBezTo>
                    <a:pt x="331" y="865"/>
                    <a:pt x="384" y="866"/>
                    <a:pt x="411" y="868"/>
                  </a:cubicBezTo>
                  <a:cubicBezTo>
                    <a:pt x="447" y="873"/>
                    <a:pt x="453" y="878"/>
                    <a:pt x="471" y="874"/>
                  </a:cubicBezTo>
                  <a:cubicBezTo>
                    <a:pt x="475" y="870"/>
                    <a:pt x="512" y="856"/>
                    <a:pt x="516" y="852"/>
                  </a:cubicBezTo>
                  <a:cubicBezTo>
                    <a:pt x="524" y="844"/>
                    <a:pt x="529" y="843"/>
                    <a:pt x="542" y="835"/>
                  </a:cubicBezTo>
                  <a:cubicBezTo>
                    <a:pt x="555" y="827"/>
                    <a:pt x="578" y="811"/>
                    <a:pt x="594" y="803"/>
                  </a:cubicBezTo>
                  <a:cubicBezTo>
                    <a:pt x="614" y="775"/>
                    <a:pt x="614" y="783"/>
                    <a:pt x="645" y="779"/>
                  </a:cubicBezTo>
                  <a:cubicBezTo>
                    <a:pt x="665" y="759"/>
                    <a:pt x="681" y="731"/>
                    <a:pt x="709" y="723"/>
                  </a:cubicBezTo>
                  <a:cubicBezTo>
                    <a:pt x="749" y="727"/>
                    <a:pt x="789" y="723"/>
                    <a:pt x="833" y="727"/>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412" name="Freeform 2539"/>
            <p:cNvSpPr>
              <a:spLocks noChangeAspect="1"/>
            </p:cNvSpPr>
            <p:nvPr>
              <p:custDataLst>
                <p:tags r:id="rId39"/>
              </p:custDataLst>
            </p:nvPr>
          </p:nvSpPr>
          <p:spPr bwMode="auto">
            <a:xfrm>
              <a:off x="4915849" y="3928802"/>
              <a:ext cx="896912" cy="762758"/>
            </a:xfrm>
            <a:custGeom>
              <a:avLst/>
              <a:gdLst>
                <a:gd name="T0" fmla="*/ 891 w 1874"/>
                <a:gd name="T1" fmla="*/ 96 h 1593"/>
                <a:gd name="T2" fmla="*/ 767 w 1874"/>
                <a:gd name="T3" fmla="*/ 100 h 1593"/>
                <a:gd name="T4" fmla="*/ 687 w 1874"/>
                <a:gd name="T5" fmla="*/ 0 h 1593"/>
                <a:gd name="T6" fmla="*/ 423 w 1874"/>
                <a:gd name="T7" fmla="*/ 112 h 1593"/>
                <a:gd name="T8" fmla="*/ 323 w 1874"/>
                <a:gd name="T9" fmla="*/ 168 h 1593"/>
                <a:gd name="T10" fmla="*/ 231 w 1874"/>
                <a:gd name="T11" fmla="*/ 224 h 1593"/>
                <a:gd name="T12" fmla="*/ 99 w 1874"/>
                <a:gd name="T13" fmla="*/ 292 h 1593"/>
                <a:gd name="T14" fmla="*/ 35 w 1874"/>
                <a:gd name="T15" fmla="*/ 380 h 1593"/>
                <a:gd name="T16" fmla="*/ 36 w 1874"/>
                <a:gd name="T17" fmla="*/ 595 h 1593"/>
                <a:gd name="T18" fmla="*/ 123 w 1874"/>
                <a:gd name="T19" fmla="*/ 716 h 1593"/>
                <a:gd name="T20" fmla="*/ 130 w 1874"/>
                <a:gd name="T21" fmla="*/ 853 h 1593"/>
                <a:gd name="T22" fmla="*/ 129 w 1874"/>
                <a:gd name="T23" fmla="*/ 968 h 1593"/>
                <a:gd name="T24" fmla="*/ 216 w 1874"/>
                <a:gd name="T25" fmla="*/ 1019 h 1593"/>
                <a:gd name="T26" fmla="*/ 190 w 1874"/>
                <a:gd name="T27" fmla="*/ 1070 h 1593"/>
                <a:gd name="T28" fmla="*/ 220 w 1874"/>
                <a:gd name="T29" fmla="*/ 1166 h 1593"/>
                <a:gd name="T30" fmla="*/ 349 w 1874"/>
                <a:gd name="T31" fmla="*/ 1223 h 1593"/>
                <a:gd name="T32" fmla="*/ 475 w 1874"/>
                <a:gd name="T33" fmla="*/ 1328 h 1593"/>
                <a:gd name="T34" fmla="*/ 558 w 1874"/>
                <a:gd name="T35" fmla="*/ 1375 h 1593"/>
                <a:gd name="T36" fmla="*/ 607 w 1874"/>
                <a:gd name="T37" fmla="*/ 1312 h 1593"/>
                <a:gd name="T38" fmla="*/ 697 w 1874"/>
                <a:gd name="T39" fmla="*/ 1324 h 1593"/>
                <a:gd name="T40" fmla="*/ 718 w 1874"/>
                <a:gd name="T41" fmla="*/ 1391 h 1593"/>
                <a:gd name="T42" fmla="*/ 943 w 1874"/>
                <a:gd name="T43" fmla="*/ 1486 h 1593"/>
                <a:gd name="T44" fmla="*/ 1014 w 1874"/>
                <a:gd name="T45" fmla="*/ 1549 h 1593"/>
                <a:gd name="T46" fmla="*/ 1118 w 1874"/>
                <a:gd name="T47" fmla="*/ 1536 h 1593"/>
                <a:gd name="T48" fmla="*/ 1206 w 1874"/>
                <a:gd name="T49" fmla="*/ 1580 h 1593"/>
                <a:gd name="T50" fmla="*/ 1351 w 1874"/>
                <a:gd name="T51" fmla="*/ 1535 h 1593"/>
                <a:gd name="T52" fmla="*/ 1543 w 1874"/>
                <a:gd name="T53" fmla="*/ 1495 h 1593"/>
                <a:gd name="T54" fmla="*/ 1714 w 1874"/>
                <a:gd name="T55" fmla="*/ 1536 h 1593"/>
                <a:gd name="T56" fmla="*/ 1706 w 1874"/>
                <a:gd name="T57" fmla="*/ 1360 h 1593"/>
                <a:gd name="T58" fmla="*/ 1770 w 1874"/>
                <a:gd name="T59" fmla="*/ 1220 h 1593"/>
                <a:gd name="T60" fmla="*/ 1862 w 1874"/>
                <a:gd name="T61" fmla="*/ 980 h 1593"/>
                <a:gd name="T62" fmla="*/ 1790 w 1874"/>
                <a:gd name="T63" fmla="*/ 896 h 1593"/>
                <a:gd name="T64" fmla="*/ 1714 w 1874"/>
                <a:gd name="T65" fmla="*/ 744 h 1593"/>
                <a:gd name="T66" fmla="*/ 1634 w 1874"/>
                <a:gd name="T67" fmla="*/ 548 h 1593"/>
                <a:gd name="T68" fmla="*/ 1722 w 1874"/>
                <a:gd name="T69" fmla="*/ 448 h 1593"/>
                <a:gd name="T70" fmla="*/ 1698 w 1874"/>
                <a:gd name="T71" fmla="*/ 376 h 1593"/>
                <a:gd name="T72" fmla="*/ 1618 w 1874"/>
                <a:gd name="T73" fmla="*/ 216 h 1593"/>
                <a:gd name="T74" fmla="*/ 1530 w 1874"/>
                <a:gd name="T75" fmla="*/ 44 h 1593"/>
                <a:gd name="T76" fmla="*/ 1394 w 1874"/>
                <a:gd name="T77" fmla="*/ 20 h 1593"/>
                <a:gd name="T78" fmla="*/ 1090 w 1874"/>
                <a:gd name="T79" fmla="*/ 80 h 159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74"/>
                <a:gd name="T121" fmla="*/ 0 h 1593"/>
                <a:gd name="T122" fmla="*/ 1874 w 1874"/>
                <a:gd name="T123" fmla="*/ 1593 h 159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74" h="1593">
                  <a:moveTo>
                    <a:pt x="927" y="76"/>
                  </a:moveTo>
                  <a:cubicBezTo>
                    <a:pt x="911" y="80"/>
                    <a:pt x="911" y="92"/>
                    <a:pt x="891" y="96"/>
                  </a:cubicBezTo>
                  <a:cubicBezTo>
                    <a:pt x="883" y="100"/>
                    <a:pt x="867" y="104"/>
                    <a:pt x="867" y="104"/>
                  </a:cubicBezTo>
                  <a:cubicBezTo>
                    <a:pt x="843" y="140"/>
                    <a:pt x="799" y="112"/>
                    <a:pt x="767" y="100"/>
                  </a:cubicBezTo>
                  <a:cubicBezTo>
                    <a:pt x="759" y="80"/>
                    <a:pt x="751" y="44"/>
                    <a:pt x="735" y="28"/>
                  </a:cubicBezTo>
                  <a:cubicBezTo>
                    <a:pt x="723" y="16"/>
                    <a:pt x="687" y="0"/>
                    <a:pt x="687" y="0"/>
                  </a:cubicBezTo>
                  <a:cubicBezTo>
                    <a:pt x="543" y="0"/>
                    <a:pt x="595" y="16"/>
                    <a:pt x="507" y="44"/>
                  </a:cubicBezTo>
                  <a:cubicBezTo>
                    <a:pt x="499" y="68"/>
                    <a:pt x="451" y="108"/>
                    <a:pt x="423" y="112"/>
                  </a:cubicBezTo>
                  <a:cubicBezTo>
                    <a:pt x="403" y="116"/>
                    <a:pt x="363" y="128"/>
                    <a:pt x="363" y="128"/>
                  </a:cubicBezTo>
                  <a:cubicBezTo>
                    <a:pt x="355" y="144"/>
                    <a:pt x="323" y="168"/>
                    <a:pt x="323" y="168"/>
                  </a:cubicBezTo>
                  <a:cubicBezTo>
                    <a:pt x="307" y="192"/>
                    <a:pt x="295" y="192"/>
                    <a:pt x="267" y="200"/>
                  </a:cubicBezTo>
                  <a:cubicBezTo>
                    <a:pt x="255" y="216"/>
                    <a:pt x="247" y="212"/>
                    <a:pt x="231" y="224"/>
                  </a:cubicBezTo>
                  <a:cubicBezTo>
                    <a:pt x="219" y="260"/>
                    <a:pt x="175" y="260"/>
                    <a:pt x="143" y="264"/>
                  </a:cubicBezTo>
                  <a:cubicBezTo>
                    <a:pt x="115" y="272"/>
                    <a:pt x="123" y="276"/>
                    <a:pt x="99" y="292"/>
                  </a:cubicBezTo>
                  <a:cubicBezTo>
                    <a:pt x="91" y="308"/>
                    <a:pt x="67" y="328"/>
                    <a:pt x="51" y="332"/>
                  </a:cubicBezTo>
                  <a:cubicBezTo>
                    <a:pt x="47" y="348"/>
                    <a:pt x="35" y="380"/>
                    <a:pt x="35" y="380"/>
                  </a:cubicBezTo>
                  <a:cubicBezTo>
                    <a:pt x="43" y="404"/>
                    <a:pt x="56" y="405"/>
                    <a:pt x="60" y="433"/>
                  </a:cubicBezTo>
                  <a:cubicBezTo>
                    <a:pt x="60" y="453"/>
                    <a:pt x="49" y="557"/>
                    <a:pt x="36" y="595"/>
                  </a:cubicBezTo>
                  <a:cubicBezTo>
                    <a:pt x="0" y="608"/>
                    <a:pt x="22" y="637"/>
                    <a:pt x="59" y="648"/>
                  </a:cubicBezTo>
                  <a:cubicBezTo>
                    <a:pt x="75" y="668"/>
                    <a:pt x="108" y="679"/>
                    <a:pt x="123" y="716"/>
                  </a:cubicBezTo>
                  <a:cubicBezTo>
                    <a:pt x="120" y="736"/>
                    <a:pt x="104" y="764"/>
                    <a:pt x="100" y="788"/>
                  </a:cubicBezTo>
                  <a:cubicBezTo>
                    <a:pt x="114" y="815"/>
                    <a:pt x="122" y="825"/>
                    <a:pt x="130" y="853"/>
                  </a:cubicBezTo>
                  <a:cubicBezTo>
                    <a:pt x="126" y="885"/>
                    <a:pt x="131" y="890"/>
                    <a:pt x="123" y="914"/>
                  </a:cubicBezTo>
                  <a:cubicBezTo>
                    <a:pt x="132" y="935"/>
                    <a:pt x="121" y="948"/>
                    <a:pt x="129" y="968"/>
                  </a:cubicBezTo>
                  <a:cubicBezTo>
                    <a:pt x="133" y="1016"/>
                    <a:pt x="143" y="1012"/>
                    <a:pt x="191" y="1016"/>
                  </a:cubicBezTo>
                  <a:cubicBezTo>
                    <a:pt x="199" y="1020"/>
                    <a:pt x="216" y="1011"/>
                    <a:pt x="216" y="1019"/>
                  </a:cubicBezTo>
                  <a:cubicBezTo>
                    <a:pt x="216" y="1027"/>
                    <a:pt x="220" y="1037"/>
                    <a:pt x="207" y="1048"/>
                  </a:cubicBezTo>
                  <a:cubicBezTo>
                    <a:pt x="195" y="1057"/>
                    <a:pt x="190" y="1070"/>
                    <a:pt x="190" y="1070"/>
                  </a:cubicBezTo>
                  <a:cubicBezTo>
                    <a:pt x="194" y="1106"/>
                    <a:pt x="196" y="1100"/>
                    <a:pt x="213" y="1114"/>
                  </a:cubicBezTo>
                  <a:cubicBezTo>
                    <a:pt x="221" y="1126"/>
                    <a:pt x="214" y="1157"/>
                    <a:pt x="220" y="1166"/>
                  </a:cubicBezTo>
                  <a:cubicBezTo>
                    <a:pt x="226" y="1175"/>
                    <a:pt x="231" y="1162"/>
                    <a:pt x="252" y="1171"/>
                  </a:cubicBezTo>
                  <a:cubicBezTo>
                    <a:pt x="273" y="1180"/>
                    <a:pt x="304" y="1216"/>
                    <a:pt x="349" y="1223"/>
                  </a:cubicBezTo>
                  <a:cubicBezTo>
                    <a:pt x="385" y="1233"/>
                    <a:pt x="450" y="1215"/>
                    <a:pt x="471" y="1232"/>
                  </a:cubicBezTo>
                  <a:cubicBezTo>
                    <a:pt x="499" y="1276"/>
                    <a:pt x="431" y="1300"/>
                    <a:pt x="475" y="1328"/>
                  </a:cubicBezTo>
                  <a:cubicBezTo>
                    <a:pt x="489" y="1355"/>
                    <a:pt x="505" y="1352"/>
                    <a:pt x="528" y="1390"/>
                  </a:cubicBezTo>
                  <a:cubicBezTo>
                    <a:pt x="540" y="1396"/>
                    <a:pt x="552" y="1386"/>
                    <a:pt x="558" y="1375"/>
                  </a:cubicBezTo>
                  <a:cubicBezTo>
                    <a:pt x="564" y="1364"/>
                    <a:pt x="594" y="1355"/>
                    <a:pt x="567" y="1324"/>
                  </a:cubicBezTo>
                  <a:cubicBezTo>
                    <a:pt x="589" y="1310"/>
                    <a:pt x="592" y="1313"/>
                    <a:pt x="607" y="1312"/>
                  </a:cubicBezTo>
                  <a:cubicBezTo>
                    <a:pt x="635" y="1316"/>
                    <a:pt x="635" y="1330"/>
                    <a:pt x="663" y="1334"/>
                  </a:cubicBezTo>
                  <a:cubicBezTo>
                    <a:pt x="671" y="1338"/>
                    <a:pt x="689" y="1320"/>
                    <a:pt x="697" y="1324"/>
                  </a:cubicBezTo>
                  <a:cubicBezTo>
                    <a:pt x="709" y="1321"/>
                    <a:pt x="724" y="1336"/>
                    <a:pt x="724" y="1336"/>
                  </a:cubicBezTo>
                  <a:cubicBezTo>
                    <a:pt x="732" y="1344"/>
                    <a:pt x="696" y="1363"/>
                    <a:pt x="718" y="1391"/>
                  </a:cubicBezTo>
                  <a:cubicBezTo>
                    <a:pt x="763" y="1405"/>
                    <a:pt x="828" y="1397"/>
                    <a:pt x="875" y="1408"/>
                  </a:cubicBezTo>
                  <a:cubicBezTo>
                    <a:pt x="903" y="1448"/>
                    <a:pt x="910" y="1469"/>
                    <a:pt x="943" y="1486"/>
                  </a:cubicBezTo>
                  <a:cubicBezTo>
                    <a:pt x="951" y="1502"/>
                    <a:pt x="958" y="1508"/>
                    <a:pt x="974" y="1516"/>
                  </a:cubicBezTo>
                  <a:cubicBezTo>
                    <a:pt x="978" y="1532"/>
                    <a:pt x="1000" y="1540"/>
                    <a:pt x="1014" y="1549"/>
                  </a:cubicBezTo>
                  <a:cubicBezTo>
                    <a:pt x="1048" y="1522"/>
                    <a:pt x="1035" y="1523"/>
                    <a:pt x="1059" y="1487"/>
                  </a:cubicBezTo>
                  <a:cubicBezTo>
                    <a:pt x="1072" y="1487"/>
                    <a:pt x="1080" y="1511"/>
                    <a:pt x="1118" y="1536"/>
                  </a:cubicBezTo>
                  <a:cubicBezTo>
                    <a:pt x="1140" y="1552"/>
                    <a:pt x="1145" y="1569"/>
                    <a:pt x="1165" y="1577"/>
                  </a:cubicBezTo>
                  <a:cubicBezTo>
                    <a:pt x="1181" y="1593"/>
                    <a:pt x="1168" y="1577"/>
                    <a:pt x="1206" y="1580"/>
                  </a:cubicBezTo>
                  <a:cubicBezTo>
                    <a:pt x="1218" y="1547"/>
                    <a:pt x="1215" y="1522"/>
                    <a:pt x="1308" y="1516"/>
                  </a:cubicBezTo>
                  <a:cubicBezTo>
                    <a:pt x="1328" y="1520"/>
                    <a:pt x="1351" y="1535"/>
                    <a:pt x="1351" y="1535"/>
                  </a:cubicBezTo>
                  <a:cubicBezTo>
                    <a:pt x="1366" y="1516"/>
                    <a:pt x="1396" y="1502"/>
                    <a:pt x="1478" y="1480"/>
                  </a:cubicBezTo>
                  <a:cubicBezTo>
                    <a:pt x="1502" y="1484"/>
                    <a:pt x="1519" y="1487"/>
                    <a:pt x="1543" y="1495"/>
                  </a:cubicBezTo>
                  <a:cubicBezTo>
                    <a:pt x="1579" y="1513"/>
                    <a:pt x="1626" y="1519"/>
                    <a:pt x="1682" y="1540"/>
                  </a:cubicBezTo>
                  <a:cubicBezTo>
                    <a:pt x="1694" y="1540"/>
                    <a:pt x="1710" y="1548"/>
                    <a:pt x="1714" y="1536"/>
                  </a:cubicBezTo>
                  <a:cubicBezTo>
                    <a:pt x="1718" y="1520"/>
                    <a:pt x="1694" y="1456"/>
                    <a:pt x="1682" y="1436"/>
                  </a:cubicBezTo>
                  <a:cubicBezTo>
                    <a:pt x="1674" y="1396"/>
                    <a:pt x="1674" y="1380"/>
                    <a:pt x="1706" y="1360"/>
                  </a:cubicBezTo>
                  <a:cubicBezTo>
                    <a:pt x="1714" y="1348"/>
                    <a:pt x="1722" y="1324"/>
                    <a:pt x="1722" y="1324"/>
                  </a:cubicBezTo>
                  <a:cubicBezTo>
                    <a:pt x="1726" y="1284"/>
                    <a:pt x="1726" y="1236"/>
                    <a:pt x="1770" y="1220"/>
                  </a:cubicBezTo>
                  <a:cubicBezTo>
                    <a:pt x="1802" y="1172"/>
                    <a:pt x="1842" y="1144"/>
                    <a:pt x="1874" y="1096"/>
                  </a:cubicBezTo>
                  <a:cubicBezTo>
                    <a:pt x="1874" y="1032"/>
                    <a:pt x="1874" y="1016"/>
                    <a:pt x="1862" y="980"/>
                  </a:cubicBezTo>
                  <a:cubicBezTo>
                    <a:pt x="1870" y="952"/>
                    <a:pt x="1846" y="944"/>
                    <a:pt x="1822" y="940"/>
                  </a:cubicBezTo>
                  <a:cubicBezTo>
                    <a:pt x="1814" y="916"/>
                    <a:pt x="1810" y="912"/>
                    <a:pt x="1790" y="896"/>
                  </a:cubicBezTo>
                  <a:cubicBezTo>
                    <a:pt x="1778" y="888"/>
                    <a:pt x="1754" y="872"/>
                    <a:pt x="1754" y="872"/>
                  </a:cubicBezTo>
                  <a:cubicBezTo>
                    <a:pt x="1742" y="812"/>
                    <a:pt x="1722" y="780"/>
                    <a:pt x="1714" y="744"/>
                  </a:cubicBezTo>
                  <a:cubicBezTo>
                    <a:pt x="1726" y="644"/>
                    <a:pt x="1726" y="632"/>
                    <a:pt x="1630" y="624"/>
                  </a:cubicBezTo>
                  <a:cubicBezTo>
                    <a:pt x="1630" y="600"/>
                    <a:pt x="1610" y="564"/>
                    <a:pt x="1634" y="548"/>
                  </a:cubicBezTo>
                  <a:cubicBezTo>
                    <a:pt x="1654" y="520"/>
                    <a:pt x="1666" y="496"/>
                    <a:pt x="1702" y="484"/>
                  </a:cubicBezTo>
                  <a:cubicBezTo>
                    <a:pt x="1710" y="476"/>
                    <a:pt x="1722" y="448"/>
                    <a:pt x="1722" y="448"/>
                  </a:cubicBezTo>
                  <a:cubicBezTo>
                    <a:pt x="1722" y="440"/>
                    <a:pt x="1722" y="412"/>
                    <a:pt x="1714" y="400"/>
                  </a:cubicBezTo>
                  <a:cubicBezTo>
                    <a:pt x="1710" y="392"/>
                    <a:pt x="1698" y="376"/>
                    <a:pt x="1698" y="376"/>
                  </a:cubicBezTo>
                  <a:cubicBezTo>
                    <a:pt x="1694" y="368"/>
                    <a:pt x="1690" y="356"/>
                    <a:pt x="1674" y="328"/>
                  </a:cubicBezTo>
                  <a:cubicBezTo>
                    <a:pt x="1662" y="300"/>
                    <a:pt x="1634" y="252"/>
                    <a:pt x="1618" y="216"/>
                  </a:cubicBezTo>
                  <a:cubicBezTo>
                    <a:pt x="1602" y="192"/>
                    <a:pt x="1614" y="108"/>
                    <a:pt x="1586" y="100"/>
                  </a:cubicBezTo>
                  <a:cubicBezTo>
                    <a:pt x="1582" y="76"/>
                    <a:pt x="1554" y="52"/>
                    <a:pt x="1530" y="44"/>
                  </a:cubicBezTo>
                  <a:cubicBezTo>
                    <a:pt x="1510" y="20"/>
                    <a:pt x="1502" y="24"/>
                    <a:pt x="1466" y="20"/>
                  </a:cubicBezTo>
                  <a:cubicBezTo>
                    <a:pt x="1446" y="16"/>
                    <a:pt x="1414" y="16"/>
                    <a:pt x="1394" y="20"/>
                  </a:cubicBezTo>
                  <a:cubicBezTo>
                    <a:pt x="1354" y="40"/>
                    <a:pt x="1318" y="52"/>
                    <a:pt x="1286" y="56"/>
                  </a:cubicBezTo>
                  <a:cubicBezTo>
                    <a:pt x="1234" y="64"/>
                    <a:pt x="1150" y="76"/>
                    <a:pt x="1090" y="80"/>
                  </a:cubicBezTo>
                  <a:cubicBezTo>
                    <a:pt x="1030" y="84"/>
                    <a:pt x="994" y="80"/>
                    <a:pt x="927" y="76"/>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413" name="Freeform 2540"/>
            <p:cNvSpPr>
              <a:spLocks noChangeAspect="1"/>
            </p:cNvSpPr>
            <p:nvPr>
              <p:custDataLst>
                <p:tags r:id="rId40"/>
              </p:custDataLst>
            </p:nvPr>
          </p:nvSpPr>
          <p:spPr bwMode="auto">
            <a:xfrm>
              <a:off x="4772114" y="4486498"/>
              <a:ext cx="609440" cy="337300"/>
            </a:xfrm>
            <a:custGeom>
              <a:avLst/>
              <a:gdLst>
                <a:gd name="T0" fmla="*/ 939 w 1271"/>
                <a:gd name="T1" fmla="*/ 620 h 703"/>
                <a:gd name="T2" fmla="*/ 954 w 1271"/>
                <a:gd name="T3" fmla="*/ 592 h 703"/>
                <a:gd name="T4" fmla="*/ 1032 w 1271"/>
                <a:gd name="T5" fmla="*/ 589 h 703"/>
                <a:gd name="T6" fmla="*/ 1104 w 1271"/>
                <a:gd name="T7" fmla="*/ 539 h 703"/>
                <a:gd name="T8" fmla="*/ 1114 w 1271"/>
                <a:gd name="T9" fmla="*/ 503 h 703"/>
                <a:gd name="T10" fmla="*/ 1171 w 1271"/>
                <a:gd name="T11" fmla="*/ 431 h 703"/>
                <a:gd name="T12" fmla="*/ 1239 w 1271"/>
                <a:gd name="T13" fmla="*/ 359 h 703"/>
                <a:gd name="T14" fmla="*/ 1251 w 1271"/>
                <a:gd name="T15" fmla="*/ 340 h 703"/>
                <a:gd name="T16" fmla="*/ 1215 w 1271"/>
                <a:gd name="T17" fmla="*/ 304 h 703"/>
                <a:gd name="T18" fmla="*/ 1175 w 1271"/>
                <a:gd name="T19" fmla="*/ 248 h 703"/>
                <a:gd name="T20" fmla="*/ 1019 w 1271"/>
                <a:gd name="T21" fmla="*/ 228 h 703"/>
                <a:gd name="T22" fmla="*/ 1007 w 1271"/>
                <a:gd name="T23" fmla="*/ 200 h 703"/>
                <a:gd name="T24" fmla="*/ 1023 w 1271"/>
                <a:gd name="T25" fmla="*/ 176 h 703"/>
                <a:gd name="T26" fmla="*/ 963 w 1271"/>
                <a:gd name="T27" fmla="*/ 172 h 703"/>
                <a:gd name="T28" fmla="*/ 915 w 1271"/>
                <a:gd name="T29" fmla="*/ 148 h 703"/>
                <a:gd name="T30" fmla="*/ 867 w 1271"/>
                <a:gd name="T31" fmla="*/ 160 h 703"/>
                <a:gd name="T32" fmla="*/ 855 w 1271"/>
                <a:gd name="T33" fmla="*/ 208 h 703"/>
                <a:gd name="T34" fmla="*/ 827 w 1271"/>
                <a:gd name="T35" fmla="*/ 224 h 703"/>
                <a:gd name="T36" fmla="*/ 779 w 1271"/>
                <a:gd name="T37" fmla="*/ 176 h 703"/>
                <a:gd name="T38" fmla="*/ 759 w 1271"/>
                <a:gd name="T39" fmla="*/ 140 h 703"/>
                <a:gd name="T40" fmla="*/ 679 w 1271"/>
                <a:gd name="T41" fmla="*/ 64 h 703"/>
                <a:gd name="T42" fmla="*/ 587 w 1271"/>
                <a:gd name="T43" fmla="*/ 32 h 703"/>
                <a:gd name="T44" fmla="*/ 551 w 1271"/>
                <a:gd name="T45" fmla="*/ 4 h 703"/>
                <a:gd name="T46" fmla="*/ 522 w 1271"/>
                <a:gd name="T47" fmla="*/ 10 h 703"/>
                <a:gd name="T48" fmla="*/ 479 w 1271"/>
                <a:gd name="T49" fmla="*/ 28 h 703"/>
                <a:gd name="T50" fmla="*/ 447 w 1271"/>
                <a:gd name="T51" fmla="*/ 31 h 703"/>
                <a:gd name="T52" fmla="*/ 388 w 1271"/>
                <a:gd name="T53" fmla="*/ 17 h 703"/>
                <a:gd name="T54" fmla="*/ 339 w 1271"/>
                <a:gd name="T55" fmla="*/ 76 h 703"/>
                <a:gd name="T56" fmla="*/ 289 w 1271"/>
                <a:gd name="T57" fmla="*/ 100 h 703"/>
                <a:gd name="T58" fmla="*/ 183 w 1271"/>
                <a:gd name="T59" fmla="*/ 142 h 703"/>
                <a:gd name="T60" fmla="*/ 102 w 1271"/>
                <a:gd name="T61" fmla="*/ 193 h 703"/>
                <a:gd name="T62" fmla="*/ 58 w 1271"/>
                <a:gd name="T63" fmla="*/ 211 h 703"/>
                <a:gd name="T64" fmla="*/ 0 w 1271"/>
                <a:gd name="T65" fmla="*/ 250 h 703"/>
                <a:gd name="T66" fmla="*/ 34 w 1271"/>
                <a:gd name="T67" fmla="*/ 299 h 703"/>
                <a:gd name="T68" fmla="*/ 63 w 1271"/>
                <a:gd name="T69" fmla="*/ 352 h 703"/>
                <a:gd name="T70" fmla="*/ 83 w 1271"/>
                <a:gd name="T71" fmla="*/ 428 h 703"/>
                <a:gd name="T72" fmla="*/ 142 w 1271"/>
                <a:gd name="T73" fmla="*/ 485 h 703"/>
                <a:gd name="T74" fmla="*/ 207 w 1271"/>
                <a:gd name="T75" fmla="*/ 541 h 703"/>
                <a:gd name="T76" fmla="*/ 228 w 1271"/>
                <a:gd name="T77" fmla="*/ 566 h 703"/>
                <a:gd name="T78" fmla="*/ 253 w 1271"/>
                <a:gd name="T79" fmla="*/ 593 h 703"/>
                <a:gd name="T80" fmla="*/ 301 w 1271"/>
                <a:gd name="T81" fmla="*/ 604 h 703"/>
                <a:gd name="T82" fmla="*/ 346 w 1271"/>
                <a:gd name="T83" fmla="*/ 688 h 703"/>
                <a:gd name="T84" fmla="*/ 411 w 1271"/>
                <a:gd name="T85" fmla="*/ 700 h 703"/>
                <a:gd name="T86" fmla="*/ 486 w 1271"/>
                <a:gd name="T87" fmla="*/ 695 h 703"/>
                <a:gd name="T88" fmla="*/ 508 w 1271"/>
                <a:gd name="T89" fmla="*/ 685 h 703"/>
                <a:gd name="T90" fmla="*/ 534 w 1271"/>
                <a:gd name="T91" fmla="*/ 599 h 703"/>
                <a:gd name="T92" fmla="*/ 564 w 1271"/>
                <a:gd name="T93" fmla="*/ 574 h 703"/>
                <a:gd name="T94" fmla="*/ 616 w 1271"/>
                <a:gd name="T95" fmla="*/ 580 h 703"/>
                <a:gd name="T96" fmla="*/ 679 w 1271"/>
                <a:gd name="T97" fmla="*/ 588 h 703"/>
                <a:gd name="T98" fmla="*/ 731 w 1271"/>
                <a:gd name="T99" fmla="*/ 608 h 703"/>
                <a:gd name="T100" fmla="*/ 783 w 1271"/>
                <a:gd name="T101" fmla="*/ 632 h 703"/>
                <a:gd name="T102" fmla="*/ 855 w 1271"/>
                <a:gd name="T103" fmla="*/ 636 h 703"/>
                <a:gd name="T104" fmla="*/ 919 w 1271"/>
                <a:gd name="T105" fmla="*/ 637 h 703"/>
                <a:gd name="T106" fmla="*/ 939 w 1271"/>
                <a:gd name="T107" fmla="*/ 620 h 70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271"/>
                <a:gd name="T163" fmla="*/ 0 h 703"/>
                <a:gd name="T164" fmla="*/ 1271 w 1271"/>
                <a:gd name="T165" fmla="*/ 703 h 70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271" h="703">
                  <a:moveTo>
                    <a:pt x="939" y="620"/>
                  </a:moveTo>
                  <a:cubicBezTo>
                    <a:pt x="947" y="613"/>
                    <a:pt x="939" y="597"/>
                    <a:pt x="954" y="592"/>
                  </a:cubicBezTo>
                  <a:cubicBezTo>
                    <a:pt x="969" y="587"/>
                    <a:pt x="1007" y="598"/>
                    <a:pt x="1032" y="589"/>
                  </a:cubicBezTo>
                  <a:cubicBezTo>
                    <a:pt x="1064" y="581"/>
                    <a:pt x="1084" y="547"/>
                    <a:pt x="1104" y="539"/>
                  </a:cubicBezTo>
                  <a:cubicBezTo>
                    <a:pt x="1111" y="526"/>
                    <a:pt x="1103" y="521"/>
                    <a:pt x="1114" y="503"/>
                  </a:cubicBezTo>
                  <a:cubicBezTo>
                    <a:pt x="1135" y="490"/>
                    <a:pt x="1143" y="452"/>
                    <a:pt x="1171" y="431"/>
                  </a:cubicBezTo>
                  <a:cubicBezTo>
                    <a:pt x="1183" y="391"/>
                    <a:pt x="1206" y="371"/>
                    <a:pt x="1239" y="359"/>
                  </a:cubicBezTo>
                  <a:cubicBezTo>
                    <a:pt x="1270" y="340"/>
                    <a:pt x="1271" y="360"/>
                    <a:pt x="1251" y="340"/>
                  </a:cubicBezTo>
                  <a:cubicBezTo>
                    <a:pt x="1243" y="320"/>
                    <a:pt x="1235" y="312"/>
                    <a:pt x="1215" y="304"/>
                  </a:cubicBezTo>
                  <a:cubicBezTo>
                    <a:pt x="1207" y="288"/>
                    <a:pt x="1191" y="256"/>
                    <a:pt x="1175" y="248"/>
                  </a:cubicBezTo>
                  <a:cubicBezTo>
                    <a:pt x="1135" y="224"/>
                    <a:pt x="1083" y="248"/>
                    <a:pt x="1019" y="228"/>
                  </a:cubicBezTo>
                  <a:cubicBezTo>
                    <a:pt x="1015" y="220"/>
                    <a:pt x="1003" y="208"/>
                    <a:pt x="1007" y="200"/>
                  </a:cubicBezTo>
                  <a:cubicBezTo>
                    <a:pt x="1011" y="192"/>
                    <a:pt x="1023" y="176"/>
                    <a:pt x="1023" y="176"/>
                  </a:cubicBezTo>
                  <a:cubicBezTo>
                    <a:pt x="1015" y="144"/>
                    <a:pt x="987" y="164"/>
                    <a:pt x="963" y="172"/>
                  </a:cubicBezTo>
                  <a:cubicBezTo>
                    <a:pt x="947" y="164"/>
                    <a:pt x="931" y="160"/>
                    <a:pt x="915" y="148"/>
                  </a:cubicBezTo>
                  <a:cubicBezTo>
                    <a:pt x="899" y="148"/>
                    <a:pt x="875" y="152"/>
                    <a:pt x="867" y="160"/>
                  </a:cubicBezTo>
                  <a:cubicBezTo>
                    <a:pt x="887" y="188"/>
                    <a:pt x="875" y="196"/>
                    <a:pt x="855" y="208"/>
                  </a:cubicBezTo>
                  <a:cubicBezTo>
                    <a:pt x="851" y="224"/>
                    <a:pt x="843" y="228"/>
                    <a:pt x="827" y="224"/>
                  </a:cubicBezTo>
                  <a:cubicBezTo>
                    <a:pt x="815" y="208"/>
                    <a:pt x="799" y="188"/>
                    <a:pt x="779" y="176"/>
                  </a:cubicBezTo>
                  <a:cubicBezTo>
                    <a:pt x="775" y="164"/>
                    <a:pt x="759" y="140"/>
                    <a:pt x="759" y="140"/>
                  </a:cubicBezTo>
                  <a:cubicBezTo>
                    <a:pt x="803" y="40"/>
                    <a:pt x="751" y="68"/>
                    <a:pt x="679" y="64"/>
                  </a:cubicBezTo>
                  <a:cubicBezTo>
                    <a:pt x="651" y="56"/>
                    <a:pt x="611" y="52"/>
                    <a:pt x="587" y="32"/>
                  </a:cubicBezTo>
                  <a:cubicBezTo>
                    <a:pt x="575" y="24"/>
                    <a:pt x="551" y="4"/>
                    <a:pt x="551" y="4"/>
                  </a:cubicBezTo>
                  <a:cubicBezTo>
                    <a:pt x="540" y="0"/>
                    <a:pt x="534" y="6"/>
                    <a:pt x="522" y="10"/>
                  </a:cubicBezTo>
                  <a:cubicBezTo>
                    <a:pt x="510" y="14"/>
                    <a:pt x="491" y="25"/>
                    <a:pt x="479" y="28"/>
                  </a:cubicBezTo>
                  <a:cubicBezTo>
                    <a:pt x="475" y="32"/>
                    <a:pt x="447" y="31"/>
                    <a:pt x="447" y="31"/>
                  </a:cubicBezTo>
                  <a:cubicBezTo>
                    <a:pt x="427" y="23"/>
                    <a:pt x="408" y="25"/>
                    <a:pt x="388" y="17"/>
                  </a:cubicBezTo>
                  <a:cubicBezTo>
                    <a:pt x="364" y="43"/>
                    <a:pt x="369" y="29"/>
                    <a:pt x="339" y="76"/>
                  </a:cubicBezTo>
                  <a:cubicBezTo>
                    <a:pt x="285" y="88"/>
                    <a:pt x="301" y="89"/>
                    <a:pt x="289" y="100"/>
                  </a:cubicBezTo>
                  <a:cubicBezTo>
                    <a:pt x="263" y="111"/>
                    <a:pt x="222" y="125"/>
                    <a:pt x="183" y="142"/>
                  </a:cubicBezTo>
                  <a:cubicBezTo>
                    <a:pt x="153" y="158"/>
                    <a:pt x="123" y="182"/>
                    <a:pt x="102" y="193"/>
                  </a:cubicBezTo>
                  <a:cubicBezTo>
                    <a:pt x="81" y="204"/>
                    <a:pt x="70" y="194"/>
                    <a:pt x="58" y="211"/>
                  </a:cubicBezTo>
                  <a:cubicBezTo>
                    <a:pt x="18" y="223"/>
                    <a:pt x="13" y="221"/>
                    <a:pt x="0" y="250"/>
                  </a:cubicBezTo>
                  <a:cubicBezTo>
                    <a:pt x="4" y="286"/>
                    <a:pt x="10" y="283"/>
                    <a:pt x="34" y="299"/>
                  </a:cubicBezTo>
                  <a:cubicBezTo>
                    <a:pt x="60" y="314"/>
                    <a:pt x="55" y="328"/>
                    <a:pt x="63" y="352"/>
                  </a:cubicBezTo>
                  <a:cubicBezTo>
                    <a:pt x="59" y="380"/>
                    <a:pt x="60" y="407"/>
                    <a:pt x="83" y="428"/>
                  </a:cubicBezTo>
                  <a:cubicBezTo>
                    <a:pt x="99" y="454"/>
                    <a:pt x="126" y="473"/>
                    <a:pt x="142" y="485"/>
                  </a:cubicBezTo>
                  <a:cubicBezTo>
                    <a:pt x="162" y="513"/>
                    <a:pt x="178" y="529"/>
                    <a:pt x="207" y="541"/>
                  </a:cubicBezTo>
                  <a:cubicBezTo>
                    <a:pt x="223" y="553"/>
                    <a:pt x="212" y="554"/>
                    <a:pt x="228" y="566"/>
                  </a:cubicBezTo>
                  <a:cubicBezTo>
                    <a:pt x="236" y="573"/>
                    <a:pt x="244" y="580"/>
                    <a:pt x="253" y="593"/>
                  </a:cubicBezTo>
                  <a:cubicBezTo>
                    <a:pt x="265" y="598"/>
                    <a:pt x="285" y="590"/>
                    <a:pt x="301" y="604"/>
                  </a:cubicBezTo>
                  <a:cubicBezTo>
                    <a:pt x="325" y="628"/>
                    <a:pt x="325" y="673"/>
                    <a:pt x="346" y="688"/>
                  </a:cubicBezTo>
                  <a:cubicBezTo>
                    <a:pt x="373" y="680"/>
                    <a:pt x="391" y="696"/>
                    <a:pt x="411" y="700"/>
                  </a:cubicBezTo>
                  <a:cubicBezTo>
                    <a:pt x="439" y="703"/>
                    <a:pt x="453" y="691"/>
                    <a:pt x="486" y="695"/>
                  </a:cubicBezTo>
                  <a:cubicBezTo>
                    <a:pt x="494" y="691"/>
                    <a:pt x="508" y="685"/>
                    <a:pt x="508" y="685"/>
                  </a:cubicBezTo>
                  <a:cubicBezTo>
                    <a:pt x="513" y="659"/>
                    <a:pt x="514" y="619"/>
                    <a:pt x="534" y="599"/>
                  </a:cubicBezTo>
                  <a:cubicBezTo>
                    <a:pt x="534" y="587"/>
                    <a:pt x="552" y="578"/>
                    <a:pt x="564" y="574"/>
                  </a:cubicBezTo>
                  <a:cubicBezTo>
                    <a:pt x="580" y="566"/>
                    <a:pt x="600" y="576"/>
                    <a:pt x="616" y="580"/>
                  </a:cubicBezTo>
                  <a:cubicBezTo>
                    <a:pt x="640" y="584"/>
                    <a:pt x="655" y="588"/>
                    <a:pt x="679" y="588"/>
                  </a:cubicBezTo>
                  <a:cubicBezTo>
                    <a:pt x="708" y="593"/>
                    <a:pt x="735" y="593"/>
                    <a:pt x="731" y="608"/>
                  </a:cubicBezTo>
                  <a:cubicBezTo>
                    <a:pt x="747" y="612"/>
                    <a:pt x="759" y="628"/>
                    <a:pt x="783" y="632"/>
                  </a:cubicBezTo>
                  <a:cubicBezTo>
                    <a:pt x="803" y="636"/>
                    <a:pt x="832" y="635"/>
                    <a:pt x="855" y="636"/>
                  </a:cubicBezTo>
                  <a:cubicBezTo>
                    <a:pt x="880" y="640"/>
                    <a:pt x="891" y="641"/>
                    <a:pt x="919" y="637"/>
                  </a:cubicBezTo>
                  <a:cubicBezTo>
                    <a:pt x="935" y="629"/>
                    <a:pt x="931" y="620"/>
                    <a:pt x="939" y="620"/>
                  </a:cubicBezTo>
                  <a:close/>
                </a:path>
              </a:pathLst>
            </a:custGeom>
            <a:solidFill>
              <a:srgbClr val="8D9399"/>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414" name="Freeform 2541"/>
            <p:cNvSpPr>
              <a:spLocks noChangeAspect="1"/>
            </p:cNvSpPr>
            <p:nvPr>
              <p:custDataLst>
                <p:tags r:id="rId41"/>
              </p:custDataLst>
            </p:nvPr>
          </p:nvSpPr>
          <p:spPr bwMode="auto">
            <a:xfrm>
              <a:off x="4536386" y="4760553"/>
              <a:ext cx="707181" cy="366048"/>
            </a:xfrm>
            <a:custGeom>
              <a:avLst/>
              <a:gdLst>
                <a:gd name="T0" fmla="*/ 72 w 1474"/>
                <a:gd name="T1" fmla="*/ 471 h 764"/>
                <a:gd name="T2" fmla="*/ 125 w 1474"/>
                <a:gd name="T3" fmla="*/ 501 h 764"/>
                <a:gd name="T4" fmla="*/ 200 w 1474"/>
                <a:gd name="T5" fmla="*/ 474 h 764"/>
                <a:gd name="T6" fmla="*/ 321 w 1474"/>
                <a:gd name="T7" fmla="*/ 497 h 764"/>
                <a:gd name="T8" fmla="*/ 420 w 1474"/>
                <a:gd name="T9" fmla="*/ 428 h 764"/>
                <a:gd name="T10" fmla="*/ 574 w 1474"/>
                <a:gd name="T11" fmla="*/ 420 h 764"/>
                <a:gd name="T12" fmla="*/ 639 w 1474"/>
                <a:gd name="T13" fmla="*/ 420 h 764"/>
                <a:gd name="T14" fmla="*/ 699 w 1474"/>
                <a:gd name="T15" fmla="*/ 450 h 764"/>
                <a:gd name="T16" fmla="*/ 671 w 1474"/>
                <a:gd name="T17" fmla="*/ 401 h 764"/>
                <a:gd name="T18" fmla="*/ 680 w 1474"/>
                <a:gd name="T19" fmla="*/ 234 h 764"/>
                <a:gd name="T20" fmla="*/ 761 w 1474"/>
                <a:gd name="T21" fmla="*/ 149 h 764"/>
                <a:gd name="T22" fmla="*/ 827 w 1474"/>
                <a:gd name="T23" fmla="*/ 116 h 764"/>
                <a:gd name="T24" fmla="*/ 974 w 1474"/>
                <a:gd name="T25" fmla="*/ 120 h 764"/>
                <a:gd name="T26" fmla="*/ 1054 w 1474"/>
                <a:gd name="T27" fmla="*/ 0 h 764"/>
                <a:gd name="T28" fmla="*/ 1410 w 1474"/>
                <a:gd name="T29" fmla="*/ 64 h 764"/>
                <a:gd name="T30" fmla="*/ 1421 w 1474"/>
                <a:gd name="T31" fmla="*/ 116 h 764"/>
                <a:gd name="T32" fmla="*/ 1474 w 1474"/>
                <a:gd name="T33" fmla="*/ 284 h 764"/>
                <a:gd name="T34" fmla="*/ 1338 w 1474"/>
                <a:gd name="T35" fmla="*/ 356 h 764"/>
                <a:gd name="T36" fmla="*/ 1390 w 1474"/>
                <a:gd name="T37" fmla="*/ 424 h 764"/>
                <a:gd name="T38" fmla="*/ 1322 w 1474"/>
                <a:gd name="T39" fmla="*/ 588 h 764"/>
                <a:gd name="T40" fmla="*/ 1222 w 1474"/>
                <a:gd name="T41" fmla="*/ 660 h 764"/>
                <a:gd name="T42" fmla="*/ 1174 w 1474"/>
                <a:gd name="T43" fmla="*/ 692 h 764"/>
                <a:gd name="T44" fmla="*/ 1066 w 1474"/>
                <a:gd name="T45" fmla="*/ 720 h 764"/>
                <a:gd name="T46" fmla="*/ 807 w 1474"/>
                <a:gd name="T47" fmla="*/ 737 h 764"/>
                <a:gd name="T48" fmla="*/ 578 w 1474"/>
                <a:gd name="T49" fmla="*/ 688 h 764"/>
                <a:gd name="T50" fmla="*/ 530 w 1474"/>
                <a:gd name="T51" fmla="*/ 620 h 764"/>
                <a:gd name="T52" fmla="*/ 438 w 1474"/>
                <a:gd name="T53" fmla="*/ 608 h 764"/>
                <a:gd name="T54" fmla="*/ 310 w 1474"/>
                <a:gd name="T55" fmla="*/ 656 h 764"/>
                <a:gd name="T56" fmla="*/ 214 w 1474"/>
                <a:gd name="T57" fmla="*/ 650 h 764"/>
                <a:gd name="T58" fmla="*/ 142 w 1474"/>
                <a:gd name="T59" fmla="*/ 632 h 764"/>
                <a:gd name="T60" fmla="*/ 71 w 1474"/>
                <a:gd name="T61" fmla="*/ 627 h 764"/>
                <a:gd name="T62" fmla="*/ 0 w 1474"/>
                <a:gd name="T63" fmla="*/ 552 h 76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74"/>
                <a:gd name="T97" fmla="*/ 0 h 764"/>
                <a:gd name="T98" fmla="*/ 1474 w 1474"/>
                <a:gd name="T99" fmla="*/ 764 h 76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74" h="764">
                  <a:moveTo>
                    <a:pt x="26" y="452"/>
                  </a:moveTo>
                  <a:cubicBezTo>
                    <a:pt x="39" y="438"/>
                    <a:pt x="59" y="467"/>
                    <a:pt x="72" y="471"/>
                  </a:cubicBezTo>
                  <a:cubicBezTo>
                    <a:pt x="85" y="475"/>
                    <a:pt x="98" y="472"/>
                    <a:pt x="107" y="477"/>
                  </a:cubicBezTo>
                  <a:cubicBezTo>
                    <a:pt x="115" y="489"/>
                    <a:pt x="125" y="501"/>
                    <a:pt x="125" y="501"/>
                  </a:cubicBezTo>
                  <a:cubicBezTo>
                    <a:pt x="129" y="517"/>
                    <a:pt x="142" y="510"/>
                    <a:pt x="150" y="522"/>
                  </a:cubicBezTo>
                  <a:cubicBezTo>
                    <a:pt x="201" y="522"/>
                    <a:pt x="192" y="498"/>
                    <a:pt x="200" y="474"/>
                  </a:cubicBezTo>
                  <a:cubicBezTo>
                    <a:pt x="212" y="466"/>
                    <a:pt x="214" y="468"/>
                    <a:pt x="230" y="464"/>
                  </a:cubicBezTo>
                  <a:cubicBezTo>
                    <a:pt x="262" y="476"/>
                    <a:pt x="294" y="500"/>
                    <a:pt x="321" y="497"/>
                  </a:cubicBezTo>
                  <a:cubicBezTo>
                    <a:pt x="345" y="489"/>
                    <a:pt x="354" y="483"/>
                    <a:pt x="374" y="479"/>
                  </a:cubicBezTo>
                  <a:cubicBezTo>
                    <a:pt x="383" y="462"/>
                    <a:pt x="396" y="440"/>
                    <a:pt x="420" y="428"/>
                  </a:cubicBezTo>
                  <a:cubicBezTo>
                    <a:pt x="444" y="416"/>
                    <a:pt x="493" y="408"/>
                    <a:pt x="519" y="407"/>
                  </a:cubicBezTo>
                  <a:cubicBezTo>
                    <a:pt x="545" y="406"/>
                    <a:pt x="537" y="402"/>
                    <a:pt x="574" y="420"/>
                  </a:cubicBezTo>
                  <a:cubicBezTo>
                    <a:pt x="594" y="410"/>
                    <a:pt x="591" y="407"/>
                    <a:pt x="602" y="407"/>
                  </a:cubicBezTo>
                  <a:cubicBezTo>
                    <a:pt x="613" y="407"/>
                    <a:pt x="625" y="412"/>
                    <a:pt x="639" y="420"/>
                  </a:cubicBezTo>
                  <a:cubicBezTo>
                    <a:pt x="656" y="425"/>
                    <a:pt x="674" y="450"/>
                    <a:pt x="684" y="455"/>
                  </a:cubicBezTo>
                  <a:cubicBezTo>
                    <a:pt x="694" y="460"/>
                    <a:pt x="696" y="455"/>
                    <a:pt x="699" y="450"/>
                  </a:cubicBezTo>
                  <a:cubicBezTo>
                    <a:pt x="695" y="438"/>
                    <a:pt x="709" y="438"/>
                    <a:pt x="701" y="426"/>
                  </a:cubicBezTo>
                  <a:cubicBezTo>
                    <a:pt x="696" y="408"/>
                    <a:pt x="671" y="401"/>
                    <a:pt x="671" y="401"/>
                  </a:cubicBezTo>
                  <a:cubicBezTo>
                    <a:pt x="678" y="315"/>
                    <a:pt x="647" y="294"/>
                    <a:pt x="623" y="270"/>
                  </a:cubicBezTo>
                  <a:cubicBezTo>
                    <a:pt x="659" y="263"/>
                    <a:pt x="662" y="244"/>
                    <a:pt x="680" y="234"/>
                  </a:cubicBezTo>
                  <a:cubicBezTo>
                    <a:pt x="698" y="224"/>
                    <a:pt x="715" y="223"/>
                    <a:pt x="729" y="209"/>
                  </a:cubicBezTo>
                  <a:cubicBezTo>
                    <a:pt x="743" y="188"/>
                    <a:pt x="740" y="168"/>
                    <a:pt x="761" y="149"/>
                  </a:cubicBezTo>
                  <a:cubicBezTo>
                    <a:pt x="774" y="136"/>
                    <a:pt x="799" y="137"/>
                    <a:pt x="810" y="132"/>
                  </a:cubicBezTo>
                  <a:cubicBezTo>
                    <a:pt x="821" y="127"/>
                    <a:pt x="812" y="117"/>
                    <a:pt x="827" y="116"/>
                  </a:cubicBezTo>
                  <a:cubicBezTo>
                    <a:pt x="843" y="108"/>
                    <a:pt x="874" y="116"/>
                    <a:pt x="898" y="128"/>
                  </a:cubicBezTo>
                  <a:cubicBezTo>
                    <a:pt x="922" y="124"/>
                    <a:pt x="950" y="124"/>
                    <a:pt x="974" y="120"/>
                  </a:cubicBezTo>
                  <a:cubicBezTo>
                    <a:pt x="982" y="120"/>
                    <a:pt x="998" y="112"/>
                    <a:pt x="998" y="112"/>
                  </a:cubicBezTo>
                  <a:cubicBezTo>
                    <a:pt x="1010" y="60"/>
                    <a:pt x="1010" y="28"/>
                    <a:pt x="1054" y="0"/>
                  </a:cubicBezTo>
                  <a:cubicBezTo>
                    <a:pt x="1110" y="8"/>
                    <a:pt x="1162" y="20"/>
                    <a:pt x="1218" y="24"/>
                  </a:cubicBezTo>
                  <a:cubicBezTo>
                    <a:pt x="1258" y="84"/>
                    <a:pt x="1342" y="60"/>
                    <a:pt x="1410" y="64"/>
                  </a:cubicBezTo>
                  <a:cubicBezTo>
                    <a:pt x="1443" y="74"/>
                    <a:pt x="1426" y="35"/>
                    <a:pt x="1433" y="50"/>
                  </a:cubicBezTo>
                  <a:cubicBezTo>
                    <a:pt x="1435" y="59"/>
                    <a:pt x="1419" y="98"/>
                    <a:pt x="1421" y="116"/>
                  </a:cubicBezTo>
                  <a:cubicBezTo>
                    <a:pt x="1423" y="134"/>
                    <a:pt x="1434" y="130"/>
                    <a:pt x="1443" y="158"/>
                  </a:cubicBezTo>
                  <a:cubicBezTo>
                    <a:pt x="1427" y="210"/>
                    <a:pt x="1446" y="240"/>
                    <a:pt x="1474" y="284"/>
                  </a:cubicBezTo>
                  <a:cubicBezTo>
                    <a:pt x="1462" y="356"/>
                    <a:pt x="1470" y="348"/>
                    <a:pt x="1394" y="352"/>
                  </a:cubicBezTo>
                  <a:cubicBezTo>
                    <a:pt x="1374" y="344"/>
                    <a:pt x="1358" y="352"/>
                    <a:pt x="1338" y="356"/>
                  </a:cubicBezTo>
                  <a:cubicBezTo>
                    <a:pt x="1358" y="360"/>
                    <a:pt x="1374" y="372"/>
                    <a:pt x="1390" y="384"/>
                  </a:cubicBezTo>
                  <a:cubicBezTo>
                    <a:pt x="1402" y="424"/>
                    <a:pt x="1414" y="416"/>
                    <a:pt x="1390" y="424"/>
                  </a:cubicBezTo>
                  <a:cubicBezTo>
                    <a:pt x="1386" y="440"/>
                    <a:pt x="1378" y="452"/>
                    <a:pt x="1370" y="468"/>
                  </a:cubicBezTo>
                  <a:cubicBezTo>
                    <a:pt x="1378" y="528"/>
                    <a:pt x="1390" y="572"/>
                    <a:pt x="1322" y="588"/>
                  </a:cubicBezTo>
                  <a:cubicBezTo>
                    <a:pt x="1310" y="620"/>
                    <a:pt x="1322" y="608"/>
                    <a:pt x="1298" y="624"/>
                  </a:cubicBezTo>
                  <a:cubicBezTo>
                    <a:pt x="1286" y="660"/>
                    <a:pt x="1262" y="652"/>
                    <a:pt x="1222" y="660"/>
                  </a:cubicBezTo>
                  <a:cubicBezTo>
                    <a:pt x="1214" y="660"/>
                    <a:pt x="1202" y="664"/>
                    <a:pt x="1202" y="664"/>
                  </a:cubicBezTo>
                  <a:cubicBezTo>
                    <a:pt x="1198" y="684"/>
                    <a:pt x="1194" y="684"/>
                    <a:pt x="1174" y="692"/>
                  </a:cubicBezTo>
                  <a:cubicBezTo>
                    <a:pt x="1146" y="688"/>
                    <a:pt x="1134" y="696"/>
                    <a:pt x="1106" y="704"/>
                  </a:cubicBezTo>
                  <a:cubicBezTo>
                    <a:pt x="1094" y="720"/>
                    <a:pt x="1086" y="712"/>
                    <a:pt x="1066" y="720"/>
                  </a:cubicBezTo>
                  <a:cubicBezTo>
                    <a:pt x="1050" y="736"/>
                    <a:pt x="1018" y="748"/>
                    <a:pt x="998" y="756"/>
                  </a:cubicBezTo>
                  <a:cubicBezTo>
                    <a:pt x="926" y="764"/>
                    <a:pt x="895" y="741"/>
                    <a:pt x="807" y="737"/>
                  </a:cubicBezTo>
                  <a:cubicBezTo>
                    <a:pt x="763" y="721"/>
                    <a:pt x="672" y="723"/>
                    <a:pt x="626" y="712"/>
                  </a:cubicBezTo>
                  <a:cubicBezTo>
                    <a:pt x="606" y="704"/>
                    <a:pt x="598" y="696"/>
                    <a:pt x="578" y="688"/>
                  </a:cubicBezTo>
                  <a:cubicBezTo>
                    <a:pt x="574" y="688"/>
                    <a:pt x="564" y="677"/>
                    <a:pt x="564" y="677"/>
                  </a:cubicBezTo>
                  <a:cubicBezTo>
                    <a:pt x="549" y="657"/>
                    <a:pt x="548" y="632"/>
                    <a:pt x="530" y="620"/>
                  </a:cubicBezTo>
                  <a:cubicBezTo>
                    <a:pt x="519" y="605"/>
                    <a:pt x="522" y="604"/>
                    <a:pt x="500" y="594"/>
                  </a:cubicBezTo>
                  <a:cubicBezTo>
                    <a:pt x="476" y="595"/>
                    <a:pt x="438" y="608"/>
                    <a:pt x="438" y="608"/>
                  </a:cubicBezTo>
                  <a:cubicBezTo>
                    <a:pt x="399" y="614"/>
                    <a:pt x="377" y="620"/>
                    <a:pt x="334" y="616"/>
                  </a:cubicBezTo>
                  <a:cubicBezTo>
                    <a:pt x="326" y="630"/>
                    <a:pt x="333" y="621"/>
                    <a:pt x="310" y="656"/>
                  </a:cubicBezTo>
                  <a:cubicBezTo>
                    <a:pt x="306" y="664"/>
                    <a:pt x="303" y="668"/>
                    <a:pt x="303" y="668"/>
                  </a:cubicBezTo>
                  <a:cubicBezTo>
                    <a:pt x="240" y="663"/>
                    <a:pt x="235" y="654"/>
                    <a:pt x="214" y="650"/>
                  </a:cubicBezTo>
                  <a:cubicBezTo>
                    <a:pt x="193" y="646"/>
                    <a:pt x="190" y="647"/>
                    <a:pt x="178" y="644"/>
                  </a:cubicBezTo>
                  <a:cubicBezTo>
                    <a:pt x="173" y="626"/>
                    <a:pt x="166" y="616"/>
                    <a:pt x="142" y="632"/>
                  </a:cubicBezTo>
                  <a:cubicBezTo>
                    <a:pt x="134" y="648"/>
                    <a:pt x="107" y="650"/>
                    <a:pt x="93" y="659"/>
                  </a:cubicBezTo>
                  <a:cubicBezTo>
                    <a:pt x="81" y="650"/>
                    <a:pt x="79" y="647"/>
                    <a:pt x="71" y="627"/>
                  </a:cubicBezTo>
                  <a:cubicBezTo>
                    <a:pt x="67" y="611"/>
                    <a:pt x="38" y="596"/>
                    <a:pt x="26" y="588"/>
                  </a:cubicBezTo>
                  <a:cubicBezTo>
                    <a:pt x="11" y="582"/>
                    <a:pt x="4" y="568"/>
                    <a:pt x="0" y="552"/>
                  </a:cubicBezTo>
                  <a:cubicBezTo>
                    <a:pt x="16" y="508"/>
                    <a:pt x="38" y="521"/>
                    <a:pt x="26" y="452"/>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415" name="Freeform 2542"/>
            <p:cNvSpPr>
              <a:spLocks noChangeAspect="1"/>
            </p:cNvSpPr>
            <p:nvPr>
              <p:custDataLst>
                <p:tags r:id="rId42"/>
              </p:custDataLst>
            </p:nvPr>
          </p:nvSpPr>
          <p:spPr bwMode="auto">
            <a:xfrm>
              <a:off x="4193337" y="4936869"/>
              <a:ext cx="442707" cy="289389"/>
            </a:xfrm>
            <a:custGeom>
              <a:avLst/>
              <a:gdLst>
                <a:gd name="T0" fmla="*/ 328 w 925"/>
                <a:gd name="T1" fmla="*/ 78 h 605"/>
                <a:gd name="T2" fmla="*/ 428 w 925"/>
                <a:gd name="T3" fmla="*/ 82 h 605"/>
                <a:gd name="T4" fmla="*/ 513 w 925"/>
                <a:gd name="T5" fmla="*/ 69 h 605"/>
                <a:gd name="T6" fmla="*/ 535 w 925"/>
                <a:gd name="T7" fmla="*/ 48 h 605"/>
                <a:gd name="T8" fmla="*/ 500 w 925"/>
                <a:gd name="T9" fmla="*/ 30 h 605"/>
                <a:gd name="T10" fmla="*/ 528 w 925"/>
                <a:gd name="T11" fmla="*/ 10 h 605"/>
                <a:gd name="T12" fmla="*/ 567 w 925"/>
                <a:gd name="T13" fmla="*/ 26 h 605"/>
                <a:gd name="T14" fmla="*/ 596 w 925"/>
                <a:gd name="T15" fmla="*/ 62 h 605"/>
                <a:gd name="T16" fmla="*/ 633 w 925"/>
                <a:gd name="T17" fmla="*/ 42 h 605"/>
                <a:gd name="T18" fmla="*/ 685 w 925"/>
                <a:gd name="T19" fmla="*/ 50 h 605"/>
                <a:gd name="T20" fmla="*/ 744 w 925"/>
                <a:gd name="T21" fmla="*/ 80 h 605"/>
                <a:gd name="T22" fmla="*/ 720 w 925"/>
                <a:gd name="T23" fmla="*/ 182 h 605"/>
                <a:gd name="T24" fmla="*/ 752 w 925"/>
                <a:gd name="T25" fmla="*/ 226 h 605"/>
                <a:gd name="T26" fmla="*/ 788 w 925"/>
                <a:gd name="T27" fmla="*/ 254 h 605"/>
                <a:gd name="T28" fmla="*/ 808 w 925"/>
                <a:gd name="T29" fmla="*/ 294 h 605"/>
                <a:gd name="T30" fmla="*/ 880 w 925"/>
                <a:gd name="T31" fmla="*/ 258 h 605"/>
                <a:gd name="T32" fmla="*/ 898 w 925"/>
                <a:gd name="T33" fmla="*/ 281 h 605"/>
                <a:gd name="T34" fmla="*/ 924 w 925"/>
                <a:gd name="T35" fmla="*/ 282 h 605"/>
                <a:gd name="T36" fmla="*/ 903 w 925"/>
                <a:gd name="T37" fmla="*/ 300 h 605"/>
                <a:gd name="T38" fmla="*/ 888 w 925"/>
                <a:gd name="T39" fmla="*/ 350 h 605"/>
                <a:gd name="T40" fmla="*/ 838 w 925"/>
                <a:gd name="T41" fmla="*/ 374 h 605"/>
                <a:gd name="T42" fmla="*/ 823 w 925"/>
                <a:gd name="T43" fmla="*/ 419 h 605"/>
                <a:gd name="T44" fmla="*/ 792 w 925"/>
                <a:gd name="T45" fmla="*/ 434 h 605"/>
                <a:gd name="T46" fmla="*/ 744 w 925"/>
                <a:gd name="T47" fmla="*/ 470 h 605"/>
                <a:gd name="T48" fmla="*/ 709 w 925"/>
                <a:gd name="T49" fmla="*/ 435 h 605"/>
                <a:gd name="T50" fmla="*/ 693 w 925"/>
                <a:gd name="T51" fmla="*/ 417 h 605"/>
                <a:gd name="T52" fmla="*/ 655 w 925"/>
                <a:gd name="T53" fmla="*/ 453 h 605"/>
                <a:gd name="T54" fmla="*/ 610 w 925"/>
                <a:gd name="T55" fmla="*/ 534 h 605"/>
                <a:gd name="T56" fmla="*/ 583 w 925"/>
                <a:gd name="T57" fmla="*/ 605 h 605"/>
                <a:gd name="T58" fmla="*/ 555 w 925"/>
                <a:gd name="T59" fmla="*/ 515 h 605"/>
                <a:gd name="T60" fmla="*/ 528 w 925"/>
                <a:gd name="T61" fmla="*/ 495 h 605"/>
                <a:gd name="T62" fmla="*/ 525 w 925"/>
                <a:gd name="T63" fmla="*/ 476 h 605"/>
                <a:gd name="T64" fmla="*/ 496 w 925"/>
                <a:gd name="T65" fmla="*/ 438 h 605"/>
                <a:gd name="T66" fmla="*/ 464 w 925"/>
                <a:gd name="T67" fmla="*/ 458 h 605"/>
                <a:gd name="T68" fmla="*/ 432 w 925"/>
                <a:gd name="T69" fmla="*/ 498 h 605"/>
                <a:gd name="T70" fmla="*/ 411 w 925"/>
                <a:gd name="T71" fmla="*/ 540 h 605"/>
                <a:gd name="T72" fmla="*/ 360 w 925"/>
                <a:gd name="T73" fmla="*/ 546 h 605"/>
                <a:gd name="T74" fmla="*/ 286 w 925"/>
                <a:gd name="T75" fmla="*/ 548 h 605"/>
                <a:gd name="T76" fmla="*/ 248 w 925"/>
                <a:gd name="T77" fmla="*/ 566 h 605"/>
                <a:gd name="T78" fmla="*/ 198 w 925"/>
                <a:gd name="T79" fmla="*/ 552 h 605"/>
                <a:gd name="T80" fmla="*/ 188 w 925"/>
                <a:gd name="T81" fmla="*/ 534 h 605"/>
                <a:gd name="T82" fmla="*/ 168 w 925"/>
                <a:gd name="T83" fmla="*/ 473 h 605"/>
                <a:gd name="T84" fmla="*/ 128 w 925"/>
                <a:gd name="T85" fmla="*/ 422 h 605"/>
                <a:gd name="T86" fmla="*/ 44 w 925"/>
                <a:gd name="T87" fmla="*/ 438 h 605"/>
                <a:gd name="T88" fmla="*/ 0 w 925"/>
                <a:gd name="T89" fmla="*/ 494 h 605"/>
                <a:gd name="T90" fmla="*/ 24 w 925"/>
                <a:gd name="T91" fmla="*/ 414 h 605"/>
                <a:gd name="T92" fmla="*/ 36 w 925"/>
                <a:gd name="T93" fmla="*/ 351 h 605"/>
                <a:gd name="T94" fmla="*/ 94 w 925"/>
                <a:gd name="T95" fmla="*/ 299 h 605"/>
                <a:gd name="T96" fmla="*/ 136 w 925"/>
                <a:gd name="T97" fmla="*/ 245 h 605"/>
                <a:gd name="T98" fmla="*/ 184 w 925"/>
                <a:gd name="T99" fmla="*/ 174 h 605"/>
                <a:gd name="T100" fmla="*/ 198 w 925"/>
                <a:gd name="T101" fmla="*/ 134 h 605"/>
                <a:gd name="T102" fmla="*/ 225 w 925"/>
                <a:gd name="T103" fmla="*/ 81 h 605"/>
                <a:gd name="T104" fmla="*/ 276 w 925"/>
                <a:gd name="T105" fmla="*/ 87 h 605"/>
                <a:gd name="T106" fmla="*/ 328 w 925"/>
                <a:gd name="T107" fmla="*/ 78 h 60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925"/>
                <a:gd name="T163" fmla="*/ 0 h 605"/>
                <a:gd name="T164" fmla="*/ 925 w 925"/>
                <a:gd name="T165" fmla="*/ 605 h 60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925" h="605">
                  <a:moveTo>
                    <a:pt x="328" y="78"/>
                  </a:moveTo>
                  <a:cubicBezTo>
                    <a:pt x="372" y="86"/>
                    <a:pt x="378" y="74"/>
                    <a:pt x="428" y="82"/>
                  </a:cubicBezTo>
                  <a:cubicBezTo>
                    <a:pt x="460" y="74"/>
                    <a:pt x="481" y="81"/>
                    <a:pt x="513" y="69"/>
                  </a:cubicBezTo>
                  <a:cubicBezTo>
                    <a:pt x="517" y="61"/>
                    <a:pt x="543" y="52"/>
                    <a:pt x="535" y="48"/>
                  </a:cubicBezTo>
                  <a:cubicBezTo>
                    <a:pt x="523" y="44"/>
                    <a:pt x="500" y="30"/>
                    <a:pt x="500" y="30"/>
                  </a:cubicBezTo>
                  <a:cubicBezTo>
                    <a:pt x="480" y="2"/>
                    <a:pt x="505" y="0"/>
                    <a:pt x="528" y="10"/>
                  </a:cubicBezTo>
                  <a:cubicBezTo>
                    <a:pt x="544" y="14"/>
                    <a:pt x="555" y="18"/>
                    <a:pt x="567" y="26"/>
                  </a:cubicBezTo>
                  <a:cubicBezTo>
                    <a:pt x="568" y="50"/>
                    <a:pt x="592" y="59"/>
                    <a:pt x="596" y="62"/>
                  </a:cubicBezTo>
                  <a:cubicBezTo>
                    <a:pt x="606" y="66"/>
                    <a:pt x="618" y="44"/>
                    <a:pt x="633" y="42"/>
                  </a:cubicBezTo>
                  <a:cubicBezTo>
                    <a:pt x="648" y="40"/>
                    <a:pt x="655" y="53"/>
                    <a:pt x="685" y="50"/>
                  </a:cubicBezTo>
                  <a:cubicBezTo>
                    <a:pt x="709" y="58"/>
                    <a:pt x="724" y="72"/>
                    <a:pt x="744" y="80"/>
                  </a:cubicBezTo>
                  <a:cubicBezTo>
                    <a:pt x="756" y="113"/>
                    <a:pt x="740" y="154"/>
                    <a:pt x="720" y="182"/>
                  </a:cubicBezTo>
                  <a:cubicBezTo>
                    <a:pt x="728" y="210"/>
                    <a:pt x="724" y="218"/>
                    <a:pt x="752" y="226"/>
                  </a:cubicBezTo>
                  <a:cubicBezTo>
                    <a:pt x="780" y="246"/>
                    <a:pt x="768" y="234"/>
                    <a:pt x="788" y="254"/>
                  </a:cubicBezTo>
                  <a:cubicBezTo>
                    <a:pt x="792" y="270"/>
                    <a:pt x="800" y="282"/>
                    <a:pt x="808" y="294"/>
                  </a:cubicBezTo>
                  <a:cubicBezTo>
                    <a:pt x="828" y="290"/>
                    <a:pt x="860" y="266"/>
                    <a:pt x="880" y="258"/>
                  </a:cubicBezTo>
                  <a:cubicBezTo>
                    <a:pt x="896" y="253"/>
                    <a:pt x="891" y="277"/>
                    <a:pt x="898" y="281"/>
                  </a:cubicBezTo>
                  <a:cubicBezTo>
                    <a:pt x="905" y="285"/>
                    <a:pt x="923" y="279"/>
                    <a:pt x="924" y="282"/>
                  </a:cubicBezTo>
                  <a:cubicBezTo>
                    <a:pt x="925" y="285"/>
                    <a:pt x="909" y="289"/>
                    <a:pt x="903" y="300"/>
                  </a:cubicBezTo>
                  <a:cubicBezTo>
                    <a:pt x="897" y="311"/>
                    <a:pt x="899" y="338"/>
                    <a:pt x="888" y="350"/>
                  </a:cubicBezTo>
                  <a:cubicBezTo>
                    <a:pt x="871" y="384"/>
                    <a:pt x="869" y="373"/>
                    <a:pt x="838" y="374"/>
                  </a:cubicBezTo>
                  <a:cubicBezTo>
                    <a:pt x="837" y="393"/>
                    <a:pt x="834" y="392"/>
                    <a:pt x="823" y="419"/>
                  </a:cubicBezTo>
                  <a:cubicBezTo>
                    <a:pt x="816" y="430"/>
                    <a:pt x="806" y="426"/>
                    <a:pt x="792" y="434"/>
                  </a:cubicBezTo>
                  <a:cubicBezTo>
                    <a:pt x="754" y="450"/>
                    <a:pt x="766" y="447"/>
                    <a:pt x="744" y="470"/>
                  </a:cubicBezTo>
                  <a:cubicBezTo>
                    <a:pt x="739" y="452"/>
                    <a:pt x="747" y="440"/>
                    <a:pt x="709" y="435"/>
                  </a:cubicBezTo>
                  <a:cubicBezTo>
                    <a:pt x="705" y="415"/>
                    <a:pt x="693" y="417"/>
                    <a:pt x="693" y="417"/>
                  </a:cubicBezTo>
                  <a:cubicBezTo>
                    <a:pt x="663" y="422"/>
                    <a:pt x="669" y="433"/>
                    <a:pt x="655" y="453"/>
                  </a:cubicBezTo>
                  <a:cubicBezTo>
                    <a:pt x="641" y="473"/>
                    <a:pt x="622" y="509"/>
                    <a:pt x="610" y="534"/>
                  </a:cubicBezTo>
                  <a:cubicBezTo>
                    <a:pt x="598" y="557"/>
                    <a:pt x="604" y="545"/>
                    <a:pt x="583" y="605"/>
                  </a:cubicBezTo>
                  <a:cubicBezTo>
                    <a:pt x="567" y="576"/>
                    <a:pt x="559" y="543"/>
                    <a:pt x="555" y="515"/>
                  </a:cubicBezTo>
                  <a:cubicBezTo>
                    <a:pt x="543" y="485"/>
                    <a:pt x="538" y="494"/>
                    <a:pt x="528" y="495"/>
                  </a:cubicBezTo>
                  <a:cubicBezTo>
                    <a:pt x="523" y="489"/>
                    <a:pt x="530" y="485"/>
                    <a:pt x="525" y="476"/>
                  </a:cubicBezTo>
                  <a:cubicBezTo>
                    <a:pt x="513" y="456"/>
                    <a:pt x="522" y="453"/>
                    <a:pt x="496" y="438"/>
                  </a:cubicBezTo>
                  <a:cubicBezTo>
                    <a:pt x="488" y="434"/>
                    <a:pt x="472" y="454"/>
                    <a:pt x="464" y="458"/>
                  </a:cubicBezTo>
                  <a:cubicBezTo>
                    <a:pt x="452" y="466"/>
                    <a:pt x="436" y="473"/>
                    <a:pt x="432" y="498"/>
                  </a:cubicBezTo>
                  <a:cubicBezTo>
                    <a:pt x="424" y="510"/>
                    <a:pt x="423" y="536"/>
                    <a:pt x="411" y="540"/>
                  </a:cubicBezTo>
                  <a:cubicBezTo>
                    <a:pt x="403" y="544"/>
                    <a:pt x="360" y="546"/>
                    <a:pt x="360" y="546"/>
                  </a:cubicBezTo>
                  <a:cubicBezTo>
                    <a:pt x="324" y="542"/>
                    <a:pt x="326" y="544"/>
                    <a:pt x="286" y="548"/>
                  </a:cubicBezTo>
                  <a:cubicBezTo>
                    <a:pt x="267" y="557"/>
                    <a:pt x="264" y="562"/>
                    <a:pt x="248" y="566"/>
                  </a:cubicBezTo>
                  <a:cubicBezTo>
                    <a:pt x="235" y="566"/>
                    <a:pt x="208" y="557"/>
                    <a:pt x="198" y="552"/>
                  </a:cubicBezTo>
                  <a:cubicBezTo>
                    <a:pt x="188" y="547"/>
                    <a:pt x="193" y="547"/>
                    <a:pt x="188" y="534"/>
                  </a:cubicBezTo>
                  <a:cubicBezTo>
                    <a:pt x="175" y="494"/>
                    <a:pt x="172" y="506"/>
                    <a:pt x="168" y="473"/>
                  </a:cubicBezTo>
                  <a:cubicBezTo>
                    <a:pt x="157" y="447"/>
                    <a:pt x="178" y="441"/>
                    <a:pt x="128" y="422"/>
                  </a:cubicBezTo>
                  <a:cubicBezTo>
                    <a:pt x="93" y="428"/>
                    <a:pt x="81" y="432"/>
                    <a:pt x="44" y="438"/>
                  </a:cubicBezTo>
                  <a:cubicBezTo>
                    <a:pt x="30" y="450"/>
                    <a:pt x="16" y="468"/>
                    <a:pt x="0" y="494"/>
                  </a:cubicBezTo>
                  <a:cubicBezTo>
                    <a:pt x="1" y="435"/>
                    <a:pt x="15" y="440"/>
                    <a:pt x="24" y="414"/>
                  </a:cubicBezTo>
                  <a:cubicBezTo>
                    <a:pt x="46" y="389"/>
                    <a:pt x="24" y="370"/>
                    <a:pt x="36" y="351"/>
                  </a:cubicBezTo>
                  <a:cubicBezTo>
                    <a:pt x="48" y="332"/>
                    <a:pt x="66" y="313"/>
                    <a:pt x="94" y="299"/>
                  </a:cubicBezTo>
                  <a:cubicBezTo>
                    <a:pt x="111" y="278"/>
                    <a:pt x="116" y="269"/>
                    <a:pt x="136" y="245"/>
                  </a:cubicBezTo>
                  <a:cubicBezTo>
                    <a:pt x="150" y="209"/>
                    <a:pt x="168" y="198"/>
                    <a:pt x="184" y="174"/>
                  </a:cubicBezTo>
                  <a:cubicBezTo>
                    <a:pt x="188" y="162"/>
                    <a:pt x="194" y="146"/>
                    <a:pt x="198" y="134"/>
                  </a:cubicBezTo>
                  <a:cubicBezTo>
                    <a:pt x="217" y="95"/>
                    <a:pt x="196" y="119"/>
                    <a:pt x="225" y="81"/>
                  </a:cubicBezTo>
                  <a:cubicBezTo>
                    <a:pt x="229" y="89"/>
                    <a:pt x="268" y="83"/>
                    <a:pt x="276" y="87"/>
                  </a:cubicBezTo>
                  <a:cubicBezTo>
                    <a:pt x="288" y="87"/>
                    <a:pt x="327" y="101"/>
                    <a:pt x="328" y="78"/>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416" name="Freeform 2544"/>
            <p:cNvSpPr>
              <a:spLocks noChangeAspect="1"/>
            </p:cNvSpPr>
            <p:nvPr/>
          </p:nvSpPr>
          <p:spPr bwMode="auto">
            <a:xfrm>
              <a:off x="3468998" y="5078905"/>
              <a:ext cx="32592" cy="97295"/>
            </a:xfrm>
            <a:custGeom>
              <a:avLst/>
              <a:gdLst>
                <a:gd name="T0" fmla="*/ 5 w 17"/>
                <a:gd name="T1" fmla="*/ 11 h 51"/>
                <a:gd name="T2" fmla="*/ 11 w 17"/>
                <a:gd name="T3" fmla="*/ 20 h 51"/>
                <a:gd name="T4" fmla="*/ 9 w 17"/>
                <a:gd name="T5" fmla="*/ 40 h 51"/>
                <a:gd name="T6" fmla="*/ 5 w 17"/>
                <a:gd name="T7" fmla="*/ 11 h 51"/>
                <a:gd name="T8" fmla="*/ 0 60000 65536"/>
                <a:gd name="T9" fmla="*/ 0 60000 65536"/>
                <a:gd name="T10" fmla="*/ 0 60000 65536"/>
                <a:gd name="T11" fmla="*/ 0 60000 65536"/>
                <a:gd name="T12" fmla="*/ 0 w 17"/>
                <a:gd name="T13" fmla="*/ 0 h 51"/>
                <a:gd name="T14" fmla="*/ 17 w 17"/>
                <a:gd name="T15" fmla="*/ 51 h 51"/>
              </a:gdLst>
              <a:ahLst/>
              <a:cxnLst>
                <a:cxn ang="T8">
                  <a:pos x="T0" y="T1"/>
                </a:cxn>
                <a:cxn ang="T9">
                  <a:pos x="T2" y="T3"/>
                </a:cxn>
                <a:cxn ang="T10">
                  <a:pos x="T4" y="T5"/>
                </a:cxn>
                <a:cxn ang="T11">
                  <a:pos x="T6" y="T7"/>
                </a:cxn>
              </a:cxnLst>
              <a:rect l="T12" t="T13" r="T14" b="T15"/>
              <a:pathLst>
                <a:path w="17" h="51">
                  <a:moveTo>
                    <a:pt x="5" y="11"/>
                  </a:moveTo>
                  <a:cubicBezTo>
                    <a:pt x="8" y="14"/>
                    <a:pt x="9" y="17"/>
                    <a:pt x="11" y="20"/>
                  </a:cubicBezTo>
                  <a:cubicBezTo>
                    <a:pt x="12" y="26"/>
                    <a:pt x="17" y="51"/>
                    <a:pt x="9" y="40"/>
                  </a:cubicBezTo>
                  <a:cubicBezTo>
                    <a:pt x="8" y="35"/>
                    <a:pt x="0" y="0"/>
                    <a:pt x="5" y="11"/>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417" name="Freeform 2545"/>
            <p:cNvSpPr>
              <a:spLocks noChangeAspect="1"/>
            </p:cNvSpPr>
            <p:nvPr/>
          </p:nvSpPr>
          <p:spPr bwMode="auto">
            <a:xfrm>
              <a:off x="3465163" y="5063568"/>
              <a:ext cx="36426" cy="24923"/>
            </a:xfrm>
            <a:custGeom>
              <a:avLst/>
              <a:gdLst>
                <a:gd name="T0" fmla="*/ 0 w 19"/>
                <a:gd name="T1" fmla="*/ 0 h 13"/>
                <a:gd name="T2" fmla="*/ 16 w 19"/>
                <a:gd name="T3" fmla="*/ 13 h 13"/>
                <a:gd name="T4" fmla="*/ 0 w 19"/>
                <a:gd name="T5" fmla="*/ 0 h 13"/>
                <a:gd name="T6" fmla="*/ 0 60000 65536"/>
                <a:gd name="T7" fmla="*/ 0 60000 65536"/>
                <a:gd name="T8" fmla="*/ 0 60000 65536"/>
                <a:gd name="T9" fmla="*/ 0 w 19"/>
                <a:gd name="T10" fmla="*/ 0 h 13"/>
                <a:gd name="T11" fmla="*/ 19 w 19"/>
                <a:gd name="T12" fmla="*/ 13 h 13"/>
              </a:gdLst>
              <a:ahLst/>
              <a:cxnLst>
                <a:cxn ang="T6">
                  <a:pos x="T0" y="T1"/>
                </a:cxn>
                <a:cxn ang="T7">
                  <a:pos x="T2" y="T3"/>
                </a:cxn>
                <a:cxn ang="T8">
                  <a:pos x="T4" y="T5"/>
                </a:cxn>
              </a:cxnLst>
              <a:rect l="T9" t="T10" r="T11" b="T12"/>
              <a:pathLst>
                <a:path w="19" h="13">
                  <a:moveTo>
                    <a:pt x="0" y="0"/>
                  </a:moveTo>
                  <a:cubicBezTo>
                    <a:pt x="7" y="3"/>
                    <a:pt x="10" y="11"/>
                    <a:pt x="16" y="13"/>
                  </a:cubicBezTo>
                  <a:cubicBezTo>
                    <a:pt x="19" y="2"/>
                    <a:pt x="9" y="0"/>
                    <a:pt x="0" y="0"/>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418" name="Freeform 2546"/>
            <p:cNvSpPr>
              <a:spLocks noChangeAspect="1"/>
            </p:cNvSpPr>
            <p:nvPr/>
          </p:nvSpPr>
          <p:spPr bwMode="auto">
            <a:xfrm>
              <a:off x="4415603" y="5609474"/>
              <a:ext cx="124616" cy="230057"/>
            </a:xfrm>
            <a:custGeom>
              <a:avLst/>
              <a:gdLst>
                <a:gd name="T0" fmla="*/ 49 w 65"/>
                <a:gd name="T1" fmla="*/ 27 h 120"/>
                <a:gd name="T2" fmla="*/ 57 w 65"/>
                <a:gd name="T3" fmla="*/ 0 h 120"/>
                <a:gd name="T4" fmla="*/ 56 w 65"/>
                <a:gd name="T5" fmla="*/ 25 h 120"/>
                <a:gd name="T6" fmla="*/ 61 w 65"/>
                <a:gd name="T7" fmla="*/ 36 h 120"/>
                <a:gd name="T8" fmla="*/ 60 w 65"/>
                <a:gd name="T9" fmla="*/ 72 h 120"/>
                <a:gd name="T10" fmla="*/ 55 w 65"/>
                <a:gd name="T11" fmla="*/ 85 h 120"/>
                <a:gd name="T12" fmla="*/ 54 w 65"/>
                <a:gd name="T13" fmla="*/ 88 h 120"/>
                <a:gd name="T14" fmla="*/ 51 w 65"/>
                <a:gd name="T15" fmla="*/ 103 h 120"/>
                <a:gd name="T16" fmla="*/ 44 w 65"/>
                <a:gd name="T17" fmla="*/ 120 h 120"/>
                <a:gd name="T18" fmla="*/ 24 w 65"/>
                <a:gd name="T19" fmla="*/ 106 h 120"/>
                <a:gd name="T20" fmla="*/ 22 w 65"/>
                <a:gd name="T21" fmla="*/ 103 h 120"/>
                <a:gd name="T22" fmla="*/ 24 w 65"/>
                <a:gd name="T23" fmla="*/ 99 h 120"/>
                <a:gd name="T24" fmla="*/ 19 w 65"/>
                <a:gd name="T25" fmla="*/ 94 h 120"/>
                <a:gd name="T26" fmla="*/ 19 w 65"/>
                <a:gd name="T27" fmla="*/ 78 h 120"/>
                <a:gd name="T28" fmla="*/ 13 w 65"/>
                <a:gd name="T29" fmla="*/ 79 h 120"/>
                <a:gd name="T30" fmla="*/ 18 w 65"/>
                <a:gd name="T31" fmla="*/ 67 h 120"/>
                <a:gd name="T32" fmla="*/ 10 w 65"/>
                <a:gd name="T33" fmla="*/ 52 h 120"/>
                <a:gd name="T34" fmla="*/ 18 w 65"/>
                <a:gd name="T35" fmla="*/ 34 h 120"/>
                <a:gd name="T36" fmla="*/ 37 w 65"/>
                <a:gd name="T37" fmla="*/ 23 h 120"/>
                <a:gd name="T38" fmla="*/ 49 w 65"/>
                <a:gd name="T39" fmla="*/ 24 h 120"/>
                <a:gd name="T40" fmla="*/ 49 w 65"/>
                <a:gd name="T41" fmla="*/ 27 h 12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5"/>
                <a:gd name="T64" fmla="*/ 0 h 120"/>
                <a:gd name="T65" fmla="*/ 65 w 65"/>
                <a:gd name="T66" fmla="*/ 120 h 12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5" h="120">
                  <a:moveTo>
                    <a:pt x="49" y="27"/>
                  </a:moveTo>
                  <a:cubicBezTo>
                    <a:pt x="53" y="16"/>
                    <a:pt x="45" y="4"/>
                    <a:pt x="57" y="0"/>
                  </a:cubicBezTo>
                  <a:cubicBezTo>
                    <a:pt x="59" y="6"/>
                    <a:pt x="56" y="19"/>
                    <a:pt x="56" y="25"/>
                  </a:cubicBezTo>
                  <a:cubicBezTo>
                    <a:pt x="57" y="31"/>
                    <a:pt x="56" y="33"/>
                    <a:pt x="61" y="36"/>
                  </a:cubicBezTo>
                  <a:cubicBezTo>
                    <a:pt x="63" y="48"/>
                    <a:pt x="65" y="61"/>
                    <a:pt x="60" y="72"/>
                  </a:cubicBezTo>
                  <a:cubicBezTo>
                    <a:pt x="58" y="76"/>
                    <a:pt x="56" y="81"/>
                    <a:pt x="55" y="85"/>
                  </a:cubicBezTo>
                  <a:cubicBezTo>
                    <a:pt x="55" y="86"/>
                    <a:pt x="54" y="88"/>
                    <a:pt x="54" y="88"/>
                  </a:cubicBezTo>
                  <a:cubicBezTo>
                    <a:pt x="55" y="94"/>
                    <a:pt x="56" y="98"/>
                    <a:pt x="51" y="103"/>
                  </a:cubicBezTo>
                  <a:cubicBezTo>
                    <a:pt x="49" y="109"/>
                    <a:pt x="47" y="115"/>
                    <a:pt x="44" y="120"/>
                  </a:cubicBezTo>
                  <a:cubicBezTo>
                    <a:pt x="36" y="119"/>
                    <a:pt x="32" y="111"/>
                    <a:pt x="24" y="106"/>
                  </a:cubicBezTo>
                  <a:cubicBezTo>
                    <a:pt x="23" y="105"/>
                    <a:pt x="22" y="104"/>
                    <a:pt x="22" y="103"/>
                  </a:cubicBezTo>
                  <a:cubicBezTo>
                    <a:pt x="22" y="102"/>
                    <a:pt x="23" y="100"/>
                    <a:pt x="24" y="99"/>
                  </a:cubicBezTo>
                  <a:cubicBezTo>
                    <a:pt x="27" y="91"/>
                    <a:pt x="27" y="93"/>
                    <a:pt x="19" y="94"/>
                  </a:cubicBezTo>
                  <a:cubicBezTo>
                    <a:pt x="9" y="92"/>
                    <a:pt x="17" y="84"/>
                    <a:pt x="19" y="78"/>
                  </a:cubicBezTo>
                  <a:cubicBezTo>
                    <a:pt x="17" y="77"/>
                    <a:pt x="14" y="81"/>
                    <a:pt x="13" y="79"/>
                  </a:cubicBezTo>
                  <a:cubicBezTo>
                    <a:pt x="11" y="75"/>
                    <a:pt x="18" y="67"/>
                    <a:pt x="18" y="67"/>
                  </a:cubicBezTo>
                  <a:cubicBezTo>
                    <a:pt x="6" y="63"/>
                    <a:pt x="0" y="66"/>
                    <a:pt x="10" y="52"/>
                  </a:cubicBezTo>
                  <a:cubicBezTo>
                    <a:pt x="8" y="42"/>
                    <a:pt x="9" y="40"/>
                    <a:pt x="18" y="34"/>
                  </a:cubicBezTo>
                  <a:cubicBezTo>
                    <a:pt x="20" y="31"/>
                    <a:pt x="33" y="24"/>
                    <a:pt x="37" y="23"/>
                  </a:cubicBezTo>
                  <a:cubicBezTo>
                    <a:pt x="41" y="23"/>
                    <a:pt x="45" y="23"/>
                    <a:pt x="49" y="24"/>
                  </a:cubicBezTo>
                  <a:cubicBezTo>
                    <a:pt x="50" y="24"/>
                    <a:pt x="50" y="27"/>
                    <a:pt x="49" y="27"/>
                  </a:cubicBezTo>
                  <a:close/>
                </a:path>
              </a:pathLst>
            </a:custGeom>
            <a:solidFill>
              <a:srgbClr val="8D9399"/>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419" name="Freeform 2547"/>
            <p:cNvSpPr>
              <a:spLocks noChangeAspect="1"/>
            </p:cNvSpPr>
            <p:nvPr/>
          </p:nvSpPr>
          <p:spPr bwMode="auto">
            <a:xfrm>
              <a:off x="3221682" y="4455834"/>
              <a:ext cx="1198714" cy="1209237"/>
            </a:xfrm>
            <a:custGeom>
              <a:avLst/>
              <a:gdLst>
                <a:gd name="T0" fmla="*/ 1303 w 2501"/>
                <a:gd name="T1" fmla="*/ 28 h 2523"/>
                <a:gd name="T2" fmla="*/ 1044 w 2501"/>
                <a:gd name="T3" fmla="*/ 308 h 2523"/>
                <a:gd name="T4" fmla="*/ 920 w 2501"/>
                <a:gd name="T5" fmla="*/ 436 h 2523"/>
                <a:gd name="T6" fmla="*/ 728 w 2501"/>
                <a:gd name="T7" fmla="*/ 380 h 2523"/>
                <a:gd name="T8" fmla="*/ 588 w 2501"/>
                <a:gd name="T9" fmla="*/ 344 h 2523"/>
                <a:gd name="T10" fmla="*/ 560 w 2501"/>
                <a:gd name="T11" fmla="*/ 584 h 2523"/>
                <a:gd name="T12" fmla="*/ 164 w 2501"/>
                <a:gd name="T13" fmla="*/ 508 h 2523"/>
                <a:gd name="T14" fmla="*/ 60 w 2501"/>
                <a:gd name="T15" fmla="*/ 584 h 2523"/>
                <a:gd name="T16" fmla="*/ 12 w 2501"/>
                <a:gd name="T17" fmla="*/ 680 h 2523"/>
                <a:gd name="T18" fmla="*/ 100 w 2501"/>
                <a:gd name="T19" fmla="*/ 720 h 2523"/>
                <a:gd name="T20" fmla="*/ 284 w 2501"/>
                <a:gd name="T21" fmla="*/ 872 h 2523"/>
                <a:gd name="T22" fmla="*/ 404 w 2501"/>
                <a:gd name="T23" fmla="*/ 948 h 2523"/>
                <a:gd name="T24" fmla="*/ 412 w 2501"/>
                <a:gd name="T25" fmla="*/ 1032 h 2523"/>
                <a:gd name="T26" fmla="*/ 500 w 2501"/>
                <a:gd name="T27" fmla="*/ 1204 h 2523"/>
                <a:gd name="T28" fmla="*/ 608 w 2501"/>
                <a:gd name="T29" fmla="*/ 1315 h 2523"/>
                <a:gd name="T30" fmla="*/ 644 w 2501"/>
                <a:gd name="T31" fmla="*/ 1559 h 2523"/>
                <a:gd name="T32" fmla="*/ 620 w 2501"/>
                <a:gd name="T33" fmla="*/ 1607 h 2523"/>
                <a:gd name="T34" fmla="*/ 504 w 2501"/>
                <a:gd name="T35" fmla="*/ 1651 h 2523"/>
                <a:gd name="T36" fmla="*/ 444 w 2501"/>
                <a:gd name="T37" fmla="*/ 1919 h 2523"/>
                <a:gd name="T38" fmla="*/ 381 w 2501"/>
                <a:gd name="T39" fmla="*/ 2100 h 2523"/>
                <a:gd name="T40" fmla="*/ 528 w 2501"/>
                <a:gd name="T41" fmla="*/ 2251 h 2523"/>
                <a:gd name="T42" fmla="*/ 788 w 2501"/>
                <a:gd name="T43" fmla="*/ 2383 h 2523"/>
                <a:gd name="T44" fmla="*/ 988 w 2501"/>
                <a:gd name="T45" fmla="*/ 2407 h 2523"/>
                <a:gd name="T46" fmla="*/ 1196 w 2501"/>
                <a:gd name="T47" fmla="*/ 2502 h 2523"/>
                <a:gd name="T48" fmla="*/ 1347 w 2501"/>
                <a:gd name="T49" fmla="*/ 2335 h 2523"/>
                <a:gd name="T50" fmla="*/ 1779 w 2501"/>
                <a:gd name="T51" fmla="*/ 2283 h 2523"/>
                <a:gd name="T52" fmla="*/ 2155 w 2501"/>
                <a:gd name="T53" fmla="*/ 2299 h 2523"/>
                <a:gd name="T54" fmla="*/ 2311 w 2501"/>
                <a:gd name="T55" fmla="*/ 2183 h 2523"/>
                <a:gd name="T56" fmla="*/ 2243 w 2501"/>
                <a:gd name="T57" fmla="*/ 2071 h 2523"/>
                <a:gd name="T58" fmla="*/ 2167 w 2501"/>
                <a:gd name="T59" fmla="*/ 1855 h 2523"/>
                <a:gd name="T60" fmla="*/ 2243 w 2501"/>
                <a:gd name="T61" fmla="*/ 1733 h 2523"/>
                <a:gd name="T62" fmla="*/ 2211 w 2501"/>
                <a:gd name="T63" fmla="*/ 1581 h 2523"/>
                <a:gd name="T64" fmla="*/ 2215 w 2501"/>
                <a:gd name="T65" fmla="*/ 1543 h 2523"/>
                <a:gd name="T66" fmla="*/ 2075 w 2501"/>
                <a:gd name="T67" fmla="*/ 1439 h 2523"/>
                <a:gd name="T68" fmla="*/ 2071 w 2501"/>
                <a:gd name="T69" fmla="*/ 1339 h 2523"/>
                <a:gd name="T70" fmla="*/ 2219 w 2501"/>
                <a:gd name="T71" fmla="*/ 1156 h 2523"/>
                <a:gd name="T72" fmla="*/ 2363 w 2501"/>
                <a:gd name="T73" fmla="*/ 1082 h 2523"/>
                <a:gd name="T74" fmla="*/ 2418 w 2501"/>
                <a:gd name="T75" fmla="*/ 758 h 2523"/>
                <a:gd name="T76" fmla="*/ 2307 w 2501"/>
                <a:gd name="T77" fmla="*/ 608 h 2523"/>
                <a:gd name="T78" fmla="*/ 2123 w 2501"/>
                <a:gd name="T79" fmla="*/ 512 h 2523"/>
                <a:gd name="T80" fmla="*/ 1947 w 2501"/>
                <a:gd name="T81" fmla="*/ 452 h 2523"/>
                <a:gd name="T82" fmla="*/ 1862 w 2501"/>
                <a:gd name="T83" fmla="*/ 299 h 2523"/>
                <a:gd name="T84" fmla="*/ 1665 w 2501"/>
                <a:gd name="T85" fmla="*/ 234 h 2523"/>
                <a:gd name="T86" fmla="*/ 1519 w 2501"/>
                <a:gd name="T87" fmla="*/ 100 h 252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501"/>
                <a:gd name="T133" fmla="*/ 0 h 2523"/>
                <a:gd name="T134" fmla="*/ 2501 w 2501"/>
                <a:gd name="T135" fmla="*/ 2523 h 252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501" h="2523">
                  <a:moveTo>
                    <a:pt x="1484" y="0"/>
                  </a:moveTo>
                  <a:cubicBezTo>
                    <a:pt x="1448" y="4"/>
                    <a:pt x="1407" y="8"/>
                    <a:pt x="1371" y="12"/>
                  </a:cubicBezTo>
                  <a:cubicBezTo>
                    <a:pt x="1347" y="16"/>
                    <a:pt x="1303" y="28"/>
                    <a:pt x="1303" y="28"/>
                  </a:cubicBezTo>
                  <a:cubicBezTo>
                    <a:pt x="1299" y="68"/>
                    <a:pt x="1307" y="108"/>
                    <a:pt x="1283" y="140"/>
                  </a:cubicBezTo>
                  <a:cubicBezTo>
                    <a:pt x="1275" y="168"/>
                    <a:pt x="1275" y="200"/>
                    <a:pt x="1259" y="224"/>
                  </a:cubicBezTo>
                  <a:cubicBezTo>
                    <a:pt x="1244" y="296"/>
                    <a:pt x="1100" y="300"/>
                    <a:pt x="1044" y="308"/>
                  </a:cubicBezTo>
                  <a:cubicBezTo>
                    <a:pt x="1016" y="320"/>
                    <a:pt x="980" y="340"/>
                    <a:pt x="968" y="372"/>
                  </a:cubicBezTo>
                  <a:cubicBezTo>
                    <a:pt x="972" y="392"/>
                    <a:pt x="976" y="400"/>
                    <a:pt x="992" y="416"/>
                  </a:cubicBezTo>
                  <a:cubicBezTo>
                    <a:pt x="988" y="436"/>
                    <a:pt x="944" y="432"/>
                    <a:pt x="920" y="436"/>
                  </a:cubicBezTo>
                  <a:cubicBezTo>
                    <a:pt x="792" y="428"/>
                    <a:pt x="880" y="448"/>
                    <a:pt x="816" y="428"/>
                  </a:cubicBezTo>
                  <a:cubicBezTo>
                    <a:pt x="796" y="424"/>
                    <a:pt x="756" y="412"/>
                    <a:pt x="756" y="412"/>
                  </a:cubicBezTo>
                  <a:cubicBezTo>
                    <a:pt x="740" y="404"/>
                    <a:pt x="740" y="392"/>
                    <a:pt x="728" y="380"/>
                  </a:cubicBezTo>
                  <a:cubicBezTo>
                    <a:pt x="720" y="348"/>
                    <a:pt x="716" y="292"/>
                    <a:pt x="680" y="284"/>
                  </a:cubicBezTo>
                  <a:cubicBezTo>
                    <a:pt x="664" y="284"/>
                    <a:pt x="644" y="280"/>
                    <a:pt x="628" y="288"/>
                  </a:cubicBezTo>
                  <a:cubicBezTo>
                    <a:pt x="612" y="296"/>
                    <a:pt x="604" y="332"/>
                    <a:pt x="588" y="344"/>
                  </a:cubicBezTo>
                  <a:cubicBezTo>
                    <a:pt x="584" y="360"/>
                    <a:pt x="584" y="368"/>
                    <a:pt x="600" y="372"/>
                  </a:cubicBezTo>
                  <a:cubicBezTo>
                    <a:pt x="608" y="428"/>
                    <a:pt x="624" y="484"/>
                    <a:pt x="632" y="540"/>
                  </a:cubicBezTo>
                  <a:cubicBezTo>
                    <a:pt x="652" y="620"/>
                    <a:pt x="624" y="604"/>
                    <a:pt x="560" y="584"/>
                  </a:cubicBezTo>
                  <a:cubicBezTo>
                    <a:pt x="508" y="588"/>
                    <a:pt x="460" y="588"/>
                    <a:pt x="412" y="576"/>
                  </a:cubicBezTo>
                  <a:cubicBezTo>
                    <a:pt x="404" y="564"/>
                    <a:pt x="352" y="492"/>
                    <a:pt x="344" y="488"/>
                  </a:cubicBezTo>
                  <a:cubicBezTo>
                    <a:pt x="300" y="444"/>
                    <a:pt x="220" y="504"/>
                    <a:pt x="164" y="508"/>
                  </a:cubicBezTo>
                  <a:cubicBezTo>
                    <a:pt x="112" y="512"/>
                    <a:pt x="60" y="512"/>
                    <a:pt x="8" y="512"/>
                  </a:cubicBezTo>
                  <a:cubicBezTo>
                    <a:pt x="12" y="528"/>
                    <a:pt x="20" y="568"/>
                    <a:pt x="36" y="576"/>
                  </a:cubicBezTo>
                  <a:cubicBezTo>
                    <a:pt x="44" y="580"/>
                    <a:pt x="60" y="584"/>
                    <a:pt x="60" y="584"/>
                  </a:cubicBezTo>
                  <a:cubicBezTo>
                    <a:pt x="68" y="592"/>
                    <a:pt x="68" y="612"/>
                    <a:pt x="56" y="620"/>
                  </a:cubicBezTo>
                  <a:cubicBezTo>
                    <a:pt x="48" y="624"/>
                    <a:pt x="32" y="628"/>
                    <a:pt x="32" y="628"/>
                  </a:cubicBezTo>
                  <a:cubicBezTo>
                    <a:pt x="20" y="656"/>
                    <a:pt x="24" y="640"/>
                    <a:pt x="12" y="680"/>
                  </a:cubicBezTo>
                  <a:cubicBezTo>
                    <a:pt x="8" y="688"/>
                    <a:pt x="4" y="704"/>
                    <a:pt x="4" y="704"/>
                  </a:cubicBezTo>
                  <a:cubicBezTo>
                    <a:pt x="8" y="716"/>
                    <a:pt x="0" y="732"/>
                    <a:pt x="20" y="732"/>
                  </a:cubicBezTo>
                  <a:cubicBezTo>
                    <a:pt x="36" y="732"/>
                    <a:pt x="100" y="720"/>
                    <a:pt x="100" y="720"/>
                  </a:cubicBezTo>
                  <a:cubicBezTo>
                    <a:pt x="136" y="728"/>
                    <a:pt x="124" y="760"/>
                    <a:pt x="164" y="768"/>
                  </a:cubicBezTo>
                  <a:cubicBezTo>
                    <a:pt x="188" y="784"/>
                    <a:pt x="192" y="792"/>
                    <a:pt x="224" y="800"/>
                  </a:cubicBezTo>
                  <a:cubicBezTo>
                    <a:pt x="292" y="788"/>
                    <a:pt x="252" y="844"/>
                    <a:pt x="284" y="872"/>
                  </a:cubicBezTo>
                  <a:cubicBezTo>
                    <a:pt x="304" y="888"/>
                    <a:pt x="320" y="908"/>
                    <a:pt x="344" y="912"/>
                  </a:cubicBezTo>
                  <a:cubicBezTo>
                    <a:pt x="356" y="920"/>
                    <a:pt x="368" y="912"/>
                    <a:pt x="380" y="920"/>
                  </a:cubicBezTo>
                  <a:cubicBezTo>
                    <a:pt x="384" y="936"/>
                    <a:pt x="388" y="944"/>
                    <a:pt x="404" y="948"/>
                  </a:cubicBezTo>
                  <a:cubicBezTo>
                    <a:pt x="412" y="976"/>
                    <a:pt x="452" y="980"/>
                    <a:pt x="476" y="984"/>
                  </a:cubicBezTo>
                  <a:cubicBezTo>
                    <a:pt x="508" y="1000"/>
                    <a:pt x="508" y="996"/>
                    <a:pt x="548" y="992"/>
                  </a:cubicBezTo>
                  <a:cubicBezTo>
                    <a:pt x="536" y="996"/>
                    <a:pt x="432" y="1012"/>
                    <a:pt x="412" y="1032"/>
                  </a:cubicBezTo>
                  <a:cubicBezTo>
                    <a:pt x="420" y="1064"/>
                    <a:pt x="412" y="1076"/>
                    <a:pt x="428" y="1104"/>
                  </a:cubicBezTo>
                  <a:cubicBezTo>
                    <a:pt x="432" y="1128"/>
                    <a:pt x="432" y="1144"/>
                    <a:pt x="452" y="1156"/>
                  </a:cubicBezTo>
                  <a:cubicBezTo>
                    <a:pt x="460" y="1172"/>
                    <a:pt x="484" y="1200"/>
                    <a:pt x="500" y="1204"/>
                  </a:cubicBezTo>
                  <a:cubicBezTo>
                    <a:pt x="516" y="1236"/>
                    <a:pt x="536" y="1240"/>
                    <a:pt x="560" y="1260"/>
                  </a:cubicBezTo>
                  <a:cubicBezTo>
                    <a:pt x="568" y="1267"/>
                    <a:pt x="584" y="1283"/>
                    <a:pt x="584" y="1283"/>
                  </a:cubicBezTo>
                  <a:cubicBezTo>
                    <a:pt x="588" y="1299"/>
                    <a:pt x="600" y="1295"/>
                    <a:pt x="608" y="1315"/>
                  </a:cubicBezTo>
                  <a:cubicBezTo>
                    <a:pt x="612" y="1371"/>
                    <a:pt x="600" y="1399"/>
                    <a:pt x="584" y="1447"/>
                  </a:cubicBezTo>
                  <a:cubicBezTo>
                    <a:pt x="588" y="1475"/>
                    <a:pt x="588" y="1511"/>
                    <a:pt x="620" y="1523"/>
                  </a:cubicBezTo>
                  <a:cubicBezTo>
                    <a:pt x="624" y="1539"/>
                    <a:pt x="632" y="1547"/>
                    <a:pt x="644" y="1559"/>
                  </a:cubicBezTo>
                  <a:cubicBezTo>
                    <a:pt x="652" y="1587"/>
                    <a:pt x="656" y="1611"/>
                    <a:pt x="660" y="1643"/>
                  </a:cubicBezTo>
                  <a:cubicBezTo>
                    <a:pt x="660" y="1655"/>
                    <a:pt x="668" y="1691"/>
                    <a:pt x="668" y="1679"/>
                  </a:cubicBezTo>
                  <a:cubicBezTo>
                    <a:pt x="668" y="1627"/>
                    <a:pt x="652" y="1627"/>
                    <a:pt x="620" y="1607"/>
                  </a:cubicBezTo>
                  <a:cubicBezTo>
                    <a:pt x="604" y="1583"/>
                    <a:pt x="604" y="1559"/>
                    <a:pt x="588" y="1535"/>
                  </a:cubicBezTo>
                  <a:cubicBezTo>
                    <a:pt x="556" y="1547"/>
                    <a:pt x="560" y="1575"/>
                    <a:pt x="536" y="1591"/>
                  </a:cubicBezTo>
                  <a:cubicBezTo>
                    <a:pt x="528" y="1611"/>
                    <a:pt x="512" y="1627"/>
                    <a:pt x="504" y="1651"/>
                  </a:cubicBezTo>
                  <a:cubicBezTo>
                    <a:pt x="500" y="1659"/>
                    <a:pt x="496" y="1711"/>
                    <a:pt x="504" y="1703"/>
                  </a:cubicBezTo>
                  <a:cubicBezTo>
                    <a:pt x="500" y="1727"/>
                    <a:pt x="492" y="1767"/>
                    <a:pt x="484" y="1807"/>
                  </a:cubicBezTo>
                  <a:cubicBezTo>
                    <a:pt x="464" y="1839"/>
                    <a:pt x="460" y="1883"/>
                    <a:pt x="444" y="1919"/>
                  </a:cubicBezTo>
                  <a:cubicBezTo>
                    <a:pt x="440" y="1947"/>
                    <a:pt x="440" y="2047"/>
                    <a:pt x="412" y="2059"/>
                  </a:cubicBezTo>
                  <a:cubicBezTo>
                    <a:pt x="396" y="2067"/>
                    <a:pt x="396" y="2076"/>
                    <a:pt x="384" y="2088"/>
                  </a:cubicBezTo>
                  <a:cubicBezTo>
                    <a:pt x="380" y="2097"/>
                    <a:pt x="383" y="2088"/>
                    <a:pt x="381" y="2100"/>
                  </a:cubicBezTo>
                  <a:cubicBezTo>
                    <a:pt x="389" y="2112"/>
                    <a:pt x="386" y="2127"/>
                    <a:pt x="389" y="2168"/>
                  </a:cubicBezTo>
                  <a:cubicBezTo>
                    <a:pt x="401" y="2192"/>
                    <a:pt x="438" y="2226"/>
                    <a:pt x="456" y="2252"/>
                  </a:cubicBezTo>
                  <a:cubicBezTo>
                    <a:pt x="510" y="2255"/>
                    <a:pt x="488" y="2247"/>
                    <a:pt x="528" y="2251"/>
                  </a:cubicBezTo>
                  <a:cubicBezTo>
                    <a:pt x="564" y="2291"/>
                    <a:pt x="611" y="2325"/>
                    <a:pt x="659" y="2349"/>
                  </a:cubicBezTo>
                  <a:cubicBezTo>
                    <a:pt x="693" y="2363"/>
                    <a:pt x="696" y="2355"/>
                    <a:pt x="720" y="2363"/>
                  </a:cubicBezTo>
                  <a:cubicBezTo>
                    <a:pt x="736" y="2367"/>
                    <a:pt x="768" y="2383"/>
                    <a:pt x="788" y="2383"/>
                  </a:cubicBezTo>
                  <a:cubicBezTo>
                    <a:pt x="808" y="2383"/>
                    <a:pt x="822" y="2382"/>
                    <a:pt x="836" y="2375"/>
                  </a:cubicBezTo>
                  <a:cubicBezTo>
                    <a:pt x="854" y="2354"/>
                    <a:pt x="851" y="2369"/>
                    <a:pt x="869" y="2343"/>
                  </a:cubicBezTo>
                  <a:cubicBezTo>
                    <a:pt x="901" y="2351"/>
                    <a:pt x="956" y="2391"/>
                    <a:pt x="988" y="2407"/>
                  </a:cubicBezTo>
                  <a:cubicBezTo>
                    <a:pt x="1004" y="2415"/>
                    <a:pt x="1067" y="2437"/>
                    <a:pt x="1083" y="2441"/>
                  </a:cubicBezTo>
                  <a:cubicBezTo>
                    <a:pt x="1095" y="2481"/>
                    <a:pt x="1097" y="2481"/>
                    <a:pt x="1101" y="2499"/>
                  </a:cubicBezTo>
                  <a:cubicBezTo>
                    <a:pt x="1133" y="2501"/>
                    <a:pt x="1172" y="2504"/>
                    <a:pt x="1196" y="2502"/>
                  </a:cubicBezTo>
                  <a:cubicBezTo>
                    <a:pt x="1224" y="2502"/>
                    <a:pt x="1247" y="2496"/>
                    <a:pt x="1274" y="2496"/>
                  </a:cubicBezTo>
                  <a:cubicBezTo>
                    <a:pt x="1294" y="2496"/>
                    <a:pt x="1346" y="2493"/>
                    <a:pt x="1346" y="2493"/>
                  </a:cubicBezTo>
                  <a:cubicBezTo>
                    <a:pt x="1362" y="2425"/>
                    <a:pt x="1335" y="2523"/>
                    <a:pt x="1347" y="2335"/>
                  </a:cubicBezTo>
                  <a:cubicBezTo>
                    <a:pt x="1351" y="2271"/>
                    <a:pt x="1459" y="2259"/>
                    <a:pt x="1507" y="2251"/>
                  </a:cubicBezTo>
                  <a:cubicBezTo>
                    <a:pt x="1575" y="2255"/>
                    <a:pt x="1611" y="2223"/>
                    <a:pt x="1679" y="2239"/>
                  </a:cubicBezTo>
                  <a:cubicBezTo>
                    <a:pt x="1699" y="2251"/>
                    <a:pt x="1755" y="2279"/>
                    <a:pt x="1779" y="2283"/>
                  </a:cubicBezTo>
                  <a:cubicBezTo>
                    <a:pt x="1851" y="2311"/>
                    <a:pt x="1919" y="2339"/>
                    <a:pt x="1999" y="2351"/>
                  </a:cubicBezTo>
                  <a:cubicBezTo>
                    <a:pt x="2039" y="2351"/>
                    <a:pt x="2079" y="2355"/>
                    <a:pt x="2115" y="2347"/>
                  </a:cubicBezTo>
                  <a:cubicBezTo>
                    <a:pt x="2119" y="2347"/>
                    <a:pt x="2139" y="2303"/>
                    <a:pt x="2155" y="2299"/>
                  </a:cubicBezTo>
                  <a:cubicBezTo>
                    <a:pt x="2171" y="2283"/>
                    <a:pt x="2171" y="2271"/>
                    <a:pt x="2191" y="2259"/>
                  </a:cubicBezTo>
                  <a:cubicBezTo>
                    <a:pt x="2207" y="2247"/>
                    <a:pt x="2219" y="2215"/>
                    <a:pt x="2239" y="2203"/>
                  </a:cubicBezTo>
                  <a:cubicBezTo>
                    <a:pt x="2259" y="2191"/>
                    <a:pt x="2295" y="2195"/>
                    <a:pt x="2311" y="2183"/>
                  </a:cubicBezTo>
                  <a:cubicBezTo>
                    <a:pt x="2318" y="2150"/>
                    <a:pt x="2333" y="2154"/>
                    <a:pt x="2347" y="2135"/>
                  </a:cubicBezTo>
                  <a:cubicBezTo>
                    <a:pt x="2357" y="2088"/>
                    <a:pt x="2354" y="2100"/>
                    <a:pt x="2345" y="2078"/>
                  </a:cubicBezTo>
                  <a:cubicBezTo>
                    <a:pt x="2304" y="2069"/>
                    <a:pt x="2295" y="2072"/>
                    <a:pt x="2243" y="2071"/>
                  </a:cubicBezTo>
                  <a:cubicBezTo>
                    <a:pt x="2231" y="2067"/>
                    <a:pt x="2198" y="2064"/>
                    <a:pt x="2183" y="1979"/>
                  </a:cubicBezTo>
                  <a:cubicBezTo>
                    <a:pt x="2187" y="1956"/>
                    <a:pt x="2201" y="1937"/>
                    <a:pt x="2220" y="1892"/>
                  </a:cubicBezTo>
                  <a:cubicBezTo>
                    <a:pt x="2219" y="1854"/>
                    <a:pt x="2223" y="1859"/>
                    <a:pt x="2167" y="1855"/>
                  </a:cubicBezTo>
                  <a:cubicBezTo>
                    <a:pt x="2127" y="1859"/>
                    <a:pt x="2142" y="1817"/>
                    <a:pt x="2121" y="1823"/>
                  </a:cubicBezTo>
                  <a:cubicBezTo>
                    <a:pt x="2117" y="1815"/>
                    <a:pt x="2116" y="1798"/>
                    <a:pt x="2124" y="1790"/>
                  </a:cubicBezTo>
                  <a:cubicBezTo>
                    <a:pt x="2186" y="1788"/>
                    <a:pt x="2222" y="1743"/>
                    <a:pt x="2243" y="1733"/>
                  </a:cubicBezTo>
                  <a:cubicBezTo>
                    <a:pt x="2229" y="1704"/>
                    <a:pt x="2225" y="1695"/>
                    <a:pt x="2213" y="1659"/>
                  </a:cubicBezTo>
                  <a:cubicBezTo>
                    <a:pt x="2209" y="1647"/>
                    <a:pt x="2203" y="1619"/>
                    <a:pt x="2203" y="1619"/>
                  </a:cubicBezTo>
                  <a:cubicBezTo>
                    <a:pt x="2201" y="1590"/>
                    <a:pt x="2210" y="1589"/>
                    <a:pt x="2211" y="1581"/>
                  </a:cubicBezTo>
                  <a:cubicBezTo>
                    <a:pt x="2212" y="1573"/>
                    <a:pt x="2205" y="1571"/>
                    <a:pt x="2207" y="1568"/>
                  </a:cubicBezTo>
                  <a:cubicBezTo>
                    <a:pt x="2209" y="1565"/>
                    <a:pt x="2225" y="1564"/>
                    <a:pt x="2226" y="1560"/>
                  </a:cubicBezTo>
                  <a:cubicBezTo>
                    <a:pt x="2227" y="1556"/>
                    <a:pt x="2220" y="1555"/>
                    <a:pt x="2215" y="1543"/>
                  </a:cubicBezTo>
                  <a:cubicBezTo>
                    <a:pt x="2211" y="1519"/>
                    <a:pt x="2207" y="1507"/>
                    <a:pt x="2195" y="1487"/>
                  </a:cubicBezTo>
                  <a:cubicBezTo>
                    <a:pt x="2191" y="1455"/>
                    <a:pt x="2195" y="1431"/>
                    <a:pt x="2159" y="1423"/>
                  </a:cubicBezTo>
                  <a:cubicBezTo>
                    <a:pt x="2127" y="1423"/>
                    <a:pt x="2107" y="1435"/>
                    <a:pt x="2075" y="1439"/>
                  </a:cubicBezTo>
                  <a:cubicBezTo>
                    <a:pt x="2055" y="1443"/>
                    <a:pt x="2043" y="1483"/>
                    <a:pt x="2023" y="1495"/>
                  </a:cubicBezTo>
                  <a:cubicBezTo>
                    <a:pt x="2027" y="1467"/>
                    <a:pt x="2043" y="1423"/>
                    <a:pt x="2059" y="1399"/>
                  </a:cubicBezTo>
                  <a:cubicBezTo>
                    <a:pt x="2071" y="1379"/>
                    <a:pt x="2051" y="1367"/>
                    <a:pt x="2071" y="1339"/>
                  </a:cubicBezTo>
                  <a:cubicBezTo>
                    <a:pt x="2083" y="1323"/>
                    <a:pt x="2107" y="1311"/>
                    <a:pt x="2123" y="1295"/>
                  </a:cubicBezTo>
                  <a:cubicBezTo>
                    <a:pt x="2139" y="1279"/>
                    <a:pt x="2155" y="1256"/>
                    <a:pt x="2171" y="1232"/>
                  </a:cubicBezTo>
                  <a:cubicBezTo>
                    <a:pt x="2187" y="1208"/>
                    <a:pt x="2207" y="1180"/>
                    <a:pt x="2219" y="1156"/>
                  </a:cubicBezTo>
                  <a:cubicBezTo>
                    <a:pt x="2231" y="1132"/>
                    <a:pt x="2231" y="1096"/>
                    <a:pt x="2251" y="1084"/>
                  </a:cubicBezTo>
                  <a:cubicBezTo>
                    <a:pt x="2303" y="1088"/>
                    <a:pt x="2311" y="1096"/>
                    <a:pt x="2347" y="1092"/>
                  </a:cubicBezTo>
                  <a:cubicBezTo>
                    <a:pt x="2358" y="1082"/>
                    <a:pt x="2357" y="1088"/>
                    <a:pt x="2363" y="1082"/>
                  </a:cubicBezTo>
                  <a:cubicBezTo>
                    <a:pt x="2358" y="1073"/>
                    <a:pt x="2343" y="1034"/>
                    <a:pt x="2351" y="993"/>
                  </a:cubicBezTo>
                  <a:cubicBezTo>
                    <a:pt x="2355" y="941"/>
                    <a:pt x="2390" y="899"/>
                    <a:pt x="2414" y="833"/>
                  </a:cubicBezTo>
                  <a:cubicBezTo>
                    <a:pt x="2422" y="805"/>
                    <a:pt x="2394" y="771"/>
                    <a:pt x="2418" y="758"/>
                  </a:cubicBezTo>
                  <a:cubicBezTo>
                    <a:pt x="2469" y="747"/>
                    <a:pt x="2472" y="734"/>
                    <a:pt x="2493" y="705"/>
                  </a:cubicBezTo>
                  <a:cubicBezTo>
                    <a:pt x="2501" y="673"/>
                    <a:pt x="2489" y="680"/>
                    <a:pt x="2431" y="656"/>
                  </a:cubicBezTo>
                  <a:cubicBezTo>
                    <a:pt x="2387" y="626"/>
                    <a:pt x="2346" y="599"/>
                    <a:pt x="2307" y="608"/>
                  </a:cubicBezTo>
                  <a:cubicBezTo>
                    <a:pt x="2275" y="600"/>
                    <a:pt x="2275" y="604"/>
                    <a:pt x="2239" y="600"/>
                  </a:cubicBezTo>
                  <a:cubicBezTo>
                    <a:pt x="2219" y="580"/>
                    <a:pt x="2208" y="567"/>
                    <a:pt x="2183" y="552"/>
                  </a:cubicBezTo>
                  <a:cubicBezTo>
                    <a:pt x="2160" y="509"/>
                    <a:pt x="2162" y="504"/>
                    <a:pt x="2123" y="512"/>
                  </a:cubicBezTo>
                  <a:cubicBezTo>
                    <a:pt x="2109" y="521"/>
                    <a:pt x="2082" y="528"/>
                    <a:pt x="2061" y="513"/>
                  </a:cubicBezTo>
                  <a:cubicBezTo>
                    <a:pt x="2037" y="513"/>
                    <a:pt x="2033" y="492"/>
                    <a:pt x="2010" y="510"/>
                  </a:cubicBezTo>
                  <a:cubicBezTo>
                    <a:pt x="1964" y="497"/>
                    <a:pt x="1970" y="459"/>
                    <a:pt x="1947" y="452"/>
                  </a:cubicBezTo>
                  <a:cubicBezTo>
                    <a:pt x="1932" y="425"/>
                    <a:pt x="1903" y="414"/>
                    <a:pt x="1875" y="408"/>
                  </a:cubicBezTo>
                  <a:cubicBezTo>
                    <a:pt x="1877" y="360"/>
                    <a:pt x="1878" y="360"/>
                    <a:pt x="1860" y="345"/>
                  </a:cubicBezTo>
                  <a:cubicBezTo>
                    <a:pt x="1875" y="315"/>
                    <a:pt x="1869" y="296"/>
                    <a:pt x="1862" y="299"/>
                  </a:cubicBezTo>
                  <a:cubicBezTo>
                    <a:pt x="1836" y="302"/>
                    <a:pt x="1839" y="344"/>
                    <a:pt x="1823" y="360"/>
                  </a:cubicBezTo>
                  <a:cubicBezTo>
                    <a:pt x="1748" y="371"/>
                    <a:pt x="1761" y="356"/>
                    <a:pt x="1747" y="308"/>
                  </a:cubicBezTo>
                  <a:cubicBezTo>
                    <a:pt x="1723" y="204"/>
                    <a:pt x="1715" y="252"/>
                    <a:pt x="1665" y="234"/>
                  </a:cubicBezTo>
                  <a:cubicBezTo>
                    <a:pt x="1645" y="202"/>
                    <a:pt x="1665" y="179"/>
                    <a:pt x="1596" y="173"/>
                  </a:cubicBezTo>
                  <a:cubicBezTo>
                    <a:pt x="1589" y="159"/>
                    <a:pt x="1591" y="136"/>
                    <a:pt x="1575" y="116"/>
                  </a:cubicBezTo>
                  <a:cubicBezTo>
                    <a:pt x="1567" y="96"/>
                    <a:pt x="1557" y="95"/>
                    <a:pt x="1519" y="100"/>
                  </a:cubicBezTo>
                  <a:cubicBezTo>
                    <a:pt x="1484" y="96"/>
                    <a:pt x="1484" y="40"/>
                    <a:pt x="1484" y="0"/>
                  </a:cubicBezTo>
                  <a:close/>
                </a:path>
              </a:pathLst>
            </a:custGeom>
            <a:solidFill>
              <a:srgbClr val="8D9399"/>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420" name="Freeform 2548"/>
            <p:cNvSpPr>
              <a:spLocks noChangeAspect="1"/>
            </p:cNvSpPr>
            <p:nvPr>
              <p:custDataLst>
                <p:tags r:id="rId43"/>
              </p:custDataLst>
            </p:nvPr>
          </p:nvSpPr>
          <p:spPr bwMode="auto">
            <a:xfrm>
              <a:off x="3928863" y="4407921"/>
              <a:ext cx="329634" cy="291305"/>
            </a:xfrm>
            <a:custGeom>
              <a:avLst/>
              <a:gdLst>
                <a:gd name="T0" fmla="*/ 181 w 691"/>
                <a:gd name="T1" fmla="*/ 0 h 607"/>
                <a:gd name="T2" fmla="*/ 187 w 691"/>
                <a:gd name="T3" fmla="*/ 20 h 607"/>
                <a:gd name="T4" fmla="*/ 214 w 691"/>
                <a:gd name="T5" fmla="*/ 33 h 607"/>
                <a:gd name="T6" fmla="*/ 237 w 691"/>
                <a:gd name="T7" fmla="*/ 53 h 607"/>
                <a:gd name="T8" fmla="*/ 312 w 691"/>
                <a:gd name="T9" fmla="*/ 31 h 607"/>
                <a:gd name="T10" fmla="*/ 358 w 691"/>
                <a:gd name="T11" fmla="*/ 11 h 607"/>
                <a:gd name="T12" fmla="*/ 375 w 691"/>
                <a:gd name="T13" fmla="*/ 14 h 607"/>
                <a:gd name="T14" fmla="*/ 474 w 691"/>
                <a:gd name="T15" fmla="*/ 39 h 607"/>
                <a:gd name="T16" fmla="*/ 521 w 691"/>
                <a:gd name="T17" fmla="*/ 84 h 607"/>
                <a:gd name="T18" fmla="*/ 597 w 691"/>
                <a:gd name="T19" fmla="*/ 119 h 607"/>
                <a:gd name="T20" fmla="*/ 558 w 691"/>
                <a:gd name="T21" fmla="*/ 209 h 607"/>
                <a:gd name="T22" fmla="*/ 627 w 691"/>
                <a:gd name="T23" fmla="*/ 224 h 607"/>
                <a:gd name="T24" fmla="*/ 649 w 691"/>
                <a:gd name="T25" fmla="*/ 287 h 607"/>
                <a:gd name="T26" fmla="*/ 688 w 691"/>
                <a:gd name="T27" fmla="*/ 353 h 607"/>
                <a:gd name="T28" fmla="*/ 661 w 691"/>
                <a:gd name="T29" fmla="*/ 374 h 607"/>
                <a:gd name="T30" fmla="*/ 642 w 691"/>
                <a:gd name="T31" fmla="*/ 431 h 607"/>
                <a:gd name="T32" fmla="*/ 591 w 691"/>
                <a:gd name="T33" fmla="*/ 441 h 607"/>
                <a:gd name="T34" fmla="*/ 572 w 691"/>
                <a:gd name="T35" fmla="*/ 491 h 607"/>
                <a:gd name="T36" fmla="*/ 561 w 691"/>
                <a:gd name="T37" fmla="*/ 602 h 607"/>
                <a:gd name="T38" fmla="*/ 540 w 691"/>
                <a:gd name="T39" fmla="*/ 607 h 607"/>
                <a:gd name="T40" fmla="*/ 476 w 691"/>
                <a:gd name="T41" fmla="*/ 551 h 607"/>
                <a:gd name="T42" fmla="*/ 404 w 691"/>
                <a:gd name="T43" fmla="*/ 507 h 607"/>
                <a:gd name="T44" fmla="*/ 384 w 691"/>
                <a:gd name="T45" fmla="*/ 443 h 607"/>
                <a:gd name="T46" fmla="*/ 396 w 691"/>
                <a:gd name="T47" fmla="*/ 411 h 607"/>
                <a:gd name="T48" fmla="*/ 360 w 691"/>
                <a:gd name="T49" fmla="*/ 431 h 607"/>
                <a:gd name="T50" fmla="*/ 324 w 691"/>
                <a:gd name="T51" fmla="*/ 463 h 607"/>
                <a:gd name="T52" fmla="*/ 288 w 691"/>
                <a:gd name="T53" fmla="*/ 455 h 607"/>
                <a:gd name="T54" fmla="*/ 272 w 691"/>
                <a:gd name="T55" fmla="*/ 407 h 607"/>
                <a:gd name="T56" fmla="*/ 192 w 691"/>
                <a:gd name="T57" fmla="*/ 335 h 607"/>
                <a:gd name="T58" fmla="*/ 120 w 691"/>
                <a:gd name="T59" fmla="*/ 271 h 607"/>
                <a:gd name="T60" fmla="*/ 72 w 691"/>
                <a:gd name="T61" fmla="*/ 195 h 607"/>
                <a:gd name="T62" fmla="*/ 24 w 691"/>
                <a:gd name="T63" fmla="*/ 191 h 607"/>
                <a:gd name="T64" fmla="*/ 12 w 691"/>
                <a:gd name="T65" fmla="*/ 155 h 607"/>
                <a:gd name="T66" fmla="*/ 32 w 691"/>
                <a:gd name="T67" fmla="*/ 83 h 607"/>
                <a:gd name="T68" fmla="*/ 88 w 691"/>
                <a:gd name="T69" fmla="*/ 47 h 607"/>
                <a:gd name="T70" fmla="*/ 152 w 691"/>
                <a:gd name="T71" fmla="*/ 15 h 607"/>
                <a:gd name="T72" fmla="*/ 181 w 691"/>
                <a:gd name="T73" fmla="*/ 0 h 60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91"/>
                <a:gd name="T112" fmla="*/ 0 h 607"/>
                <a:gd name="T113" fmla="*/ 691 w 691"/>
                <a:gd name="T114" fmla="*/ 607 h 60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91" h="607">
                  <a:moveTo>
                    <a:pt x="181" y="0"/>
                  </a:moveTo>
                  <a:cubicBezTo>
                    <a:pt x="188" y="1"/>
                    <a:pt x="178" y="11"/>
                    <a:pt x="187" y="20"/>
                  </a:cubicBezTo>
                  <a:cubicBezTo>
                    <a:pt x="192" y="25"/>
                    <a:pt x="206" y="28"/>
                    <a:pt x="214" y="33"/>
                  </a:cubicBezTo>
                  <a:cubicBezTo>
                    <a:pt x="222" y="38"/>
                    <a:pt x="213" y="54"/>
                    <a:pt x="237" y="53"/>
                  </a:cubicBezTo>
                  <a:cubicBezTo>
                    <a:pt x="273" y="60"/>
                    <a:pt x="284" y="39"/>
                    <a:pt x="312" y="31"/>
                  </a:cubicBezTo>
                  <a:cubicBezTo>
                    <a:pt x="324" y="27"/>
                    <a:pt x="358" y="11"/>
                    <a:pt x="358" y="11"/>
                  </a:cubicBezTo>
                  <a:cubicBezTo>
                    <a:pt x="374" y="10"/>
                    <a:pt x="356" y="9"/>
                    <a:pt x="375" y="14"/>
                  </a:cubicBezTo>
                  <a:cubicBezTo>
                    <a:pt x="394" y="19"/>
                    <a:pt x="450" y="27"/>
                    <a:pt x="474" y="39"/>
                  </a:cubicBezTo>
                  <a:cubicBezTo>
                    <a:pt x="484" y="74"/>
                    <a:pt x="500" y="71"/>
                    <a:pt x="521" y="84"/>
                  </a:cubicBezTo>
                  <a:cubicBezTo>
                    <a:pt x="535" y="87"/>
                    <a:pt x="590" y="99"/>
                    <a:pt x="597" y="119"/>
                  </a:cubicBezTo>
                  <a:cubicBezTo>
                    <a:pt x="603" y="144"/>
                    <a:pt x="561" y="176"/>
                    <a:pt x="558" y="209"/>
                  </a:cubicBezTo>
                  <a:cubicBezTo>
                    <a:pt x="574" y="236"/>
                    <a:pt x="576" y="239"/>
                    <a:pt x="627" y="224"/>
                  </a:cubicBezTo>
                  <a:cubicBezTo>
                    <a:pt x="622" y="236"/>
                    <a:pt x="625" y="263"/>
                    <a:pt x="649" y="287"/>
                  </a:cubicBezTo>
                  <a:cubicBezTo>
                    <a:pt x="661" y="295"/>
                    <a:pt x="691" y="338"/>
                    <a:pt x="688" y="353"/>
                  </a:cubicBezTo>
                  <a:cubicBezTo>
                    <a:pt x="684" y="373"/>
                    <a:pt x="673" y="363"/>
                    <a:pt x="661" y="374"/>
                  </a:cubicBezTo>
                  <a:cubicBezTo>
                    <a:pt x="653" y="386"/>
                    <a:pt x="642" y="431"/>
                    <a:pt x="642" y="431"/>
                  </a:cubicBezTo>
                  <a:cubicBezTo>
                    <a:pt x="627" y="434"/>
                    <a:pt x="603" y="432"/>
                    <a:pt x="591" y="441"/>
                  </a:cubicBezTo>
                  <a:cubicBezTo>
                    <a:pt x="593" y="487"/>
                    <a:pt x="576" y="475"/>
                    <a:pt x="572" y="491"/>
                  </a:cubicBezTo>
                  <a:cubicBezTo>
                    <a:pt x="566" y="516"/>
                    <a:pt x="558" y="581"/>
                    <a:pt x="561" y="602"/>
                  </a:cubicBezTo>
                  <a:cubicBezTo>
                    <a:pt x="552" y="605"/>
                    <a:pt x="561" y="602"/>
                    <a:pt x="540" y="607"/>
                  </a:cubicBezTo>
                  <a:cubicBezTo>
                    <a:pt x="484" y="595"/>
                    <a:pt x="508" y="575"/>
                    <a:pt x="476" y="551"/>
                  </a:cubicBezTo>
                  <a:cubicBezTo>
                    <a:pt x="452" y="531"/>
                    <a:pt x="436" y="511"/>
                    <a:pt x="404" y="507"/>
                  </a:cubicBezTo>
                  <a:cubicBezTo>
                    <a:pt x="396" y="483"/>
                    <a:pt x="412" y="451"/>
                    <a:pt x="384" y="443"/>
                  </a:cubicBezTo>
                  <a:cubicBezTo>
                    <a:pt x="392" y="431"/>
                    <a:pt x="388" y="423"/>
                    <a:pt x="396" y="411"/>
                  </a:cubicBezTo>
                  <a:cubicBezTo>
                    <a:pt x="384" y="375"/>
                    <a:pt x="368" y="419"/>
                    <a:pt x="360" y="431"/>
                  </a:cubicBezTo>
                  <a:cubicBezTo>
                    <a:pt x="348" y="463"/>
                    <a:pt x="352" y="455"/>
                    <a:pt x="324" y="463"/>
                  </a:cubicBezTo>
                  <a:cubicBezTo>
                    <a:pt x="312" y="459"/>
                    <a:pt x="296" y="467"/>
                    <a:pt x="288" y="455"/>
                  </a:cubicBezTo>
                  <a:cubicBezTo>
                    <a:pt x="284" y="447"/>
                    <a:pt x="272" y="407"/>
                    <a:pt x="272" y="407"/>
                  </a:cubicBezTo>
                  <a:cubicBezTo>
                    <a:pt x="248" y="327"/>
                    <a:pt x="268" y="343"/>
                    <a:pt x="192" y="335"/>
                  </a:cubicBezTo>
                  <a:cubicBezTo>
                    <a:pt x="176" y="287"/>
                    <a:pt x="172" y="279"/>
                    <a:pt x="120" y="271"/>
                  </a:cubicBezTo>
                  <a:cubicBezTo>
                    <a:pt x="104" y="235"/>
                    <a:pt x="116" y="207"/>
                    <a:pt x="72" y="195"/>
                  </a:cubicBezTo>
                  <a:cubicBezTo>
                    <a:pt x="44" y="203"/>
                    <a:pt x="48" y="207"/>
                    <a:pt x="24" y="191"/>
                  </a:cubicBezTo>
                  <a:cubicBezTo>
                    <a:pt x="20" y="179"/>
                    <a:pt x="12" y="155"/>
                    <a:pt x="12" y="155"/>
                  </a:cubicBezTo>
                  <a:cubicBezTo>
                    <a:pt x="8" y="127"/>
                    <a:pt x="0" y="95"/>
                    <a:pt x="32" y="83"/>
                  </a:cubicBezTo>
                  <a:cubicBezTo>
                    <a:pt x="48" y="55"/>
                    <a:pt x="56" y="55"/>
                    <a:pt x="88" y="47"/>
                  </a:cubicBezTo>
                  <a:cubicBezTo>
                    <a:pt x="136" y="11"/>
                    <a:pt x="12" y="43"/>
                    <a:pt x="152" y="15"/>
                  </a:cubicBezTo>
                  <a:cubicBezTo>
                    <a:pt x="160" y="15"/>
                    <a:pt x="189" y="0"/>
                    <a:pt x="181" y="0"/>
                  </a:cubicBezTo>
                  <a:close/>
                </a:path>
              </a:pathLst>
            </a:custGeom>
            <a:solidFill>
              <a:srgbClr val="8D9399"/>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421" name="Freeform 2549"/>
            <p:cNvSpPr>
              <a:spLocks noChangeAspect="1"/>
            </p:cNvSpPr>
            <p:nvPr>
              <p:custDataLst>
                <p:tags r:id="rId44"/>
              </p:custDataLst>
            </p:nvPr>
          </p:nvSpPr>
          <p:spPr bwMode="auto">
            <a:xfrm>
              <a:off x="4191420" y="4614901"/>
              <a:ext cx="72826" cy="95824"/>
            </a:xfrm>
            <a:custGeom>
              <a:avLst/>
              <a:gdLst>
                <a:gd name="T0" fmla="*/ 95 w 153"/>
                <a:gd name="T1" fmla="*/ 0 h 200"/>
                <a:gd name="T2" fmla="*/ 23 w 153"/>
                <a:gd name="T3" fmla="*/ 56 h 200"/>
                <a:gd name="T4" fmla="*/ 11 w 153"/>
                <a:gd name="T5" fmla="*/ 168 h 200"/>
                <a:gd name="T6" fmla="*/ 51 w 153"/>
                <a:gd name="T7" fmla="*/ 184 h 200"/>
                <a:gd name="T8" fmla="*/ 130 w 153"/>
                <a:gd name="T9" fmla="*/ 178 h 200"/>
                <a:gd name="T10" fmla="*/ 147 w 153"/>
                <a:gd name="T11" fmla="*/ 120 h 200"/>
                <a:gd name="T12" fmla="*/ 127 w 153"/>
                <a:gd name="T13" fmla="*/ 63 h 200"/>
                <a:gd name="T14" fmla="*/ 95 w 153"/>
                <a:gd name="T15" fmla="*/ 28 h 200"/>
                <a:gd name="T16" fmla="*/ 95 w 153"/>
                <a:gd name="T17" fmla="*/ 0 h 2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3"/>
                <a:gd name="T28" fmla="*/ 0 h 200"/>
                <a:gd name="T29" fmla="*/ 153 w 153"/>
                <a:gd name="T30" fmla="*/ 200 h 2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3" h="200">
                  <a:moveTo>
                    <a:pt x="95" y="0"/>
                  </a:moveTo>
                  <a:cubicBezTo>
                    <a:pt x="0" y="3"/>
                    <a:pt x="71" y="24"/>
                    <a:pt x="23" y="56"/>
                  </a:cubicBezTo>
                  <a:cubicBezTo>
                    <a:pt x="15" y="96"/>
                    <a:pt x="15" y="116"/>
                    <a:pt x="11" y="168"/>
                  </a:cubicBezTo>
                  <a:cubicBezTo>
                    <a:pt x="22" y="186"/>
                    <a:pt x="33" y="181"/>
                    <a:pt x="51" y="184"/>
                  </a:cubicBezTo>
                  <a:cubicBezTo>
                    <a:pt x="63" y="200"/>
                    <a:pt x="111" y="171"/>
                    <a:pt x="130" y="178"/>
                  </a:cubicBezTo>
                  <a:cubicBezTo>
                    <a:pt x="125" y="160"/>
                    <a:pt x="132" y="150"/>
                    <a:pt x="147" y="120"/>
                  </a:cubicBezTo>
                  <a:cubicBezTo>
                    <a:pt x="153" y="88"/>
                    <a:pt x="151" y="79"/>
                    <a:pt x="127" y="63"/>
                  </a:cubicBezTo>
                  <a:cubicBezTo>
                    <a:pt x="105" y="42"/>
                    <a:pt x="115" y="48"/>
                    <a:pt x="95" y="28"/>
                  </a:cubicBezTo>
                  <a:cubicBezTo>
                    <a:pt x="91" y="8"/>
                    <a:pt x="91" y="16"/>
                    <a:pt x="95" y="0"/>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422" name="Freeform 2551"/>
            <p:cNvSpPr>
              <a:spLocks noChangeAspect="1"/>
            </p:cNvSpPr>
            <p:nvPr/>
          </p:nvSpPr>
          <p:spPr bwMode="auto">
            <a:xfrm>
              <a:off x="4133584" y="4183695"/>
              <a:ext cx="26755" cy="21081"/>
            </a:xfrm>
            <a:custGeom>
              <a:avLst/>
              <a:gdLst>
                <a:gd name="T0" fmla="*/ 5 w 14"/>
                <a:gd name="T1" fmla="*/ 0 h 11"/>
                <a:gd name="T2" fmla="*/ 9 w 14"/>
                <a:gd name="T3" fmla="*/ 7 h 11"/>
                <a:gd name="T4" fmla="*/ 3 w 14"/>
                <a:gd name="T5" fmla="*/ 11 h 11"/>
                <a:gd name="T6" fmla="*/ 5 w 14"/>
                <a:gd name="T7" fmla="*/ 0 h 11"/>
                <a:gd name="T8" fmla="*/ 0 60000 65536"/>
                <a:gd name="T9" fmla="*/ 0 60000 65536"/>
                <a:gd name="T10" fmla="*/ 0 60000 65536"/>
                <a:gd name="T11" fmla="*/ 0 60000 65536"/>
                <a:gd name="T12" fmla="*/ 0 w 14"/>
                <a:gd name="T13" fmla="*/ 0 h 11"/>
                <a:gd name="T14" fmla="*/ 14 w 14"/>
                <a:gd name="T15" fmla="*/ 11 h 11"/>
              </a:gdLst>
              <a:ahLst/>
              <a:cxnLst>
                <a:cxn ang="T8">
                  <a:pos x="T0" y="T1"/>
                </a:cxn>
                <a:cxn ang="T9">
                  <a:pos x="T2" y="T3"/>
                </a:cxn>
                <a:cxn ang="T10">
                  <a:pos x="T4" y="T5"/>
                </a:cxn>
                <a:cxn ang="T11">
                  <a:pos x="T6" y="T7"/>
                </a:cxn>
              </a:cxnLst>
              <a:rect l="T12" t="T13" r="T14" b="T15"/>
              <a:pathLst>
                <a:path w="14" h="11">
                  <a:moveTo>
                    <a:pt x="5" y="0"/>
                  </a:moveTo>
                  <a:cubicBezTo>
                    <a:pt x="9" y="1"/>
                    <a:pt x="14" y="0"/>
                    <a:pt x="9" y="7"/>
                  </a:cubicBezTo>
                  <a:cubicBezTo>
                    <a:pt x="8" y="9"/>
                    <a:pt x="3" y="11"/>
                    <a:pt x="3" y="11"/>
                  </a:cubicBezTo>
                  <a:cubicBezTo>
                    <a:pt x="0" y="7"/>
                    <a:pt x="1" y="4"/>
                    <a:pt x="5" y="0"/>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423" name="Freeform 2552"/>
            <p:cNvSpPr>
              <a:spLocks noChangeAspect="1"/>
            </p:cNvSpPr>
            <p:nvPr/>
          </p:nvSpPr>
          <p:spPr bwMode="auto">
            <a:xfrm>
              <a:off x="4154606" y="4156864"/>
              <a:ext cx="15288" cy="32580"/>
            </a:xfrm>
            <a:custGeom>
              <a:avLst/>
              <a:gdLst>
                <a:gd name="T0" fmla="*/ 0 w 8"/>
                <a:gd name="T1" fmla="*/ 8 h 17"/>
                <a:gd name="T2" fmla="*/ 8 w 8"/>
                <a:gd name="T3" fmla="*/ 0 h 17"/>
                <a:gd name="T4" fmla="*/ 0 w 8"/>
                <a:gd name="T5" fmla="*/ 8 h 17"/>
                <a:gd name="T6" fmla="*/ 0 60000 65536"/>
                <a:gd name="T7" fmla="*/ 0 60000 65536"/>
                <a:gd name="T8" fmla="*/ 0 60000 65536"/>
                <a:gd name="T9" fmla="*/ 0 w 8"/>
                <a:gd name="T10" fmla="*/ 0 h 17"/>
                <a:gd name="T11" fmla="*/ 8 w 8"/>
                <a:gd name="T12" fmla="*/ 17 h 17"/>
              </a:gdLst>
              <a:ahLst/>
              <a:cxnLst>
                <a:cxn ang="T6">
                  <a:pos x="T0" y="T1"/>
                </a:cxn>
                <a:cxn ang="T7">
                  <a:pos x="T2" y="T3"/>
                </a:cxn>
                <a:cxn ang="T8">
                  <a:pos x="T4" y="T5"/>
                </a:cxn>
              </a:cxnLst>
              <a:rect l="T9" t="T10" r="T11" b="T12"/>
              <a:pathLst>
                <a:path w="8" h="17">
                  <a:moveTo>
                    <a:pt x="0" y="8"/>
                  </a:moveTo>
                  <a:cubicBezTo>
                    <a:pt x="5" y="6"/>
                    <a:pt x="4" y="4"/>
                    <a:pt x="8" y="0"/>
                  </a:cubicBezTo>
                  <a:cubicBezTo>
                    <a:pt x="8" y="2"/>
                    <a:pt x="0" y="17"/>
                    <a:pt x="0" y="8"/>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424" name="Freeform 2553"/>
            <p:cNvSpPr>
              <a:spLocks noChangeAspect="1"/>
            </p:cNvSpPr>
            <p:nvPr/>
          </p:nvSpPr>
          <p:spPr bwMode="auto">
            <a:xfrm>
              <a:off x="4181360" y="4143448"/>
              <a:ext cx="22933" cy="19165"/>
            </a:xfrm>
            <a:custGeom>
              <a:avLst/>
              <a:gdLst>
                <a:gd name="T0" fmla="*/ 0 w 12"/>
                <a:gd name="T1" fmla="*/ 3 h 10"/>
                <a:gd name="T2" fmla="*/ 12 w 12"/>
                <a:gd name="T3" fmla="*/ 2 h 10"/>
                <a:gd name="T4" fmla="*/ 0 w 12"/>
                <a:gd name="T5" fmla="*/ 3 h 10"/>
                <a:gd name="T6" fmla="*/ 0 60000 65536"/>
                <a:gd name="T7" fmla="*/ 0 60000 65536"/>
                <a:gd name="T8" fmla="*/ 0 60000 65536"/>
                <a:gd name="T9" fmla="*/ 0 w 12"/>
                <a:gd name="T10" fmla="*/ 0 h 10"/>
                <a:gd name="T11" fmla="*/ 12 w 12"/>
                <a:gd name="T12" fmla="*/ 10 h 10"/>
              </a:gdLst>
              <a:ahLst/>
              <a:cxnLst>
                <a:cxn ang="T6">
                  <a:pos x="T0" y="T1"/>
                </a:cxn>
                <a:cxn ang="T7">
                  <a:pos x="T2" y="T3"/>
                </a:cxn>
                <a:cxn ang="T8">
                  <a:pos x="T4" y="T5"/>
                </a:cxn>
              </a:cxnLst>
              <a:rect l="T9" t="T10" r="T11" b="T12"/>
              <a:pathLst>
                <a:path w="12" h="10">
                  <a:moveTo>
                    <a:pt x="0" y="3"/>
                  </a:moveTo>
                  <a:cubicBezTo>
                    <a:pt x="8" y="0"/>
                    <a:pt x="4" y="1"/>
                    <a:pt x="12" y="2"/>
                  </a:cubicBezTo>
                  <a:cubicBezTo>
                    <a:pt x="10" y="9"/>
                    <a:pt x="0" y="10"/>
                    <a:pt x="0" y="3"/>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425" name="Freeform 2554"/>
            <p:cNvSpPr>
              <a:spLocks noChangeAspect="1"/>
            </p:cNvSpPr>
            <p:nvPr/>
          </p:nvSpPr>
          <p:spPr bwMode="auto">
            <a:xfrm>
              <a:off x="4210026" y="4137699"/>
              <a:ext cx="45865" cy="13415"/>
            </a:xfrm>
            <a:custGeom>
              <a:avLst/>
              <a:gdLst>
                <a:gd name="T0" fmla="*/ 1 w 24"/>
                <a:gd name="T1" fmla="*/ 4 h 7"/>
                <a:gd name="T2" fmla="*/ 12 w 24"/>
                <a:gd name="T3" fmla="*/ 7 h 7"/>
                <a:gd name="T4" fmla="*/ 1 w 24"/>
                <a:gd name="T5" fmla="*/ 4 h 7"/>
                <a:gd name="T6" fmla="*/ 0 60000 65536"/>
                <a:gd name="T7" fmla="*/ 0 60000 65536"/>
                <a:gd name="T8" fmla="*/ 0 60000 65536"/>
                <a:gd name="T9" fmla="*/ 0 w 24"/>
                <a:gd name="T10" fmla="*/ 0 h 7"/>
                <a:gd name="T11" fmla="*/ 24 w 24"/>
                <a:gd name="T12" fmla="*/ 7 h 7"/>
              </a:gdLst>
              <a:ahLst/>
              <a:cxnLst>
                <a:cxn ang="T6">
                  <a:pos x="T0" y="T1"/>
                </a:cxn>
                <a:cxn ang="T7">
                  <a:pos x="T2" y="T3"/>
                </a:cxn>
                <a:cxn ang="T8">
                  <a:pos x="T4" y="T5"/>
                </a:cxn>
              </a:cxnLst>
              <a:rect l="T9" t="T10" r="T11" b="T12"/>
              <a:pathLst>
                <a:path w="24" h="7">
                  <a:moveTo>
                    <a:pt x="1" y="4"/>
                  </a:moveTo>
                  <a:cubicBezTo>
                    <a:pt x="22" y="3"/>
                    <a:pt x="24" y="3"/>
                    <a:pt x="12" y="7"/>
                  </a:cubicBezTo>
                  <a:cubicBezTo>
                    <a:pt x="6" y="6"/>
                    <a:pt x="0" y="0"/>
                    <a:pt x="1" y="4"/>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426" name="Freeform 2555"/>
            <p:cNvSpPr>
              <a:spLocks noChangeAspect="1"/>
            </p:cNvSpPr>
            <p:nvPr/>
          </p:nvSpPr>
          <p:spPr bwMode="auto">
            <a:xfrm>
              <a:off x="4013188" y="4156864"/>
              <a:ext cx="337300" cy="362215"/>
            </a:xfrm>
            <a:custGeom>
              <a:avLst/>
              <a:gdLst>
                <a:gd name="T0" fmla="*/ 694 w 706"/>
                <a:gd name="T1" fmla="*/ 39 h 756"/>
                <a:gd name="T2" fmla="*/ 624 w 706"/>
                <a:gd name="T3" fmla="*/ 0 h 756"/>
                <a:gd name="T4" fmla="*/ 508 w 706"/>
                <a:gd name="T5" fmla="*/ 12 h 756"/>
                <a:gd name="T6" fmla="*/ 432 w 706"/>
                <a:gd name="T7" fmla="*/ 28 h 756"/>
                <a:gd name="T8" fmla="*/ 376 w 706"/>
                <a:gd name="T9" fmla="*/ 60 h 756"/>
                <a:gd name="T10" fmla="*/ 328 w 706"/>
                <a:gd name="T11" fmla="*/ 92 h 756"/>
                <a:gd name="T12" fmla="*/ 304 w 706"/>
                <a:gd name="T13" fmla="*/ 100 h 756"/>
                <a:gd name="T14" fmla="*/ 244 w 706"/>
                <a:gd name="T15" fmla="*/ 156 h 756"/>
                <a:gd name="T16" fmla="*/ 364 w 706"/>
                <a:gd name="T17" fmla="*/ 240 h 756"/>
                <a:gd name="T18" fmla="*/ 324 w 706"/>
                <a:gd name="T19" fmla="*/ 272 h 756"/>
                <a:gd name="T20" fmla="*/ 220 w 706"/>
                <a:gd name="T21" fmla="*/ 268 h 756"/>
                <a:gd name="T22" fmla="*/ 168 w 706"/>
                <a:gd name="T23" fmla="*/ 316 h 756"/>
                <a:gd name="T24" fmla="*/ 112 w 706"/>
                <a:gd name="T25" fmla="*/ 392 h 756"/>
                <a:gd name="T26" fmla="*/ 76 w 706"/>
                <a:gd name="T27" fmla="*/ 420 h 756"/>
                <a:gd name="T28" fmla="*/ 12 w 706"/>
                <a:gd name="T29" fmla="*/ 504 h 756"/>
                <a:gd name="T30" fmla="*/ 36 w 706"/>
                <a:gd name="T31" fmla="*/ 560 h 756"/>
                <a:gd name="T32" fmla="*/ 76 w 706"/>
                <a:gd name="T33" fmla="*/ 580 h 756"/>
                <a:gd name="T34" fmla="*/ 196 w 706"/>
                <a:gd name="T35" fmla="*/ 536 h 756"/>
                <a:gd name="T36" fmla="*/ 300 w 706"/>
                <a:gd name="T37" fmla="*/ 564 h 756"/>
                <a:gd name="T38" fmla="*/ 364 w 706"/>
                <a:gd name="T39" fmla="*/ 612 h 756"/>
                <a:gd name="T40" fmla="*/ 400 w 706"/>
                <a:gd name="T41" fmla="*/ 628 h 756"/>
                <a:gd name="T42" fmla="*/ 424 w 706"/>
                <a:gd name="T43" fmla="*/ 644 h 756"/>
                <a:gd name="T44" fmla="*/ 392 w 706"/>
                <a:gd name="T45" fmla="*/ 704 h 756"/>
                <a:gd name="T46" fmla="*/ 408 w 706"/>
                <a:gd name="T47" fmla="*/ 756 h 756"/>
                <a:gd name="T48" fmla="*/ 464 w 706"/>
                <a:gd name="T49" fmla="*/ 732 h 756"/>
                <a:gd name="T50" fmla="*/ 460 w 706"/>
                <a:gd name="T51" fmla="*/ 720 h 756"/>
                <a:gd name="T52" fmla="*/ 440 w 706"/>
                <a:gd name="T53" fmla="*/ 692 h 756"/>
                <a:gd name="T54" fmla="*/ 466 w 706"/>
                <a:gd name="T55" fmla="*/ 669 h 756"/>
                <a:gd name="T56" fmla="*/ 484 w 706"/>
                <a:gd name="T57" fmla="*/ 624 h 756"/>
                <a:gd name="T58" fmla="*/ 496 w 706"/>
                <a:gd name="T59" fmla="*/ 588 h 756"/>
                <a:gd name="T60" fmla="*/ 484 w 706"/>
                <a:gd name="T61" fmla="*/ 524 h 756"/>
                <a:gd name="T62" fmla="*/ 482 w 706"/>
                <a:gd name="T63" fmla="*/ 471 h 756"/>
                <a:gd name="T64" fmla="*/ 464 w 706"/>
                <a:gd name="T65" fmla="*/ 474 h 756"/>
                <a:gd name="T66" fmla="*/ 529 w 706"/>
                <a:gd name="T67" fmla="*/ 452 h 756"/>
                <a:gd name="T68" fmla="*/ 610 w 706"/>
                <a:gd name="T69" fmla="*/ 431 h 756"/>
                <a:gd name="T70" fmla="*/ 616 w 706"/>
                <a:gd name="T71" fmla="*/ 371 h 756"/>
                <a:gd name="T72" fmla="*/ 652 w 706"/>
                <a:gd name="T73" fmla="*/ 356 h 756"/>
                <a:gd name="T74" fmla="*/ 625 w 706"/>
                <a:gd name="T75" fmla="*/ 273 h 756"/>
                <a:gd name="T76" fmla="*/ 593 w 706"/>
                <a:gd name="T77" fmla="*/ 231 h 756"/>
                <a:gd name="T78" fmla="*/ 628 w 706"/>
                <a:gd name="T79" fmla="*/ 215 h 756"/>
                <a:gd name="T80" fmla="*/ 646 w 706"/>
                <a:gd name="T81" fmla="*/ 242 h 756"/>
                <a:gd name="T82" fmla="*/ 665 w 706"/>
                <a:gd name="T83" fmla="*/ 197 h 756"/>
                <a:gd name="T84" fmla="*/ 694 w 706"/>
                <a:gd name="T85" fmla="*/ 39 h 75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706"/>
                <a:gd name="T130" fmla="*/ 0 h 756"/>
                <a:gd name="T131" fmla="*/ 706 w 706"/>
                <a:gd name="T132" fmla="*/ 756 h 75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706" h="756">
                  <a:moveTo>
                    <a:pt x="694" y="39"/>
                  </a:moveTo>
                  <a:cubicBezTo>
                    <a:pt x="682" y="7"/>
                    <a:pt x="652" y="20"/>
                    <a:pt x="624" y="0"/>
                  </a:cubicBezTo>
                  <a:cubicBezTo>
                    <a:pt x="584" y="4"/>
                    <a:pt x="548" y="8"/>
                    <a:pt x="508" y="12"/>
                  </a:cubicBezTo>
                  <a:cubicBezTo>
                    <a:pt x="480" y="20"/>
                    <a:pt x="460" y="24"/>
                    <a:pt x="432" y="28"/>
                  </a:cubicBezTo>
                  <a:cubicBezTo>
                    <a:pt x="412" y="36"/>
                    <a:pt x="376" y="60"/>
                    <a:pt x="376" y="60"/>
                  </a:cubicBezTo>
                  <a:cubicBezTo>
                    <a:pt x="364" y="76"/>
                    <a:pt x="344" y="80"/>
                    <a:pt x="328" y="92"/>
                  </a:cubicBezTo>
                  <a:cubicBezTo>
                    <a:pt x="320" y="96"/>
                    <a:pt x="304" y="100"/>
                    <a:pt x="304" y="100"/>
                  </a:cubicBezTo>
                  <a:cubicBezTo>
                    <a:pt x="284" y="124"/>
                    <a:pt x="268" y="140"/>
                    <a:pt x="244" y="156"/>
                  </a:cubicBezTo>
                  <a:cubicBezTo>
                    <a:pt x="252" y="228"/>
                    <a:pt x="300" y="228"/>
                    <a:pt x="364" y="240"/>
                  </a:cubicBezTo>
                  <a:cubicBezTo>
                    <a:pt x="356" y="260"/>
                    <a:pt x="340" y="268"/>
                    <a:pt x="324" y="272"/>
                  </a:cubicBezTo>
                  <a:cubicBezTo>
                    <a:pt x="280" y="268"/>
                    <a:pt x="264" y="264"/>
                    <a:pt x="220" y="268"/>
                  </a:cubicBezTo>
                  <a:cubicBezTo>
                    <a:pt x="200" y="276"/>
                    <a:pt x="176" y="296"/>
                    <a:pt x="168" y="316"/>
                  </a:cubicBezTo>
                  <a:cubicBezTo>
                    <a:pt x="164" y="332"/>
                    <a:pt x="132" y="384"/>
                    <a:pt x="112" y="392"/>
                  </a:cubicBezTo>
                  <a:cubicBezTo>
                    <a:pt x="104" y="408"/>
                    <a:pt x="92" y="412"/>
                    <a:pt x="76" y="420"/>
                  </a:cubicBezTo>
                  <a:cubicBezTo>
                    <a:pt x="68" y="440"/>
                    <a:pt x="32" y="496"/>
                    <a:pt x="12" y="504"/>
                  </a:cubicBezTo>
                  <a:cubicBezTo>
                    <a:pt x="0" y="540"/>
                    <a:pt x="12" y="544"/>
                    <a:pt x="36" y="560"/>
                  </a:cubicBezTo>
                  <a:cubicBezTo>
                    <a:pt x="44" y="580"/>
                    <a:pt x="56" y="576"/>
                    <a:pt x="76" y="580"/>
                  </a:cubicBezTo>
                  <a:cubicBezTo>
                    <a:pt x="128" y="572"/>
                    <a:pt x="148" y="540"/>
                    <a:pt x="196" y="536"/>
                  </a:cubicBezTo>
                  <a:cubicBezTo>
                    <a:pt x="228" y="548"/>
                    <a:pt x="264" y="556"/>
                    <a:pt x="300" y="564"/>
                  </a:cubicBezTo>
                  <a:cubicBezTo>
                    <a:pt x="312" y="600"/>
                    <a:pt x="324" y="608"/>
                    <a:pt x="364" y="612"/>
                  </a:cubicBezTo>
                  <a:cubicBezTo>
                    <a:pt x="376" y="620"/>
                    <a:pt x="388" y="620"/>
                    <a:pt x="400" y="628"/>
                  </a:cubicBezTo>
                  <a:cubicBezTo>
                    <a:pt x="408" y="632"/>
                    <a:pt x="424" y="644"/>
                    <a:pt x="424" y="644"/>
                  </a:cubicBezTo>
                  <a:cubicBezTo>
                    <a:pt x="416" y="668"/>
                    <a:pt x="412" y="688"/>
                    <a:pt x="392" y="704"/>
                  </a:cubicBezTo>
                  <a:cubicBezTo>
                    <a:pt x="384" y="728"/>
                    <a:pt x="380" y="748"/>
                    <a:pt x="408" y="756"/>
                  </a:cubicBezTo>
                  <a:cubicBezTo>
                    <a:pt x="436" y="752"/>
                    <a:pt x="452" y="756"/>
                    <a:pt x="464" y="732"/>
                  </a:cubicBezTo>
                  <a:cubicBezTo>
                    <a:pt x="464" y="728"/>
                    <a:pt x="464" y="724"/>
                    <a:pt x="460" y="720"/>
                  </a:cubicBezTo>
                  <a:cubicBezTo>
                    <a:pt x="456" y="713"/>
                    <a:pt x="439" y="700"/>
                    <a:pt x="440" y="692"/>
                  </a:cubicBezTo>
                  <a:cubicBezTo>
                    <a:pt x="452" y="683"/>
                    <a:pt x="454" y="681"/>
                    <a:pt x="466" y="669"/>
                  </a:cubicBezTo>
                  <a:cubicBezTo>
                    <a:pt x="470" y="653"/>
                    <a:pt x="481" y="645"/>
                    <a:pt x="484" y="624"/>
                  </a:cubicBezTo>
                  <a:cubicBezTo>
                    <a:pt x="488" y="612"/>
                    <a:pt x="490" y="597"/>
                    <a:pt x="496" y="588"/>
                  </a:cubicBezTo>
                  <a:cubicBezTo>
                    <a:pt x="497" y="570"/>
                    <a:pt x="486" y="543"/>
                    <a:pt x="484" y="524"/>
                  </a:cubicBezTo>
                  <a:cubicBezTo>
                    <a:pt x="482" y="505"/>
                    <a:pt x="485" y="479"/>
                    <a:pt x="482" y="471"/>
                  </a:cubicBezTo>
                  <a:cubicBezTo>
                    <a:pt x="479" y="463"/>
                    <a:pt x="456" y="477"/>
                    <a:pt x="464" y="474"/>
                  </a:cubicBezTo>
                  <a:cubicBezTo>
                    <a:pt x="473" y="440"/>
                    <a:pt x="485" y="453"/>
                    <a:pt x="529" y="452"/>
                  </a:cubicBezTo>
                  <a:cubicBezTo>
                    <a:pt x="569" y="446"/>
                    <a:pt x="583" y="443"/>
                    <a:pt x="610" y="431"/>
                  </a:cubicBezTo>
                  <a:cubicBezTo>
                    <a:pt x="622" y="395"/>
                    <a:pt x="577" y="395"/>
                    <a:pt x="616" y="371"/>
                  </a:cubicBezTo>
                  <a:cubicBezTo>
                    <a:pt x="628" y="363"/>
                    <a:pt x="640" y="368"/>
                    <a:pt x="652" y="356"/>
                  </a:cubicBezTo>
                  <a:cubicBezTo>
                    <a:pt x="685" y="318"/>
                    <a:pt x="654" y="255"/>
                    <a:pt x="625" y="273"/>
                  </a:cubicBezTo>
                  <a:cubicBezTo>
                    <a:pt x="603" y="263"/>
                    <a:pt x="593" y="241"/>
                    <a:pt x="593" y="231"/>
                  </a:cubicBezTo>
                  <a:cubicBezTo>
                    <a:pt x="593" y="221"/>
                    <a:pt x="619" y="213"/>
                    <a:pt x="628" y="215"/>
                  </a:cubicBezTo>
                  <a:cubicBezTo>
                    <a:pt x="638" y="230"/>
                    <a:pt x="634" y="230"/>
                    <a:pt x="646" y="242"/>
                  </a:cubicBezTo>
                  <a:cubicBezTo>
                    <a:pt x="653" y="239"/>
                    <a:pt x="657" y="231"/>
                    <a:pt x="665" y="197"/>
                  </a:cubicBezTo>
                  <a:cubicBezTo>
                    <a:pt x="673" y="163"/>
                    <a:pt x="706" y="167"/>
                    <a:pt x="694" y="39"/>
                  </a:cubicBezTo>
                  <a:close/>
                </a:path>
              </a:pathLst>
            </a:custGeom>
            <a:solidFill>
              <a:srgbClr val="8D9399"/>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427" name="Freeform 2557"/>
            <p:cNvSpPr>
              <a:spLocks noChangeAspect="1"/>
            </p:cNvSpPr>
            <p:nvPr/>
          </p:nvSpPr>
          <p:spPr bwMode="auto">
            <a:xfrm>
              <a:off x="3773486" y="3068304"/>
              <a:ext cx="69080" cy="137986"/>
            </a:xfrm>
            <a:custGeom>
              <a:avLst/>
              <a:gdLst>
                <a:gd name="T0" fmla="*/ 32 w 36"/>
                <a:gd name="T1" fmla="*/ 4 h 72"/>
                <a:gd name="T2" fmla="*/ 20 w 36"/>
                <a:gd name="T3" fmla="*/ 11 h 72"/>
                <a:gd name="T4" fmla="*/ 7 w 36"/>
                <a:gd name="T5" fmla="*/ 22 h 72"/>
                <a:gd name="T6" fmla="*/ 3 w 36"/>
                <a:gd name="T7" fmla="*/ 28 h 72"/>
                <a:gd name="T8" fmla="*/ 0 w 36"/>
                <a:gd name="T9" fmla="*/ 43 h 72"/>
                <a:gd name="T10" fmla="*/ 7 w 36"/>
                <a:gd name="T11" fmla="*/ 72 h 72"/>
                <a:gd name="T12" fmla="*/ 17 w 36"/>
                <a:gd name="T13" fmla="*/ 63 h 72"/>
                <a:gd name="T14" fmla="*/ 21 w 36"/>
                <a:gd name="T15" fmla="*/ 54 h 72"/>
                <a:gd name="T16" fmla="*/ 30 w 36"/>
                <a:gd name="T17" fmla="*/ 23 h 72"/>
                <a:gd name="T18" fmla="*/ 36 w 36"/>
                <a:gd name="T19" fmla="*/ 9 h 72"/>
                <a:gd name="T20" fmla="*/ 26 w 36"/>
                <a:gd name="T21" fmla="*/ 11 h 72"/>
                <a:gd name="T22" fmla="*/ 32 w 36"/>
                <a:gd name="T23" fmla="*/ 4 h 7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6"/>
                <a:gd name="T37" fmla="*/ 0 h 72"/>
                <a:gd name="T38" fmla="*/ 36 w 36"/>
                <a:gd name="T39" fmla="*/ 72 h 7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6" h="72">
                  <a:moveTo>
                    <a:pt x="32" y="4"/>
                  </a:moveTo>
                  <a:cubicBezTo>
                    <a:pt x="24" y="5"/>
                    <a:pt x="26" y="8"/>
                    <a:pt x="20" y="11"/>
                  </a:cubicBezTo>
                  <a:cubicBezTo>
                    <a:pt x="16" y="16"/>
                    <a:pt x="11" y="17"/>
                    <a:pt x="7" y="22"/>
                  </a:cubicBezTo>
                  <a:cubicBezTo>
                    <a:pt x="5" y="24"/>
                    <a:pt x="3" y="28"/>
                    <a:pt x="3" y="28"/>
                  </a:cubicBezTo>
                  <a:cubicBezTo>
                    <a:pt x="2" y="33"/>
                    <a:pt x="2" y="38"/>
                    <a:pt x="0" y="43"/>
                  </a:cubicBezTo>
                  <a:cubicBezTo>
                    <a:pt x="2" y="53"/>
                    <a:pt x="1" y="63"/>
                    <a:pt x="7" y="72"/>
                  </a:cubicBezTo>
                  <a:cubicBezTo>
                    <a:pt x="10" y="68"/>
                    <a:pt x="12" y="66"/>
                    <a:pt x="17" y="63"/>
                  </a:cubicBezTo>
                  <a:cubicBezTo>
                    <a:pt x="18" y="60"/>
                    <a:pt x="20" y="57"/>
                    <a:pt x="21" y="54"/>
                  </a:cubicBezTo>
                  <a:cubicBezTo>
                    <a:pt x="22" y="42"/>
                    <a:pt x="20" y="30"/>
                    <a:pt x="30" y="23"/>
                  </a:cubicBezTo>
                  <a:cubicBezTo>
                    <a:pt x="32" y="19"/>
                    <a:pt x="34" y="14"/>
                    <a:pt x="36" y="9"/>
                  </a:cubicBezTo>
                  <a:cubicBezTo>
                    <a:pt x="33" y="0"/>
                    <a:pt x="30" y="7"/>
                    <a:pt x="26" y="11"/>
                  </a:cubicBezTo>
                  <a:lnTo>
                    <a:pt x="32" y="4"/>
                  </a:ln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428" name="Freeform 2558"/>
            <p:cNvSpPr>
              <a:spLocks noChangeAspect="1"/>
            </p:cNvSpPr>
            <p:nvPr/>
          </p:nvSpPr>
          <p:spPr bwMode="auto">
            <a:xfrm>
              <a:off x="3633407" y="3254202"/>
              <a:ext cx="57567" cy="63244"/>
            </a:xfrm>
            <a:custGeom>
              <a:avLst/>
              <a:gdLst>
                <a:gd name="T0" fmla="*/ 16 w 30"/>
                <a:gd name="T1" fmla="*/ 0 h 33"/>
                <a:gd name="T2" fmla="*/ 3 w 30"/>
                <a:gd name="T3" fmla="*/ 9 h 33"/>
                <a:gd name="T4" fmla="*/ 0 w 30"/>
                <a:gd name="T5" fmla="*/ 21 h 33"/>
                <a:gd name="T6" fmla="*/ 10 w 30"/>
                <a:gd name="T7" fmla="*/ 33 h 33"/>
                <a:gd name="T8" fmla="*/ 25 w 30"/>
                <a:gd name="T9" fmla="*/ 26 h 33"/>
                <a:gd name="T10" fmla="*/ 30 w 30"/>
                <a:gd name="T11" fmla="*/ 12 h 33"/>
                <a:gd name="T12" fmla="*/ 16 w 30"/>
                <a:gd name="T13" fmla="*/ 0 h 33"/>
                <a:gd name="T14" fmla="*/ 0 60000 65536"/>
                <a:gd name="T15" fmla="*/ 0 60000 65536"/>
                <a:gd name="T16" fmla="*/ 0 60000 65536"/>
                <a:gd name="T17" fmla="*/ 0 60000 65536"/>
                <a:gd name="T18" fmla="*/ 0 60000 65536"/>
                <a:gd name="T19" fmla="*/ 0 60000 65536"/>
                <a:gd name="T20" fmla="*/ 0 60000 65536"/>
                <a:gd name="T21" fmla="*/ 0 w 30"/>
                <a:gd name="T22" fmla="*/ 0 h 33"/>
                <a:gd name="T23" fmla="*/ 30 w 30"/>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 h="33">
                  <a:moveTo>
                    <a:pt x="16" y="0"/>
                  </a:moveTo>
                  <a:cubicBezTo>
                    <a:pt x="7" y="3"/>
                    <a:pt x="9" y="3"/>
                    <a:pt x="3" y="9"/>
                  </a:cubicBezTo>
                  <a:cubicBezTo>
                    <a:pt x="0" y="17"/>
                    <a:pt x="1" y="13"/>
                    <a:pt x="0" y="21"/>
                  </a:cubicBezTo>
                  <a:cubicBezTo>
                    <a:pt x="1" y="29"/>
                    <a:pt x="3" y="31"/>
                    <a:pt x="10" y="33"/>
                  </a:cubicBezTo>
                  <a:cubicBezTo>
                    <a:pt x="25" y="32"/>
                    <a:pt x="18" y="33"/>
                    <a:pt x="25" y="26"/>
                  </a:cubicBezTo>
                  <a:cubicBezTo>
                    <a:pt x="26" y="20"/>
                    <a:pt x="27" y="17"/>
                    <a:pt x="30" y="12"/>
                  </a:cubicBezTo>
                  <a:cubicBezTo>
                    <a:pt x="27" y="0"/>
                    <a:pt x="24" y="5"/>
                    <a:pt x="16" y="0"/>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429" name="Freeform 2559"/>
            <p:cNvSpPr>
              <a:spLocks noChangeAspect="1"/>
            </p:cNvSpPr>
            <p:nvPr/>
          </p:nvSpPr>
          <p:spPr bwMode="auto">
            <a:xfrm>
              <a:off x="3248190" y="3319363"/>
              <a:ext cx="163105" cy="206980"/>
            </a:xfrm>
            <a:custGeom>
              <a:avLst/>
              <a:gdLst>
                <a:gd name="T0" fmla="*/ 81 w 85"/>
                <a:gd name="T1" fmla="*/ 0 h 108"/>
                <a:gd name="T2" fmla="*/ 45 w 85"/>
                <a:gd name="T3" fmla="*/ 7 h 108"/>
                <a:gd name="T4" fmla="*/ 36 w 85"/>
                <a:gd name="T5" fmla="*/ 42 h 108"/>
                <a:gd name="T6" fmla="*/ 21 w 85"/>
                <a:gd name="T7" fmla="*/ 55 h 108"/>
                <a:gd name="T8" fmla="*/ 6 w 85"/>
                <a:gd name="T9" fmla="*/ 90 h 108"/>
                <a:gd name="T10" fmla="*/ 0 w 85"/>
                <a:gd name="T11" fmla="*/ 103 h 108"/>
                <a:gd name="T12" fmla="*/ 7 w 85"/>
                <a:gd name="T13" fmla="*/ 108 h 108"/>
                <a:gd name="T14" fmla="*/ 23 w 85"/>
                <a:gd name="T15" fmla="*/ 82 h 108"/>
                <a:gd name="T16" fmla="*/ 34 w 85"/>
                <a:gd name="T17" fmla="*/ 64 h 108"/>
                <a:gd name="T18" fmla="*/ 40 w 85"/>
                <a:gd name="T19" fmla="*/ 55 h 108"/>
                <a:gd name="T20" fmla="*/ 58 w 85"/>
                <a:gd name="T21" fmla="*/ 48 h 108"/>
                <a:gd name="T22" fmla="*/ 69 w 85"/>
                <a:gd name="T23" fmla="*/ 40 h 108"/>
                <a:gd name="T24" fmla="*/ 81 w 85"/>
                <a:gd name="T25" fmla="*/ 22 h 108"/>
                <a:gd name="T26" fmla="*/ 84 w 85"/>
                <a:gd name="T27" fmla="*/ 10 h 108"/>
                <a:gd name="T28" fmla="*/ 81 w 85"/>
                <a:gd name="T29" fmla="*/ 0 h 10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5"/>
                <a:gd name="T46" fmla="*/ 0 h 108"/>
                <a:gd name="T47" fmla="*/ 85 w 85"/>
                <a:gd name="T48" fmla="*/ 108 h 10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5" h="108">
                  <a:moveTo>
                    <a:pt x="81" y="0"/>
                  </a:moveTo>
                  <a:cubicBezTo>
                    <a:pt x="69" y="1"/>
                    <a:pt x="55" y="0"/>
                    <a:pt x="45" y="7"/>
                  </a:cubicBezTo>
                  <a:cubicBezTo>
                    <a:pt x="38" y="18"/>
                    <a:pt x="41" y="31"/>
                    <a:pt x="36" y="42"/>
                  </a:cubicBezTo>
                  <a:cubicBezTo>
                    <a:pt x="33" y="48"/>
                    <a:pt x="26" y="52"/>
                    <a:pt x="21" y="55"/>
                  </a:cubicBezTo>
                  <a:cubicBezTo>
                    <a:pt x="14" y="65"/>
                    <a:pt x="17" y="83"/>
                    <a:pt x="6" y="90"/>
                  </a:cubicBezTo>
                  <a:cubicBezTo>
                    <a:pt x="5" y="96"/>
                    <a:pt x="4" y="99"/>
                    <a:pt x="0" y="103"/>
                  </a:cubicBezTo>
                  <a:cubicBezTo>
                    <a:pt x="1" y="106"/>
                    <a:pt x="7" y="108"/>
                    <a:pt x="7" y="108"/>
                  </a:cubicBezTo>
                  <a:cubicBezTo>
                    <a:pt x="12" y="99"/>
                    <a:pt x="15" y="88"/>
                    <a:pt x="23" y="82"/>
                  </a:cubicBezTo>
                  <a:cubicBezTo>
                    <a:pt x="25" y="77"/>
                    <a:pt x="30" y="68"/>
                    <a:pt x="34" y="64"/>
                  </a:cubicBezTo>
                  <a:cubicBezTo>
                    <a:pt x="35" y="60"/>
                    <a:pt x="35" y="57"/>
                    <a:pt x="40" y="55"/>
                  </a:cubicBezTo>
                  <a:cubicBezTo>
                    <a:pt x="45" y="50"/>
                    <a:pt x="51" y="49"/>
                    <a:pt x="58" y="48"/>
                  </a:cubicBezTo>
                  <a:cubicBezTo>
                    <a:pt x="61" y="46"/>
                    <a:pt x="66" y="41"/>
                    <a:pt x="69" y="40"/>
                  </a:cubicBezTo>
                  <a:cubicBezTo>
                    <a:pt x="72" y="34"/>
                    <a:pt x="77" y="26"/>
                    <a:pt x="81" y="22"/>
                  </a:cubicBezTo>
                  <a:cubicBezTo>
                    <a:pt x="82" y="18"/>
                    <a:pt x="83" y="14"/>
                    <a:pt x="84" y="10"/>
                  </a:cubicBezTo>
                  <a:cubicBezTo>
                    <a:pt x="83" y="1"/>
                    <a:pt x="85" y="4"/>
                    <a:pt x="81" y="0"/>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430" name="Freeform 2560"/>
            <p:cNvSpPr>
              <a:spLocks noChangeAspect="1"/>
            </p:cNvSpPr>
            <p:nvPr/>
          </p:nvSpPr>
          <p:spPr bwMode="auto">
            <a:xfrm>
              <a:off x="3326864" y="3430518"/>
              <a:ext cx="84431" cy="95824"/>
            </a:xfrm>
            <a:custGeom>
              <a:avLst/>
              <a:gdLst>
                <a:gd name="T0" fmla="*/ 23 w 44"/>
                <a:gd name="T1" fmla="*/ 0 h 50"/>
                <a:gd name="T2" fmla="*/ 41 w 44"/>
                <a:gd name="T3" fmla="*/ 31 h 50"/>
                <a:gd name="T4" fmla="*/ 31 w 44"/>
                <a:gd name="T5" fmla="*/ 46 h 50"/>
                <a:gd name="T6" fmla="*/ 25 w 44"/>
                <a:gd name="T7" fmla="*/ 49 h 50"/>
                <a:gd name="T8" fmla="*/ 16 w 44"/>
                <a:gd name="T9" fmla="*/ 30 h 50"/>
                <a:gd name="T10" fmla="*/ 4 w 44"/>
                <a:gd name="T11" fmla="*/ 18 h 50"/>
                <a:gd name="T12" fmla="*/ 12 w 44"/>
                <a:gd name="T13" fmla="*/ 7 h 50"/>
                <a:gd name="T14" fmla="*/ 17 w 44"/>
                <a:gd name="T15" fmla="*/ 8 h 50"/>
                <a:gd name="T16" fmla="*/ 19 w 44"/>
                <a:gd name="T17" fmla="*/ 12 h 50"/>
                <a:gd name="T18" fmla="*/ 23 w 44"/>
                <a:gd name="T19" fmla="*/ 0 h 5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4"/>
                <a:gd name="T31" fmla="*/ 0 h 50"/>
                <a:gd name="T32" fmla="*/ 44 w 44"/>
                <a:gd name="T33" fmla="*/ 50 h 5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4" h="50">
                  <a:moveTo>
                    <a:pt x="23" y="0"/>
                  </a:moveTo>
                  <a:cubicBezTo>
                    <a:pt x="38" y="10"/>
                    <a:pt x="20" y="24"/>
                    <a:pt x="41" y="31"/>
                  </a:cubicBezTo>
                  <a:cubicBezTo>
                    <a:pt x="44" y="39"/>
                    <a:pt x="38" y="45"/>
                    <a:pt x="31" y="46"/>
                  </a:cubicBezTo>
                  <a:cubicBezTo>
                    <a:pt x="30" y="46"/>
                    <a:pt x="26" y="50"/>
                    <a:pt x="25" y="49"/>
                  </a:cubicBezTo>
                  <a:cubicBezTo>
                    <a:pt x="18" y="46"/>
                    <a:pt x="19" y="35"/>
                    <a:pt x="16" y="30"/>
                  </a:cubicBezTo>
                  <a:cubicBezTo>
                    <a:pt x="11" y="22"/>
                    <a:pt x="11" y="22"/>
                    <a:pt x="4" y="18"/>
                  </a:cubicBezTo>
                  <a:cubicBezTo>
                    <a:pt x="0" y="10"/>
                    <a:pt x="4" y="9"/>
                    <a:pt x="12" y="7"/>
                  </a:cubicBezTo>
                  <a:cubicBezTo>
                    <a:pt x="14" y="7"/>
                    <a:pt x="16" y="7"/>
                    <a:pt x="17" y="8"/>
                  </a:cubicBezTo>
                  <a:cubicBezTo>
                    <a:pt x="18" y="9"/>
                    <a:pt x="19" y="12"/>
                    <a:pt x="19" y="12"/>
                  </a:cubicBezTo>
                  <a:lnTo>
                    <a:pt x="23" y="0"/>
                  </a:ln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431" name="Freeform 2561"/>
            <p:cNvSpPr>
              <a:spLocks noChangeAspect="1"/>
            </p:cNvSpPr>
            <p:nvPr/>
          </p:nvSpPr>
          <p:spPr bwMode="auto">
            <a:xfrm>
              <a:off x="3296162" y="3662412"/>
              <a:ext cx="51810" cy="61327"/>
            </a:xfrm>
            <a:custGeom>
              <a:avLst/>
              <a:gdLst>
                <a:gd name="T0" fmla="*/ 8 w 27"/>
                <a:gd name="T1" fmla="*/ 7 h 32"/>
                <a:gd name="T2" fmla="*/ 8 w 27"/>
                <a:gd name="T3" fmla="*/ 23 h 32"/>
                <a:gd name="T4" fmla="*/ 10 w 27"/>
                <a:gd name="T5" fmla="*/ 26 h 32"/>
                <a:gd name="T6" fmla="*/ 9 w 27"/>
                <a:gd name="T7" fmla="*/ 30 h 32"/>
                <a:gd name="T8" fmla="*/ 6 w 27"/>
                <a:gd name="T9" fmla="*/ 32 h 32"/>
                <a:gd name="T10" fmla="*/ 17 w 27"/>
                <a:gd name="T11" fmla="*/ 31 h 32"/>
                <a:gd name="T12" fmla="*/ 27 w 27"/>
                <a:gd name="T13" fmla="*/ 12 h 32"/>
                <a:gd name="T14" fmla="*/ 8 w 27"/>
                <a:gd name="T15" fmla="*/ 7 h 32"/>
                <a:gd name="T16" fmla="*/ 0 60000 65536"/>
                <a:gd name="T17" fmla="*/ 0 60000 65536"/>
                <a:gd name="T18" fmla="*/ 0 60000 65536"/>
                <a:gd name="T19" fmla="*/ 0 60000 65536"/>
                <a:gd name="T20" fmla="*/ 0 60000 65536"/>
                <a:gd name="T21" fmla="*/ 0 60000 65536"/>
                <a:gd name="T22" fmla="*/ 0 60000 65536"/>
                <a:gd name="T23" fmla="*/ 0 60000 65536"/>
                <a:gd name="T24" fmla="*/ 0 w 27"/>
                <a:gd name="T25" fmla="*/ 0 h 32"/>
                <a:gd name="T26" fmla="*/ 27 w 27"/>
                <a:gd name="T27" fmla="*/ 32 h 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 h="32">
                  <a:moveTo>
                    <a:pt x="8" y="7"/>
                  </a:moveTo>
                  <a:cubicBezTo>
                    <a:pt x="0" y="11"/>
                    <a:pt x="1" y="18"/>
                    <a:pt x="8" y="23"/>
                  </a:cubicBezTo>
                  <a:cubicBezTo>
                    <a:pt x="9" y="24"/>
                    <a:pt x="10" y="25"/>
                    <a:pt x="10" y="26"/>
                  </a:cubicBezTo>
                  <a:cubicBezTo>
                    <a:pt x="10" y="27"/>
                    <a:pt x="10" y="29"/>
                    <a:pt x="9" y="30"/>
                  </a:cubicBezTo>
                  <a:cubicBezTo>
                    <a:pt x="8" y="31"/>
                    <a:pt x="5" y="32"/>
                    <a:pt x="6" y="32"/>
                  </a:cubicBezTo>
                  <a:cubicBezTo>
                    <a:pt x="10" y="32"/>
                    <a:pt x="13" y="31"/>
                    <a:pt x="17" y="31"/>
                  </a:cubicBezTo>
                  <a:cubicBezTo>
                    <a:pt x="25" y="25"/>
                    <a:pt x="16" y="19"/>
                    <a:pt x="27" y="12"/>
                  </a:cubicBezTo>
                  <a:cubicBezTo>
                    <a:pt x="24" y="0"/>
                    <a:pt x="0" y="18"/>
                    <a:pt x="8" y="7"/>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432" name="Freeform 2562"/>
            <p:cNvSpPr>
              <a:spLocks noChangeAspect="1"/>
            </p:cNvSpPr>
            <p:nvPr/>
          </p:nvSpPr>
          <p:spPr bwMode="auto">
            <a:xfrm>
              <a:off x="3372918" y="3905805"/>
              <a:ext cx="61404" cy="47912"/>
            </a:xfrm>
            <a:custGeom>
              <a:avLst/>
              <a:gdLst>
                <a:gd name="T0" fmla="*/ 19 w 32"/>
                <a:gd name="T1" fmla="*/ 0 h 25"/>
                <a:gd name="T2" fmla="*/ 13 w 32"/>
                <a:gd name="T3" fmla="*/ 10 h 25"/>
                <a:gd name="T4" fmla="*/ 7 w 32"/>
                <a:gd name="T5" fmla="*/ 14 h 25"/>
                <a:gd name="T6" fmla="*/ 0 w 32"/>
                <a:gd name="T7" fmla="*/ 23 h 25"/>
                <a:gd name="T8" fmla="*/ 19 w 32"/>
                <a:gd name="T9" fmla="*/ 24 h 25"/>
                <a:gd name="T10" fmla="*/ 28 w 32"/>
                <a:gd name="T11" fmla="*/ 18 h 25"/>
                <a:gd name="T12" fmla="*/ 23 w 32"/>
                <a:gd name="T13" fmla="*/ 1 h 25"/>
                <a:gd name="T14" fmla="*/ 19 w 32"/>
                <a:gd name="T15" fmla="*/ 0 h 25"/>
                <a:gd name="T16" fmla="*/ 0 60000 65536"/>
                <a:gd name="T17" fmla="*/ 0 60000 65536"/>
                <a:gd name="T18" fmla="*/ 0 60000 65536"/>
                <a:gd name="T19" fmla="*/ 0 60000 65536"/>
                <a:gd name="T20" fmla="*/ 0 60000 65536"/>
                <a:gd name="T21" fmla="*/ 0 60000 65536"/>
                <a:gd name="T22" fmla="*/ 0 60000 65536"/>
                <a:gd name="T23" fmla="*/ 0 60000 65536"/>
                <a:gd name="T24" fmla="*/ 0 w 32"/>
                <a:gd name="T25" fmla="*/ 0 h 25"/>
                <a:gd name="T26" fmla="*/ 32 w 32"/>
                <a:gd name="T27" fmla="*/ 25 h 2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2" h="25">
                  <a:moveTo>
                    <a:pt x="19" y="0"/>
                  </a:moveTo>
                  <a:cubicBezTo>
                    <a:pt x="18" y="3"/>
                    <a:pt x="15" y="8"/>
                    <a:pt x="13" y="10"/>
                  </a:cubicBezTo>
                  <a:cubicBezTo>
                    <a:pt x="11" y="12"/>
                    <a:pt x="7" y="14"/>
                    <a:pt x="7" y="14"/>
                  </a:cubicBezTo>
                  <a:cubicBezTo>
                    <a:pt x="5" y="17"/>
                    <a:pt x="2" y="20"/>
                    <a:pt x="0" y="23"/>
                  </a:cubicBezTo>
                  <a:cubicBezTo>
                    <a:pt x="7" y="25"/>
                    <a:pt x="12" y="25"/>
                    <a:pt x="19" y="24"/>
                  </a:cubicBezTo>
                  <a:cubicBezTo>
                    <a:pt x="22" y="22"/>
                    <a:pt x="24" y="19"/>
                    <a:pt x="28" y="18"/>
                  </a:cubicBezTo>
                  <a:cubicBezTo>
                    <a:pt x="30" y="10"/>
                    <a:pt x="32" y="4"/>
                    <a:pt x="23" y="1"/>
                  </a:cubicBezTo>
                  <a:cubicBezTo>
                    <a:pt x="17" y="2"/>
                    <a:pt x="14" y="9"/>
                    <a:pt x="19" y="0"/>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433" name="Freeform 2563"/>
            <p:cNvSpPr>
              <a:spLocks noChangeAspect="1"/>
            </p:cNvSpPr>
            <p:nvPr/>
          </p:nvSpPr>
          <p:spPr bwMode="auto">
            <a:xfrm>
              <a:off x="3363323" y="4043792"/>
              <a:ext cx="53729" cy="47912"/>
            </a:xfrm>
            <a:custGeom>
              <a:avLst/>
              <a:gdLst>
                <a:gd name="T0" fmla="*/ 11 w 28"/>
                <a:gd name="T1" fmla="*/ 0 h 25"/>
                <a:gd name="T2" fmla="*/ 28 w 28"/>
                <a:gd name="T3" fmla="*/ 10 h 25"/>
                <a:gd name="T4" fmla="*/ 16 w 28"/>
                <a:gd name="T5" fmla="*/ 17 h 25"/>
                <a:gd name="T6" fmla="*/ 3 w 28"/>
                <a:gd name="T7" fmla="*/ 12 h 25"/>
                <a:gd name="T8" fmla="*/ 9 w 28"/>
                <a:gd name="T9" fmla="*/ 4 h 25"/>
                <a:gd name="T10" fmla="*/ 11 w 28"/>
                <a:gd name="T11" fmla="*/ 0 h 25"/>
                <a:gd name="T12" fmla="*/ 0 60000 65536"/>
                <a:gd name="T13" fmla="*/ 0 60000 65536"/>
                <a:gd name="T14" fmla="*/ 0 60000 65536"/>
                <a:gd name="T15" fmla="*/ 0 60000 65536"/>
                <a:gd name="T16" fmla="*/ 0 60000 65536"/>
                <a:gd name="T17" fmla="*/ 0 60000 65536"/>
                <a:gd name="T18" fmla="*/ 0 w 28"/>
                <a:gd name="T19" fmla="*/ 0 h 25"/>
                <a:gd name="T20" fmla="*/ 28 w 28"/>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28" h="25">
                  <a:moveTo>
                    <a:pt x="11" y="0"/>
                  </a:moveTo>
                  <a:cubicBezTo>
                    <a:pt x="19" y="2"/>
                    <a:pt x="23" y="4"/>
                    <a:pt x="28" y="10"/>
                  </a:cubicBezTo>
                  <a:cubicBezTo>
                    <a:pt x="26" y="15"/>
                    <a:pt x="21" y="15"/>
                    <a:pt x="16" y="17"/>
                  </a:cubicBezTo>
                  <a:cubicBezTo>
                    <a:pt x="8" y="25"/>
                    <a:pt x="9" y="14"/>
                    <a:pt x="3" y="12"/>
                  </a:cubicBezTo>
                  <a:cubicBezTo>
                    <a:pt x="0" y="5"/>
                    <a:pt x="2" y="5"/>
                    <a:pt x="9" y="4"/>
                  </a:cubicBezTo>
                  <a:cubicBezTo>
                    <a:pt x="13" y="2"/>
                    <a:pt x="18" y="2"/>
                    <a:pt x="11" y="0"/>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434" name="Freeform 2564"/>
            <p:cNvSpPr>
              <a:spLocks noChangeAspect="1"/>
            </p:cNvSpPr>
            <p:nvPr/>
          </p:nvSpPr>
          <p:spPr bwMode="auto">
            <a:xfrm>
              <a:off x="3177191" y="3338527"/>
              <a:ext cx="709509" cy="1155637"/>
            </a:xfrm>
            <a:custGeom>
              <a:avLst/>
              <a:gdLst>
                <a:gd name="T0" fmla="*/ 240 w 370"/>
                <a:gd name="T1" fmla="*/ 6 h 603"/>
                <a:gd name="T2" fmla="*/ 185 w 370"/>
                <a:gd name="T3" fmla="*/ 69 h 603"/>
                <a:gd name="T4" fmla="*/ 181 w 370"/>
                <a:gd name="T5" fmla="*/ 78 h 603"/>
                <a:gd name="T6" fmla="*/ 270 w 370"/>
                <a:gd name="T7" fmla="*/ 90 h 603"/>
                <a:gd name="T8" fmla="*/ 235 w 370"/>
                <a:gd name="T9" fmla="*/ 152 h 603"/>
                <a:gd name="T10" fmla="*/ 202 w 370"/>
                <a:gd name="T11" fmla="*/ 162 h 603"/>
                <a:gd name="T12" fmla="*/ 217 w 370"/>
                <a:gd name="T13" fmla="*/ 178 h 603"/>
                <a:gd name="T14" fmla="*/ 193 w 370"/>
                <a:gd name="T15" fmla="*/ 196 h 603"/>
                <a:gd name="T16" fmla="*/ 242 w 370"/>
                <a:gd name="T17" fmla="*/ 212 h 603"/>
                <a:gd name="T18" fmla="*/ 260 w 370"/>
                <a:gd name="T19" fmla="*/ 268 h 603"/>
                <a:gd name="T20" fmla="*/ 270 w 370"/>
                <a:gd name="T21" fmla="*/ 306 h 603"/>
                <a:gd name="T22" fmla="*/ 287 w 370"/>
                <a:gd name="T23" fmla="*/ 319 h 603"/>
                <a:gd name="T24" fmla="*/ 305 w 370"/>
                <a:gd name="T25" fmla="*/ 385 h 603"/>
                <a:gd name="T26" fmla="*/ 269 w 370"/>
                <a:gd name="T27" fmla="*/ 376 h 603"/>
                <a:gd name="T28" fmla="*/ 310 w 370"/>
                <a:gd name="T29" fmla="*/ 402 h 603"/>
                <a:gd name="T30" fmla="*/ 302 w 370"/>
                <a:gd name="T31" fmla="*/ 445 h 603"/>
                <a:gd name="T32" fmla="*/ 342 w 370"/>
                <a:gd name="T33" fmla="*/ 436 h 603"/>
                <a:gd name="T34" fmla="*/ 365 w 370"/>
                <a:gd name="T35" fmla="*/ 459 h 603"/>
                <a:gd name="T36" fmla="*/ 351 w 370"/>
                <a:gd name="T37" fmla="*/ 510 h 603"/>
                <a:gd name="T38" fmla="*/ 324 w 370"/>
                <a:gd name="T39" fmla="*/ 522 h 603"/>
                <a:gd name="T40" fmla="*/ 304 w 370"/>
                <a:gd name="T41" fmla="*/ 544 h 603"/>
                <a:gd name="T42" fmla="*/ 331 w 370"/>
                <a:gd name="T43" fmla="*/ 552 h 603"/>
                <a:gd name="T44" fmla="*/ 317 w 370"/>
                <a:gd name="T45" fmla="*/ 584 h 603"/>
                <a:gd name="T46" fmla="*/ 284 w 370"/>
                <a:gd name="T47" fmla="*/ 595 h 603"/>
                <a:gd name="T48" fmla="*/ 251 w 370"/>
                <a:gd name="T49" fmla="*/ 585 h 603"/>
                <a:gd name="T50" fmla="*/ 221 w 370"/>
                <a:gd name="T51" fmla="*/ 578 h 603"/>
                <a:gd name="T52" fmla="*/ 198 w 370"/>
                <a:gd name="T53" fmla="*/ 580 h 603"/>
                <a:gd name="T54" fmla="*/ 174 w 370"/>
                <a:gd name="T55" fmla="*/ 584 h 603"/>
                <a:gd name="T56" fmla="*/ 120 w 370"/>
                <a:gd name="T57" fmla="*/ 574 h 603"/>
                <a:gd name="T58" fmla="*/ 97 w 370"/>
                <a:gd name="T59" fmla="*/ 596 h 603"/>
                <a:gd name="T60" fmla="*/ 49 w 370"/>
                <a:gd name="T61" fmla="*/ 590 h 603"/>
                <a:gd name="T62" fmla="*/ 8 w 370"/>
                <a:gd name="T63" fmla="*/ 594 h 603"/>
                <a:gd name="T64" fmla="*/ 40 w 370"/>
                <a:gd name="T65" fmla="*/ 583 h 603"/>
                <a:gd name="T66" fmla="*/ 82 w 370"/>
                <a:gd name="T67" fmla="*/ 543 h 603"/>
                <a:gd name="T68" fmla="*/ 120 w 370"/>
                <a:gd name="T69" fmla="*/ 535 h 603"/>
                <a:gd name="T70" fmla="*/ 172 w 370"/>
                <a:gd name="T71" fmla="*/ 508 h 603"/>
                <a:gd name="T72" fmla="*/ 164 w 370"/>
                <a:gd name="T73" fmla="*/ 507 h 603"/>
                <a:gd name="T74" fmla="*/ 127 w 370"/>
                <a:gd name="T75" fmla="*/ 519 h 603"/>
                <a:gd name="T76" fmla="*/ 90 w 370"/>
                <a:gd name="T77" fmla="*/ 487 h 603"/>
                <a:gd name="T78" fmla="*/ 88 w 370"/>
                <a:gd name="T79" fmla="*/ 460 h 603"/>
                <a:gd name="T80" fmla="*/ 118 w 370"/>
                <a:gd name="T81" fmla="*/ 432 h 603"/>
                <a:gd name="T82" fmla="*/ 92 w 370"/>
                <a:gd name="T83" fmla="*/ 410 h 603"/>
                <a:gd name="T84" fmla="*/ 131 w 370"/>
                <a:gd name="T85" fmla="*/ 385 h 603"/>
                <a:gd name="T86" fmla="*/ 174 w 370"/>
                <a:gd name="T87" fmla="*/ 369 h 603"/>
                <a:gd name="T88" fmla="*/ 197 w 370"/>
                <a:gd name="T89" fmla="*/ 325 h 603"/>
                <a:gd name="T90" fmla="*/ 179 w 370"/>
                <a:gd name="T91" fmla="*/ 276 h 603"/>
                <a:gd name="T92" fmla="*/ 115 w 370"/>
                <a:gd name="T93" fmla="*/ 270 h 603"/>
                <a:gd name="T94" fmla="*/ 130 w 370"/>
                <a:gd name="T95" fmla="*/ 230 h 603"/>
                <a:gd name="T96" fmla="*/ 124 w 370"/>
                <a:gd name="T97" fmla="*/ 177 h 603"/>
                <a:gd name="T98" fmla="*/ 118 w 370"/>
                <a:gd name="T99" fmla="*/ 145 h 603"/>
                <a:gd name="T100" fmla="*/ 78 w 370"/>
                <a:gd name="T101" fmla="*/ 146 h 603"/>
                <a:gd name="T102" fmla="*/ 100 w 370"/>
                <a:gd name="T103" fmla="*/ 115 h 603"/>
                <a:gd name="T104" fmla="*/ 122 w 370"/>
                <a:gd name="T105" fmla="*/ 67 h 603"/>
                <a:gd name="T106" fmla="*/ 160 w 370"/>
                <a:gd name="T107" fmla="*/ 12 h 603"/>
                <a:gd name="T108" fmla="*/ 174 w 370"/>
                <a:gd name="T109" fmla="*/ 3 h 60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70"/>
                <a:gd name="T166" fmla="*/ 0 h 603"/>
                <a:gd name="T167" fmla="*/ 370 w 370"/>
                <a:gd name="T168" fmla="*/ 603 h 60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70" h="603">
                  <a:moveTo>
                    <a:pt x="174" y="3"/>
                  </a:moveTo>
                  <a:cubicBezTo>
                    <a:pt x="184" y="2"/>
                    <a:pt x="190" y="6"/>
                    <a:pt x="199" y="7"/>
                  </a:cubicBezTo>
                  <a:cubicBezTo>
                    <a:pt x="217" y="6"/>
                    <a:pt x="224" y="4"/>
                    <a:pt x="240" y="6"/>
                  </a:cubicBezTo>
                  <a:cubicBezTo>
                    <a:pt x="237" y="29"/>
                    <a:pt x="221" y="37"/>
                    <a:pt x="199" y="40"/>
                  </a:cubicBezTo>
                  <a:cubicBezTo>
                    <a:pt x="193" y="44"/>
                    <a:pt x="192" y="44"/>
                    <a:pt x="190" y="51"/>
                  </a:cubicBezTo>
                  <a:cubicBezTo>
                    <a:pt x="192" y="60"/>
                    <a:pt x="193" y="64"/>
                    <a:pt x="185" y="69"/>
                  </a:cubicBezTo>
                  <a:cubicBezTo>
                    <a:pt x="183" y="75"/>
                    <a:pt x="182" y="78"/>
                    <a:pt x="176" y="79"/>
                  </a:cubicBezTo>
                  <a:cubicBezTo>
                    <a:pt x="173" y="80"/>
                    <a:pt x="165" y="82"/>
                    <a:pt x="168" y="81"/>
                  </a:cubicBezTo>
                  <a:cubicBezTo>
                    <a:pt x="172" y="80"/>
                    <a:pt x="177" y="79"/>
                    <a:pt x="181" y="78"/>
                  </a:cubicBezTo>
                  <a:cubicBezTo>
                    <a:pt x="188" y="73"/>
                    <a:pt x="195" y="75"/>
                    <a:pt x="204" y="74"/>
                  </a:cubicBezTo>
                  <a:cubicBezTo>
                    <a:pt x="224" y="70"/>
                    <a:pt x="243" y="79"/>
                    <a:pt x="263" y="82"/>
                  </a:cubicBezTo>
                  <a:cubicBezTo>
                    <a:pt x="268" y="85"/>
                    <a:pt x="269" y="83"/>
                    <a:pt x="270" y="90"/>
                  </a:cubicBezTo>
                  <a:cubicBezTo>
                    <a:pt x="269" y="97"/>
                    <a:pt x="272" y="104"/>
                    <a:pt x="265" y="106"/>
                  </a:cubicBezTo>
                  <a:cubicBezTo>
                    <a:pt x="260" y="114"/>
                    <a:pt x="254" y="126"/>
                    <a:pt x="248" y="132"/>
                  </a:cubicBezTo>
                  <a:cubicBezTo>
                    <a:pt x="245" y="141"/>
                    <a:pt x="243" y="146"/>
                    <a:pt x="235" y="152"/>
                  </a:cubicBezTo>
                  <a:cubicBezTo>
                    <a:pt x="233" y="157"/>
                    <a:pt x="230" y="161"/>
                    <a:pt x="227" y="165"/>
                  </a:cubicBezTo>
                  <a:cubicBezTo>
                    <a:pt x="222" y="164"/>
                    <a:pt x="217" y="163"/>
                    <a:pt x="212" y="160"/>
                  </a:cubicBezTo>
                  <a:cubicBezTo>
                    <a:pt x="209" y="161"/>
                    <a:pt x="205" y="160"/>
                    <a:pt x="202" y="162"/>
                  </a:cubicBezTo>
                  <a:cubicBezTo>
                    <a:pt x="202" y="162"/>
                    <a:pt x="208" y="165"/>
                    <a:pt x="212" y="166"/>
                  </a:cubicBezTo>
                  <a:cubicBezTo>
                    <a:pt x="217" y="168"/>
                    <a:pt x="222" y="169"/>
                    <a:pt x="226" y="172"/>
                  </a:cubicBezTo>
                  <a:cubicBezTo>
                    <a:pt x="223" y="175"/>
                    <a:pt x="221" y="177"/>
                    <a:pt x="217" y="178"/>
                  </a:cubicBezTo>
                  <a:cubicBezTo>
                    <a:pt x="212" y="185"/>
                    <a:pt x="201" y="183"/>
                    <a:pt x="194" y="184"/>
                  </a:cubicBezTo>
                  <a:cubicBezTo>
                    <a:pt x="191" y="186"/>
                    <a:pt x="188" y="187"/>
                    <a:pt x="184" y="188"/>
                  </a:cubicBezTo>
                  <a:cubicBezTo>
                    <a:pt x="180" y="195"/>
                    <a:pt x="187" y="194"/>
                    <a:pt x="193" y="196"/>
                  </a:cubicBezTo>
                  <a:cubicBezTo>
                    <a:pt x="205" y="195"/>
                    <a:pt x="206" y="189"/>
                    <a:pt x="216" y="192"/>
                  </a:cubicBezTo>
                  <a:cubicBezTo>
                    <a:pt x="219" y="194"/>
                    <a:pt x="230" y="198"/>
                    <a:pt x="233" y="200"/>
                  </a:cubicBezTo>
                  <a:cubicBezTo>
                    <a:pt x="236" y="204"/>
                    <a:pt x="238" y="209"/>
                    <a:pt x="242" y="212"/>
                  </a:cubicBezTo>
                  <a:cubicBezTo>
                    <a:pt x="243" y="216"/>
                    <a:pt x="241" y="221"/>
                    <a:pt x="245" y="224"/>
                  </a:cubicBezTo>
                  <a:cubicBezTo>
                    <a:pt x="248" y="235"/>
                    <a:pt x="243" y="233"/>
                    <a:pt x="254" y="237"/>
                  </a:cubicBezTo>
                  <a:cubicBezTo>
                    <a:pt x="253" y="242"/>
                    <a:pt x="262" y="263"/>
                    <a:pt x="260" y="268"/>
                  </a:cubicBezTo>
                  <a:cubicBezTo>
                    <a:pt x="259" y="270"/>
                    <a:pt x="258" y="274"/>
                    <a:pt x="258" y="274"/>
                  </a:cubicBezTo>
                  <a:cubicBezTo>
                    <a:pt x="259" y="296"/>
                    <a:pt x="255" y="289"/>
                    <a:pt x="266" y="296"/>
                  </a:cubicBezTo>
                  <a:cubicBezTo>
                    <a:pt x="269" y="302"/>
                    <a:pt x="268" y="299"/>
                    <a:pt x="270" y="306"/>
                  </a:cubicBezTo>
                  <a:cubicBezTo>
                    <a:pt x="271" y="308"/>
                    <a:pt x="272" y="312"/>
                    <a:pt x="272" y="312"/>
                  </a:cubicBezTo>
                  <a:cubicBezTo>
                    <a:pt x="275" y="310"/>
                    <a:pt x="289" y="311"/>
                    <a:pt x="270" y="315"/>
                  </a:cubicBezTo>
                  <a:cubicBezTo>
                    <a:pt x="272" y="316"/>
                    <a:pt x="283" y="316"/>
                    <a:pt x="287" y="319"/>
                  </a:cubicBezTo>
                  <a:cubicBezTo>
                    <a:pt x="290" y="311"/>
                    <a:pt x="278" y="330"/>
                    <a:pt x="296" y="333"/>
                  </a:cubicBezTo>
                  <a:cubicBezTo>
                    <a:pt x="300" y="339"/>
                    <a:pt x="303" y="345"/>
                    <a:pt x="305" y="352"/>
                  </a:cubicBezTo>
                  <a:cubicBezTo>
                    <a:pt x="304" y="364"/>
                    <a:pt x="301" y="372"/>
                    <a:pt x="305" y="385"/>
                  </a:cubicBezTo>
                  <a:cubicBezTo>
                    <a:pt x="298" y="387"/>
                    <a:pt x="299" y="379"/>
                    <a:pt x="294" y="376"/>
                  </a:cubicBezTo>
                  <a:cubicBezTo>
                    <a:pt x="289" y="373"/>
                    <a:pt x="281" y="374"/>
                    <a:pt x="275" y="372"/>
                  </a:cubicBezTo>
                  <a:cubicBezTo>
                    <a:pt x="275" y="372"/>
                    <a:pt x="267" y="373"/>
                    <a:pt x="269" y="376"/>
                  </a:cubicBezTo>
                  <a:cubicBezTo>
                    <a:pt x="271" y="380"/>
                    <a:pt x="284" y="386"/>
                    <a:pt x="288" y="387"/>
                  </a:cubicBezTo>
                  <a:cubicBezTo>
                    <a:pt x="291" y="389"/>
                    <a:pt x="299" y="392"/>
                    <a:pt x="299" y="392"/>
                  </a:cubicBezTo>
                  <a:cubicBezTo>
                    <a:pt x="302" y="396"/>
                    <a:pt x="306" y="398"/>
                    <a:pt x="310" y="402"/>
                  </a:cubicBezTo>
                  <a:cubicBezTo>
                    <a:pt x="312" y="409"/>
                    <a:pt x="315" y="419"/>
                    <a:pt x="308" y="424"/>
                  </a:cubicBezTo>
                  <a:cubicBezTo>
                    <a:pt x="305" y="428"/>
                    <a:pt x="302" y="429"/>
                    <a:pt x="301" y="434"/>
                  </a:cubicBezTo>
                  <a:cubicBezTo>
                    <a:pt x="301" y="438"/>
                    <a:pt x="301" y="442"/>
                    <a:pt x="302" y="445"/>
                  </a:cubicBezTo>
                  <a:cubicBezTo>
                    <a:pt x="303" y="448"/>
                    <a:pt x="311" y="444"/>
                    <a:pt x="311" y="444"/>
                  </a:cubicBezTo>
                  <a:cubicBezTo>
                    <a:pt x="314" y="440"/>
                    <a:pt x="315" y="440"/>
                    <a:pt x="320" y="439"/>
                  </a:cubicBezTo>
                  <a:cubicBezTo>
                    <a:pt x="338" y="440"/>
                    <a:pt x="332" y="431"/>
                    <a:pt x="342" y="436"/>
                  </a:cubicBezTo>
                  <a:cubicBezTo>
                    <a:pt x="345" y="438"/>
                    <a:pt x="354" y="440"/>
                    <a:pt x="354" y="440"/>
                  </a:cubicBezTo>
                  <a:cubicBezTo>
                    <a:pt x="357" y="443"/>
                    <a:pt x="360" y="450"/>
                    <a:pt x="364" y="451"/>
                  </a:cubicBezTo>
                  <a:cubicBezTo>
                    <a:pt x="366" y="453"/>
                    <a:pt x="364" y="457"/>
                    <a:pt x="365" y="459"/>
                  </a:cubicBezTo>
                  <a:cubicBezTo>
                    <a:pt x="366" y="461"/>
                    <a:pt x="367" y="465"/>
                    <a:pt x="367" y="465"/>
                  </a:cubicBezTo>
                  <a:cubicBezTo>
                    <a:pt x="368" y="475"/>
                    <a:pt x="370" y="488"/>
                    <a:pt x="361" y="494"/>
                  </a:cubicBezTo>
                  <a:cubicBezTo>
                    <a:pt x="358" y="501"/>
                    <a:pt x="354" y="505"/>
                    <a:pt x="351" y="510"/>
                  </a:cubicBezTo>
                  <a:cubicBezTo>
                    <a:pt x="347" y="512"/>
                    <a:pt x="338" y="506"/>
                    <a:pt x="336" y="508"/>
                  </a:cubicBezTo>
                  <a:cubicBezTo>
                    <a:pt x="334" y="510"/>
                    <a:pt x="343" y="520"/>
                    <a:pt x="341" y="522"/>
                  </a:cubicBezTo>
                  <a:cubicBezTo>
                    <a:pt x="340" y="525"/>
                    <a:pt x="327" y="521"/>
                    <a:pt x="324" y="522"/>
                  </a:cubicBezTo>
                  <a:cubicBezTo>
                    <a:pt x="321" y="523"/>
                    <a:pt x="327" y="527"/>
                    <a:pt x="325" y="530"/>
                  </a:cubicBezTo>
                  <a:cubicBezTo>
                    <a:pt x="323" y="533"/>
                    <a:pt x="315" y="536"/>
                    <a:pt x="311" y="538"/>
                  </a:cubicBezTo>
                  <a:cubicBezTo>
                    <a:pt x="310" y="541"/>
                    <a:pt x="304" y="544"/>
                    <a:pt x="304" y="544"/>
                  </a:cubicBezTo>
                  <a:cubicBezTo>
                    <a:pt x="307" y="552"/>
                    <a:pt x="307" y="552"/>
                    <a:pt x="316" y="553"/>
                  </a:cubicBezTo>
                  <a:cubicBezTo>
                    <a:pt x="320" y="552"/>
                    <a:pt x="324" y="549"/>
                    <a:pt x="328" y="549"/>
                  </a:cubicBezTo>
                  <a:cubicBezTo>
                    <a:pt x="329" y="549"/>
                    <a:pt x="330" y="551"/>
                    <a:pt x="331" y="552"/>
                  </a:cubicBezTo>
                  <a:cubicBezTo>
                    <a:pt x="335" y="554"/>
                    <a:pt x="340" y="554"/>
                    <a:pt x="344" y="554"/>
                  </a:cubicBezTo>
                  <a:cubicBezTo>
                    <a:pt x="343" y="561"/>
                    <a:pt x="343" y="568"/>
                    <a:pt x="338" y="573"/>
                  </a:cubicBezTo>
                  <a:cubicBezTo>
                    <a:pt x="335" y="582"/>
                    <a:pt x="325" y="583"/>
                    <a:pt x="317" y="584"/>
                  </a:cubicBezTo>
                  <a:cubicBezTo>
                    <a:pt x="311" y="586"/>
                    <a:pt x="305" y="588"/>
                    <a:pt x="300" y="591"/>
                  </a:cubicBezTo>
                  <a:cubicBezTo>
                    <a:pt x="297" y="593"/>
                    <a:pt x="290" y="596"/>
                    <a:pt x="290" y="596"/>
                  </a:cubicBezTo>
                  <a:cubicBezTo>
                    <a:pt x="288" y="596"/>
                    <a:pt x="286" y="596"/>
                    <a:pt x="284" y="595"/>
                  </a:cubicBezTo>
                  <a:cubicBezTo>
                    <a:pt x="283" y="594"/>
                    <a:pt x="284" y="593"/>
                    <a:pt x="283" y="592"/>
                  </a:cubicBezTo>
                  <a:cubicBezTo>
                    <a:pt x="281" y="591"/>
                    <a:pt x="277" y="590"/>
                    <a:pt x="277" y="590"/>
                  </a:cubicBezTo>
                  <a:cubicBezTo>
                    <a:pt x="272" y="589"/>
                    <a:pt x="256" y="586"/>
                    <a:pt x="251" y="585"/>
                  </a:cubicBezTo>
                  <a:cubicBezTo>
                    <a:pt x="249" y="584"/>
                    <a:pt x="245" y="583"/>
                    <a:pt x="245" y="583"/>
                  </a:cubicBezTo>
                  <a:cubicBezTo>
                    <a:pt x="235" y="585"/>
                    <a:pt x="228" y="580"/>
                    <a:pt x="218" y="579"/>
                  </a:cubicBezTo>
                  <a:cubicBezTo>
                    <a:pt x="219" y="579"/>
                    <a:pt x="220" y="577"/>
                    <a:pt x="221" y="578"/>
                  </a:cubicBezTo>
                  <a:cubicBezTo>
                    <a:pt x="222" y="579"/>
                    <a:pt x="221" y="582"/>
                    <a:pt x="220" y="582"/>
                  </a:cubicBezTo>
                  <a:cubicBezTo>
                    <a:pt x="215" y="582"/>
                    <a:pt x="206" y="579"/>
                    <a:pt x="206" y="579"/>
                  </a:cubicBezTo>
                  <a:cubicBezTo>
                    <a:pt x="201" y="581"/>
                    <a:pt x="201" y="585"/>
                    <a:pt x="198" y="580"/>
                  </a:cubicBezTo>
                  <a:cubicBezTo>
                    <a:pt x="196" y="580"/>
                    <a:pt x="195" y="580"/>
                    <a:pt x="193" y="580"/>
                  </a:cubicBezTo>
                  <a:cubicBezTo>
                    <a:pt x="195" y="579"/>
                    <a:pt x="189" y="583"/>
                    <a:pt x="187" y="583"/>
                  </a:cubicBezTo>
                  <a:cubicBezTo>
                    <a:pt x="183" y="584"/>
                    <a:pt x="178" y="584"/>
                    <a:pt x="174" y="584"/>
                  </a:cubicBezTo>
                  <a:cubicBezTo>
                    <a:pt x="171" y="595"/>
                    <a:pt x="155" y="577"/>
                    <a:pt x="148" y="574"/>
                  </a:cubicBezTo>
                  <a:cubicBezTo>
                    <a:pt x="145" y="573"/>
                    <a:pt x="140" y="572"/>
                    <a:pt x="140" y="572"/>
                  </a:cubicBezTo>
                  <a:cubicBezTo>
                    <a:pt x="133" y="573"/>
                    <a:pt x="126" y="571"/>
                    <a:pt x="120" y="574"/>
                  </a:cubicBezTo>
                  <a:cubicBezTo>
                    <a:pt x="118" y="575"/>
                    <a:pt x="116" y="580"/>
                    <a:pt x="116" y="580"/>
                  </a:cubicBezTo>
                  <a:cubicBezTo>
                    <a:pt x="114" y="589"/>
                    <a:pt x="117" y="579"/>
                    <a:pt x="106" y="586"/>
                  </a:cubicBezTo>
                  <a:cubicBezTo>
                    <a:pt x="103" y="589"/>
                    <a:pt x="99" y="595"/>
                    <a:pt x="97" y="596"/>
                  </a:cubicBezTo>
                  <a:cubicBezTo>
                    <a:pt x="104" y="591"/>
                    <a:pt x="100" y="591"/>
                    <a:pt x="92" y="590"/>
                  </a:cubicBezTo>
                  <a:cubicBezTo>
                    <a:pt x="83" y="587"/>
                    <a:pt x="75" y="586"/>
                    <a:pt x="66" y="585"/>
                  </a:cubicBezTo>
                  <a:cubicBezTo>
                    <a:pt x="59" y="586"/>
                    <a:pt x="56" y="588"/>
                    <a:pt x="49" y="590"/>
                  </a:cubicBezTo>
                  <a:cubicBezTo>
                    <a:pt x="47" y="591"/>
                    <a:pt x="43" y="592"/>
                    <a:pt x="43" y="592"/>
                  </a:cubicBezTo>
                  <a:cubicBezTo>
                    <a:pt x="39" y="596"/>
                    <a:pt x="37" y="598"/>
                    <a:pt x="34" y="603"/>
                  </a:cubicBezTo>
                  <a:cubicBezTo>
                    <a:pt x="19" y="601"/>
                    <a:pt x="22" y="595"/>
                    <a:pt x="8" y="594"/>
                  </a:cubicBezTo>
                  <a:cubicBezTo>
                    <a:pt x="2" y="596"/>
                    <a:pt x="3" y="600"/>
                    <a:pt x="0" y="592"/>
                  </a:cubicBezTo>
                  <a:cubicBezTo>
                    <a:pt x="4" y="590"/>
                    <a:pt x="7" y="589"/>
                    <a:pt x="12" y="588"/>
                  </a:cubicBezTo>
                  <a:cubicBezTo>
                    <a:pt x="24" y="582"/>
                    <a:pt x="18" y="584"/>
                    <a:pt x="40" y="583"/>
                  </a:cubicBezTo>
                  <a:cubicBezTo>
                    <a:pt x="45" y="564"/>
                    <a:pt x="44" y="571"/>
                    <a:pt x="58" y="562"/>
                  </a:cubicBezTo>
                  <a:cubicBezTo>
                    <a:pt x="63" y="555"/>
                    <a:pt x="60" y="557"/>
                    <a:pt x="65" y="554"/>
                  </a:cubicBezTo>
                  <a:cubicBezTo>
                    <a:pt x="68" y="548"/>
                    <a:pt x="76" y="545"/>
                    <a:pt x="82" y="543"/>
                  </a:cubicBezTo>
                  <a:cubicBezTo>
                    <a:pt x="85" y="540"/>
                    <a:pt x="86" y="537"/>
                    <a:pt x="89" y="534"/>
                  </a:cubicBezTo>
                  <a:cubicBezTo>
                    <a:pt x="91" y="525"/>
                    <a:pt x="107" y="530"/>
                    <a:pt x="114" y="530"/>
                  </a:cubicBezTo>
                  <a:cubicBezTo>
                    <a:pt x="116" y="531"/>
                    <a:pt x="118" y="534"/>
                    <a:pt x="120" y="535"/>
                  </a:cubicBezTo>
                  <a:cubicBezTo>
                    <a:pt x="122" y="536"/>
                    <a:pt x="128" y="537"/>
                    <a:pt x="128" y="537"/>
                  </a:cubicBezTo>
                  <a:cubicBezTo>
                    <a:pt x="155" y="535"/>
                    <a:pt x="148" y="523"/>
                    <a:pt x="162" y="518"/>
                  </a:cubicBezTo>
                  <a:cubicBezTo>
                    <a:pt x="165" y="514"/>
                    <a:pt x="168" y="511"/>
                    <a:pt x="172" y="508"/>
                  </a:cubicBezTo>
                  <a:cubicBezTo>
                    <a:pt x="174" y="507"/>
                    <a:pt x="178" y="504"/>
                    <a:pt x="178" y="504"/>
                  </a:cubicBezTo>
                  <a:cubicBezTo>
                    <a:pt x="179" y="503"/>
                    <a:pt x="181" y="502"/>
                    <a:pt x="180" y="501"/>
                  </a:cubicBezTo>
                  <a:cubicBezTo>
                    <a:pt x="175" y="498"/>
                    <a:pt x="164" y="507"/>
                    <a:pt x="164" y="507"/>
                  </a:cubicBezTo>
                  <a:cubicBezTo>
                    <a:pt x="159" y="512"/>
                    <a:pt x="157" y="511"/>
                    <a:pt x="149" y="512"/>
                  </a:cubicBezTo>
                  <a:cubicBezTo>
                    <a:pt x="146" y="513"/>
                    <a:pt x="140" y="516"/>
                    <a:pt x="140" y="516"/>
                  </a:cubicBezTo>
                  <a:cubicBezTo>
                    <a:pt x="136" y="518"/>
                    <a:pt x="127" y="519"/>
                    <a:pt x="127" y="519"/>
                  </a:cubicBezTo>
                  <a:cubicBezTo>
                    <a:pt x="121" y="517"/>
                    <a:pt x="122" y="512"/>
                    <a:pt x="118" y="508"/>
                  </a:cubicBezTo>
                  <a:cubicBezTo>
                    <a:pt x="108" y="498"/>
                    <a:pt x="97" y="502"/>
                    <a:pt x="91" y="501"/>
                  </a:cubicBezTo>
                  <a:cubicBezTo>
                    <a:pt x="86" y="498"/>
                    <a:pt x="95" y="490"/>
                    <a:pt x="90" y="487"/>
                  </a:cubicBezTo>
                  <a:cubicBezTo>
                    <a:pt x="86" y="484"/>
                    <a:pt x="75" y="483"/>
                    <a:pt x="70" y="484"/>
                  </a:cubicBezTo>
                  <a:cubicBezTo>
                    <a:pt x="63" y="489"/>
                    <a:pt x="60" y="491"/>
                    <a:pt x="58" y="482"/>
                  </a:cubicBezTo>
                  <a:cubicBezTo>
                    <a:pt x="52" y="458"/>
                    <a:pt x="55" y="464"/>
                    <a:pt x="88" y="460"/>
                  </a:cubicBezTo>
                  <a:cubicBezTo>
                    <a:pt x="94" y="458"/>
                    <a:pt x="96" y="449"/>
                    <a:pt x="101" y="448"/>
                  </a:cubicBezTo>
                  <a:cubicBezTo>
                    <a:pt x="105" y="447"/>
                    <a:pt x="112" y="445"/>
                    <a:pt x="112" y="445"/>
                  </a:cubicBezTo>
                  <a:cubicBezTo>
                    <a:pt x="115" y="441"/>
                    <a:pt x="115" y="436"/>
                    <a:pt x="118" y="432"/>
                  </a:cubicBezTo>
                  <a:cubicBezTo>
                    <a:pt x="120" y="423"/>
                    <a:pt x="121" y="417"/>
                    <a:pt x="118" y="406"/>
                  </a:cubicBezTo>
                  <a:cubicBezTo>
                    <a:pt x="117" y="404"/>
                    <a:pt x="112" y="404"/>
                    <a:pt x="112" y="404"/>
                  </a:cubicBezTo>
                  <a:cubicBezTo>
                    <a:pt x="105" y="406"/>
                    <a:pt x="99" y="409"/>
                    <a:pt x="92" y="410"/>
                  </a:cubicBezTo>
                  <a:cubicBezTo>
                    <a:pt x="91" y="405"/>
                    <a:pt x="90" y="404"/>
                    <a:pt x="95" y="402"/>
                  </a:cubicBezTo>
                  <a:cubicBezTo>
                    <a:pt x="99" y="398"/>
                    <a:pt x="115" y="392"/>
                    <a:pt x="122" y="390"/>
                  </a:cubicBezTo>
                  <a:cubicBezTo>
                    <a:pt x="129" y="385"/>
                    <a:pt x="126" y="387"/>
                    <a:pt x="131" y="385"/>
                  </a:cubicBezTo>
                  <a:cubicBezTo>
                    <a:pt x="144" y="385"/>
                    <a:pt x="148" y="385"/>
                    <a:pt x="161" y="381"/>
                  </a:cubicBezTo>
                  <a:cubicBezTo>
                    <a:pt x="167" y="380"/>
                    <a:pt x="172" y="390"/>
                    <a:pt x="174" y="388"/>
                  </a:cubicBezTo>
                  <a:cubicBezTo>
                    <a:pt x="176" y="386"/>
                    <a:pt x="173" y="375"/>
                    <a:pt x="174" y="369"/>
                  </a:cubicBezTo>
                  <a:cubicBezTo>
                    <a:pt x="175" y="363"/>
                    <a:pt x="176" y="357"/>
                    <a:pt x="179" y="352"/>
                  </a:cubicBezTo>
                  <a:cubicBezTo>
                    <a:pt x="180" y="345"/>
                    <a:pt x="193" y="336"/>
                    <a:pt x="193" y="336"/>
                  </a:cubicBezTo>
                  <a:cubicBezTo>
                    <a:pt x="194" y="332"/>
                    <a:pt x="196" y="329"/>
                    <a:pt x="197" y="325"/>
                  </a:cubicBezTo>
                  <a:cubicBezTo>
                    <a:pt x="195" y="307"/>
                    <a:pt x="189" y="323"/>
                    <a:pt x="170" y="322"/>
                  </a:cubicBezTo>
                  <a:cubicBezTo>
                    <a:pt x="164" y="318"/>
                    <a:pt x="160" y="308"/>
                    <a:pt x="158" y="301"/>
                  </a:cubicBezTo>
                  <a:cubicBezTo>
                    <a:pt x="162" y="290"/>
                    <a:pt x="167" y="280"/>
                    <a:pt x="179" y="276"/>
                  </a:cubicBezTo>
                  <a:cubicBezTo>
                    <a:pt x="187" y="268"/>
                    <a:pt x="186" y="270"/>
                    <a:pt x="170" y="266"/>
                  </a:cubicBezTo>
                  <a:cubicBezTo>
                    <a:pt x="157" y="267"/>
                    <a:pt x="147" y="271"/>
                    <a:pt x="134" y="272"/>
                  </a:cubicBezTo>
                  <a:cubicBezTo>
                    <a:pt x="128" y="272"/>
                    <a:pt x="120" y="274"/>
                    <a:pt x="115" y="270"/>
                  </a:cubicBezTo>
                  <a:cubicBezTo>
                    <a:pt x="109" y="266"/>
                    <a:pt x="108" y="258"/>
                    <a:pt x="103" y="254"/>
                  </a:cubicBezTo>
                  <a:cubicBezTo>
                    <a:pt x="107" y="246"/>
                    <a:pt x="113" y="243"/>
                    <a:pt x="122" y="240"/>
                  </a:cubicBezTo>
                  <a:cubicBezTo>
                    <a:pt x="125" y="236"/>
                    <a:pt x="126" y="233"/>
                    <a:pt x="130" y="230"/>
                  </a:cubicBezTo>
                  <a:cubicBezTo>
                    <a:pt x="134" y="222"/>
                    <a:pt x="133" y="202"/>
                    <a:pt x="127" y="194"/>
                  </a:cubicBezTo>
                  <a:cubicBezTo>
                    <a:pt x="124" y="190"/>
                    <a:pt x="124" y="201"/>
                    <a:pt x="120" y="198"/>
                  </a:cubicBezTo>
                  <a:cubicBezTo>
                    <a:pt x="118" y="197"/>
                    <a:pt x="124" y="177"/>
                    <a:pt x="124" y="177"/>
                  </a:cubicBezTo>
                  <a:cubicBezTo>
                    <a:pt x="123" y="173"/>
                    <a:pt x="85" y="223"/>
                    <a:pt x="85" y="223"/>
                  </a:cubicBezTo>
                  <a:cubicBezTo>
                    <a:pt x="87" y="212"/>
                    <a:pt x="101" y="156"/>
                    <a:pt x="110" y="153"/>
                  </a:cubicBezTo>
                  <a:cubicBezTo>
                    <a:pt x="117" y="146"/>
                    <a:pt x="115" y="152"/>
                    <a:pt x="118" y="145"/>
                  </a:cubicBezTo>
                  <a:cubicBezTo>
                    <a:pt x="119" y="138"/>
                    <a:pt x="125" y="137"/>
                    <a:pt x="127" y="130"/>
                  </a:cubicBezTo>
                  <a:cubicBezTo>
                    <a:pt x="122" y="121"/>
                    <a:pt x="106" y="142"/>
                    <a:pt x="97" y="145"/>
                  </a:cubicBezTo>
                  <a:cubicBezTo>
                    <a:pt x="94" y="148"/>
                    <a:pt x="81" y="142"/>
                    <a:pt x="78" y="146"/>
                  </a:cubicBezTo>
                  <a:cubicBezTo>
                    <a:pt x="73" y="139"/>
                    <a:pt x="76" y="129"/>
                    <a:pt x="84" y="123"/>
                  </a:cubicBezTo>
                  <a:cubicBezTo>
                    <a:pt x="88" y="120"/>
                    <a:pt x="92" y="118"/>
                    <a:pt x="97" y="116"/>
                  </a:cubicBezTo>
                  <a:cubicBezTo>
                    <a:pt x="98" y="116"/>
                    <a:pt x="100" y="115"/>
                    <a:pt x="100" y="115"/>
                  </a:cubicBezTo>
                  <a:cubicBezTo>
                    <a:pt x="103" y="110"/>
                    <a:pt x="110" y="109"/>
                    <a:pt x="115" y="105"/>
                  </a:cubicBezTo>
                  <a:cubicBezTo>
                    <a:pt x="118" y="102"/>
                    <a:pt x="124" y="97"/>
                    <a:pt x="124" y="97"/>
                  </a:cubicBezTo>
                  <a:cubicBezTo>
                    <a:pt x="127" y="87"/>
                    <a:pt x="129" y="77"/>
                    <a:pt x="122" y="67"/>
                  </a:cubicBezTo>
                  <a:cubicBezTo>
                    <a:pt x="120" y="60"/>
                    <a:pt x="124" y="62"/>
                    <a:pt x="127" y="56"/>
                  </a:cubicBezTo>
                  <a:cubicBezTo>
                    <a:pt x="136" y="38"/>
                    <a:pt x="125" y="46"/>
                    <a:pt x="152" y="36"/>
                  </a:cubicBezTo>
                  <a:cubicBezTo>
                    <a:pt x="154" y="24"/>
                    <a:pt x="155" y="21"/>
                    <a:pt x="160" y="12"/>
                  </a:cubicBezTo>
                  <a:cubicBezTo>
                    <a:pt x="163" y="8"/>
                    <a:pt x="170" y="0"/>
                    <a:pt x="170" y="0"/>
                  </a:cubicBezTo>
                  <a:cubicBezTo>
                    <a:pt x="176" y="2"/>
                    <a:pt x="180" y="2"/>
                    <a:pt x="185" y="7"/>
                  </a:cubicBezTo>
                  <a:lnTo>
                    <a:pt x="174" y="3"/>
                  </a:lnTo>
                  <a:close/>
                </a:path>
              </a:pathLst>
            </a:custGeom>
            <a:solidFill>
              <a:srgbClr val="8D9399"/>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435" name="Freeform 2565"/>
            <p:cNvSpPr>
              <a:spLocks noChangeAspect="1"/>
            </p:cNvSpPr>
            <p:nvPr/>
          </p:nvSpPr>
          <p:spPr bwMode="auto">
            <a:xfrm>
              <a:off x="3369080" y="3712241"/>
              <a:ext cx="40297" cy="51745"/>
            </a:xfrm>
            <a:custGeom>
              <a:avLst/>
              <a:gdLst>
                <a:gd name="T0" fmla="*/ 6 w 21"/>
                <a:gd name="T1" fmla="*/ 7 h 27"/>
                <a:gd name="T2" fmla="*/ 9 w 21"/>
                <a:gd name="T3" fmla="*/ 27 h 27"/>
                <a:gd name="T4" fmla="*/ 14 w 21"/>
                <a:gd name="T5" fmla="*/ 0 h 27"/>
                <a:gd name="T6" fmla="*/ 9 w 21"/>
                <a:gd name="T7" fmla="*/ 1 h 27"/>
                <a:gd name="T8" fmla="*/ 6 w 21"/>
                <a:gd name="T9" fmla="*/ 7 h 27"/>
                <a:gd name="T10" fmla="*/ 0 60000 65536"/>
                <a:gd name="T11" fmla="*/ 0 60000 65536"/>
                <a:gd name="T12" fmla="*/ 0 60000 65536"/>
                <a:gd name="T13" fmla="*/ 0 60000 65536"/>
                <a:gd name="T14" fmla="*/ 0 60000 65536"/>
                <a:gd name="T15" fmla="*/ 0 w 21"/>
                <a:gd name="T16" fmla="*/ 0 h 27"/>
                <a:gd name="T17" fmla="*/ 21 w 21"/>
                <a:gd name="T18" fmla="*/ 27 h 27"/>
              </a:gdLst>
              <a:ahLst/>
              <a:cxnLst>
                <a:cxn ang="T10">
                  <a:pos x="T0" y="T1"/>
                </a:cxn>
                <a:cxn ang="T11">
                  <a:pos x="T2" y="T3"/>
                </a:cxn>
                <a:cxn ang="T12">
                  <a:pos x="T4" y="T5"/>
                </a:cxn>
                <a:cxn ang="T13">
                  <a:pos x="T6" y="T7"/>
                </a:cxn>
                <a:cxn ang="T14">
                  <a:pos x="T8" y="T9"/>
                </a:cxn>
              </a:cxnLst>
              <a:rect l="T15" t="T16" r="T17" b="T18"/>
              <a:pathLst>
                <a:path w="21" h="27">
                  <a:moveTo>
                    <a:pt x="6" y="7"/>
                  </a:moveTo>
                  <a:cubicBezTo>
                    <a:pt x="4" y="18"/>
                    <a:pt x="0" y="21"/>
                    <a:pt x="9" y="27"/>
                  </a:cubicBezTo>
                  <a:cubicBezTo>
                    <a:pt x="21" y="23"/>
                    <a:pt x="18" y="12"/>
                    <a:pt x="14" y="0"/>
                  </a:cubicBezTo>
                  <a:cubicBezTo>
                    <a:pt x="12" y="0"/>
                    <a:pt x="10" y="0"/>
                    <a:pt x="9" y="1"/>
                  </a:cubicBezTo>
                  <a:cubicBezTo>
                    <a:pt x="7" y="2"/>
                    <a:pt x="6" y="7"/>
                    <a:pt x="6" y="7"/>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436" name="Freeform 2566"/>
            <p:cNvSpPr>
              <a:spLocks noChangeAspect="1"/>
            </p:cNvSpPr>
            <p:nvPr/>
          </p:nvSpPr>
          <p:spPr bwMode="auto">
            <a:xfrm>
              <a:off x="3572002" y="4461584"/>
              <a:ext cx="46053" cy="24914"/>
            </a:xfrm>
            <a:custGeom>
              <a:avLst/>
              <a:gdLst>
                <a:gd name="T0" fmla="*/ 0 w 24"/>
                <a:gd name="T1" fmla="*/ 0 h 13"/>
                <a:gd name="T2" fmla="*/ 12 w 24"/>
                <a:gd name="T3" fmla="*/ 8 h 13"/>
                <a:gd name="T4" fmla="*/ 3 w 24"/>
                <a:gd name="T5" fmla="*/ 11 h 13"/>
                <a:gd name="T6" fmla="*/ 0 w 24"/>
                <a:gd name="T7" fmla="*/ 0 h 13"/>
                <a:gd name="T8" fmla="*/ 0 60000 65536"/>
                <a:gd name="T9" fmla="*/ 0 60000 65536"/>
                <a:gd name="T10" fmla="*/ 0 60000 65536"/>
                <a:gd name="T11" fmla="*/ 0 60000 65536"/>
                <a:gd name="T12" fmla="*/ 0 w 24"/>
                <a:gd name="T13" fmla="*/ 0 h 13"/>
                <a:gd name="T14" fmla="*/ 24 w 24"/>
                <a:gd name="T15" fmla="*/ 13 h 13"/>
              </a:gdLst>
              <a:ahLst/>
              <a:cxnLst>
                <a:cxn ang="T8">
                  <a:pos x="T0" y="T1"/>
                </a:cxn>
                <a:cxn ang="T9">
                  <a:pos x="T2" y="T3"/>
                </a:cxn>
                <a:cxn ang="T10">
                  <a:pos x="T4" y="T5"/>
                </a:cxn>
                <a:cxn ang="T11">
                  <a:pos x="T6" y="T7"/>
                </a:cxn>
              </a:cxnLst>
              <a:rect l="T12" t="T13" r="T14" b="T15"/>
              <a:pathLst>
                <a:path w="24" h="13">
                  <a:moveTo>
                    <a:pt x="0" y="0"/>
                  </a:moveTo>
                  <a:cubicBezTo>
                    <a:pt x="7" y="4"/>
                    <a:pt x="24" y="0"/>
                    <a:pt x="12" y="8"/>
                  </a:cubicBezTo>
                  <a:cubicBezTo>
                    <a:pt x="9" y="12"/>
                    <a:pt x="8" y="13"/>
                    <a:pt x="3" y="11"/>
                  </a:cubicBezTo>
                  <a:cubicBezTo>
                    <a:pt x="2" y="3"/>
                    <a:pt x="3" y="6"/>
                    <a:pt x="0" y="0"/>
                  </a:cubicBezTo>
                  <a:close/>
                </a:path>
              </a:pathLst>
            </a:custGeom>
            <a:solidFill>
              <a:srgbClr val="DEE0E3"/>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437" name="Freeform 2567"/>
            <p:cNvSpPr>
              <a:spLocks noChangeAspect="1"/>
            </p:cNvSpPr>
            <p:nvPr/>
          </p:nvSpPr>
          <p:spPr bwMode="auto">
            <a:xfrm>
              <a:off x="3123942" y="3752487"/>
              <a:ext cx="216355" cy="180149"/>
            </a:xfrm>
            <a:custGeom>
              <a:avLst/>
              <a:gdLst>
                <a:gd name="T0" fmla="*/ 303 w 451"/>
                <a:gd name="T1" fmla="*/ 376 h 376"/>
                <a:gd name="T2" fmla="*/ 399 w 451"/>
                <a:gd name="T3" fmla="*/ 352 h 376"/>
                <a:gd name="T4" fmla="*/ 439 w 451"/>
                <a:gd name="T5" fmla="*/ 340 h 376"/>
                <a:gd name="T6" fmla="*/ 451 w 451"/>
                <a:gd name="T7" fmla="*/ 280 h 376"/>
                <a:gd name="T8" fmla="*/ 395 w 451"/>
                <a:gd name="T9" fmla="*/ 216 h 376"/>
                <a:gd name="T10" fmla="*/ 407 w 451"/>
                <a:gd name="T11" fmla="*/ 196 h 376"/>
                <a:gd name="T12" fmla="*/ 407 w 451"/>
                <a:gd name="T13" fmla="*/ 96 h 376"/>
                <a:gd name="T14" fmla="*/ 259 w 451"/>
                <a:gd name="T15" fmla="*/ 24 h 376"/>
                <a:gd name="T16" fmla="*/ 199 w 451"/>
                <a:gd name="T17" fmla="*/ 48 h 376"/>
                <a:gd name="T18" fmla="*/ 174 w 451"/>
                <a:gd name="T19" fmla="*/ 54 h 376"/>
                <a:gd name="T20" fmla="*/ 152 w 451"/>
                <a:gd name="T21" fmla="*/ 90 h 376"/>
                <a:gd name="T22" fmla="*/ 83 w 451"/>
                <a:gd name="T23" fmla="*/ 124 h 376"/>
                <a:gd name="T24" fmla="*/ 60 w 451"/>
                <a:gd name="T25" fmla="*/ 165 h 376"/>
                <a:gd name="T26" fmla="*/ 12 w 451"/>
                <a:gd name="T27" fmla="*/ 178 h 376"/>
                <a:gd name="T28" fmla="*/ 24 w 451"/>
                <a:gd name="T29" fmla="*/ 219 h 376"/>
                <a:gd name="T30" fmla="*/ 83 w 451"/>
                <a:gd name="T31" fmla="*/ 268 h 376"/>
                <a:gd name="T32" fmla="*/ 105 w 451"/>
                <a:gd name="T33" fmla="*/ 298 h 376"/>
                <a:gd name="T34" fmla="*/ 144 w 451"/>
                <a:gd name="T35" fmla="*/ 298 h 376"/>
                <a:gd name="T36" fmla="*/ 179 w 451"/>
                <a:gd name="T37" fmla="*/ 248 h 376"/>
                <a:gd name="T38" fmla="*/ 228 w 451"/>
                <a:gd name="T39" fmla="*/ 322 h 376"/>
                <a:gd name="T40" fmla="*/ 258 w 451"/>
                <a:gd name="T41" fmla="*/ 351 h 376"/>
                <a:gd name="T42" fmla="*/ 303 w 451"/>
                <a:gd name="T43" fmla="*/ 376 h 37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51"/>
                <a:gd name="T67" fmla="*/ 0 h 376"/>
                <a:gd name="T68" fmla="*/ 451 w 451"/>
                <a:gd name="T69" fmla="*/ 376 h 37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51" h="376">
                  <a:moveTo>
                    <a:pt x="303" y="376"/>
                  </a:moveTo>
                  <a:cubicBezTo>
                    <a:pt x="335" y="368"/>
                    <a:pt x="367" y="360"/>
                    <a:pt x="399" y="352"/>
                  </a:cubicBezTo>
                  <a:cubicBezTo>
                    <a:pt x="411" y="348"/>
                    <a:pt x="439" y="340"/>
                    <a:pt x="439" y="340"/>
                  </a:cubicBezTo>
                  <a:cubicBezTo>
                    <a:pt x="443" y="320"/>
                    <a:pt x="447" y="304"/>
                    <a:pt x="451" y="280"/>
                  </a:cubicBezTo>
                  <a:cubicBezTo>
                    <a:pt x="447" y="232"/>
                    <a:pt x="443" y="224"/>
                    <a:pt x="395" y="216"/>
                  </a:cubicBezTo>
                  <a:cubicBezTo>
                    <a:pt x="375" y="204"/>
                    <a:pt x="391" y="204"/>
                    <a:pt x="407" y="196"/>
                  </a:cubicBezTo>
                  <a:cubicBezTo>
                    <a:pt x="431" y="164"/>
                    <a:pt x="427" y="132"/>
                    <a:pt x="407" y="96"/>
                  </a:cubicBezTo>
                  <a:cubicBezTo>
                    <a:pt x="391" y="0"/>
                    <a:pt x="351" y="32"/>
                    <a:pt x="259" y="24"/>
                  </a:cubicBezTo>
                  <a:cubicBezTo>
                    <a:pt x="239" y="32"/>
                    <a:pt x="219" y="36"/>
                    <a:pt x="199" y="48"/>
                  </a:cubicBezTo>
                  <a:cubicBezTo>
                    <a:pt x="186" y="51"/>
                    <a:pt x="182" y="47"/>
                    <a:pt x="174" y="54"/>
                  </a:cubicBezTo>
                  <a:cubicBezTo>
                    <a:pt x="156" y="64"/>
                    <a:pt x="164" y="78"/>
                    <a:pt x="152" y="90"/>
                  </a:cubicBezTo>
                  <a:cubicBezTo>
                    <a:pt x="140" y="117"/>
                    <a:pt x="116" y="124"/>
                    <a:pt x="83" y="124"/>
                  </a:cubicBezTo>
                  <a:cubicBezTo>
                    <a:pt x="79" y="140"/>
                    <a:pt x="72" y="156"/>
                    <a:pt x="60" y="165"/>
                  </a:cubicBezTo>
                  <a:cubicBezTo>
                    <a:pt x="48" y="161"/>
                    <a:pt x="30" y="171"/>
                    <a:pt x="12" y="178"/>
                  </a:cubicBezTo>
                  <a:cubicBezTo>
                    <a:pt x="0" y="178"/>
                    <a:pt x="20" y="207"/>
                    <a:pt x="24" y="219"/>
                  </a:cubicBezTo>
                  <a:cubicBezTo>
                    <a:pt x="38" y="232"/>
                    <a:pt x="59" y="244"/>
                    <a:pt x="83" y="268"/>
                  </a:cubicBezTo>
                  <a:cubicBezTo>
                    <a:pt x="99" y="284"/>
                    <a:pt x="89" y="282"/>
                    <a:pt x="105" y="298"/>
                  </a:cubicBezTo>
                  <a:cubicBezTo>
                    <a:pt x="122" y="300"/>
                    <a:pt x="126" y="303"/>
                    <a:pt x="144" y="298"/>
                  </a:cubicBezTo>
                  <a:cubicBezTo>
                    <a:pt x="148" y="278"/>
                    <a:pt x="159" y="256"/>
                    <a:pt x="179" y="248"/>
                  </a:cubicBezTo>
                  <a:cubicBezTo>
                    <a:pt x="215" y="256"/>
                    <a:pt x="191" y="300"/>
                    <a:pt x="228" y="322"/>
                  </a:cubicBezTo>
                  <a:cubicBezTo>
                    <a:pt x="242" y="338"/>
                    <a:pt x="246" y="342"/>
                    <a:pt x="258" y="351"/>
                  </a:cubicBezTo>
                  <a:cubicBezTo>
                    <a:pt x="270" y="360"/>
                    <a:pt x="291" y="351"/>
                    <a:pt x="303" y="376"/>
                  </a:cubicBezTo>
                  <a:close/>
                </a:path>
              </a:pathLst>
            </a:custGeom>
            <a:solidFill>
              <a:srgbClr val="8D9399"/>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sp>
          <p:nvSpPr>
            <p:cNvPr id="438" name="Freeform 2568"/>
            <p:cNvSpPr>
              <a:spLocks noChangeAspect="1"/>
            </p:cNvSpPr>
            <p:nvPr>
              <p:custDataLst>
                <p:tags r:id="rId45"/>
              </p:custDataLst>
            </p:nvPr>
          </p:nvSpPr>
          <p:spPr bwMode="auto">
            <a:xfrm>
              <a:off x="2439759" y="5502231"/>
              <a:ext cx="436957" cy="720596"/>
            </a:xfrm>
            <a:custGeom>
              <a:avLst/>
              <a:gdLst>
                <a:gd name="T0" fmla="*/ 384 w 913"/>
                <a:gd name="T1" fmla="*/ 13 h 1504"/>
                <a:gd name="T2" fmla="*/ 296 w 913"/>
                <a:gd name="T3" fmla="*/ 416 h 1504"/>
                <a:gd name="T4" fmla="*/ 224 w 913"/>
                <a:gd name="T5" fmla="*/ 588 h 1504"/>
                <a:gd name="T6" fmla="*/ 180 w 913"/>
                <a:gd name="T7" fmla="*/ 632 h 1504"/>
                <a:gd name="T8" fmla="*/ 156 w 913"/>
                <a:gd name="T9" fmla="*/ 672 h 1504"/>
                <a:gd name="T10" fmla="*/ 116 w 913"/>
                <a:gd name="T11" fmla="*/ 696 h 1504"/>
                <a:gd name="T12" fmla="*/ 72 w 913"/>
                <a:gd name="T13" fmla="*/ 756 h 1504"/>
                <a:gd name="T14" fmla="*/ 20 w 913"/>
                <a:gd name="T15" fmla="*/ 836 h 1504"/>
                <a:gd name="T16" fmla="*/ 4 w 913"/>
                <a:gd name="T17" fmla="*/ 872 h 1504"/>
                <a:gd name="T18" fmla="*/ 8 w 913"/>
                <a:gd name="T19" fmla="*/ 884 h 1504"/>
                <a:gd name="T20" fmla="*/ 24 w 913"/>
                <a:gd name="T21" fmla="*/ 888 h 1504"/>
                <a:gd name="T22" fmla="*/ 36 w 913"/>
                <a:gd name="T23" fmla="*/ 924 h 1504"/>
                <a:gd name="T24" fmla="*/ 128 w 913"/>
                <a:gd name="T25" fmla="*/ 980 h 1504"/>
                <a:gd name="T26" fmla="*/ 128 w 913"/>
                <a:gd name="T27" fmla="*/ 1036 h 1504"/>
                <a:gd name="T28" fmla="*/ 120 w 913"/>
                <a:gd name="T29" fmla="*/ 1052 h 1504"/>
                <a:gd name="T30" fmla="*/ 108 w 913"/>
                <a:gd name="T31" fmla="*/ 1060 h 1504"/>
                <a:gd name="T32" fmla="*/ 60 w 913"/>
                <a:gd name="T33" fmla="*/ 1176 h 1504"/>
                <a:gd name="T34" fmla="*/ 8 w 913"/>
                <a:gd name="T35" fmla="*/ 1376 h 1504"/>
                <a:gd name="T36" fmla="*/ 32 w 913"/>
                <a:gd name="T37" fmla="*/ 1412 h 1504"/>
                <a:gd name="T38" fmla="*/ 116 w 913"/>
                <a:gd name="T39" fmla="*/ 1416 h 1504"/>
                <a:gd name="T40" fmla="*/ 216 w 913"/>
                <a:gd name="T41" fmla="*/ 1476 h 1504"/>
                <a:gd name="T42" fmla="*/ 358 w 913"/>
                <a:gd name="T43" fmla="*/ 1476 h 1504"/>
                <a:gd name="T44" fmla="*/ 345 w 913"/>
                <a:gd name="T45" fmla="*/ 1387 h 1504"/>
                <a:gd name="T46" fmla="*/ 394 w 913"/>
                <a:gd name="T47" fmla="*/ 1282 h 1504"/>
                <a:gd name="T48" fmla="*/ 439 w 913"/>
                <a:gd name="T49" fmla="*/ 1255 h 1504"/>
                <a:gd name="T50" fmla="*/ 507 w 913"/>
                <a:gd name="T51" fmla="*/ 1230 h 1504"/>
                <a:gd name="T52" fmla="*/ 508 w 913"/>
                <a:gd name="T53" fmla="*/ 1192 h 1504"/>
                <a:gd name="T54" fmla="*/ 474 w 913"/>
                <a:gd name="T55" fmla="*/ 1129 h 1504"/>
                <a:gd name="T56" fmla="*/ 496 w 913"/>
                <a:gd name="T57" fmla="*/ 1062 h 1504"/>
                <a:gd name="T58" fmla="*/ 560 w 913"/>
                <a:gd name="T59" fmla="*/ 980 h 1504"/>
                <a:gd name="T60" fmla="*/ 559 w 913"/>
                <a:gd name="T61" fmla="*/ 933 h 1504"/>
                <a:gd name="T62" fmla="*/ 532 w 913"/>
                <a:gd name="T63" fmla="*/ 824 h 1504"/>
                <a:gd name="T64" fmla="*/ 516 w 913"/>
                <a:gd name="T65" fmla="*/ 768 h 1504"/>
                <a:gd name="T66" fmla="*/ 560 w 913"/>
                <a:gd name="T67" fmla="*/ 748 h 1504"/>
                <a:gd name="T68" fmla="*/ 633 w 913"/>
                <a:gd name="T69" fmla="*/ 735 h 1504"/>
                <a:gd name="T70" fmla="*/ 657 w 913"/>
                <a:gd name="T71" fmla="*/ 693 h 1504"/>
                <a:gd name="T72" fmla="*/ 656 w 913"/>
                <a:gd name="T73" fmla="*/ 624 h 1504"/>
                <a:gd name="T74" fmla="*/ 697 w 913"/>
                <a:gd name="T75" fmla="*/ 592 h 1504"/>
                <a:gd name="T76" fmla="*/ 705 w 913"/>
                <a:gd name="T77" fmla="*/ 544 h 1504"/>
                <a:gd name="T78" fmla="*/ 712 w 913"/>
                <a:gd name="T79" fmla="*/ 528 h 1504"/>
                <a:gd name="T80" fmla="*/ 780 w 913"/>
                <a:gd name="T81" fmla="*/ 343 h 1504"/>
                <a:gd name="T82" fmla="*/ 844 w 913"/>
                <a:gd name="T83" fmla="*/ 327 h 1504"/>
                <a:gd name="T84" fmla="*/ 880 w 913"/>
                <a:gd name="T85" fmla="*/ 298 h 1504"/>
                <a:gd name="T86" fmla="*/ 910 w 913"/>
                <a:gd name="T87" fmla="*/ 228 h 1504"/>
                <a:gd name="T88" fmla="*/ 873 w 913"/>
                <a:gd name="T89" fmla="*/ 193 h 1504"/>
                <a:gd name="T90" fmla="*/ 840 w 913"/>
                <a:gd name="T91" fmla="*/ 120 h 1504"/>
                <a:gd name="T92" fmla="*/ 740 w 913"/>
                <a:gd name="T93" fmla="*/ 104 h 1504"/>
                <a:gd name="T94" fmla="*/ 658 w 913"/>
                <a:gd name="T95" fmla="*/ 111 h 1504"/>
                <a:gd name="T96" fmla="*/ 616 w 913"/>
                <a:gd name="T97" fmla="*/ 103 h 1504"/>
                <a:gd name="T98" fmla="*/ 552 w 913"/>
                <a:gd name="T99" fmla="*/ 92 h 1504"/>
                <a:gd name="T100" fmla="*/ 516 w 913"/>
                <a:gd name="T101" fmla="*/ 78 h 1504"/>
                <a:gd name="T102" fmla="*/ 540 w 913"/>
                <a:gd name="T103" fmla="*/ 34 h 1504"/>
                <a:gd name="T104" fmla="*/ 476 w 913"/>
                <a:gd name="T105" fmla="*/ 4 h 1504"/>
                <a:gd name="T106" fmla="*/ 429 w 913"/>
                <a:gd name="T107" fmla="*/ 21 h 1504"/>
                <a:gd name="T108" fmla="*/ 384 w 913"/>
                <a:gd name="T109" fmla="*/ 13 h 15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13"/>
                <a:gd name="T166" fmla="*/ 0 h 1504"/>
                <a:gd name="T167" fmla="*/ 913 w 913"/>
                <a:gd name="T168" fmla="*/ 1504 h 15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13" h="1504">
                  <a:moveTo>
                    <a:pt x="384" y="13"/>
                  </a:moveTo>
                  <a:cubicBezTo>
                    <a:pt x="380" y="117"/>
                    <a:pt x="368" y="312"/>
                    <a:pt x="296" y="416"/>
                  </a:cubicBezTo>
                  <a:cubicBezTo>
                    <a:pt x="280" y="468"/>
                    <a:pt x="288" y="568"/>
                    <a:pt x="224" y="588"/>
                  </a:cubicBezTo>
                  <a:cubicBezTo>
                    <a:pt x="212" y="604"/>
                    <a:pt x="196" y="616"/>
                    <a:pt x="180" y="632"/>
                  </a:cubicBezTo>
                  <a:cubicBezTo>
                    <a:pt x="172" y="652"/>
                    <a:pt x="176" y="664"/>
                    <a:pt x="156" y="672"/>
                  </a:cubicBezTo>
                  <a:cubicBezTo>
                    <a:pt x="136" y="700"/>
                    <a:pt x="136" y="684"/>
                    <a:pt x="116" y="696"/>
                  </a:cubicBezTo>
                  <a:cubicBezTo>
                    <a:pt x="112" y="712"/>
                    <a:pt x="88" y="752"/>
                    <a:pt x="72" y="756"/>
                  </a:cubicBezTo>
                  <a:cubicBezTo>
                    <a:pt x="56" y="780"/>
                    <a:pt x="36" y="808"/>
                    <a:pt x="20" y="836"/>
                  </a:cubicBezTo>
                  <a:cubicBezTo>
                    <a:pt x="12" y="848"/>
                    <a:pt x="4" y="872"/>
                    <a:pt x="4" y="872"/>
                  </a:cubicBezTo>
                  <a:cubicBezTo>
                    <a:pt x="4" y="876"/>
                    <a:pt x="4" y="880"/>
                    <a:pt x="8" y="884"/>
                  </a:cubicBezTo>
                  <a:cubicBezTo>
                    <a:pt x="12" y="888"/>
                    <a:pt x="20" y="884"/>
                    <a:pt x="24" y="888"/>
                  </a:cubicBezTo>
                  <a:cubicBezTo>
                    <a:pt x="32" y="896"/>
                    <a:pt x="36" y="924"/>
                    <a:pt x="36" y="924"/>
                  </a:cubicBezTo>
                  <a:cubicBezTo>
                    <a:pt x="44" y="996"/>
                    <a:pt x="40" y="1040"/>
                    <a:pt x="128" y="980"/>
                  </a:cubicBezTo>
                  <a:cubicBezTo>
                    <a:pt x="152" y="988"/>
                    <a:pt x="148" y="1024"/>
                    <a:pt x="128" y="1036"/>
                  </a:cubicBezTo>
                  <a:cubicBezTo>
                    <a:pt x="124" y="1040"/>
                    <a:pt x="124" y="1048"/>
                    <a:pt x="120" y="1052"/>
                  </a:cubicBezTo>
                  <a:cubicBezTo>
                    <a:pt x="116" y="1056"/>
                    <a:pt x="112" y="1056"/>
                    <a:pt x="108" y="1060"/>
                  </a:cubicBezTo>
                  <a:cubicBezTo>
                    <a:pt x="88" y="1092"/>
                    <a:pt x="84" y="1140"/>
                    <a:pt x="60" y="1176"/>
                  </a:cubicBezTo>
                  <a:cubicBezTo>
                    <a:pt x="48" y="1228"/>
                    <a:pt x="56" y="1344"/>
                    <a:pt x="8" y="1376"/>
                  </a:cubicBezTo>
                  <a:cubicBezTo>
                    <a:pt x="0" y="1396"/>
                    <a:pt x="20" y="1396"/>
                    <a:pt x="32" y="1412"/>
                  </a:cubicBezTo>
                  <a:cubicBezTo>
                    <a:pt x="76" y="1388"/>
                    <a:pt x="72" y="1408"/>
                    <a:pt x="116" y="1416"/>
                  </a:cubicBezTo>
                  <a:cubicBezTo>
                    <a:pt x="144" y="1436"/>
                    <a:pt x="180" y="1464"/>
                    <a:pt x="216" y="1476"/>
                  </a:cubicBezTo>
                  <a:cubicBezTo>
                    <a:pt x="244" y="1504"/>
                    <a:pt x="326" y="1496"/>
                    <a:pt x="358" y="1476"/>
                  </a:cubicBezTo>
                  <a:cubicBezTo>
                    <a:pt x="362" y="1452"/>
                    <a:pt x="343" y="1414"/>
                    <a:pt x="345" y="1387"/>
                  </a:cubicBezTo>
                  <a:cubicBezTo>
                    <a:pt x="355" y="1357"/>
                    <a:pt x="378" y="1304"/>
                    <a:pt x="394" y="1282"/>
                  </a:cubicBezTo>
                  <a:cubicBezTo>
                    <a:pt x="410" y="1260"/>
                    <a:pt x="432" y="1282"/>
                    <a:pt x="439" y="1255"/>
                  </a:cubicBezTo>
                  <a:cubicBezTo>
                    <a:pt x="465" y="1254"/>
                    <a:pt x="496" y="1240"/>
                    <a:pt x="507" y="1230"/>
                  </a:cubicBezTo>
                  <a:cubicBezTo>
                    <a:pt x="536" y="1196"/>
                    <a:pt x="513" y="1209"/>
                    <a:pt x="508" y="1192"/>
                  </a:cubicBezTo>
                  <a:cubicBezTo>
                    <a:pt x="503" y="1175"/>
                    <a:pt x="476" y="1151"/>
                    <a:pt x="474" y="1129"/>
                  </a:cubicBezTo>
                  <a:cubicBezTo>
                    <a:pt x="483" y="1087"/>
                    <a:pt x="480" y="1111"/>
                    <a:pt x="496" y="1062"/>
                  </a:cubicBezTo>
                  <a:cubicBezTo>
                    <a:pt x="516" y="1017"/>
                    <a:pt x="531" y="988"/>
                    <a:pt x="560" y="980"/>
                  </a:cubicBezTo>
                  <a:cubicBezTo>
                    <a:pt x="564" y="960"/>
                    <a:pt x="598" y="948"/>
                    <a:pt x="559" y="933"/>
                  </a:cubicBezTo>
                  <a:cubicBezTo>
                    <a:pt x="559" y="898"/>
                    <a:pt x="544" y="862"/>
                    <a:pt x="532" y="824"/>
                  </a:cubicBezTo>
                  <a:cubicBezTo>
                    <a:pt x="525" y="805"/>
                    <a:pt x="526" y="780"/>
                    <a:pt x="516" y="768"/>
                  </a:cubicBezTo>
                  <a:cubicBezTo>
                    <a:pt x="504" y="742"/>
                    <a:pt x="532" y="744"/>
                    <a:pt x="560" y="748"/>
                  </a:cubicBezTo>
                  <a:cubicBezTo>
                    <a:pt x="595" y="771"/>
                    <a:pt x="633" y="735"/>
                    <a:pt x="633" y="735"/>
                  </a:cubicBezTo>
                  <a:cubicBezTo>
                    <a:pt x="651" y="717"/>
                    <a:pt x="641" y="709"/>
                    <a:pt x="657" y="693"/>
                  </a:cubicBezTo>
                  <a:cubicBezTo>
                    <a:pt x="665" y="669"/>
                    <a:pt x="684" y="632"/>
                    <a:pt x="656" y="624"/>
                  </a:cubicBezTo>
                  <a:cubicBezTo>
                    <a:pt x="660" y="608"/>
                    <a:pt x="697" y="592"/>
                    <a:pt x="697" y="592"/>
                  </a:cubicBezTo>
                  <a:cubicBezTo>
                    <a:pt x="705" y="579"/>
                    <a:pt x="702" y="555"/>
                    <a:pt x="705" y="544"/>
                  </a:cubicBezTo>
                  <a:cubicBezTo>
                    <a:pt x="708" y="533"/>
                    <a:pt x="700" y="561"/>
                    <a:pt x="712" y="528"/>
                  </a:cubicBezTo>
                  <a:cubicBezTo>
                    <a:pt x="720" y="484"/>
                    <a:pt x="730" y="372"/>
                    <a:pt x="780" y="343"/>
                  </a:cubicBezTo>
                  <a:cubicBezTo>
                    <a:pt x="810" y="330"/>
                    <a:pt x="824" y="339"/>
                    <a:pt x="844" y="327"/>
                  </a:cubicBezTo>
                  <a:cubicBezTo>
                    <a:pt x="856" y="319"/>
                    <a:pt x="880" y="298"/>
                    <a:pt x="880" y="298"/>
                  </a:cubicBezTo>
                  <a:cubicBezTo>
                    <a:pt x="901" y="282"/>
                    <a:pt x="913" y="246"/>
                    <a:pt x="910" y="228"/>
                  </a:cubicBezTo>
                  <a:cubicBezTo>
                    <a:pt x="895" y="219"/>
                    <a:pt x="885" y="211"/>
                    <a:pt x="873" y="193"/>
                  </a:cubicBezTo>
                  <a:cubicBezTo>
                    <a:pt x="861" y="175"/>
                    <a:pt x="876" y="130"/>
                    <a:pt x="840" y="120"/>
                  </a:cubicBezTo>
                  <a:cubicBezTo>
                    <a:pt x="820" y="104"/>
                    <a:pt x="762" y="96"/>
                    <a:pt x="740" y="104"/>
                  </a:cubicBezTo>
                  <a:cubicBezTo>
                    <a:pt x="710" y="102"/>
                    <a:pt x="689" y="113"/>
                    <a:pt x="658" y="111"/>
                  </a:cubicBezTo>
                  <a:cubicBezTo>
                    <a:pt x="637" y="111"/>
                    <a:pt x="634" y="106"/>
                    <a:pt x="616" y="103"/>
                  </a:cubicBezTo>
                  <a:cubicBezTo>
                    <a:pt x="598" y="100"/>
                    <a:pt x="585" y="112"/>
                    <a:pt x="552" y="92"/>
                  </a:cubicBezTo>
                  <a:cubicBezTo>
                    <a:pt x="517" y="81"/>
                    <a:pt x="518" y="88"/>
                    <a:pt x="516" y="78"/>
                  </a:cubicBezTo>
                  <a:cubicBezTo>
                    <a:pt x="514" y="68"/>
                    <a:pt x="547" y="46"/>
                    <a:pt x="540" y="34"/>
                  </a:cubicBezTo>
                  <a:cubicBezTo>
                    <a:pt x="528" y="0"/>
                    <a:pt x="516" y="8"/>
                    <a:pt x="476" y="4"/>
                  </a:cubicBezTo>
                  <a:cubicBezTo>
                    <a:pt x="460" y="8"/>
                    <a:pt x="444" y="6"/>
                    <a:pt x="429" y="21"/>
                  </a:cubicBezTo>
                  <a:cubicBezTo>
                    <a:pt x="413" y="22"/>
                    <a:pt x="390" y="28"/>
                    <a:pt x="384" y="13"/>
                  </a:cubicBezTo>
                  <a:close/>
                </a:path>
              </a:pathLst>
            </a:custGeom>
            <a:solidFill>
              <a:srgbClr val="8D9399"/>
            </a:solidFill>
            <a:ln w="3175">
              <a:solidFill>
                <a:srgbClr val="FFFFFF"/>
              </a:solidFill>
              <a:round/>
              <a:headEnd/>
              <a:tailEnd/>
            </a:ln>
          </p:spPr>
          <p:txBody>
            <a:bodyPr wrap="none" lIns="0" tIns="0" rIns="0" bIns="0" anchor="ctr"/>
            <a:lstStyle/>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ysClr val="windowText" lastClr="000000"/>
                </a:solidFill>
                <a:effectLst/>
                <a:uLnTx/>
                <a:uFillTx/>
                <a:latin typeface="Arial Narrow" charset="0"/>
                <a:ea typeface="+mn-ea"/>
                <a:cs typeface="+mn-cs"/>
                <a:sym typeface="Gill Sans" charset="0"/>
              </a:endParaRPr>
            </a:p>
          </p:txBody>
        </p:sp>
      </p:grpSp>
      <p:sp>
        <p:nvSpPr>
          <p:cNvPr id="444" name="Freeform 443"/>
          <p:cNvSpPr/>
          <p:nvPr/>
        </p:nvSpPr>
        <p:spPr bwMode="auto">
          <a:xfrm>
            <a:off x="7887146" y="9749811"/>
            <a:ext cx="4699000" cy="1841500"/>
          </a:xfrm>
          <a:custGeom>
            <a:avLst/>
            <a:gdLst>
              <a:gd name="connsiteX0" fmla="*/ 0 w 2349500"/>
              <a:gd name="connsiteY0" fmla="*/ 101600 h 920750"/>
              <a:gd name="connsiteX1" fmla="*/ 196850 w 2349500"/>
              <a:gd name="connsiteY1" fmla="*/ 114300 h 920750"/>
              <a:gd name="connsiteX2" fmla="*/ 444500 w 2349500"/>
              <a:gd name="connsiteY2" fmla="*/ 228600 h 920750"/>
              <a:gd name="connsiteX3" fmla="*/ 565150 w 2349500"/>
              <a:gd name="connsiteY3" fmla="*/ 336550 h 920750"/>
              <a:gd name="connsiteX4" fmla="*/ 946150 w 2349500"/>
              <a:gd name="connsiteY4" fmla="*/ 488950 h 920750"/>
              <a:gd name="connsiteX5" fmla="*/ 1193800 w 2349500"/>
              <a:gd name="connsiteY5" fmla="*/ 495300 h 920750"/>
              <a:gd name="connsiteX6" fmla="*/ 1295400 w 2349500"/>
              <a:gd name="connsiteY6" fmla="*/ 444500 h 920750"/>
              <a:gd name="connsiteX7" fmla="*/ 1257300 w 2349500"/>
              <a:gd name="connsiteY7" fmla="*/ 234950 h 920750"/>
              <a:gd name="connsiteX8" fmla="*/ 1270000 w 2349500"/>
              <a:gd name="connsiteY8" fmla="*/ 101600 h 920750"/>
              <a:gd name="connsiteX9" fmla="*/ 1352550 w 2349500"/>
              <a:gd name="connsiteY9" fmla="*/ 82550 h 920750"/>
              <a:gd name="connsiteX10" fmla="*/ 1422400 w 2349500"/>
              <a:gd name="connsiteY10" fmla="*/ 88900 h 920750"/>
              <a:gd name="connsiteX11" fmla="*/ 1555750 w 2349500"/>
              <a:gd name="connsiteY11" fmla="*/ 25400 h 920750"/>
              <a:gd name="connsiteX12" fmla="*/ 1670050 w 2349500"/>
              <a:gd name="connsiteY12" fmla="*/ 0 h 920750"/>
              <a:gd name="connsiteX13" fmla="*/ 1758950 w 2349500"/>
              <a:gd name="connsiteY13" fmla="*/ 38100 h 920750"/>
              <a:gd name="connsiteX14" fmla="*/ 1765300 w 2349500"/>
              <a:gd name="connsiteY14" fmla="*/ 190500 h 920750"/>
              <a:gd name="connsiteX15" fmla="*/ 1803400 w 2349500"/>
              <a:gd name="connsiteY15" fmla="*/ 298450 h 920750"/>
              <a:gd name="connsiteX16" fmla="*/ 1987550 w 2349500"/>
              <a:gd name="connsiteY16" fmla="*/ 444500 h 920750"/>
              <a:gd name="connsiteX17" fmla="*/ 2171700 w 2349500"/>
              <a:gd name="connsiteY17" fmla="*/ 552450 h 920750"/>
              <a:gd name="connsiteX18" fmla="*/ 2247900 w 2349500"/>
              <a:gd name="connsiteY18" fmla="*/ 603250 h 920750"/>
              <a:gd name="connsiteX19" fmla="*/ 2349500 w 2349500"/>
              <a:gd name="connsiteY19" fmla="*/ 920750 h 92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349500" h="920750">
                <a:moveTo>
                  <a:pt x="0" y="101600"/>
                </a:moveTo>
                <a:lnTo>
                  <a:pt x="196850" y="114300"/>
                </a:lnTo>
                <a:lnTo>
                  <a:pt x="444500" y="228600"/>
                </a:lnTo>
                <a:lnTo>
                  <a:pt x="565150" y="336550"/>
                </a:lnTo>
                <a:lnTo>
                  <a:pt x="946150" y="488950"/>
                </a:lnTo>
                <a:lnTo>
                  <a:pt x="1193800" y="495300"/>
                </a:lnTo>
                <a:lnTo>
                  <a:pt x="1295400" y="444500"/>
                </a:lnTo>
                <a:lnTo>
                  <a:pt x="1257300" y="234950"/>
                </a:lnTo>
                <a:lnTo>
                  <a:pt x="1270000" y="101600"/>
                </a:lnTo>
                <a:lnTo>
                  <a:pt x="1352550" y="82550"/>
                </a:lnTo>
                <a:lnTo>
                  <a:pt x="1422400" y="88900"/>
                </a:lnTo>
                <a:lnTo>
                  <a:pt x="1555750" y="25400"/>
                </a:lnTo>
                <a:lnTo>
                  <a:pt x="1670050" y="0"/>
                </a:lnTo>
                <a:lnTo>
                  <a:pt x="1758950" y="38100"/>
                </a:lnTo>
                <a:lnTo>
                  <a:pt x="1765300" y="190500"/>
                </a:lnTo>
                <a:lnTo>
                  <a:pt x="1803400" y="298450"/>
                </a:lnTo>
                <a:lnTo>
                  <a:pt x="1987550" y="444500"/>
                </a:lnTo>
                <a:lnTo>
                  <a:pt x="2171700" y="552450"/>
                </a:lnTo>
                <a:lnTo>
                  <a:pt x="2247900" y="603250"/>
                </a:lnTo>
                <a:lnTo>
                  <a:pt x="2349500" y="920750"/>
                </a:lnTo>
              </a:path>
            </a:pathLst>
          </a:custGeom>
          <a:noFill/>
          <a:ln w="76200" cap="flat" cmpd="sng" algn="ctr">
            <a:solidFill>
              <a:srgbClr val="FFFFFF"/>
            </a:solidFill>
            <a:prstDash val="solid"/>
          </a:ln>
          <a:effectLst/>
        </p:spPr>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rgbClr val="000000"/>
              </a:solidFill>
              <a:effectLst/>
              <a:uLnTx/>
              <a:uFillTx/>
              <a:latin typeface="Arial Narrow"/>
              <a:ea typeface="+mn-ea"/>
              <a:cs typeface="+mn-cs"/>
              <a:sym typeface="Gill Sans" charset="0"/>
            </a:endParaRPr>
          </a:p>
        </p:txBody>
      </p:sp>
      <p:sp>
        <p:nvSpPr>
          <p:cNvPr id="445" name="Freeform 444"/>
          <p:cNvSpPr/>
          <p:nvPr/>
        </p:nvSpPr>
        <p:spPr bwMode="auto">
          <a:xfrm>
            <a:off x="7223572" y="9749811"/>
            <a:ext cx="5360988" cy="1841500"/>
          </a:xfrm>
          <a:custGeom>
            <a:avLst/>
            <a:gdLst>
              <a:gd name="connsiteX0" fmla="*/ 0 w 2349500"/>
              <a:gd name="connsiteY0" fmla="*/ 101600 h 920750"/>
              <a:gd name="connsiteX1" fmla="*/ 196850 w 2349500"/>
              <a:gd name="connsiteY1" fmla="*/ 114300 h 920750"/>
              <a:gd name="connsiteX2" fmla="*/ 444500 w 2349500"/>
              <a:gd name="connsiteY2" fmla="*/ 228600 h 920750"/>
              <a:gd name="connsiteX3" fmla="*/ 565150 w 2349500"/>
              <a:gd name="connsiteY3" fmla="*/ 336550 h 920750"/>
              <a:gd name="connsiteX4" fmla="*/ 946150 w 2349500"/>
              <a:gd name="connsiteY4" fmla="*/ 488950 h 920750"/>
              <a:gd name="connsiteX5" fmla="*/ 1193800 w 2349500"/>
              <a:gd name="connsiteY5" fmla="*/ 495300 h 920750"/>
              <a:gd name="connsiteX6" fmla="*/ 1295400 w 2349500"/>
              <a:gd name="connsiteY6" fmla="*/ 444500 h 920750"/>
              <a:gd name="connsiteX7" fmla="*/ 1257300 w 2349500"/>
              <a:gd name="connsiteY7" fmla="*/ 234950 h 920750"/>
              <a:gd name="connsiteX8" fmla="*/ 1270000 w 2349500"/>
              <a:gd name="connsiteY8" fmla="*/ 101600 h 920750"/>
              <a:gd name="connsiteX9" fmla="*/ 1352550 w 2349500"/>
              <a:gd name="connsiteY9" fmla="*/ 82550 h 920750"/>
              <a:gd name="connsiteX10" fmla="*/ 1422400 w 2349500"/>
              <a:gd name="connsiteY10" fmla="*/ 88900 h 920750"/>
              <a:gd name="connsiteX11" fmla="*/ 1555750 w 2349500"/>
              <a:gd name="connsiteY11" fmla="*/ 25400 h 920750"/>
              <a:gd name="connsiteX12" fmla="*/ 1670050 w 2349500"/>
              <a:gd name="connsiteY12" fmla="*/ 0 h 920750"/>
              <a:gd name="connsiteX13" fmla="*/ 1758950 w 2349500"/>
              <a:gd name="connsiteY13" fmla="*/ 38100 h 920750"/>
              <a:gd name="connsiteX14" fmla="*/ 1765300 w 2349500"/>
              <a:gd name="connsiteY14" fmla="*/ 190500 h 920750"/>
              <a:gd name="connsiteX15" fmla="*/ 1803400 w 2349500"/>
              <a:gd name="connsiteY15" fmla="*/ 298450 h 920750"/>
              <a:gd name="connsiteX16" fmla="*/ 1987550 w 2349500"/>
              <a:gd name="connsiteY16" fmla="*/ 444500 h 920750"/>
              <a:gd name="connsiteX17" fmla="*/ 2171700 w 2349500"/>
              <a:gd name="connsiteY17" fmla="*/ 552450 h 920750"/>
              <a:gd name="connsiteX18" fmla="*/ 2247900 w 2349500"/>
              <a:gd name="connsiteY18" fmla="*/ 603250 h 920750"/>
              <a:gd name="connsiteX19" fmla="*/ 2349500 w 2349500"/>
              <a:gd name="connsiteY19" fmla="*/ 920750 h 920750"/>
              <a:gd name="connsiteX0" fmla="*/ 0 w 2349500"/>
              <a:gd name="connsiteY0" fmla="*/ 101600 h 920750"/>
              <a:gd name="connsiteX1" fmla="*/ 99483 w 2349500"/>
              <a:gd name="connsiteY1" fmla="*/ 106680 h 920750"/>
              <a:gd name="connsiteX2" fmla="*/ 196850 w 2349500"/>
              <a:gd name="connsiteY2" fmla="*/ 114300 h 920750"/>
              <a:gd name="connsiteX3" fmla="*/ 444500 w 2349500"/>
              <a:gd name="connsiteY3" fmla="*/ 228600 h 920750"/>
              <a:gd name="connsiteX4" fmla="*/ 565150 w 2349500"/>
              <a:gd name="connsiteY4" fmla="*/ 336550 h 920750"/>
              <a:gd name="connsiteX5" fmla="*/ 946150 w 2349500"/>
              <a:gd name="connsiteY5" fmla="*/ 488950 h 920750"/>
              <a:gd name="connsiteX6" fmla="*/ 1193800 w 2349500"/>
              <a:gd name="connsiteY6" fmla="*/ 495300 h 920750"/>
              <a:gd name="connsiteX7" fmla="*/ 1295400 w 2349500"/>
              <a:gd name="connsiteY7" fmla="*/ 444500 h 920750"/>
              <a:gd name="connsiteX8" fmla="*/ 1257300 w 2349500"/>
              <a:gd name="connsiteY8" fmla="*/ 234950 h 920750"/>
              <a:gd name="connsiteX9" fmla="*/ 1270000 w 2349500"/>
              <a:gd name="connsiteY9" fmla="*/ 101600 h 920750"/>
              <a:gd name="connsiteX10" fmla="*/ 1352550 w 2349500"/>
              <a:gd name="connsiteY10" fmla="*/ 82550 h 920750"/>
              <a:gd name="connsiteX11" fmla="*/ 1422400 w 2349500"/>
              <a:gd name="connsiteY11" fmla="*/ 88900 h 920750"/>
              <a:gd name="connsiteX12" fmla="*/ 1555750 w 2349500"/>
              <a:gd name="connsiteY12" fmla="*/ 25400 h 920750"/>
              <a:gd name="connsiteX13" fmla="*/ 1670050 w 2349500"/>
              <a:gd name="connsiteY13" fmla="*/ 0 h 920750"/>
              <a:gd name="connsiteX14" fmla="*/ 1758950 w 2349500"/>
              <a:gd name="connsiteY14" fmla="*/ 38100 h 920750"/>
              <a:gd name="connsiteX15" fmla="*/ 1765300 w 2349500"/>
              <a:gd name="connsiteY15" fmla="*/ 190500 h 920750"/>
              <a:gd name="connsiteX16" fmla="*/ 1803400 w 2349500"/>
              <a:gd name="connsiteY16" fmla="*/ 298450 h 920750"/>
              <a:gd name="connsiteX17" fmla="*/ 1987550 w 2349500"/>
              <a:gd name="connsiteY17" fmla="*/ 444500 h 920750"/>
              <a:gd name="connsiteX18" fmla="*/ 2171700 w 2349500"/>
              <a:gd name="connsiteY18" fmla="*/ 552450 h 920750"/>
              <a:gd name="connsiteX19" fmla="*/ 2247900 w 2349500"/>
              <a:gd name="connsiteY19" fmla="*/ 603250 h 920750"/>
              <a:gd name="connsiteX20" fmla="*/ 2349500 w 2349500"/>
              <a:gd name="connsiteY20" fmla="*/ 920750 h 920750"/>
              <a:gd name="connsiteX0" fmla="*/ 0 w 2542382"/>
              <a:gd name="connsiteY0" fmla="*/ 108744 h 920750"/>
              <a:gd name="connsiteX1" fmla="*/ 292365 w 2542382"/>
              <a:gd name="connsiteY1" fmla="*/ 106680 h 920750"/>
              <a:gd name="connsiteX2" fmla="*/ 389732 w 2542382"/>
              <a:gd name="connsiteY2" fmla="*/ 114300 h 920750"/>
              <a:gd name="connsiteX3" fmla="*/ 637382 w 2542382"/>
              <a:gd name="connsiteY3" fmla="*/ 228600 h 920750"/>
              <a:gd name="connsiteX4" fmla="*/ 758032 w 2542382"/>
              <a:gd name="connsiteY4" fmla="*/ 336550 h 920750"/>
              <a:gd name="connsiteX5" fmla="*/ 1139032 w 2542382"/>
              <a:gd name="connsiteY5" fmla="*/ 488950 h 920750"/>
              <a:gd name="connsiteX6" fmla="*/ 1386682 w 2542382"/>
              <a:gd name="connsiteY6" fmla="*/ 495300 h 920750"/>
              <a:gd name="connsiteX7" fmla="*/ 1488282 w 2542382"/>
              <a:gd name="connsiteY7" fmla="*/ 444500 h 920750"/>
              <a:gd name="connsiteX8" fmla="*/ 1450182 w 2542382"/>
              <a:gd name="connsiteY8" fmla="*/ 234950 h 920750"/>
              <a:gd name="connsiteX9" fmla="*/ 1462882 w 2542382"/>
              <a:gd name="connsiteY9" fmla="*/ 101600 h 920750"/>
              <a:gd name="connsiteX10" fmla="*/ 1545432 w 2542382"/>
              <a:gd name="connsiteY10" fmla="*/ 82550 h 920750"/>
              <a:gd name="connsiteX11" fmla="*/ 1615282 w 2542382"/>
              <a:gd name="connsiteY11" fmla="*/ 88900 h 920750"/>
              <a:gd name="connsiteX12" fmla="*/ 1748632 w 2542382"/>
              <a:gd name="connsiteY12" fmla="*/ 25400 h 920750"/>
              <a:gd name="connsiteX13" fmla="*/ 1862932 w 2542382"/>
              <a:gd name="connsiteY13" fmla="*/ 0 h 920750"/>
              <a:gd name="connsiteX14" fmla="*/ 1951832 w 2542382"/>
              <a:gd name="connsiteY14" fmla="*/ 38100 h 920750"/>
              <a:gd name="connsiteX15" fmla="*/ 1958182 w 2542382"/>
              <a:gd name="connsiteY15" fmla="*/ 190500 h 920750"/>
              <a:gd name="connsiteX16" fmla="*/ 1996282 w 2542382"/>
              <a:gd name="connsiteY16" fmla="*/ 298450 h 920750"/>
              <a:gd name="connsiteX17" fmla="*/ 2180432 w 2542382"/>
              <a:gd name="connsiteY17" fmla="*/ 444500 h 920750"/>
              <a:gd name="connsiteX18" fmla="*/ 2364582 w 2542382"/>
              <a:gd name="connsiteY18" fmla="*/ 552450 h 920750"/>
              <a:gd name="connsiteX19" fmla="*/ 2440782 w 2542382"/>
              <a:gd name="connsiteY19" fmla="*/ 603250 h 920750"/>
              <a:gd name="connsiteX20" fmla="*/ 2542382 w 2542382"/>
              <a:gd name="connsiteY20" fmla="*/ 920750 h 920750"/>
              <a:gd name="connsiteX0" fmla="*/ 0 w 2542382"/>
              <a:gd name="connsiteY0" fmla="*/ 108744 h 920750"/>
              <a:gd name="connsiteX1" fmla="*/ 156634 w 2542382"/>
              <a:gd name="connsiteY1" fmla="*/ 109061 h 920750"/>
              <a:gd name="connsiteX2" fmla="*/ 389732 w 2542382"/>
              <a:gd name="connsiteY2" fmla="*/ 114300 h 920750"/>
              <a:gd name="connsiteX3" fmla="*/ 637382 w 2542382"/>
              <a:gd name="connsiteY3" fmla="*/ 228600 h 920750"/>
              <a:gd name="connsiteX4" fmla="*/ 758032 w 2542382"/>
              <a:gd name="connsiteY4" fmla="*/ 336550 h 920750"/>
              <a:gd name="connsiteX5" fmla="*/ 1139032 w 2542382"/>
              <a:gd name="connsiteY5" fmla="*/ 488950 h 920750"/>
              <a:gd name="connsiteX6" fmla="*/ 1386682 w 2542382"/>
              <a:gd name="connsiteY6" fmla="*/ 495300 h 920750"/>
              <a:gd name="connsiteX7" fmla="*/ 1488282 w 2542382"/>
              <a:gd name="connsiteY7" fmla="*/ 444500 h 920750"/>
              <a:gd name="connsiteX8" fmla="*/ 1450182 w 2542382"/>
              <a:gd name="connsiteY8" fmla="*/ 234950 h 920750"/>
              <a:gd name="connsiteX9" fmla="*/ 1462882 w 2542382"/>
              <a:gd name="connsiteY9" fmla="*/ 101600 h 920750"/>
              <a:gd name="connsiteX10" fmla="*/ 1545432 w 2542382"/>
              <a:gd name="connsiteY10" fmla="*/ 82550 h 920750"/>
              <a:gd name="connsiteX11" fmla="*/ 1615282 w 2542382"/>
              <a:gd name="connsiteY11" fmla="*/ 88900 h 920750"/>
              <a:gd name="connsiteX12" fmla="*/ 1748632 w 2542382"/>
              <a:gd name="connsiteY12" fmla="*/ 25400 h 920750"/>
              <a:gd name="connsiteX13" fmla="*/ 1862932 w 2542382"/>
              <a:gd name="connsiteY13" fmla="*/ 0 h 920750"/>
              <a:gd name="connsiteX14" fmla="*/ 1951832 w 2542382"/>
              <a:gd name="connsiteY14" fmla="*/ 38100 h 920750"/>
              <a:gd name="connsiteX15" fmla="*/ 1958182 w 2542382"/>
              <a:gd name="connsiteY15" fmla="*/ 190500 h 920750"/>
              <a:gd name="connsiteX16" fmla="*/ 1996282 w 2542382"/>
              <a:gd name="connsiteY16" fmla="*/ 298450 h 920750"/>
              <a:gd name="connsiteX17" fmla="*/ 2180432 w 2542382"/>
              <a:gd name="connsiteY17" fmla="*/ 444500 h 920750"/>
              <a:gd name="connsiteX18" fmla="*/ 2364582 w 2542382"/>
              <a:gd name="connsiteY18" fmla="*/ 552450 h 920750"/>
              <a:gd name="connsiteX19" fmla="*/ 2440782 w 2542382"/>
              <a:gd name="connsiteY19" fmla="*/ 603250 h 920750"/>
              <a:gd name="connsiteX20" fmla="*/ 2542382 w 2542382"/>
              <a:gd name="connsiteY20" fmla="*/ 920750 h 920750"/>
              <a:gd name="connsiteX0" fmla="*/ 0 w 2680494"/>
              <a:gd name="connsiteY0" fmla="*/ 199232 h 920750"/>
              <a:gd name="connsiteX1" fmla="*/ 294746 w 2680494"/>
              <a:gd name="connsiteY1" fmla="*/ 109061 h 920750"/>
              <a:gd name="connsiteX2" fmla="*/ 527844 w 2680494"/>
              <a:gd name="connsiteY2" fmla="*/ 114300 h 920750"/>
              <a:gd name="connsiteX3" fmla="*/ 775494 w 2680494"/>
              <a:gd name="connsiteY3" fmla="*/ 228600 h 920750"/>
              <a:gd name="connsiteX4" fmla="*/ 896144 w 2680494"/>
              <a:gd name="connsiteY4" fmla="*/ 336550 h 920750"/>
              <a:gd name="connsiteX5" fmla="*/ 1277144 w 2680494"/>
              <a:gd name="connsiteY5" fmla="*/ 488950 h 920750"/>
              <a:gd name="connsiteX6" fmla="*/ 1524794 w 2680494"/>
              <a:gd name="connsiteY6" fmla="*/ 495300 h 920750"/>
              <a:gd name="connsiteX7" fmla="*/ 1626394 w 2680494"/>
              <a:gd name="connsiteY7" fmla="*/ 444500 h 920750"/>
              <a:gd name="connsiteX8" fmla="*/ 1588294 w 2680494"/>
              <a:gd name="connsiteY8" fmla="*/ 234950 h 920750"/>
              <a:gd name="connsiteX9" fmla="*/ 1600994 w 2680494"/>
              <a:gd name="connsiteY9" fmla="*/ 101600 h 920750"/>
              <a:gd name="connsiteX10" fmla="*/ 1683544 w 2680494"/>
              <a:gd name="connsiteY10" fmla="*/ 82550 h 920750"/>
              <a:gd name="connsiteX11" fmla="*/ 1753394 w 2680494"/>
              <a:gd name="connsiteY11" fmla="*/ 88900 h 920750"/>
              <a:gd name="connsiteX12" fmla="*/ 1886744 w 2680494"/>
              <a:gd name="connsiteY12" fmla="*/ 25400 h 920750"/>
              <a:gd name="connsiteX13" fmla="*/ 2001044 w 2680494"/>
              <a:gd name="connsiteY13" fmla="*/ 0 h 920750"/>
              <a:gd name="connsiteX14" fmla="*/ 2089944 w 2680494"/>
              <a:gd name="connsiteY14" fmla="*/ 38100 h 920750"/>
              <a:gd name="connsiteX15" fmla="*/ 2096294 w 2680494"/>
              <a:gd name="connsiteY15" fmla="*/ 190500 h 920750"/>
              <a:gd name="connsiteX16" fmla="*/ 2134394 w 2680494"/>
              <a:gd name="connsiteY16" fmla="*/ 298450 h 920750"/>
              <a:gd name="connsiteX17" fmla="*/ 2318544 w 2680494"/>
              <a:gd name="connsiteY17" fmla="*/ 444500 h 920750"/>
              <a:gd name="connsiteX18" fmla="*/ 2502694 w 2680494"/>
              <a:gd name="connsiteY18" fmla="*/ 552450 h 920750"/>
              <a:gd name="connsiteX19" fmla="*/ 2578894 w 2680494"/>
              <a:gd name="connsiteY19" fmla="*/ 603250 h 920750"/>
              <a:gd name="connsiteX20" fmla="*/ 2680494 w 2680494"/>
              <a:gd name="connsiteY20" fmla="*/ 920750 h 920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80494" h="920750">
                <a:moveTo>
                  <a:pt x="0" y="199232"/>
                </a:moveTo>
                <a:lnTo>
                  <a:pt x="294746" y="109061"/>
                </a:lnTo>
                <a:lnTo>
                  <a:pt x="527844" y="114300"/>
                </a:lnTo>
                <a:lnTo>
                  <a:pt x="775494" y="228600"/>
                </a:lnTo>
                <a:lnTo>
                  <a:pt x="896144" y="336550"/>
                </a:lnTo>
                <a:lnTo>
                  <a:pt x="1277144" y="488950"/>
                </a:lnTo>
                <a:lnTo>
                  <a:pt x="1524794" y="495300"/>
                </a:lnTo>
                <a:lnTo>
                  <a:pt x="1626394" y="444500"/>
                </a:lnTo>
                <a:lnTo>
                  <a:pt x="1588294" y="234950"/>
                </a:lnTo>
                <a:lnTo>
                  <a:pt x="1600994" y="101600"/>
                </a:lnTo>
                <a:lnTo>
                  <a:pt x="1683544" y="82550"/>
                </a:lnTo>
                <a:lnTo>
                  <a:pt x="1753394" y="88900"/>
                </a:lnTo>
                <a:lnTo>
                  <a:pt x="1886744" y="25400"/>
                </a:lnTo>
                <a:lnTo>
                  <a:pt x="2001044" y="0"/>
                </a:lnTo>
                <a:lnTo>
                  <a:pt x="2089944" y="38100"/>
                </a:lnTo>
                <a:lnTo>
                  <a:pt x="2096294" y="190500"/>
                </a:lnTo>
                <a:lnTo>
                  <a:pt x="2134394" y="298450"/>
                </a:lnTo>
                <a:lnTo>
                  <a:pt x="2318544" y="444500"/>
                </a:lnTo>
                <a:lnTo>
                  <a:pt x="2502694" y="552450"/>
                </a:lnTo>
                <a:lnTo>
                  <a:pt x="2578894" y="603250"/>
                </a:lnTo>
                <a:lnTo>
                  <a:pt x="2680494" y="920750"/>
                </a:lnTo>
              </a:path>
            </a:pathLst>
          </a:custGeom>
          <a:noFill/>
          <a:ln w="15875" cap="flat" cmpd="sng" algn="ctr">
            <a:solidFill>
              <a:srgbClr val="156C9C"/>
            </a:solidFill>
            <a:prstDash val="sysDot"/>
          </a:ln>
          <a:effectLst/>
        </p:spPr>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rgbClr val="000000"/>
              </a:solidFill>
              <a:effectLst/>
              <a:uLnTx/>
              <a:uFillTx/>
              <a:latin typeface="Arial Narrow"/>
              <a:ea typeface="+mn-ea"/>
              <a:cs typeface="+mn-cs"/>
              <a:sym typeface="Gill Sans" charset="0"/>
            </a:endParaRPr>
          </a:p>
        </p:txBody>
      </p:sp>
      <p:sp>
        <p:nvSpPr>
          <p:cNvPr id="446" name="Freeform 445"/>
          <p:cNvSpPr/>
          <p:nvPr/>
        </p:nvSpPr>
        <p:spPr bwMode="auto">
          <a:xfrm>
            <a:off x="8496746" y="8759211"/>
            <a:ext cx="2120900" cy="1193800"/>
          </a:xfrm>
          <a:custGeom>
            <a:avLst/>
            <a:gdLst>
              <a:gd name="connsiteX0" fmla="*/ 968375 w 1060450"/>
              <a:gd name="connsiteY0" fmla="*/ 596900 h 596900"/>
              <a:gd name="connsiteX1" fmla="*/ 904875 w 1060450"/>
              <a:gd name="connsiteY1" fmla="*/ 555625 h 596900"/>
              <a:gd name="connsiteX2" fmla="*/ 971550 w 1060450"/>
              <a:gd name="connsiteY2" fmla="*/ 415925 h 596900"/>
              <a:gd name="connsiteX3" fmla="*/ 1000125 w 1060450"/>
              <a:gd name="connsiteY3" fmla="*/ 409575 h 596900"/>
              <a:gd name="connsiteX4" fmla="*/ 1060450 w 1060450"/>
              <a:gd name="connsiteY4" fmla="*/ 276225 h 596900"/>
              <a:gd name="connsiteX5" fmla="*/ 898525 w 1060450"/>
              <a:gd name="connsiteY5" fmla="*/ 200025 h 596900"/>
              <a:gd name="connsiteX6" fmla="*/ 809625 w 1060450"/>
              <a:gd name="connsiteY6" fmla="*/ 123825 h 596900"/>
              <a:gd name="connsiteX7" fmla="*/ 771525 w 1060450"/>
              <a:gd name="connsiteY7" fmla="*/ 111125 h 596900"/>
              <a:gd name="connsiteX8" fmla="*/ 704850 w 1060450"/>
              <a:gd name="connsiteY8" fmla="*/ 50800 h 596900"/>
              <a:gd name="connsiteX9" fmla="*/ 663575 w 1060450"/>
              <a:gd name="connsiteY9" fmla="*/ 0 h 596900"/>
              <a:gd name="connsiteX10" fmla="*/ 561975 w 1060450"/>
              <a:gd name="connsiteY10" fmla="*/ 28575 h 596900"/>
              <a:gd name="connsiteX11" fmla="*/ 384175 w 1060450"/>
              <a:gd name="connsiteY11" fmla="*/ 31750 h 596900"/>
              <a:gd name="connsiteX12" fmla="*/ 107950 w 1060450"/>
              <a:gd name="connsiteY12" fmla="*/ 88900 h 596900"/>
              <a:gd name="connsiteX13" fmla="*/ 0 w 1060450"/>
              <a:gd name="connsiteY13" fmla="*/ 133350 h 596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60450" h="596900">
                <a:moveTo>
                  <a:pt x="968375" y="596900"/>
                </a:moveTo>
                <a:lnTo>
                  <a:pt x="904875" y="555625"/>
                </a:lnTo>
                <a:lnTo>
                  <a:pt x="971550" y="415925"/>
                </a:lnTo>
                <a:lnTo>
                  <a:pt x="1000125" y="409575"/>
                </a:lnTo>
                <a:lnTo>
                  <a:pt x="1060450" y="276225"/>
                </a:lnTo>
                <a:lnTo>
                  <a:pt x="898525" y="200025"/>
                </a:lnTo>
                <a:lnTo>
                  <a:pt x="809625" y="123825"/>
                </a:lnTo>
                <a:lnTo>
                  <a:pt x="771525" y="111125"/>
                </a:lnTo>
                <a:lnTo>
                  <a:pt x="704850" y="50800"/>
                </a:lnTo>
                <a:lnTo>
                  <a:pt x="663575" y="0"/>
                </a:lnTo>
                <a:lnTo>
                  <a:pt x="561975" y="28575"/>
                </a:lnTo>
                <a:lnTo>
                  <a:pt x="384175" y="31750"/>
                </a:lnTo>
                <a:lnTo>
                  <a:pt x="107950" y="88900"/>
                </a:lnTo>
                <a:lnTo>
                  <a:pt x="0" y="133350"/>
                </a:lnTo>
              </a:path>
            </a:pathLst>
          </a:custGeom>
          <a:noFill/>
          <a:ln w="76200" cap="flat" cmpd="sng" algn="ctr">
            <a:solidFill>
              <a:srgbClr val="FFFFFF"/>
            </a:solidFill>
            <a:prstDash val="solid"/>
          </a:ln>
          <a:effectLst/>
        </p:spPr>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rgbClr val="000000"/>
              </a:solidFill>
              <a:effectLst/>
              <a:uLnTx/>
              <a:uFillTx/>
              <a:latin typeface="Arial Narrow"/>
              <a:ea typeface="+mn-ea"/>
              <a:cs typeface="+mn-cs"/>
              <a:sym typeface="Gill Sans" charset="0"/>
            </a:endParaRPr>
          </a:p>
        </p:txBody>
      </p:sp>
      <p:sp>
        <p:nvSpPr>
          <p:cNvPr id="447" name="Freeform 446"/>
          <p:cNvSpPr/>
          <p:nvPr/>
        </p:nvSpPr>
        <p:spPr bwMode="auto">
          <a:xfrm>
            <a:off x="9449246" y="6574811"/>
            <a:ext cx="381000" cy="2197100"/>
          </a:xfrm>
          <a:custGeom>
            <a:avLst/>
            <a:gdLst>
              <a:gd name="connsiteX0" fmla="*/ 190500 w 190500"/>
              <a:gd name="connsiteY0" fmla="*/ 1098550 h 1098550"/>
              <a:gd name="connsiteX1" fmla="*/ 190500 w 190500"/>
              <a:gd name="connsiteY1" fmla="*/ 889000 h 1098550"/>
              <a:gd name="connsiteX2" fmla="*/ 95250 w 190500"/>
              <a:gd name="connsiteY2" fmla="*/ 673100 h 1098550"/>
              <a:gd name="connsiteX3" fmla="*/ 31750 w 190500"/>
              <a:gd name="connsiteY3" fmla="*/ 495300 h 1098550"/>
              <a:gd name="connsiteX4" fmla="*/ 76200 w 190500"/>
              <a:gd name="connsiteY4" fmla="*/ 285750 h 1098550"/>
              <a:gd name="connsiteX5" fmla="*/ 0 w 190500"/>
              <a:gd name="connsiteY5" fmla="*/ 0 h 1098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500" h="1098550">
                <a:moveTo>
                  <a:pt x="190500" y="1098550"/>
                </a:moveTo>
                <a:lnTo>
                  <a:pt x="190500" y="889000"/>
                </a:lnTo>
                <a:lnTo>
                  <a:pt x="95250" y="673100"/>
                </a:lnTo>
                <a:lnTo>
                  <a:pt x="31750" y="495300"/>
                </a:lnTo>
                <a:lnTo>
                  <a:pt x="76200" y="285750"/>
                </a:lnTo>
                <a:lnTo>
                  <a:pt x="0" y="0"/>
                </a:lnTo>
              </a:path>
            </a:pathLst>
          </a:custGeom>
          <a:noFill/>
          <a:ln w="76200" cap="flat" cmpd="sng" algn="ctr">
            <a:solidFill>
              <a:srgbClr val="FFFFFF"/>
            </a:solidFill>
            <a:prstDash val="solid"/>
          </a:ln>
          <a:effectLst/>
        </p:spPr>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rgbClr val="000000"/>
              </a:solidFill>
              <a:effectLst/>
              <a:uLnTx/>
              <a:uFillTx/>
              <a:latin typeface="Arial Narrow"/>
              <a:ea typeface="+mn-ea"/>
              <a:cs typeface="+mn-cs"/>
              <a:sym typeface="Gill Sans" charset="0"/>
            </a:endParaRPr>
          </a:p>
        </p:txBody>
      </p:sp>
      <p:sp>
        <p:nvSpPr>
          <p:cNvPr id="448" name="Freeform 447"/>
          <p:cNvSpPr/>
          <p:nvPr/>
        </p:nvSpPr>
        <p:spPr bwMode="auto">
          <a:xfrm>
            <a:off x="8458646" y="6644662"/>
            <a:ext cx="1371600" cy="2127250"/>
          </a:xfrm>
          <a:custGeom>
            <a:avLst/>
            <a:gdLst>
              <a:gd name="connsiteX0" fmla="*/ 190500 w 190500"/>
              <a:gd name="connsiteY0" fmla="*/ 1098550 h 1098550"/>
              <a:gd name="connsiteX1" fmla="*/ 190500 w 190500"/>
              <a:gd name="connsiteY1" fmla="*/ 889000 h 1098550"/>
              <a:gd name="connsiteX2" fmla="*/ 95250 w 190500"/>
              <a:gd name="connsiteY2" fmla="*/ 673100 h 1098550"/>
              <a:gd name="connsiteX3" fmla="*/ 31750 w 190500"/>
              <a:gd name="connsiteY3" fmla="*/ 495300 h 1098550"/>
              <a:gd name="connsiteX4" fmla="*/ 76200 w 190500"/>
              <a:gd name="connsiteY4" fmla="*/ 285750 h 1098550"/>
              <a:gd name="connsiteX5" fmla="*/ 0 w 190500"/>
              <a:gd name="connsiteY5" fmla="*/ 0 h 1098550"/>
              <a:gd name="connsiteX0" fmla="*/ 190500 w 190500"/>
              <a:gd name="connsiteY0" fmla="*/ 1098550 h 1098550"/>
              <a:gd name="connsiteX1" fmla="*/ 190500 w 190500"/>
              <a:gd name="connsiteY1" fmla="*/ 889000 h 1098550"/>
              <a:gd name="connsiteX2" fmla="*/ 95250 w 190500"/>
              <a:gd name="connsiteY2" fmla="*/ 673100 h 1098550"/>
              <a:gd name="connsiteX3" fmla="*/ 31750 w 190500"/>
              <a:gd name="connsiteY3" fmla="*/ 495300 h 1098550"/>
              <a:gd name="connsiteX4" fmla="*/ 76200 w 190500"/>
              <a:gd name="connsiteY4" fmla="*/ 285750 h 1098550"/>
              <a:gd name="connsiteX5" fmla="*/ 41275 w 190500"/>
              <a:gd name="connsiteY5" fmla="*/ 141605 h 1098550"/>
              <a:gd name="connsiteX6" fmla="*/ 0 w 190500"/>
              <a:gd name="connsiteY6" fmla="*/ 0 h 1098550"/>
              <a:gd name="connsiteX0" fmla="*/ 685800 w 685800"/>
              <a:gd name="connsiteY0" fmla="*/ 1063625 h 1063625"/>
              <a:gd name="connsiteX1" fmla="*/ 685800 w 685800"/>
              <a:gd name="connsiteY1" fmla="*/ 854075 h 1063625"/>
              <a:gd name="connsiteX2" fmla="*/ 590550 w 685800"/>
              <a:gd name="connsiteY2" fmla="*/ 638175 h 1063625"/>
              <a:gd name="connsiteX3" fmla="*/ 527050 w 685800"/>
              <a:gd name="connsiteY3" fmla="*/ 460375 h 1063625"/>
              <a:gd name="connsiteX4" fmla="*/ 571500 w 685800"/>
              <a:gd name="connsiteY4" fmla="*/ 250825 h 1063625"/>
              <a:gd name="connsiteX5" fmla="*/ 536575 w 685800"/>
              <a:gd name="connsiteY5" fmla="*/ 106680 h 1063625"/>
              <a:gd name="connsiteX6" fmla="*/ 0 w 685800"/>
              <a:gd name="connsiteY6" fmla="*/ 0 h 1063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800" h="1063625">
                <a:moveTo>
                  <a:pt x="685800" y="1063625"/>
                </a:moveTo>
                <a:lnTo>
                  <a:pt x="685800" y="854075"/>
                </a:lnTo>
                <a:lnTo>
                  <a:pt x="590550" y="638175"/>
                </a:lnTo>
                <a:lnTo>
                  <a:pt x="527050" y="460375"/>
                </a:lnTo>
                <a:lnTo>
                  <a:pt x="571500" y="250825"/>
                </a:lnTo>
                <a:lnTo>
                  <a:pt x="536575" y="106680"/>
                </a:lnTo>
                <a:lnTo>
                  <a:pt x="0" y="0"/>
                </a:lnTo>
              </a:path>
            </a:pathLst>
          </a:custGeom>
          <a:noFill/>
          <a:ln w="15875" cap="flat" cmpd="sng" algn="ctr">
            <a:solidFill>
              <a:srgbClr val="156C9C"/>
            </a:solidFill>
            <a:prstDash val="sysDot"/>
          </a:ln>
          <a:effectLst/>
        </p:spPr>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rgbClr val="000000"/>
              </a:solidFill>
              <a:effectLst/>
              <a:uLnTx/>
              <a:uFillTx/>
              <a:latin typeface="Arial Narrow"/>
              <a:ea typeface="+mn-ea"/>
              <a:cs typeface="+mn-cs"/>
              <a:sym typeface="Gill Sans" charset="0"/>
            </a:endParaRPr>
          </a:p>
        </p:txBody>
      </p:sp>
      <p:sp>
        <p:nvSpPr>
          <p:cNvPr id="449" name="Freeform 448"/>
          <p:cNvSpPr/>
          <p:nvPr/>
        </p:nvSpPr>
        <p:spPr bwMode="auto">
          <a:xfrm>
            <a:off x="8496746" y="8759211"/>
            <a:ext cx="2120900" cy="1193800"/>
          </a:xfrm>
          <a:custGeom>
            <a:avLst/>
            <a:gdLst>
              <a:gd name="connsiteX0" fmla="*/ 968375 w 1060450"/>
              <a:gd name="connsiteY0" fmla="*/ 596900 h 596900"/>
              <a:gd name="connsiteX1" fmla="*/ 904875 w 1060450"/>
              <a:gd name="connsiteY1" fmla="*/ 555625 h 596900"/>
              <a:gd name="connsiteX2" fmla="*/ 971550 w 1060450"/>
              <a:gd name="connsiteY2" fmla="*/ 415925 h 596900"/>
              <a:gd name="connsiteX3" fmla="*/ 1000125 w 1060450"/>
              <a:gd name="connsiteY3" fmla="*/ 409575 h 596900"/>
              <a:gd name="connsiteX4" fmla="*/ 1060450 w 1060450"/>
              <a:gd name="connsiteY4" fmla="*/ 276225 h 596900"/>
              <a:gd name="connsiteX5" fmla="*/ 898525 w 1060450"/>
              <a:gd name="connsiteY5" fmla="*/ 200025 h 596900"/>
              <a:gd name="connsiteX6" fmla="*/ 809625 w 1060450"/>
              <a:gd name="connsiteY6" fmla="*/ 123825 h 596900"/>
              <a:gd name="connsiteX7" fmla="*/ 771525 w 1060450"/>
              <a:gd name="connsiteY7" fmla="*/ 111125 h 596900"/>
              <a:gd name="connsiteX8" fmla="*/ 704850 w 1060450"/>
              <a:gd name="connsiteY8" fmla="*/ 50800 h 596900"/>
              <a:gd name="connsiteX9" fmla="*/ 663575 w 1060450"/>
              <a:gd name="connsiteY9" fmla="*/ 0 h 596900"/>
              <a:gd name="connsiteX10" fmla="*/ 561975 w 1060450"/>
              <a:gd name="connsiteY10" fmla="*/ 28575 h 596900"/>
              <a:gd name="connsiteX11" fmla="*/ 384175 w 1060450"/>
              <a:gd name="connsiteY11" fmla="*/ 31750 h 596900"/>
              <a:gd name="connsiteX12" fmla="*/ 107950 w 1060450"/>
              <a:gd name="connsiteY12" fmla="*/ 88900 h 596900"/>
              <a:gd name="connsiteX13" fmla="*/ 0 w 1060450"/>
              <a:gd name="connsiteY13" fmla="*/ 133350 h 596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60450" h="596900">
                <a:moveTo>
                  <a:pt x="968375" y="596900"/>
                </a:moveTo>
                <a:lnTo>
                  <a:pt x="904875" y="555625"/>
                </a:lnTo>
                <a:lnTo>
                  <a:pt x="971550" y="415925"/>
                </a:lnTo>
                <a:lnTo>
                  <a:pt x="1000125" y="409575"/>
                </a:lnTo>
                <a:lnTo>
                  <a:pt x="1060450" y="276225"/>
                </a:lnTo>
                <a:lnTo>
                  <a:pt x="898525" y="200025"/>
                </a:lnTo>
                <a:lnTo>
                  <a:pt x="809625" y="123825"/>
                </a:lnTo>
                <a:lnTo>
                  <a:pt x="771525" y="111125"/>
                </a:lnTo>
                <a:lnTo>
                  <a:pt x="704850" y="50800"/>
                </a:lnTo>
                <a:lnTo>
                  <a:pt x="663575" y="0"/>
                </a:lnTo>
                <a:lnTo>
                  <a:pt x="561975" y="28575"/>
                </a:lnTo>
                <a:lnTo>
                  <a:pt x="384175" y="31750"/>
                </a:lnTo>
                <a:lnTo>
                  <a:pt x="107950" y="88900"/>
                </a:lnTo>
                <a:lnTo>
                  <a:pt x="0" y="133350"/>
                </a:lnTo>
              </a:path>
            </a:pathLst>
          </a:custGeom>
          <a:noFill/>
          <a:ln w="15875" cap="flat" cmpd="sng" algn="ctr">
            <a:solidFill>
              <a:srgbClr val="156C9C"/>
            </a:solidFill>
            <a:prstDash val="sysDot"/>
          </a:ln>
          <a:effectLst/>
        </p:spPr>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rgbClr val="000000"/>
              </a:solidFill>
              <a:effectLst/>
              <a:uLnTx/>
              <a:uFillTx/>
              <a:latin typeface="Arial Narrow"/>
              <a:ea typeface="+mn-ea"/>
              <a:cs typeface="+mn-cs"/>
              <a:sym typeface="Gill Sans" charset="0"/>
            </a:endParaRPr>
          </a:p>
        </p:txBody>
      </p:sp>
      <p:sp>
        <p:nvSpPr>
          <p:cNvPr id="450" name="Freeform 449"/>
          <p:cNvSpPr/>
          <p:nvPr/>
        </p:nvSpPr>
        <p:spPr bwMode="auto">
          <a:xfrm>
            <a:off x="10262046" y="8022611"/>
            <a:ext cx="266700" cy="1104900"/>
          </a:xfrm>
          <a:custGeom>
            <a:avLst/>
            <a:gdLst>
              <a:gd name="connsiteX0" fmla="*/ 0 w 133350"/>
              <a:gd name="connsiteY0" fmla="*/ 552450 h 552450"/>
              <a:gd name="connsiteX1" fmla="*/ 63500 w 133350"/>
              <a:gd name="connsiteY1" fmla="*/ 469900 h 552450"/>
              <a:gd name="connsiteX2" fmla="*/ 38100 w 133350"/>
              <a:gd name="connsiteY2" fmla="*/ 381000 h 552450"/>
              <a:gd name="connsiteX3" fmla="*/ 50800 w 133350"/>
              <a:gd name="connsiteY3" fmla="*/ 311150 h 552450"/>
              <a:gd name="connsiteX4" fmla="*/ 101600 w 133350"/>
              <a:gd name="connsiteY4" fmla="*/ 292100 h 552450"/>
              <a:gd name="connsiteX5" fmla="*/ 133350 w 133350"/>
              <a:gd name="connsiteY5" fmla="*/ 222250 h 552450"/>
              <a:gd name="connsiteX6" fmla="*/ 127000 w 133350"/>
              <a:gd name="connsiteY6" fmla="*/ 107950 h 552450"/>
              <a:gd name="connsiteX7" fmla="*/ 107950 w 133350"/>
              <a:gd name="connsiteY7" fmla="*/ 0 h 552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3350" h="552450">
                <a:moveTo>
                  <a:pt x="0" y="552450"/>
                </a:moveTo>
                <a:lnTo>
                  <a:pt x="63500" y="469900"/>
                </a:lnTo>
                <a:lnTo>
                  <a:pt x="38100" y="381000"/>
                </a:lnTo>
                <a:lnTo>
                  <a:pt x="50800" y="311150"/>
                </a:lnTo>
                <a:lnTo>
                  <a:pt x="101600" y="292100"/>
                </a:lnTo>
                <a:lnTo>
                  <a:pt x="133350" y="222250"/>
                </a:lnTo>
                <a:lnTo>
                  <a:pt x="127000" y="107950"/>
                </a:lnTo>
                <a:lnTo>
                  <a:pt x="107950" y="0"/>
                </a:lnTo>
              </a:path>
            </a:pathLst>
          </a:custGeom>
          <a:noFill/>
          <a:ln w="76200" cap="flat" cmpd="sng" algn="ctr">
            <a:solidFill>
              <a:srgbClr val="FFFFFF"/>
            </a:solidFill>
            <a:prstDash val="solid"/>
          </a:ln>
          <a:effectLst/>
        </p:spPr>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rgbClr val="000000"/>
              </a:solidFill>
              <a:effectLst/>
              <a:uLnTx/>
              <a:uFillTx/>
              <a:latin typeface="Arial Narrow"/>
              <a:ea typeface="+mn-ea"/>
              <a:cs typeface="+mn-cs"/>
              <a:sym typeface="Gill Sans" charset="0"/>
            </a:endParaRPr>
          </a:p>
        </p:txBody>
      </p:sp>
      <p:sp>
        <p:nvSpPr>
          <p:cNvPr id="451" name="Freeform 450"/>
          <p:cNvSpPr/>
          <p:nvPr/>
        </p:nvSpPr>
        <p:spPr bwMode="auto">
          <a:xfrm>
            <a:off x="10262046" y="8022611"/>
            <a:ext cx="266700" cy="1104900"/>
          </a:xfrm>
          <a:custGeom>
            <a:avLst/>
            <a:gdLst>
              <a:gd name="connsiteX0" fmla="*/ 0 w 133350"/>
              <a:gd name="connsiteY0" fmla="*/ 552450 h 552450"/>
              <a:gd name="connsiteX1" fmla="*/ 63500 w 133350"/>
              <a:gd name="connsiteY1" fmla="*/ 469900 h 552450"/>
              <a:gd name="connsiteX2" fmla="*/ 38100 w 133350"/>
              <a:gd name="connsiteY2" fmla="*/ 381000 h 552450"/>
              <a:gd name="connsiteX3" fmla="*/ 50800 w 133350"/>
              <a:gd name="connsiteY3" fmla="*/ 311150 h 552450"/>
              <a:gd name="connsiteX4" fmla="*/ 101600 w 133350"/>
              <a:gd name="connsiteY4" fmla="*/ 292100 h 552450"/>
              <a:gd name="connsiteX5" fmla="*/ 133350 w 133350"/>
              <a:gd name="connsiteY5" fmla="*/ 222250 h 552450"/>
              <a:gd name="connsiteX6" fmla="*/ 127000 w 133350"/>
              <a:gd name="connsiteY6" fmla="*/ 107950 h 552450"/>
              <a:gd name="connsiteX7" fmla="*/ 107950 w 133350"/>
              <a:gd name="connsiteY7" fmla="*/ 0 h 552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3350" h="552450">
                <a:moveTo>
                  <a:pt x="0" y="552450"/>
                </a:moveTo>
                <a:lnTo>
                  <a:pt x="63500" y="469900"/>
                </a:lnTo>
                <a:lnTo>
                  <a:pt x="38100" y="381000"/>
                </a:lnTo>
                <a:lnTo>
                  <a:pt x="50800" y="311150"/>
                </a:lnTo>
                <a:lnTo>
                  <a:pt x="101600" y="292100"/>
                </a:lnTo>
                <a:lnTo>
                  <a:pt x="133350" y="222250"/>
                </a:lnTo>
                <a:lnTo>
                  <a:pt x="127000" y="107950"/>
                </a:lnTo>
                <a:lnTo>
                  <a:pt x="107950" y="0"/>
                </a:lnTo>
              </a:path>
            </a:pathLst>
          </a:custGeom>
          <a:noFill/>
          <a:ln w="15875" cap="flat" cmpd="sng" algn="ctr">
            <a:solidFill>
              <a:srgbClr val="156C9C"/>
            </a:solidFill>
            <a:prstDash val="sysDot"/>
          </a:ln>
          <a:effectLst/>
        </p:spPr>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25000" noProof="0" dirty="0" smtClean="0">
              <a:ln>
                <a:noFill/>
              </a:ln>
              <a:solidFill>
                <a:srgbClr val="000000"/>
              </a:solidFill>
              <a:effectLst/>
              <a:uLnTx/>
              <a:uFillTx/>
              <a:latin typeface="Arial Narrow"/>
              <a:ea typeface="+mn-ea"/>
              <a:cs typeface="+mn-cs"/>
              <a:sym typeface="Gill Sans" charset="0"/>
            </a:endParaRPr>
          </a:p>
        </p:txBody>
      </p:sp>
      <p:sp>
        <p:nvSpPr>
          <p:cNvPr id="452" name="Freeform 451"/>
          <p:cNvSpPr/>
          <p:nvPr/>
        </p:nvSpPr>
        <p:spPr bwMode="auto">
          <a:xfrm>
            <a:off x="10484296" y="6863738"/>
            <a:ext cx="3276600" cy="1162050"/>
          </a:xfrm>
          <a:custGeom>
            <a:avLst/>
            <a:gdLst>
              <a:gd name="connsiteX0" fmla="*/ 0 w 1638300"/>
              <a:gd name="connsiteY0" fmla="*/ 581025 h 581025"/>
              <a:gd name="connsiteX1" fmla="*/ 95250 w 1638300"/>
              <a:gd name="connsiteY1" fmla="*/ 557212 h 581025"/>
              <a:gd name="connsiteX2" fmla="*/ 233363 w 1638300"/>
              <a:gd name="connsiteY2" fmla="*/ 566737 h 581025"/>
              <a:gd name="connsiteX3" fmla="*/ 481013 w 1638300"/>
              <a:gd name="connsiteY3" fmla="*/ 576262 h 581025"/>
              <a:gd name="connsiteX4" fmla="*/ 609600 w 1638300"/>
              <a:gd name="connsiteY4" fmla="*/ 442912 h 581025"/>
              <a:gd name="connsiteX5" fmla="*/ 790575 w 1638300"/>
              <a:gd name="connsiteY5" fmla="*/ 419100 h 581025"/>
              <a:gd name="connsiteX6" fmla="*/ 966788 w 1638300"/>
              <a:gd name="connsiteY6" fmla="*/ 452437 h 581025"/>
              <a:gd name="connsiteX7" fmla="*/ 1028700 w 1638300"/>
              <a:gd name="connsiteY7" fmla="*/ 528637 h 581025"/>
              <a:gd name="connsiteX8" fmla="*/ 1119188 w 1638300"/>
              <a:gd name="connsiteY8" fmla="*/ 566737 h 581025"/>
              <a:gd name="connsiteX9" fmla="*/ 1214438 w 1638300"/>
              <a:gd name="connsiteY9" fmla="*/ 495300 h 581025"/>
              <a:gd name="connsiteX10" fmla="*/ 1233488 w 1638300"/>
              <a:gd name="connsiteY10" fmla="*/ 409575 h 581025"/>
              <a:gd name="connsiteX11" fmla="*/ 1252538 w 1638300"/>
              <a:gd name="connsiteY11" fmla="*/ 333375 h 581025"/>
              <a:gd name="connsiteX12" fmla="*/ 1328738 w 1638300"/>
              <a:gd name="connsiteY12" fmla="*/ 242887 h 581025"/>
              <a:gd name="connsiteX13" fmla="*/ 1638300 w 1638300"/>
              <a:gd name="connsiteY13" fmla="*/ 0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38300" h="581025">
                <a:moveTo>
                  <a:pt x="0" y="581025"/>
                </a:moveTo>
                <a:lnTo>
                  <a:pt x="95250" y="557212"/>
                </a:lnTo>
                <a:lnTo>
                  <a:pt x="233363" y="566737"/>
                </a:lnTo>
                <a:lnTo>
                  <a:pt x="481013" y="576262"/>
                </a:lnTo>
                <a:lnTo>
                  <a:pt x="609600" y="442912"/>
                </a:lnTo>
                <a:lnTo>
                  <a:pt x="790575" y="419100"/>
                </a:lnTo>
                <a:lnTo>
                  <a:pt x="966788" y="452437"/>
                </a:lnTo>
                <a:lnTo>
                  <a:pt x="1028700" y="528637"/>
                </a:lnTo>
                <a:lnTo>
                  <a:pt x="1119188" y="566737"/>
                </a:lnTo>
                <a:lnTo>
                  <a:pt x="1214438" y="495300"/>
                </a:lnTo>
                <a:lnTo>
                  <a:pt x="1233488" y="409575"/>
                </a:lnTo>
                <a:lnTo>
                  <a:pt x="1252538" y="333375"/>
                </a:lnTo>
                <a:lnTo>
                  <a:pt x="1328738" y="242887"/>
                </a:lnTo>
                <a:lnTo>
                  <a:pt x="1638300" y="0"/>
                </a:lnTo>
              </a:path>
            </a:pathLst>
          </a:custGeom>
          <a:noFill/>
          <a:ln w="76200" cap="flat" cmpd="sng" algn="ctr">
            <a:solidFill>
              <a:srgbClr val="FFFFFF"/>
            </a:solidFill>
            <a:prstDash val="solid"/>
          </a:ln>
          <a:effectLst/>
        </p:spPr>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rgbClr val="000000"/>
              </a:solidFill>
              <a:effectLst/>
              <a:uLnTx/>
              <a:uFillTx/>
              <a:latin typeface="Arial Narrow"/>
              <a:ea typeface="+mn-ea"/>
              <a:cs typeface="+mn-cs"/>
              <a:sym typeface="Gill Sans" charset="0"/>
            </a:endParaRPr>
          </a:p>
        </p:txBody>
      </p:sp>
      <p:sp>
        <p:nvSpPr>
          <p:cNvPr id="453" name="Freeform 452"/>
          <p:cNvSpPr/>
          <p:nvPr/>
        </p:nvSpPr>
        <p:spPr bwMode="auto">
          <a:xfrm>
            <a:off x="10484296" y="6863738"/>
            <a:ext cx="3276600" cy="1162050"/>
          </a:xfrm>
          <a:custGeom>
            <a:avLst/>
            <a:gdLst>
              <a:gd name="connsiteX0" fmla="*/ 0 w 1638300"/>
              <a:gd name="connsiteY0" fmla="*/ 581025 h 581025"/>
              <a:gd name="connsiteX1" fmla="*/ 95250 w 1638300"/>
              <a:gd name="connsiteY1" fmla="*/ 557212 h 581025"/>
              <a:gd name="connsiteX2" fmla="*/ 233363 w 1638300"/>
              <a:gd name="connsiteY2" fmla="*/ 566737 h 581025"/>
              <a:gd name="connsiteX3" fmla="*/ 481013 w 1638300"/>
              <a:gd name="connsiteY3" fmla="*/ 576262 h 581025"/>
              <a:gd name="connsiteX4" fmla="*/ 609600 w 1638300"/>
              <a:gd name="connsiteY4" fmla="*/ 442912 h 581025"/>
              <a:gd name="connsiteX5" fmla="*/ 790575 w 1638300"/>
              <a:gd name="connsiteY5" fmla="*/ 419100 h 581025"/>
              <a:gd name="connsiteX6" fmla="*/ 966788 w 1638300"/>
              <a:gd name="connsiteY6" fmla="*/ 452437 h 581025"/>
              <a:gd name="connsiteX7" fmla="*/ 1028700 w 1638300"/>
              <a:gd name="connsiteY7" fmla="*/ 528637 h 581025"/>
              <a:gd name="connsiteX8" fmla="*/ 1119188 w 1638300"/>
              <a:gd name="connsiteY8" fmla="*/ 566737 h 581025"/>
              <a:gd name="connsiteX9" fmla="*/ 1214438 w 1638300"/>
              <a:gd name="connsiteY9" fmla="*/ 495300 h 581025"/>
              <a:gd name="connsiteX10" fmla="*/ 1233488 w 1638300"/>
              <a:gd name="connsiteY10" fmla="*/ 409575 h 581025"/>
              <a:gd name="connsiteX11" fmla="*/ 1252538 w 1638300"/>
              <a:gd name="connsiteY11" fmla="*/ 333375 h 581025"/>
              <a:gd name="connsiteX12" fmla="*/ 1328738 w 1638300"/>
              <a:gd name="connsiteY12" fmla="*/ 242887 h 581025"/>
              <a:gd name="connsiteX13" fmla="*/ 1638300 w 1638300"/>
              <a:gd name="connsiteY13" fmla="*/ 0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38300" h="581025">
                <a:moveTo>
                  <a:pt x="0" y="581025"/>
                </a:moveTo>
                <a:lnTo>
                  <a:pt x="95250" y="557212"/>
                </a:lnTo>
                <a:lnTo>
                  <a:pt x="233363" y="566737"/>
                </a:lnTo>
                <a:lnTo>
                  <a:pt x="481013" y="576262"/>
                </a:lnTo>
                <a:lnTo>
                  <a:pt x="609600" y="442912"/>
                </a:lnTo>
                <a:lnTo>
                  <a:pt x="790575" y="419100"/>
                </a:lnTo>
                <a:lnTo>
                  <a:pt x="966788" y="452437"/>
                </a:lnTo>
                <a:lnTo>
                  <a:pt x="1028700" y="528637"/>
                </a:lnTo>
                <a:lnTo>
                  <a:pt x="1119188" y="566737"/>
                </a:lnTo>
                <a:lnTo>
                  <a:pt x="1214438" y="495300"/>
                </a:lnTo>
                <a:lnTo>
                  <a:pt x="1233488" y="409575"/>
                </a:lnTo>
                <a:lnTo>
                  <a:pt x="1252538" y="333375"/>
                </a:lnTo>
                <a:lnTo>
                  <a:pt x="1328738" y="242887"/>
                </a:lnTo>
                <a:lnTo>
                  <a:pt x="1638300" y="0"/>
                </a:lnTo>
              </a:path>
            </a:pathLst>
          </a:custGeom>
          <a:noFill/>
          <a:ln w="15875" cap="flat" cmpd="sng" algn="ctr">
            <a:solidFill>
              <a:srgbClr val="156C9C"/>
            </a:solidFill>
            <a:prstDash val="sysDot"/>
          </a:ln>
          <a:effectLst/>
        </p:spPr>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rgbClr val="000000"/>
              </a:solidFill>
              <a:effectLst/>
              <a:uLnTx/>
              <a:uFillTx/>
              <a:latin typeface="Arial Narrow"/>
              <a:ea typeface="+mn-ea"/>
              <a:cs typeface="+mn-cs"/>
              <a:sym typeface="Gill Sans" charset="0"/>
            </a:endParaRPr>
          </a:p>
        </p:txBody>
      </p:sp>
      <p:sp>
        <p:nvSpPr>
          <p:cNvPr id="454" name="Freeform 453"/>
          <p:cNvSpPr/>
          <p:nvPr/>
        </p:nvSpPr>
        <p:spPr bwMode="auto">
          <a:xfrm>
            <a:off x="10236646" y="6066811"/>
            <a:ext cx="317500" cy="1968500"/>
          </a:xfrm>
          <a:custGeom>
            <a:avLst/>
            <a:gdLst>
              <a:gd name="connsiteX0" fmla="*/ 120650 w 158750"/>
              <a:gd name="connsiteY0" fmla="*/ 984250 h 984250"/>
              <a:gd name="connsiteX1" fmla="*/ 158750 w 158750"/>
              <a:gd name="connsiteY1" fmla="*/ 660400 h 984250"/>
              <a:gd name="connsiteX2" fmla="*/ 38100 w 158750"/>
              <a:gd name="connsiteY2" fmla="*/ 539750 h 984250"/>
              <a:gd name="connsiteX3" fmla="*/ 0 w 158750"/>
              <a:gd name="connsiteY3" fmla="*/ 349250 h 984250"/>
              <a:gd name="connsiteX4" fmla="*/ 12700 w 158750"/>
              <a:gd name="connsiteY4" fmla="*/ 50800 h 984250"/>
              <a:gd name="connsiteX5" fmla="*/ 107950 w 158750"/>
              <a:gd name="connsiteY5" fmla="*/ 0 h 984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750" h="984250">
                <a:moveTo>
                  <a:pt x="120650" y="984250"/>
                </a:moveTo>
                <a:lnTo>
                  <a:pt x="158750" y="660400"/>
                </a:lnTo>
                <a:lnTo>
                  <a:pt x="38100" y="539750"/>
                </a:lnTo>
                <a:lnTo>
                  <a:pt x="0" y="349250"/>
                </a:lnTo>
                <a:lnTo>
                  <a:pt x="12700" y="50800"/>
                </a:lnTo>
                <a:lnTo>
                  <a:pt x="107950" y="0"/>
                </a:lnTo>
              </a:path>
            </a:pathLst>
          </a:custGeom>
          <a:noFill/>
          <a:ln w="15875" cap="flat" cmpd="sng" algn="ctr">
            <a:solidFill>
              <a:srgbClr val="156C9C"/>
            </a:solidFill>
            <a:prstDash val="sysDot"/>
          </a:ln>
          <a:effectLst/>
        </p:spPr>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rgbClr val="000000"/>
              </a:solidFill>
              <a:effectLst/>
              <a:uLnTx/>
              <a:uFillTx/>
              <a:latin typeface="Arial Narrow"/>
              <a:ea typeface="+mn-ea"/>
              <a:cs typeface="+mn-cs"/>
              <a:sym typeface="Gill Sans" charset="0"/>
            </a:endParaRPr>
          </a:p>
        </p:txBody>
      </p:sp>
      <p:sp>
        <p:nvSpPr>
          <p:cNvPr id="455" name="Freeform 454"/>
          <p:cNvSpPr/>
          <p:nvPr/>
        </p:nvSpPr>
        <p:spPr bwMode="auto">
          <a:xfrm>
            <a:off x="11392346" y="9191011"/>
            <a:ext cx="3060700" cy="749300"/>
          </a:xfrm>
          <a:custGeom>
            <a:avLst/>
            <a:gdLst>
              <a:gd name="connsiteX0" fmla="*/ 0 w 1530350"/>
              <a:gd name="connsiteY0" fmla="*/ 317500 h 374650"/>
              <a:gd name="connsiteX1" fmla="*/ 107950 w 1530350"/>
              <a:gd name="connsiteY1" fmla="*/ 342900 h 374650"/>
              <a:gd name="connsiteX2" fmla="*/ 215900 w 1530350"/>
              <a:gd name="connsiteY2" fmla="*/ 279400 h 374650"/>
              <a:gd name="connsiteX3" fmla="*/ 260350 w 1530350"/>
              <a:gd name="connsiteY3" fmla="*/ 330200 h 374650"/>
              <a:gd name="connsiteX4" fmla="*/ 349250 w 1530350"/>
              <a:gd name="connsiteY4" fmla="*/ 374650 h 374650"/>
              <a:gd name="connsiteX5" fmla="*/ 482600 w 1530350"/>
              <a:gd name="connsiteY5" fmla="*/ 311150 h 374650"/>
              <a:gd name="connsiteX6" fmla="*/ 571500 w 1530350"/>
              <a:gd name="connsiteY6" fmla="*/ 317500 h 374650"/>
              <a:gd name="connsiteX7" fmla="*/ 641350 w 1530350"/>
              <a:gd name="connsiteY7" fmla="*/ 190500 h 374650"/>
              <a:gd name="connsiteX8" fmla="*/ 704850 w 1530350"/>
              <a:gd name="connsiteY8" fmla="*/ 88900 h 374650"/>
              <a:gd name="connsiteX9" fmla="*/ 755650 w 1530350"/>
              <a:gd name="connsiteY9" fmla="*/ 63500 h 374650"/>
              <a:gd name="connsiteX10" fmla="*/ 901700 w 1530350"/>
              <a:gd name="connsiteY10" fmla="*/ 50800 h 374650"/>
              <a:gd name="connsiteX11" fmla="*/ 977900 w 1530350"/>
              <a:gd name="connsiteY11" fmla="*/ 0 h 374650"/>
              <a:gd name="connsiteX12" fmla="*/ 1085850 w 1530350"/>
              <a:gd name="connsiteY12" fmla="*/ 88900 h 374650"/>
              <a:gd name="connsiteX13" fmla="*/ 1117600 w 1530350"/>
              <a:gd name="connsiteY13" fmla="*/ 101600 h 374650"/>
              <a:gd name="connsiteX14" fmla="*/ 1149350 w 1530350"/>
              <a:gd name="connsiteY14" fmla="*/ 260350 h 374650"/>
              <a:gd name="connsiteX15" fmla="*/ 1206500 w 1530350"/>
              <a:gd name="connsiteY15" fmla="*/ 273050 h 374650"/>
              <a:gd name="connsiteX16" fmla="*/ 1250950 w 1530350"/>
              <a:gd name="connsiteY16" fmla="*/ 215900 h 374650"/>
              <a:gd name="connsiteX17" fmla="*/ 1530350 w 1530350"/>
              <a:gd name="connsiteY17" fmla="*/ 374650 h 374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30350" h="374650">
                <a:moveTo>
                  <a:pt x="0" y="317500"/>
                </a:moveTo>
                <a:lnTo>
                  <a:pt x="107950" y="342900"/>
                </a:lnTo>
                <a:lnTo>
                  <a:pt x="215900" y="279400"/>
                </a:lnTo>
                <a:lnTo>
                  <a:pt x="260350" y="330200"/>
                </a:lnTo>
                <a:lnTo>
                  <a:pt x="349250" y="374650"/>
                </a:lnTo>
                <a:lnTo>
                  <a:pt x="482600" y="311150"/>
                </a:lnTo>
                <a:lnTo>
                  <a:pt x="571500" y="317500"/>
                </a:lnTo>
                <a:lnTo>
                  <a:pt x="641350" y="190500"/>
                </a:lnTo>
                <a:lnTo>
                  <a:pt x="704850" y="88900"/>
                </a:lnTo>
                <a:lnTo>
                  <a:pt x="755650" y="63500"/>
                </a:lnTo>
                <a:lnTo>
                  <a:pt x="901700" y="50800"/>
                </a:lnTo>
                <a:lnTo>
                  <a:pt x="977900" y="0"/>
                </a:lnTo>
                <a:lnTo>
                  <a:pt x="1085850" y="88900"/>
                </a:lnTo>
                <a:lnTo>
                  <a:pt x="1117600" y="101600"/>
                </a:lnTo>
                <a:lnTo>
                  <a:pt x="1149350" y="260350"/>
                </a:lnTo>
                <a:lnTo>
                  <a:pt x="1206500" y="273050"/>
                </a:lnTo>
                <a:lnTo>
                  <a:pt x="1250950" y="215900"/>
                </a:lnTo>
                <a:lnTo>
                  <a:pt x="1530350" y="374650"/>
                </a:lnTo>
              </a:path>
            </a:pathLst>
          </a:custGeom>
          <a:noFill/>
          <a:ln w="76200" cap="flat" cmpd="sng" algn="ctr">
            <a:solidFill>
              <a:srgbClr val="FFFFFF"/>
            </a:solidFill>
            <a:prstDash val="solid"/>
          </a:ln>
          <a:effectLst/>
        </p:spPr>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rgbClr val="000000"/>
              </a:solidFill>
              <a:effectLst/>
              <a:uLnTx/>
              <a:uFillTx/>
              <a:latin typeface="Arial Narrow"/>
              <a:ea typeface="+mn-ea"/>
              <a:cs typeface="+mn-cs"/>
              <a:sym typeface="Gill Sans" charset="0"/>
            </a:endParaRPr>
          </a:p>
        </p:txBody>
      </p:sp>
      <p:sp>
        <p:nvSpPr>
          <p:cNvPr id="456" name="Freeform 455"/>
          <p:cNvSpPr/>
          <p:nvPr/>
        </p:nvSpPr>
        <p:spPr bwMode="auto">
          <a:xfrm>
            <a:off x="11392346" y="9191011"/>
            <a:ext cx="3060700" cy="749300"/>
          </a:xfrm>
          <a:custGeom>
            <a:avLst/>
            <a:gdLst>
              <a:gd name="connsiteX0" fmla="*/ 0 w 1530350"/>
              <a:gd name="connsiteY0" fmla="*/ 317500 h 374650"/>
              <a:gd name="connsiteX1" fmla="*/ 107950 w 1530350"/>
              <a:gd name="connsiteY1" fmla="*/ 342900 h 374650"/>
              <a:gd name="connsiteX2" fmla="*/ 215900 w 1530350"/>
              <a:gd name="connsiteY2" fmla="*/ 279400 h 374650"/>
              <a:gd name="connsiteX3" fmla="*/ 260350 w 1530350"/>
              <a:gd name="connsiteY3" fmla="*/ 330200 h 374650"/>
              <a:gd name="connsiteX4" fmla="*/ 349250 w 1530350"/>
              <a:gd name="connsiteY4" fmla="*/ 374650 h 374650"/>
              <a:gd name="connsiteX5" fmla="*/ 482600 w 1530350"/>
              <a:gd name="connsiteY5" fmla="*/ 311150 h 374650"/>
              <a:gd name="connsiteX6" fmla="*/ 571500 w 1530350"/>
              <a:gd name="connsiteY6" fmla="*/ 317500 h 374650"/>
              <a:gd name="connsiteX7" fmla="*/ 641350 w 1530350"/>
              <a:gd name="connsiteY7" fmla="*/ 190500 h 374650"/>
              <a:gd name="connsiteX8" fmla="*/ 704850 w 1530350"/>
              <a:gd name="connsiteY8" fmla="*/ 88900 h 374650"/>
              <a:gd name="connsiteX9" fmla="*/ 755650 w 1530350"/>
              <a:gd name="connsiteY9" fmla="*/ 63500 h 374650"/>
              <a:gd name="connsiteX10" fmla="*/ 901700 w 1530350"/>
              <a:gd name="connsiteY10" fmla="*/ 50800 h 374650"/>
              <a:gd name="connsiteX11" fmla="*/ 977900 w 1530350"/>
              <a:gd name="connsiteY11" fmla="*/ 0 h 374650"/>
              <a:gd name="connsiteX12" fmla="*/ 1085850 w 1530350"/>
              <a:gd name="connsiteY12" fmla="*/ 88900 h 374650"/>
              <a:gd name="connsiteX13" fmla="*/ 1117600 w 1530350"/>
              <a:gd name="connsiteY13" fmla="*/ 101600 h 374650"/>
              <a:gd name="connsiteX14" fmla="*/ 1149350 w 1530350"/>
              <a:gd name="connsiteY14" fmla="*/ 260350 h 374650"/>
              <a:gd name="connsiteX15" fmla="*/ 1206500 w 1530350"/>
              <a:gd name="connsiteY15" fmla="*/ 273050 h 374650"/>
              <a:gd name="connsiteX16" fmla="*/ 1250950 w 1530350"/>
              <a:gd name="connsiteY16" fmla="*/ 215900 h 374650"/>
              <a:gd name="connsiteX17" fmla="*/ 1530350 w 1530350"/>
              <a:gd name="connsiteY17" fmla="*/ 374650 h 374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30350" h="374650">
                <a:moveTo>
                  <a:pt x="0" y="317500"/>
                </a:moveTo>
                <a:lnTo>
                  <a:pt x="107950" y="342900"/>
                </a:lnTo>
                <a:lnTo>
                  <a:pt x="215900" y="279400"/>
                </a:lnTo>
                <a:lnTo>
                  <a:pt x="260350" y="330200"/>
                </a:lnTo>
                <a:lnTo>
                  <a:pt x="349250" y="374650"/>
                </a:lnTo>
                <a:lnTo>
                  <a:pt x="482600" y="311150"/>
                </a:lnTo>
                <a:lnTo>
                  <a:pt x="571500" y="317500"/>
                </a:lnTo>
                <a:lnTo>
                  <a:pt x="641350" y="190500"/>
                </a:lnTo>
                <a:lnTo>
                  <a:pt x="704850" y="88900"/>
                </a:lnTo>
                <a:lnTo>
                  <a:pt x="755650" y="63500"/>
                </a:lnTo>
                <a:lnTo>
                  <a:pt x="901700" y="50800"/>
                </a:lnTo>
                <a:lnTo>
                  <a:pt x="977900" y="0"/>
                </a:lnTo>
                <a:lnTo>
                  <a:pt x="1085850" y="88900"/>
                </a:lnTo>
                <a:lnTo>
                  <a:pt x="1117600" y="101600"/>
                </a:lnTo>
                <a:lnTo>
                  <a:pt x="1149350" y="260350"/>
                </a:lnTo>
                <a:lnTo>
                  <a:pt x="1206500" y="273050"/>
                </a:lnTo>
                <a:lnTo>
                  <a:pt x="1250950" y="215900"/>
                </a:lnTo>
                <a:lnTo>
                  <a:pt x="1530350" y="374650"/>
                </a:lnTo>
              </a:path>
            </a:pathLst>
          </a:custGeom>
          <a:noFill/>
          <a:ln w="15875" cap="flat" cmpd="sng" algn="ctr">
            <a:solidFill>
              <a:srgbClr val="156C9C"/>
            </a:solidFill>
            <a:prstDash val="sysDot"/>
          </a:ln>
          <a:effectLst/>
        </p:spPr>
        <p:txBody>
          <a:bodyPr rtlCol="0" anchor="ctr"/>
          <a:lstStyle/>
          <a:p>
            <a:pPr marL="0" marR="0" lvl="0" indent="0" algn="ctr" defTabSz="1828800" rtl="0" eaLnBrk="1" fontAlgn="auto" latinLnBrk="0" hangingPunct="1">
              <a:lnSpc>
                <a:spcPct val="100000"/>
              </a:lnSpc>
              <a:spcBef>
                <a:spcPts val="0"/>
              </a:spcBef>
              <a:spcAft>
                <a:spcPts val="0"/>
              </a:spcAft>
              <a:buClrTx/>
              <a:buSzTx/>
              <a:buFontTx/>
              <a:buNone/>
              <a:tabLst/>
              <a:defRPr/>
            </a:pPr>
            <a:endParaRPr kumimoji="0" lang="en-US" sz="2600" b="1" i="0" u="none" strike="noStrike" kern="0" cap="none" spc="0" normalizeH="0" baseline="0" noProof="0" dirty="0" smtClean="0">
              <a:ln>
                <a:noFill/>
              </a:ln>
              <a:solidFill>
                <a:srgbClr val="000000"/>
              </a:solidFill>
              <a:effectLst/>
              <a:uLnTx/>
              <a:uFillTx/>
              <a:latin typeface="Arial Narrow"/>
              <a:ea typeface="+mn-ea"/>
              <a:cs typeface="+mn-cs"/>
              <a:sym typeface="Gill Sans" charset="0"/>
            </a:endParaRPr>
          </a:p>
        </p:txBody>
      </p:sp>
      <p:sp>
        <p:nvSpPr>
          <p:cNvPr id="457" name="RBContent410"/>
          <p:cNvSpPr txBox="1">
            <a:spLocks/>
          </p:cNvSpPr>
          <p:nvPr/>
        </p:nvSpPr>
        <p:spPr>
          <a:xfrm>
            <a:off x="5279232" y="10727557"/>
            <a:ext cx="2204130" cy="720197"/>
          </a:xfrm>
          <a:prstGeom prst="rect">
            <a:avLst/>
          </a:prstGeom>
          <a:noFill/>
          <a:ln w="9525">
            <a:noFill/>
          </a:ln>
        </p:spPr>
        <p:txBody>
          <a:bodyPr vert="horz" wrap="none" lIns="0" tIns="0" rIns="0" bIns="0" rtlCol="0" anchor="b">
            <a:spAutoFit/>
          </a:bodyPr>
          <a:lstStyle/>
          <a:p>
            <a:pPr lvl="0" algn="l" defTabSz="1828800">
              <a:lnSpc>
                <a:spcPct val="90000"/>
              </a:lnSpc>
              <a:spcBef>
                <a:spcPts val="800"/>
              </a:spcBef>
              <a:buSzPct val="100000"/>
              <a:defRPr/>
            </a:pPr>
            <a:r>
              <a:rPr kumimoji="0" lang="en-US" sz="2600" b="1" i="0" u="none" strike="noStrike" kern="1200" cap="none" spc="0" normalizeH="0" baseline="0" noProof="0" dirty="0">
                <a:ln>
                  <a:noFill/>
                </a:ln>
                <a:solidFill>
                  <a:srgbClr val="000000"/>
                </a:solidFill>
                <a:effectLst/>
                <a:uLnTx/>
                <a:uFillTx/>
                <a:latin typeface="Arial Narrow"/>
                <a:ea typeface="+mn-ea"/>
                <a:cs typeface="+mn-cs"/>
                <a:sym typeface="+mn-lt"/>
              </a:rPr>
              <a:t>Iberian + Italy</a:t>
            </a:r>
            <a:br>
              <a:rPr kumimoji="0" lang="en-US" sz="2600" b="1" i="0" u="none" strike="noStrike" kern="1200" cap="none" spc="0" normalizeH="0" baseline="0" noProof="0" dirty="0">
                <a:ln>
                  <a:noFill/>
                </a:ln>
                <a:solidFill>
                  <a:srgbClr val="000000"/>
                </a:solidFill>
                <a:effectLst/>
                <a:uLnTx/>
                <a:uFillTx/>
                <a:latin typeface="Arial Narrow"/>
                <a:ea typeface="+mn-ea"/>
                <a:cs typeface="+mn-cs"/>
                <a:sym typeface="+mn-lt"/>
              </a:rPr>
            </a:br>
            <a:r>
              <a:rPr kumimoji="0" lang="en-US" sz="2600" b="0" i="0" u="none" strike="noStrike" kern="1200" cap="none" spc="0" normalizeH="0" baseline="0" noProof="0" dirty="0" smtClean="0">
                <a:ln>
                  <a:noFill/>
                </a:ln>
                <a:solidFill>
                  <a:srgbClr val="000000"/>
                </a:solidFill>
                <a:effectLst/>
                <a:uLnTx/>
                <a:uFillTx/>
                <a:latin typeface="Arial Narrow"/>
                <a:ea typeface="+mn-ea"/>
                <a:cs typeface="+mn-cs"/>
                <a:sym typeface="+mn-lt"/>
              </a:rPr>
              <a:t>(</a:t>
            </a:r>
            <a:r>
              <a:rPr lang="en-US" sz="2600" kern="0" dirty="0">
                <a:solidFill>
                  <a:sysClr val="windowText" lastClr="000000"/>
                </a:solidFill>
                <a:latin typeface="Arial Narrow"/>
                <a:sym typeface="+mn-lt"/>
              </a:rPr>
              <a:t>10 region/&amp;cities</a:t>
            </a:r>
            <a:r>
              <a:rPr kumimoji="0" lang="en-US" sz="2600" b="0" i="0" u="none" strike="noStrike" kern="1200" cap="none" spc="0" normalizeH="0" baseline="0" noProof="0" dirty="0" smtClean="0">
                <a:ln>
                  <a:noFill/>
                </a:ln>
                <a:solidFill>
                  <a:srgbClr val="000000"/>
                </a:solidFill>
                <a:effectLst/>
                <a:uLnTx/>
                <a:uFillTx/>
                <a:latin typeface="Arial Narrow"/>
                <a:ea typeface="+mn-ea"/>
                <a:cs typeface="+mn-cs"/>
                <a:sym typeface="+mn-lt"/>
              </a:rPr>
              <a:t>)</a:t>
            </a:r>
            <a:endParaRPr kumimoji="0" lang="en-US" sz="2600" b="0" i="0" u="none" strike="noStrike" kern="1200" cap="none" spc="0" normalizeH="0" baseline="0" noProof="0" dirty="0">
              <a:ln>
                <a:noFill/>
              </a:ln>
              <a:solidFill>
                <a:srgbClr val="000000"/>
              </a:solidFill>
              <a:effectLst/>
              <a:uLnTx/>
              <a:uFillTx/>
              <a:latin typeface="Arial Narrow"/>
              <a:ea typeface="+mn-ea"/>
              <a:cs typeface="+mn-cs"/>
              <a:sym typeface="+mn-lt"/>
            </a:endParaRPr>
          </a:p>
        </p:txBody>
      </p:sp>
      <p:sp>
        <p:nvSpPr>
          <p:cNvPr id="458" name="RBContent410"/>
          <p:cNvSpPr txBox="1">
            <a:spLocks/>
          </p:cNvSpPr>
          <p:nvPr/>
        </p:nvSpPr>
        <p:spPr>
          <a:xfrm>
            <a:off x="5286305" y="9017022"/>
            <a:ext cx="2976777" cy="360099"/>
          </a:xfrm>
          <a:prstGeom prst="rect">
            <a:avLst/>
          </a:prstGeom>
          <a:noFill/>
          <a:ln w="9525">
            <a:noFill/>
          </a:ln>
        </p:spPr>
        <p:txBody>
          <a:bodyPr vert="horz" wrap="none" lIns="0" tIns="0" rIns="0" bIns="0" rtlCol="0">
            <a:spAutoFit/>
          </a:bodyPr>
          <a:lstStyle/>
          <a:p>
            <a:pPr marL="0" marR="0" lvl="0" indent="0" algn="l" defTabSz="1828800" rtl="0" eaLnBrk="1" fontAlgn="base" latinLnBrk="0" hangingPunct="1">
              <a:lnSpc>
                <a:spcPct val="90000"/>
              </a:lnSpc>
              <a:spcBef>
                <a:spcPts val="800"/>
              </a:spcBef>
              <a:spcAft>
                <a:spcPct val="0"/>
              </a:spcAft>
              <a:buClrTx/>
              <a:buSzPct val="100000"/>
              <a:buFontTx/>
              <a:buNone/>
              <a:tabLst/>
              <a:defRPr/>
            </a:pPr>
            <a:r>
              <a:rPr kumimoji="0" lang="en-US" sz="2600" b="1" i="0" u="none" strike="noStrike" kern="1200" cap="none" spc="0" normalizeH="0" baseline="0" noProof="0" dirty="0">
                <a:ln>
                  <a:noFill/>
                </a:ln>
                <a:solidFill>
                  <a:srgbClr val="000000"/>
                </a:solidFill>
                <a:effectLst/>
                <a:uLnTx/>
                <a:uFillTx/>
                <a:latin typeface="Arial Narrow"/>
                <a:ea typeface="+mn-ea"/>
                <a:cs typeface="+mn-cs"/>
                <a:sym typeface="+mn-lt"/>
              </a:rPr>
              <a:t>France </a:t>
            </a:r>
            <a:r>
              <a:rPr kumimoji="0" lang="en-US" sz="2600" b="0" i="0" u="none" strike="noStrike" kern="1200" cap="none" spc="0" normalizeH="0" baseline="0" noProof="0" dirty="0">
                <a:ln>
                  <a:noFill/>
                </a:ln>
                <a:solidFill>
                  <a:srgbClr val="000000"/>
                </a:solidFill>
                <a:effectLst/>
                <a:uLnTx/>
                <a:uFillTx/>
                <a:latin typeface="Arial Narrow" charset="0"/>
                <a:ea typeface="+mn-ea"/>
                <a:cs typeface="+mn-cs"/>
                <a:sym typeface="+mn-lt"/>
              </a:rPr>
              <a:t>(9 regions/cities)</a:t>
            </a:r>
          </a:p>
        </p:txBody>
      </p:sp>
      <p:sp>
        <p:nvSpPr>
          <p:cNvPr id="459" name="RBContent410"/>
          <p:cNvSpPr txBox="1">
            <a:spLocks/>
          </p:cNvSpPr>
          <p:nvPr/>
        </p:nvSpPr>
        <p:spPr>
          <a:xfrm>
            <a:off x="5286304" y="6924698"/>
            <a:ext cx="2627322" cy="360099"/>
          </a:xfrm>
          <a:prstGeom prst="rect">
            <a:avLst/>
          </a:prstGeom>
          <a:noFill/>
          <a:ln w="9525">
            <a:noFill/>
          </a:ln>
        </p:spPr>
        <p:txBody>
          <a:bodyPr vert="horz" wrap="none" lIns="0" tIns="0" rIns="0" bIns="0" rtlCol="0">
            <a:spAutoFit/>
          </a:bodyPr>
          <a:lstStyle/>
          <a:p>
            <a:pPr marL="0" marR="0" lvl="0" indent="0" algn="l" defTabSz="1828800" rtl="0" eaLnBrk="1" fontAlgn="base" latinLnBrk="0" hangingPunct="1">
              <a:lnSpc>
                <a:spcPct val="90000"/>
              </a:lnSpc>
              <a:spcBef>
                <a:spcPts val="800"/>
              </a:spcBef>
              <a:spcAft>
                <a:spcPct val="0"/>
              </a:spcAft>
              <a:buClrTx/>
              <a:buSzPct val="100000"/>
              <a:buFontTx/>
              <a:buNone/>
              <a:tabLst/>
              <a:defRPr/>
            </a:pPr>
            <a:r>
              <a:rPr kumimoji="0" lang="en-US" sz="2600" b="1" i="0" u="none" strike="noStrike" kern="1200" cap="none" spc="0" normalizeH="0" baseline="0" noProof="0" dirty="0">
                <a:ln>
                  <a:noFill/>
                </a:ln>
                <a:solidFill>
                  <a:srgbClr val="000000"/>
                </a:solidFill>
                <a:effectLst/>
                <a:uLnTx/>
                <a:uFillTx/>
                <a:latin typeface="Arial Narrow"/>
                <a:ea typeface="+mn-ea"/>
                <a:cs typeface="+mn-cs"/>
                <a:sym typeface="+mn-lt"/>
              </a:rPr>
              <a:t>UK </a:t>
            </a:r>
            <a:r>
              <a:rPr kumimoji="0" lang="en-US" sz="2600" b="0" i="0" u="none" strike="noStrike" kern="1200" cap="none" spc="0" normalizeH="0" baseline="0" noProof="0" dirty="0">
                <a:ln>
                  <a:noFill/>
                </a:ln>
                <a:solidFill>
                  <a:srgbClr val="000000"/>
                </a:solidFill>
                <a:effectLst/>
                <a:uLnTx/>
                <a:uFillTx/>
                <a:latin typeface="Arial Narrow"/>
                <a:ea typeface="+mn-ea"/>
                <a:cs typeface="+mn-cs"/>
                <a:sym typeface="+mn-lt"/>
              </a:rPr>
              <a:t>(10 </a:t>
            </a:r>
            <a:r>
              <a:rPr kumimoji="0" lang="en-US" sz="2600" b="0" i="0" u="none" strike="noStrike" kern="1200" cap="none" spc="0" normalizeH="0" baseline="0" noProof="0" dirty="0">
                <a:ln>
                  <a:noFill/>
                </a:ln>
                <a:solidFill>
                  <a:srgbClr val="000000"/>
                </a:solidFill>
                <a:effectLst/>
                <a:uLnTx/>
                <a:uFillTx/>
                <a:latin typeface="Arial Narrow" charset="0"/>
                <a:ea typeface="+mn-ea"/>
                <a:cs typeface="+mn-cs"/>
                <a:sym typeface="+mn-lt"/>
              </a:rPr>
              <a:t>regions/cities)</a:t>
            </a:r>
          </a:p>
        </p:txBody>
      </p:sp>
      <p:sp>
        <p:nvSpPr>
          <p:cNvPr id="460" name="RBContent410"/>
          <p:cNvSpPr txBox="1">
            <a:spLocks/>
          </p:cNvSpPr>
          <p:nvPr/>
        </p:nvSpPr>
        <p:spPr>
          <a:xfrm>
            <a:off x="7896547" y="5779143"/>
            <a:ext cx="2578702" cy="720197"/>
          </a:xfrm>
          <a:prstGeom prst="rect">
            <a:avLst/>
          </a:prstGeom>
          <a:noFill/>
          <a:ln w="9525">
            <a:noFill/>
          </a:ln>
        </p:spPr>
        <p:txBody>
          <a:bodyPr vert="horz" wrap="square" lIns="0" tIns="0" rIns="0" bIns="0" rtlCol="0">
            <a:spAutoFit/>
          </a:bodyPr>
          <a:lstStyle/>
          <a:p>
            <a:pPr marL="0" marR="0" lvl="0" indent="0" algn="ctr" defTabSz="1828800" rtl="0" eaLnBrk="1" fontAlgn="base" latinLnBrk="0" hangingPunct="1">
              <a:lnSpc>
                <a:spcPct val="90000"/>
              </a:lnSpc>
              <a:spcBef>
                <a:spcPts val="800"/>
              </a:spcBef>
              <a:spcAft>
                <a:spcPct val="0"/>
              </a:spcAft>
              <a:buClrTx/>
              <a:buSzPct val="100000"/>
              <a:buFontTx/>
              <a:buNone/>
              <a:tabLst/>
              <a:defRPr/>
            </a:pPr>
            <a:r>
              <a:rPr kumimoji="0" lang="en-US" sz="2600" b="1" i="0" u="none" strike="noStrike" kern="1200" cap="none" spc="0" normalizeH="0" baseline="0" noProof="0" dirty="0">
                <a:ln>
                  <a:noFill/>
                </a:ln>
                <a:solidFill>
                  <a:srgbClr val="000000"/>
                </a:solidFill>
                <a:effectLst/>
                <a:uLnTx/>
                <a:uFillTx/>
                <a:latin typeface="Arial Narrow"/>
                <a:ea typeface="+mn-ea"/>
                <a:cs typeface="+mn-cs"/>
                <a:sym typeface="+mn-lt"/>
              </a:rPr>
              <a:t>Benelux</a:t>
            </a:r>
            <a:br>
              <a:rPr kumimoji="0" lang="en-US" sz="2600" b="1" i="0" u="none" strike="noStrike" kern="1200" cap="none" spc="0" normalizeH="0" baseline="0" noProof="0" dirty="0">
                <a:ln>
                  <a:noFill/>
                </a:ln>
                <a:solidFill>
                  <a:srgbClr val="000000"/>
                </a:solidFill>
                <a:effectLst/>
                <a:uLnTx/>
                <a:uFillTx/>
                <a:latin typeface="Arial Narrow"/>
                <a:ea typeface="+mn-ea"/>
                <a:cs typeface="+mn-cs"/>
                <a:sym typeface="+mn-lt"/>
              </a:rPr>
            </a:br>
            <a:r>
              <a:rPr kumimoji="0" lang="pl-PL" sz="2600" b="0" i="0" u="none" strike="noStrike" kern="1200" cap="none" spc="0" normalizeH="0" baseline="0" noProof="0" dirty="0">
                <a:ln>
                  <a:noFill/>
                </a:ln>
                <a:solidFill>
                  <a:srgbClr val="000000"/>
                </a:solidFill>
                <a:effectLst/>
                <a:uLnTx/>
                <a:uFillTx/>
                <a:latin typeface="Arial Narrow"/>
                <a:ea typeface="+mn-ea"/>
                <a:cs typeface="+mn-cs"/>
                <a:sym typeface="+mn-lt"/>
              </a:rPr>
              <a:t>(</a:t>
            </a:r>
            <a:r>
              <a:rPr kumimoji="0" lang="de-DE" sz="2600" b="0" i="0" u="none" strike="noStrike" kern="1200" cap="none" spc="0" normalizeH="0" baseline="0" noProof="0" dirty="0">
                <a:ln>
                  <a:noFill/>
                </a:ln>
                <a:solidFill>
                  <a:srgbClr val="000000"/>
                </a:solidFill>
                <a:effectLst/>
                <a:uLnTx/>
                <a:uFillTx/>
                <a:latin typeface="Arial Narrow"/>
                <a:ea typeface="+mn-ea"/>
                <a:cs typeface="+mn-cs"/>
                <a:sym typeface="+mn-lt"/>
              </a:rPr>
              <a:t>5</a:t>
            </a:r>
            <a:r>
              <a:rPr kumimoji="0" lang="en-US" sz="2600" b="0" i="0" u="none" strike="noStrike" kern="1200" cap="none" spc="0" normalizeH="0" baseline="0" noProof="0" dirty="0">
                <a:ln>
                  <a:noFill/>
                </a:ln>
                <a:solidFill>
                  <a:srgbClr val="000000"/>
                </a:solidFill>
                <a:effectLst/>
                <a:uLnTx/>
                <a:uFillTx/>
                <a:latin typeface="Arial Narrow"/>
                <a:ea typeface="+mn-ea"/>
                <a:cs typeface="+mn-cs"/>
                <a:sym typeface="+mn-lt"/>
              </a:rPr>
              <a:t> </a:t>
            </a:r>
            <a:r>
              <a:rPr kumimoji="0" lang="en-US" sz="2600" b="0" i="0" u="none" strike="noStrike" kern="1200" cap="none" spc="0" normalizeH="0" baseline="0" noProof="0" dirty="0">
                <a:ln>
                  <a:noFill/>
                </a:ln>
                <a:solidFill>
                  <a:srgbClr val="000000"/>
                </a:solidFill>
                <a:effectLst/>
                <a:uLnTx/>
                <a:uFillTx/>
                <a:latin typeface="Arial Narrow" charset="0"/>
                <a:ea typeface="+mn-ea"/>
                <a:cs typeface="+mn-cs"/>
                <a:sym typeface="+mn-lt"/>
              </a:rPr>
              <a:t>regions/cities)</a:t>
            </a:r>
            <a:endParaRPr kumimoji="0" lang="en-US" sz="2600" b="0" i="0" u="none" strike="noStrike" kern="1200" cap="none" spc="0" normalizeH="0" baseline="0" noProof="0" dirty="0">
              <a:ln>
                <a:noFill/>
              </a:ln>
              <a:solidFill>
                <a:srgbClr val="000000"/>
              </a:solidFill>
              <a:effectLst/>
              <a:uLnTx/>
              <a:uFillTx/>
              <a:latin typeface="Arial Narrow"/>
              <a:ea typeface="+mn-ea"/>
              <a:cs typeface="+mn-cs"/>
              <a:sym typeface="+mn-lt"/>
            </a:endParaRPr>
          </a:p>
        </p:txBody>
      </p:sp>
      <p:sp>
        <p:nvSpPr>
          <p:cNvPr id="461" name="RBContent410"/>
          <p:cNvSpPr txBox="1">
            <a:spLocks/>
          </p:cNvSpPr>
          <p:nvPr/>
        </p:nvSpPr>
        <p:spPr>
          <a:xfrm>
            <a:off x="15884975" y="5421745"/>
            <a:ext cx="2005356" cy="720197"/>
          </a:xfrm>
          <a:prstGeom prst="rect">
            <a:avLst/>
          </a:prstGeom>
          <a:noFill/>
          <a:ln w="9525">
            <a:noFill/>
          </a:ln>
        </p:spPr>
        <p:txBody>
          <a:bodyPr vert="horz" wrap="none" lIns="0" tIns="0" rIns="0" bIns="0" rtlCol="0" anchor="b">
            <a:spAutoFit/>
          </a:bodyPr>
          <a:lstStyle/>
          <a:p>
            <a:pPr marL="0" marR="0" lvl="0" indent="0" algn="r" defTabSz="1828800" rtl="0" eaLnBrk="1" fontAlgn="base" latinLnBrk="0" hangingPunct="1">
              <a:lnSpc>
                <a:spcPct val="90000"/>
              </a:lnSpc>
              <a:spcBef>
                <a:spcPts val="800"/>
              </a:spcBef>
              <a:spcAft>
                <a:spcPct val="0"/>
              </a:spcAft>
              <a:buClrTx/>
              <a:buSzPct val="100000"/>
              <a:buFontTx/>
              <a:buNone/>
              <a:tabLst/>
              <a:defRPr/>
            </a:pPr>
            <a:r>
              <a:rPr kumimoji="0" lang="en-US" sz="2600" b="1" i="0" u="none" strike="noStrike" kern="1200" cap="none" spc="0" normalizeH="0" baseline="0" noProof="0" dirty="0">
                <a:ln>
                  <a:noFill/>
                </a:ln>
                <a:solidFill>
                  <a:srgbClr val="000000"/>
                </a:solidFill>
                <a:effectLst/>
                <a:uLnTx/>
                <a:uFillTx/>
                <a:latin typeface="Arial Narrow"/>
                <a:ea typeface="+mn-ea"/>
                <a:cs typeface="+mn-cs"/>
                <a:sym typeface="+mn-lt"/>
              </a:rPr>
              <a:t>Nordics + </a:t>
            </a:r>
            <a:r>
              <a:rPr kumimoji="0" lang="en-US" sz="2600" b="1" i="0" u="none" strike="noStrike" kern="1200" cap="none" spc="0" normalizeH="0" baseline="0" noProof="0" dirty="0" err="1">
                <a:ln>
                  <a:noFill/>
                </a:ln>
                <a:solidFill>
                  <a:srgbClr val="000000"/>
                </a:solidFill>
                <a:effectLst/>
                <a:uLnTx/>
                <a:uFillTx/>
                <a:latin typeface="Arial Narrow"/>
                <a:ea typeface="+mn-ea"/>
                <a:cs typeface="+mn-cs"/>
                <a:sym typeface="+mn-lt"/>
              </a:rPr>
              <a:t>LVA</a:t>
            </a:r>
            <a:r>
              <a:rPr kumimoji="0" lang="en-US" sz="2600" b="1" i="0" u="none" strike="noStrike" kern="1200" cap="none" spc="0" normalizeH="0" baseline="0" noProof="0" dirty="0">
                <a:ln>
                  <a:noFill/>
                </a:ln>
                <a:solidFill>
                  <a:srgbClr val="000000"/>
                </a:solidFill>
                <a:effectLst/>
                <a:uLnTx/>
                <a:uFillTx/>
                <a:latin typeface="Arial Narrow"/>
                <a:ea typeface="+mn-ea"/>
                <a:cs typeface="+mn-cs"/>
                <a:sym typeface="+mn-lt"/>
              </a:rPr>
              <a:t/>
            </a:r>
            <a:br>
              <a:rPr kumimoji="0" lang="en-US" sz="2600" b="1" i="0" u="none" strike="noStrike" kern="1200" cap="none" spc="0" normalizeH="0" baseline="0" noProof="0" dirty="0">
                <a:ln>
                  <a:noFill/>
                </a:ln>
                <a:solidFill>
                  <a:srgbClr val="000000"/>
                </a:solidFill>
                <a:effectLst/>
                <a:uLnTx/>
                <a:uFillTx/>
                <a:latin typeface="Arial Narrow"/>
                <a:ea typeface="+mn-ea"/>
                <a:cs typeface="+mn-cs"/>
                <a:sym typeface="+mn-lt"/>
              </a:rPr>
            </a:br>
            <a:r>
              <a:rPr kumimoji="0" lang="en-US" sz="2600" b="0" i="0" u="none" strike="noStrike" kern="1200" cap="none" spc="0" normalizeH="0" baseline="0" noProof="0" dirty="0">
                <a:ln>
                  <a:noFill/>
                </a:ln>
                <a:solidFill>
                  <a:srgbClr val="000000"/>
                </a:solidFill>
                <a:effectLst/>
                <a:uLnTx/>
                <a:uFillTx/>
                <a:latin typeface="Arial Narrow" charset="0"/>
                <a:ea typeface="+mn-ea"/>
                <a:cs typeface="+mn-cs"/>
                <a:sym typeface="+mn-lt"/>
              </a:rPr>
              <a:t>(8 regions/cities)</a:t>
            </a:r>
          </a:p>
        </p:txBody>
      </p:sp>
      <p:sp>
        <p:nvSpPr>
          <p:cNvPr id="462" name="RBContent410"/>
          <p:cNvSpPr txBox="1">
            <a:spLocks/>
          </p:cNvSpPr>
          <p:nvPr/>
        </p:nvSpPr>
        <p:spPr>
          <a:xfrm>
            <a:off x="15467412" y="10290499"/>
            <a:ext cx="2444580" cy="720197"/>
          </a:xfrm>
          <a:prstGeom prst="rect">
            <a:avLst/>
          </a:prstGeom>
          <a:noFill/>
          <a:ln w="9525">
            <a:noFill/>
          </a:ln>
        </p:spPr>
        <p:txBody>
          <a:bodyPr vert="horz" wrap="none" lIns="0" tIns="0" rIns="0" bIns="0" rtlCol="0" anchor="b">
            <a:spAutoFit/>
          </a:bodyPr>
          <a:lstStyle/>
          <a:p>
            <a:pPr marL="0" marR="0" lvl="0" indent="0" algn="r" defTabSz="1828800" rtl="0" eaLnBrk="1" fontAlgn="base" latinLnBrk="0" hangingPunct="1">
              <a:lnSpc>
                <a:spcPct val="90000"/>
              </a:lnSpc>
              <a:spcBef>
                <a:spcPts val="800"/>
              </a:spcBef>
              <a:spcAft>
                <a:spcPct val="0"/>
              </a:spcAft>
              <a:buClrTx/>
              <a:buSzPct val="100000"/>
              <a:buFontTx/>
              <a:buNone/>
              <a:tabLst/>
              <a:defRPr/>
            </a:pPr>
            <a:r>
              <a:rPr kumimoji="0" lang="en-US" sz="2600" b="1" i="0" u="none" strike="noStrike" kern="1200" cap="none" spc="0" normalizeH="0" baseline="0" noProof="0" dirty="0">
                <a:ln>
                  <a:noFill/>
                </a:ln>
                <a:solidFill>
                  <a:srgbClr val="000000"/>
                </a:solidFill>
                <a:effectLst/>
                <a:uLnTx/>
                <a:uFillTx/>
                <a:latin typeface="Arial Narrow"/>
                <a:ea typeface="+mn-ea"/>
                <a:cs typeface="+mn-cs"/>
                <a:sym typeface="+mn-lt"/>
              </a:rPr>
              <a:t>South East Europe</a:t>
            </a:r>
            <a:br>
              <a:rPr kumimoji="0" lang="en-US" sz="2600" b="1" i="0" u="none" strike="noStrike" kern="1200" cap="none" spc="0" normalizeH="0" baseline="0" noProof="0" dirty="0">
                <a:ln>
                  <a:noFill/>
                </a:ln>
                <a:solidFill>
                  <a:srgbClr val="000000"/>
                </a:solidFill>
                <a:effectLst/>
                <a:uLnTx/>
                <a:uFillTx/>
                <a:latin typeface="Arial Narrow"/>
                <a:ea typeface="+mn-ea"/>
                <a:cs typeface="+mn-cs"/>
                <a:sym typeface="+mn-lt"/>
              </a:rPr>
            </a:br>
            <a:r>
              <a:rPr kumimoji="0" lang="en-US" sz="2600" b="0" i="0" u="none" strike="noStrike" kern="1200" cap="none" spc="0" normalizeH="0" baseline="0" noProof="0" dirty="0">
                <a:ln>
                  <a:noFill/>
                </a:ln>
                <a:solidFill>
                  <a:srgbClr val="000000"/>
                </a:solidFill>
                <a:effectLst/>
                <a:uLnTx/>
                <a:uFillTx/>
                <a:latin typeface="Arial Narrow" charset="0"/>
                <a:ea typeface="+mn-ea"/>
                <a:cs typeface="+mn-cs"/>
                <a:sym typeface="+mn-lt"/>
              </a:rPr>
              <a:t>(15 regions/cities)</a:t>
            </a:r>
          </a:p>
        </p:txBody>
      </p:sp>
      <p:sp>
        <p:nvSpPr>
          <p:cNvPr id="463" name="RBContent410"/>
          <p:cNvSpPr txBox="1">
            <a:spLocks/>
          </p:cNvSpPr>
          <p:nvPr/>
        </p:nvSpPr>
        <p:spPr>
          <a:xfrm>
            <a:off x="15749669" y="7807083"/>
            <a:ext cx="2157642" cy="720197"/>
          </a:xfrm>
          <a:prstGeom prst="rect">
            <a:avLst/>
          </a:prstGeom>
          <a:noFill/>
          <a:ln w="9525">
            <a:noFill/>
          </a:ln>
        </p:spPr>
        <p:txBody>
          <a:bodyPr vert="horz" wrap="none" lIns="0" tIns="0" rIns="0" bIns="0" rtlCol="0" anchor="b">
            <a:spAutoFit/>
          </a:bodyPr>
          <a:lstStyle/>
          <a:p>
            <a:pPr marL="0" marR="0" lvl="0" indent="0" algn="r" defTabSz="1828800" rtl="0" eaLnBrk="1" fontAlgn="base" latinLnBrk="0" hangingPunct="1">
              <a:lnSpc>
                <a:spcPct val="90000"/>
              </a:lnSpc>
              <a:spcBef>
                <a:spcPts val="800"/>
              </a:spcBef>
              <a:spcAft>
                <a:spcPct val="0"/>
              </a:spcAft>
              <a:buClrTx/>
              <a:buSzPct val="100000"/>
              <a:buFontTx/>
              <a:buNone/>
              <a:tabLst/>
              <a:defRPr/>
            </a:pPr>
            <a:r>
              <a:rPr kumimoji="0" lang="en-US" sz="2600" b="1" i="0" u="none" strike="noStrike" kern="1200" cap="none" spc="0" normalizeH="0" baseline="0" noProof="0" dirty="0">
                <a:ln>
                  <a:noFill/>
                </a:ln>
                <a:solidFill>
                  <a:srgbClr val="000000"/>
                </a:solidFill>
                <a:effectLst/>
                <a:uLnTx/>
                <a:uFillTx/>
                <a:latin typeface="Arial Narrow"/>
                <a:ea typeface="+mn-ea"/>
                <a:cs typeface="+mn-cs"/>
                <a:sym typeface="+mn-lt"/>
              </a:rPr>
              <a:t>Central Europe</a:t>
            </a:r>
            <a:br>
              <a:rPr kumimoji="0" lang="en-US" sz="2600" b="1" i="0" u="none" strike="noStrike" kern="1200" cap="none" spc="0" normalizeH="0" baseline="0" noProof="0" dirty="0">
                <a:ln>
                  <a:noFill/>
                </a:ln>
                <a:solidFill>
                  <a:srgbClr val="000000"/>
                </a:solidFill>
                <a:effectLst/>
                <a:uLnTx/>
                <a:uFillTx/>
                <a:latin typeface="Arial Narrow"/>
                <a:ea typeface="+mn-ea"/>
                <a:cs typeface="+mn-cs"/>
                <a:sym typeface="+mn-lt"/>
              </a:rPr>
            </a:br>
            <a:r>
              <a:rPr kumimoji="0" lang="en-US" sz="2600" b="0" i="0" u="none" strike="noStrike" kern="1200" cap="none" spc="0" normalizeH="0" baseline="0" noProof="0" dirty="0">
                <a:ln>
                  <a:noFill/>
                </a:ln>
                <a:solidFill>
                  <a:srgbClr val="000000"/>
                </a:solidFill>
                <a:effectLst/>
                <a:uLnTx/>
                <a:uFillTx/>
                <a:latin typeface="Arial Narrow" charset="0"/>
                <a:ea typeface="+mn-ea"/>
                <a:cs typeface="+mn-cs"/>
                <a:sym typeface="+mn-lt"/>
              </a:rPr>
              <a:t>(10 regions/cities)</a:t>
            </a:r>
          </a:p>
        </p:txBody>
      </p:sp>
      <p:cxnSp>
        <p:nvCxnSpPr>
          <p:cNvPr id="464" name="Straight Connector 463"/>
          <p:cNvCxnSpPr/>
          <p:nvPr/>
        </p:nvCxnSpPr>
        <p:spPr>
          <a:xfrm>
            <a:off x="13084623" y="6234087"/>
            <a:ext cx="4806038" cy="0"/>
          </a:xfrm>
          <a:prstGeom prst="line">
            <a:avLst/>
          </a:prstGeom>
          <a:noFill/>
          <a:ln w="9525" cap="flat" cmpd="sng" algn="ctr">
            <a:solidFill>
              <a:srgbClr val="8D9399"/>
            </a:solidFill>
            <a:prstDash val="solid"/>
            <a:headEnd type="arrow"/>
          </a:ln>
          <a:effectLst/>
        </p:spPr>
      </p:cxnSp>
      <p:cxnSp>
        <p:nvCxnSpPr>
          <p:cNvPr id="465" name="Straight Connector 464"/>
          <p:cNvCxnSpPr/>
          <p:nvPr/>
        </p:nvCxnSpPr>
        <p:spPr>
          <a:xfrm>
            <a:off x="11754297" y="8661421"/>
            <a:ext cx="6137658" cy="0"/>
          </a:xfrm>
          <a:prstGeom prst="line">
            <a:avLst/>
          </a:prstGeom>
          <a:noFill/>
          <a:ln w="9525" cap="flat" cmpd="sng" algn="ctr">
            <a:solidFill>
              <a:srgbClr val="8D9399"/>
            </a:solidFill>
            <a:prstDash val="solid"/>
            <a:headEnd type="arrow"/>
          </a:ln>
          <a:effectLst/>
        </p:spPr>
      </p:cxnSp>
      <p:cxnSp>
        <p:nvCxnSpPr>
          <p:cNvPr id="466" name="Straight Connector 465"/>
          <p:cNvCxnSpPr/>
          <p:nvPr/>
        </p:nvCxnSpPr>
        <p:spPr>
          <a:xfrm>
            <a:off x="14205397" y="11140523"/>
            <a:ext cx="3683806" cy="0"/>
          </a:xfrm>
          <a:prstGeom prst="line">
            <a:avLst/>
          </a:prstGeom>
          <a:noFill/>
          <a:ln w="9525" cap="flat" cmpd="sng" algn="ctr">
            <a:solidFill>
              <a:srgbClr val="8D9399"/>
            </a:solidFill>
            <a:prstDash val="solid"/>
            <a:headEnd type="arrow"/>
          </a:ln>
          <a:effectLst/>
        </p:spPr>
      </p:cxnSp>
      <p:cxnSp>
        <p:nvCxnSpPr>
          <p:cNvPr id="467" name="Straight Connector 466"/>
          <p:cNvCxnSpPr/>
          <p:nvPr/>
        </p:nvCxnSpPr>
        <p:spPr>
          <a:xfrm flipH="1">
            <a:off x="5397947" y="7385071"/>
            <a:ext cx="3299686" cy="0"/>
          </a:xfrm>
          <a:prstGeom prst="line">
            <a:avLst/>
          </a:prstGeom>
          <a:noFill/>
          <a:ln w="9525" cap="flat" cmpd="sng" algn="ctr">
            <a:solidFill>
              <a:srgbClr val="8D9399"/>
            </a:solidFill>
            <a:prstDash val="solid"/>
            <a:headEnd type="arrow"/>
          </a:ln>
          <a:effectLst/>
        </p:spPr>
      </p:cxnSp>
      <p:cxnSp>
        <p:nvCxnSpPr>
          <p:cNvPr id="468" name="Straight Connector 467"/>
          <p:cNvCxnSpPr/>
          <p:nvPr/>
        </p:nvCxnSpPr>
        <p:spPr>
          <a:xfrm flipH="1">
            <a:off x="5397947" y="9493271"/>
            <a:ext cx="3259598" cy="0"/>
          </a:xfrm>
          <a:prstGeom prst="line">
            <a:avLst/>
          </a:prstGeom>
          <a:noFill/>
          <a:ln w="9525" cap="flat" cmpd="sng" algn="ctr">
            <a:solidFill>
              <a:srgbClr val="8D9399"/>
            </a:solidFill>
            <a:prstDash val="solid"/>
            <a:headEnd type="arrow"/>
          </a:ln>
          <a:effectLst/>
        </p:spPr>
      </p:cxnSp>
      <p:cxnSp>
        <p:nvCxnSpPr>
          <p:cNvPr id="469" name="Straight Connector 468"/>
          <p:cNvCxnSpPr/>
          <p:nvPr/>
        </p:nvCxnSpPr>
        <p:spPr>
          <a:xfrm flipH="1">
            <a:off x="5397947" y="11591947"/>
            <a:ext cx="1941514" cy="0"/>
          </a:xfrm>
          <a:prstGeom prst="line">
            <a:avLst/>
          </a:prstGeom>
          <a:noFill/>
          <a:ln w="9525" cap="flat" cmpd="sng" algn="ctr">
            <a:solidFill>
              <a:srgbClr val="8D9399"/>
            </a:solidFill>
            <a:prstDash val="solid"/>
            <a:headEnd type="arrow"/>
          </a:ln>
          <a:effectLst/>
        </p:spPr>
      </p:cxnSp>
      <p:sp>
        <p:nvSpPr>
          <p:cNvPr id="470" name="LegendIcon"/>
          <p:cNvSpPr/>
          <p:nvPr/>
        </p:nvSpPr>
        <p:spPr>
          <a:xfrm>
            <a:off x="4105724" y="12243311"/>
            <a:ext cx="431800" cy="292100"/>
          </a:xfrm>
          <a:prstGeom prst="rect">
            <a:avLst/>
          </a:prstGeom>
          <a:solidFill>
            <a:srgbClr val="00AAC9"/>
          </a:solidFill>
          <a:ln w="9525" cap="flat" cmpd="sng" algn="ctr">
            <a:solidFill>
              <a:srgbClr val="FFFFFF"/>
            </a:solidFill>
            <a:prstDash val="solid"/>
          </a:ln>
          <a:effectLst/>
        </p:spPr>
        <p:txBody>
          <a:bodyPr lIns="0" tIns="0" rIns="0" bIns="0" rtlCol="0" anchor="ctr"/>
          <a:lstStyle/>
          <a:p>
            <a:pPr marL="0" marR="0" lvl="0" indent="0" algn="ctr" defTabSz="1828800" rtl="0" eaLnBrk="1" fontAlgn="auto" latinLnBrk="0" hangingPunct="1">
              <a:lnSpc>
                <a:spcPct val="90000"/>
              </a:lnSpc>
              <a:spcBef>
                <a:spcPts val="0"/>
              </a:spcBef>
              <a:spcAft>
                <a:spcPts val="0"/>
              </a:spcAft>
              <a:buClrTx/>
              <a:buSzTx/>
              <a:buFontTx/>
              <a:buNone/>
              <a:tabLst/>
              <a:defRPr/>
            </a:pPr>
            <a:endParaRPr kumimoji="0" lang="en-GB" sz="2600" b="0" i="0" u="none" strike="noStrike" kern="0" cap="none" spc="0" normalizeH="0" baseline="0" noProof="0" dirty="0">
              <a:ln>
                <a:noFill/>
              </a:ln>
              <a:solidFill>
                <a:sysClr val="windowText" lastClr="000000"/>
              </a:solidFill>
              <a:effectLst/>
              <a:uLnTx/>
              <a:uFillTx/>
              <a:latin typeface="Arial Narrow"/>
              <a:ea typeface="+mn-ea"/>
              <a:cs typeface="+mn-cs"/>
              <a:sym typeface="+mn-lt"/>
            </a:endParaRPr>
          </a:p>
        </p:txBody>
      </p:sp>
      <p:sp>
        <p:nvSpPr>
          <p:cNvPr id="471" name="LegendText"/>
          <p:cNvSpPr txBox="1"/>
          <p:nvPr/>
        </p:nvSpPr>
        <p:spPr>
          <a:xfrm>
            <a:off x="4702624" y="12246246"/>
            <a:ext cx="1006686" cy="276999"/>
          </a:xfrm>
          <a:prstGeom prst="rect">
            <a:avLst/>
          </a:prstGeom>
          <a:noFill/>
          <a:ln w="9525">
            <a:noFill/>
          </a:ln>
        </p:spPr>
        <p:txBody>
          <a:bodyPr vert="horz" wrap="none" lIns="0" tIns="0" rIns="0" bIns="0" rtlCol="0" anchor="t" anchorCtr="0">
            <a:spAutoFit/>
          </a:bodyPr>
          <a:lstStyle/>
          <a:p>
            <a:pPr marL="0" marR="0" lvl="0" indent="0" algn="l" defTabSz="1828800" rtl="0" eaLnBrk="1" fontAlgn="auto" latinLnBrk="0" hangingPunct="1">
              <a:lnSpc>
                <a:spcPct val="90000"/>
              </a:lnSpc>
              <a:spcBef>
                <a:spcPts val="0"/>
              </a:spcBef>
              <a:spcAft>
                <a:spcPts val="0"/>
              </a:spcAft>
              <a:buClr>
                <a:srgbClr val="000000"/>
              </a:buClr>
              <a:buSzPct val="100000"/>
              <a:buFontTx/>
              <a:buNone/>
              <a:tabLst/>
              <a:defRPr/>
            </a:pPr>
            <a:r>
              <a:rPr kumimoji="0" lang="en-GB" sz="2000" b="0" i="0" u="none" strike="noStrike" kern="0" cap="none" spc="0" normalizeH="0" baseline="0" noProof="0" dirty="0">
                <a:ln>
                  <a:noFill/>
                </a:ln>
                <a:solidFill>
                  <a:sysClr val="windowText" lastClr="000000"/>
                </a:solidFill>
                <a:effectLst/>
                <a:uLnTx/>
                <a:uFillTx/>
                <a:latin typeface="Arial Narrow"/>
                <a:ea typeface="+mn-ea"/>
                <a:cs typeface="+mn-cs"/>
                <a:sym typeface="+mn-lt"/>
              </a:rPr>
              <a:t>2012-2017</a:t>
            </a:r>
          </a:p>
        </p:txBody>
      </p:sp>
      <p:sp>
        <p:nvSpPr>
          <p:cNvPr id="472" name="LegendIcon"/>
          <p:cNvSpPr/>
          <p:nvPr/>
        </p:nvSpPr>
        <p:spPr>
          <a:xfrm>
            <a:off x="6073088" y="12243311"/>
            <a:ext cx="431800" cy="292100"/>
          </a:xfrm>
          <a:prstGeom prst="rect">
            <a:avLst/>
          </a:prstGeom>
          <a:solidFill>
            <a:srgbClr val="156C9C"/>
          </a:solidFill>
          <a:ln w="9525" cap="flat" cmpd="sng" algn="ctr">
            <a:solidFill>
              <a:srgbClr val="FFFFFF"/>
            </a:solidFill>
            <a:prstDash val="solid"/>
          </a:ln>
          <a:effectLst/>
        </p:spPr>
        <p:txBody>
          <a:bodyPr lIns="0" tIns="0" rIns="0" bIns="0" rtlCol="0" anchor="ctr"/>
          <a:lstStyle/>
          <a:p>
            <a:pPr marL="0" marR="0" lvl="0" indent="0" algn="ctr" defTabSz="1828800" rtl="0" eaLnBrk="1" fontAlgn="auto" latinLnBrk="0" hangingPunct="1">
              <a:lnSpc>
                <a:spcPct val="90000"/>
              </a:lnSpc>
              <a:spcBef>
                <a:spcPts val="0"/>
              </a:spcBef>
              <a:spcAft>
                <a:spcPts val="0"/>
              </a:spcAft>
              <a:buClrTx/>
              <a:buSzTx/>
              <a:buFontTx/>
              <a:buNone/>
              <a:tabLst/>
              <a:defRPr/>
            </a:pPr>
            <a:endParaRPr kumimoji="0" lang="en-GB" sz="2600" b="0" i="0" u="none" strike="noStrike" kern="0" cap="none" spc="0" normalizeH="0" baseline="0" noProof="0" dirty="0">
              <a:ln>
                <a:noFill/>
              </a:ln>
              <a:solidFill>
                <a:sysClr val="windowText" lastClr="000000"/>
              </a:solidFill>
              <a:effectLst/>
              <a:uLnTx/>
              <a:uFillTx/>
              <a:latin typeface="Arial Narrow"/>
              <a:ea typeface="+mn-ea"/>
              <a:cs typeface="+mn-cs"/>
              <a:sym typeface="+mn-lt"/>
            </a:endParaRPr>
          </a:p>
        </p:txBody>
      </p:sp>
      <p:sp>
        <p:nvSpPr>
          <p:cNvPr id="473" name="LegendText"/>
          <p:cNvSpPr txBox="1"/>
          <p:nvPr/>
        </p:nvSpPr>
        <p:spPr>
          <a:xfrm>
            <a:off x="6669988" y="12246246"/>
            <a:ext cx="1006686" cy="276999"/>
          </a:xfrm>
          <a:prstGeom prst="rect">
            <a:avLst/>
          </a:prstGeom>
          <a:noFill/>
          <a:ln w="9525">
            <a:noFill/>
          </a:ln>
        </p:spPr>
        <p:txBody>
          <a:bodyPr vert="horz" wrap="none" lIns="0" tIns="0" rIns="0" bIns="0" rtlCol="0" anchor="t" anchorCtr="0">
            <a:spAutoFit/>
          </a:bodyPr>
          <a:lstStyle/>
          <a:p>
            <a:pPr marL="0" marR="0" lvl="0" indent="0" algn="l" defTabSz="1828800" rtl="0" eaLnBrk="1" fontAlgn="auto" latinLnBrk="0" hangingPunct="1">
              <a:lnSpc>
                <a:spcPct val="90000"/>
              </a:lnSpc>
              <a:spcBef>
                <a:spcPts val="0"/>
              </a:spcBef>
              <a:spcAft>
                <a:spcPts val="0"/>
              </a:spcAft>
              <a:buClr>
                <a:srgbClr val="000000"/>
              </a:buClr>
              <a:buSzPct val="100000"/>
              <a:buFontTx/>
              <a:buNone/>
              <a:tabLst/>
              <a:defRPr/>
            </a:pPr>
            <a:r>
              <a:rPr kumimoji="0" lang="en-GB" sz="2000" b="0" i="0" u="none" strike="noStrike" kern="0" cap="none" spc="0" normalizeH="0" baseline="0" noProof="0" dirty="0">
                <a:ln>
                  <a:noFill/>
                </a:ln>
                <a:solidFill>
                  <a:sysClr val="windowText" lastClr="000000"/>
                </a:solidFill>
                <a:effectLst/>
                <a:uLnTx/>
                <a:uFillTx/>
                <a:latin typeface="Arial Narrow"/>
                <a:ea typeface="+mn-ea"/>
                <a:cs typeface="+mn-cs"/>
                <a:sym typeface="+mn-lt"/>
              </a:rPr>
              <a:t>2017-2022</a:t>
            </a:r>
          </a:p>
        </p:txBody>
      </p:sp>
      <p:graphicFrame>
        <p:nvGraphicFramePr>
          <p:cNvPr id="474" name="Object 473"/>
          <p:cNvGraphicFramePr>
            <a:graphicFrameLocks/>
          </p:cNvGraphicFramePr>
          <p:nvPr>
            <p:custDataLst>
              <p:tags r:id="rId5"/>
            </p:custDataLst>
            <p:extLst/>
          </p:nvPr>
        </p:nvGraphicFramePr>
        <p:xfrm>
          <a:off x="3848546" y="7777593"/>
          <a:ext cx="2762380" cy="2095740"/>
        </p:xfrm>
        <a:graphic>
          <a:graphicData uri="http://schemas.openxmlformats.org/presentationml/2006/ole">
            <mc:AlternateContent xmlns:mc="http://schemas.openxmlformats.org/markup-compatibility/2006">
              <mc:Choice xmlns:v="urn:schemas-microsoft-com:vml" Requires="v">
                <p:oleObj spid="_x0000_s17656" name="Chart" r:id="rId49" imgW="1381071" imgH="1047654" progId="MSGraph.Chart.8">
                  <p:embed followColorScheme="full"/>
                </p:oleObj>
              </mc:Choice>
              <mc:Fallback>
                <p:oleObj name="Chart" r:id="rId49" imgW="1381071" imgH="1047654" progId="MSGraph.Chart.8">
                  <p:embed followColorScheme="full"/>
                  <p:pic>
                    <p:nvPicPr>
                      <p:cNvPr id="474" name="Object 473"/>
                      <p:cNvPicPr/>
                      <p:nvPr/>
                    </p:nvPicPr>
                    <p:blipFill>
                      <a:blip r:embed="rId50"/>
                      <a:stretch>
                        <a:fillRect/>
                      </a:stretch>
                    </p:blipFill>
                    <p:spPr>
                      <a:xfrm>
                        <a:off x="3848546" y="7777593"/>
                        <a:ext cx="2762380" cy="2095740"/>
                      </a:xfrm>
                      <a:prstGeom prst="rect">
                        <a:avLst/>
                      </a:prstGeom>
                    </p:spPr>
                  </p:pic>
                </p:oleObj>
              </mc:Fallback>
            </mc:AlternateContent>
          </a:graphicData>
        </a:graphic>
      </p:graphicFrame>
      <p:sp>
        <p:nvSpPr>
          <p:cNvPr id="475" name="Text Placeholder"/>
          <p:cNvSpPr>
            <a:spLocks noGrp="1"/>
          </p:cNvSpPr>
          <p:nvPr>
            <p:custDataLst>
              <p:tags r:id="rId6"/>
            </p:custDataLst>
          </p:nvPr>
        </p:nvSpPr>
        <p:spPr bwMode="gray">
          <a:xfrm>
            <a:off x="4264472" y="9495270"/>
            <a:ext cx="215900" cy="301626"/>
          </a:xfrm>
          <a:prstGeom prst="rect">
            <a:avLst/>
          </a:prstGeom>
          <a:solidFill>
            <a:srgbClr val="00AAC9"/>
          </a:solidFill>
        </p:spPr>
        <p:txBody>
          <a:bodyPr vert="horz" wrap="none" lIns="44450" tIns="0" rIns="4445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marR="0" lvl="0" indent="0" algn="ctr" defTabSz="1828800" rtl="0" eaLnBrk="1" fontAlgn="auto" latinLnBrk="0" hangingPunct="1">
              <a:lnSpc>
                <a:spcPct val="90000"/>
              </a:lnSpc>
              <a:spcBef>
                <a:spcPct val="0"/>
              </a:spcBef>
              <a:spcAft>
                <a:spcPts val="0"/>
              </a:spcAft>
              <a:buClrTx/>
              <a:buSzTx/>
              <a:buFont typeface="Arial Narrow" pitchFamily="34" charset="0"/>
              <a:buNone/>
              <a:tabLst/>
              <a:defRPr/>
            </a:pPr>
            <a:fld id="{A4B43AAC-F149-4035-8A3F-4BE2E103F529}" type="datetime'''''''''''4'''''''''''''''''''''''''">
              <a:rPr kumimoji="0" lang="en-US" altLang="en-US" sz="2200" b="1" i="0" u="none" strike="noStrike" kern="1200" cap="none" spc="0" normalizeH="0" baseline="0" noProof="0">
                <a:ln>
                  <a:noFill/>
                </a:ln>
                <a:solidFill>
                  <a:srgbClr val="FFFFFF"/>
                </a:solidFill>
                <a:effectLst/>
                <a:uLnTx/>
                <a:uFillTx/>
                <a:latin typeface="Arial Narrow"/>
                <a:ea typeface="+mn-ea"/>
                <a:cs typeface="+mn-cs"/>
                <a:sym typeface="+mn-lt"/>
              </a:rPr>
              <a:pPr marL="0" marR="0" lvl="0" indent="0" algn="ctr" defTabSz="1828800" rtl="0" eaLnBrk="1" fontAlgn="auto" latinLnBrk="0" hangingPunct="1">
                <a:lnSpc>
                  <a:spcPct val="90000"/>
                </a:lnSpc>
                <a:spcBef>
                  <a:spcPct val="0"/>
                </a:spcBef>
                <a:spcAft>
                  <a:spcPts val="0"/>
                </a:spcAft>
                <a:buClrTx/>
                <a:buSzTx/>
                <a:buFont typeface="Arial Narrow" pitchFamily="34" charset="0"/>
                <a:buNone/>
                <a:tabLst/>
                <a:defRPr/>
              </a:pPr>
              <a:t>4</a:t>
            </a:fld>
            <a:endParaRPr kumimoji="0" lang="en-US" sz="2200" b="1" i="0" u="none" strike="noStrike" kern="1200" cap="none" spc="0" normalizeH="0" baseline="0" noProof="0" dirty="0">
              <a:ln>
                <a:noFill/>
              </a:ln>
              <a:solidFill>
                <a:srgbClr val="FFFFFF"/>
              </a:solidFill>
              <a:effectLst/>
              <a:uLnTx/>
              <a:uFillTx/>
              <a:latin typeface="Arial Narrow"/>
              <a:ea typeface="+mn-ea"/>
              <a:cs typeface="+mn-cs"/>
              <a:sym typeface="+mn-lt"/>
            </a:endParaRPr>
          </a:p>
        </p:txBody>
      </p:sp>
      <p:graphicFrame>
        <p:nvGraphicFramePr>
          <p:cNvPr id="476" name="Object 475"/>
          <p:cNvGraphicFramePr>
            <a:graphicFrameLocks/>
          </p:cNvGraphicFramePr>
          <p:nvPr>
            <p:custDataLst>
              <p:tags r:id="rId7"/>
            </p:custDataLst>
            <p:extLst/>
          </p:nvPr>
        </p:nvGraphicFramePr>
        <p:xfrm>
          <a:off x="3848546" y="9911193"/>
          <a:ext cx="2762380" cy="2057400"/>
        </p:xfrm>
        <a:graphic>
          <a:graphicData uri="http://schemas.openxmlformats.org/presentationml/2006/ole">
            <mc:AlternateContent xmlns:mc="http://schemas.openxmlformats.org/markup-compatibility/2006">
              <mc:Choice xmlns:v="urn:schemas-microsoft-com:vml" Requires="v">
                <p:oleObj spid="_x0000_s17657" name="Chart" r:id="rId51" imgW="1381071" imgH="1028700" progId="MSGraph.Chart.8">
                  <p:embed followColorScheme="full"/>
                </p:oleObj>
              </mc:Choice>
              <mc:Fallback>
                <p:oleObj name="Chart" r:id="rId51" imgW="1381071" imgH="1028700" progId="MSGraph.Chart.8">
                  <p:embed followColorScheme="full"/>
                  <p:pic>
                    <p:nvPicPr>
                      <p:cNvPr id="476" name="Object 475"/>
                      <p:cNvPicPr/>
                      <p:nvPr/>
                    </p:nvPicPr>
                    <p:blipFill>
                      <a:blip r:embed="rId52"/>
                      <a:stretch>
                        <a:fillRect/>
                      </a:stretch>
                    </p:blipFill>
                    <p:spPr>
                      <a:xfrm>
                        <a:off x="3848546" y="9911193"/>
                        <a:ext cx="2762380" cy="2057400"/>
                      </a:xfrm>
                      <a:prstGeom prst="rect">
                        <a:avLst/>
                      </a:prstGeom>
                    </p:spPr>
                  </p:pic>
                </p:oleObj>
              </mc:Fallback>
            </mc:AlternateContent>
          </a:graphicData>
        </a:graphic>
      </p:graphicFrame>
      <p:sp>
        <p:nvSpPr>
          <p:cNvPr id="477" name="Text Placeholder"/>
          <p:cNvSpPr>
            <a:spLocks noGrp="1"/>
          </p:cNvSpPr>
          <p:nvPr>
            <p:custDataLst>
              <p:tags r:id="rId8"/>
            </p:custDataLst>
          </p:nvPr>
        </p:nvSpPr>
        <p:spPr bwMode="gray">
          <a:xfrm>
            <a:off x="4200972" y="11533620"/>
            <a:ext cx="342900" cy="301626"/>
          </a:xfrm>
          <a:prstGeom prst="rect">
            <a:avLst/>
          </a:prstGeom>
          <a:solidFill>
            <a:srgbClr val="00AAC9"/>
          </a:solidFill>
        </p:spPr>
        <p:txBody>
          <a:bodyPr vert="horz" wrap="none" lIns="44450" tIns="0" rIns="4445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marR="0" lvl="0" indent="0" algn="ctr" defTabSz="1828800" rtl="0" eaLnBrk="1" fontAlgn="auto" latinLnBrk="0" hangingPunct="1">
              <a:lnSpc>
                <a:spcPct val="90000"/>
              </a:lnSpc>
              <a:spcBef>
                <a:spcPct val="0"/>
              </a:spcBef>
              <a:spcAft>
                <a:spcPts val="0"/>
              </a:spcAft>
              <a:buClrTx/>
              <a:buSzTx/>
              <a:buFont typeface="Arial Narrow" pitchFamily="34" charset="0"/>
              <a:buNone/>
              <a:tabLst/>
              <a:defRPr/>
            </a:pPr>
            <a:fld id="{A6F1C1E4-69E9-4763-8920-0B82F628E2E1}" type="datetime'''''''''1''''''''3'''">
              <a:rPr kumimoji="0" lang="en-US" altLang="en-US" sz="2200" b="1" i="0" u="none" strike="noStrike" kern="1200" cap="none" spc="0" normalizeH="0" baseline="0" noProof="0">
                <a:ln>
                  <a:noFill/>
                </a:ln>
                <a:solidFill>
                  <a:srgbClr val="FFFFFF"/>
                </a:solidFill>
                <a:effectLst/>
                <a:uLnTx/>
                <a:uFillTx/>
                <a:latin typeface="Arial Narrow"/>
                <a:ea typeface="+mn-ea"/>
                <a:cs typeface="+mn-cs"/>
                <a:sym typeface="+mn-lt"/>
              </a:rPr>
              <a:pPr marL="0" marR="0" lvl="0" indent="0" algn="ctr" defTabSz="1828800" rtl="0" eaLnBrk="1" fontAlgn="auto" latinLnBrk="0" hangingPunct="1">
                <a:lnSpc>
                  <a:spcPct val="90000"/>
                </a:lnSpc>
                <a:spcBef>
                  <a:spcPct val="0"/>
                </a:spcBef>
                <a:spcAft>
                  <a:spcPts val="0"/>
                </a:spcAft>
                <a:buClrTx/>
                <a:buSzTx/>
                <a:buFont typeface="Arial Narrow" pitchFamily="34" charset="0"/>
                <a:buNone/>
                <a:tabLst/>
                <a:defRPr/>
              </a:pPr>
              <a:t>13</a:t>
            </a:fld>
            <a:endParaRPr kumimoji="0" lang="en-US" sz="2200" b="1" i="0" u="none" strike="noStrike" kern="1200" cap="none" spc="0" normalizeH="0" baseline="0" noProof="0" dirty="0">
              <a:ln>
                <a:noFill/>
              </a:ln>
              <a:solidFill>
                <a:srgbClr val="FFFFFF"/>
              </a:solidFill>
              <a:effectLst/>
              <a:uLnTx/>
              <a:uFillTx/>
              <a:latin typeface="Arial Narrow"/>
              <a:ea typeface="+mn-ea"/>
              <a:cs typeface="+mn-cs"/>
              <a:sym typeface="+mn-lt"/>
            </a:endParaRPr>
          </a:p>
        </p:txBody>
      </p:sp>
      <p:sp>
        <p:nvSpPr>
          <p:cNvPr id="478" name="Text Placeholder"/>
          <p:cNvSpPr>
            <a:spLocks noGrp="1"/>
          </p:cNvSpPr>
          <p:nvPr>
            <p:custDataLst>
              <p:tags r:id="rId9"/>
            </p:custDataLst>
          </p:nvPr>
        </p:nvSpPr>
        <p:spPr bwMode="gray">
          <a:xfrm>
            <a:off x="4743896" y="11495520"/>
            <a:ext cx="342900" cy="301626"/>
          </a:xfrm>
          <a:prstGeom prst="rect">
            <a:avLst/>
          </a:prstGeom>
          <a:solidFill>
            <a:srgbClr val="156C9C"/>
          </a:solidFill>
        </p:spPr>
        <p:txBody>
          <a:bodyPr vert="horz" wrap="none" lIns="44450" tIns="0" rIns="4445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marR="0" lvl="0" indent="0" algn="ctr" defTabSz="1828800" rtl="0" eaLnBrk="1" fontAlgn="auto" latinLnBrk="0" hangingPunct="1">
              <a:lnSpc>
                <a:spcPct val="90000"/>
              </a:lnSpc>
              <a:spcBef>
                <a:spcPct val="0"/>
              </a:spcBef>
              <a:spcAft>
                <a:spcPts val="0"/>
              </a:spcAft>
              <a:buClrTx/>
              <a:buSzTx/>
              <a:buFont typeface="Arial Narrow" pitchFamily="34" charset="0"/>
              <a:buNone/>
              <a:tabLst/>
              <a:defRPr/>
            </a:pPr>
            <a:fld id="{1242C596-A1BD-4478-8474-F42CC363A2B6}" type="datetime'''''''''''''''''''2''''''''''''''''0'''''''''''''''''''">
              <a:rPr kumimoji="0" lang="en-US" altLang="en-US" sz="2200" b="1" i="0" u="none" strike="noStrike" kern="1200" cap="none" spc="0" normalizeH="0" baseline="0" noProof="0">
                <a:ln>
                  <a:noFill/>
                </a:ln>
                <a:solidFill>
                  <a:srgbClr val="FFFFFF"/>
                </a:solidFill>
                <a:effectLst/>
                <a:uLnTx/>
                <a:uFillTx/>
                <a:latin typeface="Arial Narrow"/>
                <a:ea typeface="+mn-ea"/>
                <a:cs typeface="+mn-cs"/>
                <a:sym typeface="+mn-lt"/>
              </a:rPr>
              <a:pPr marL="0" marR="0" lvl="0" indent="0" algn="ctr" defTabSz="1828800" rtl="0" eaLnBrk="1" fontAlgn="auto" latinLnBrk="0" hangingPunct="1">
                <a:lnSpc>
                  <a:spcPct val="90000"/>
                </a:lnSpc>
                <a:spcBef>
                  <a:spcPct val="0"/>
                </a:spcBef>
                <a:spcAft>
                  <a:spcPts val="0"/>
                </a:spcAft>
                <a:buClrTx/>
                <a:buSzTx/>
                <a:buFont typeface="Arial Narrow" pitchFamily="34" charset="0"/>
                <a:buNone/>
                <a:tabLst/>
                <a:defRPr/>
              </a:pPr>
              <a:t>20</a:t>
            </a:fld>
            <a:endParaRPr kumimoji="0" lang="en-US" sz="2200" b="1" i="0" u="none" strike="noStrike" kern="1200" cap="none" spc="0" normalizeH="0" baseline="0" noProof="0" dirty="0">
              <a:ln>
                <a:noFill/>
              </a:ln>
              <a:solidFill>
                <a:srgbClr val="FFFFFF"/>
              </a:solidFill>
              <a:effectLst/>
              <a:uLnTx/>
              <a:uFillTx/>
              <a:latin typeface="Arial Narrow"/>
              <a:ea typeface="+mn-ea"/>
              <a:cs typeface="+mn-cs"/>
              <a:sym typeface="+mn-lt"/>
            </a:endParaRPr>
          </a:p>
        </p:txBody>
      </p:sp>
      <p:graphicFrame>
        <p:nvGraphicFramePr>
          <p:cNvPr id="479" name="Object 478"/>
          <p:cNvGraphicFramePr>
            <a:graphicFrameLocks/>
          </p:cNvGraphicFramePr>
          <p:nvPr>
            <p:custDataLst>
              <p:tags r:id="rId10"/>
            </p:custDataLst>
            <p:extLst/>
          </p:nvPr>
        </p:nvGraphicFramePr>
        <p:xfrm>
          <a:off x="17869346" y="4577193"/>
          <a:ext cx="2762380" cy="2038500"/>
        </p:xfrm>
        <a:graphic>
          <a:graphicData uri="http://schemas.openxmlformats.org/presentationml/2006/ole">
            <mc:AlternateContent xmlns:mc="http://schemas.openxmlformats.org/markup-compatibility/2006">
              <mc:Choice xmlns:v="urn:schemas-microsoft-com:vml" Requires="v">
                <p:oleObj spid="_x0000_s17658" name="Chart" r:id="rId53" imgW="1381071" imgH="1019051" progId="MSGraph.Chart.8">
                  <p:embed followColorScheme="full"/>
                </p:oleObj>
              </mc:Choice>
              <mc:Fallback>
                <p:oleObj name="Chart" r:id="rId53" imgW="1381071" imgH="1019051" progId="MSGraph.Chart.8">
                  <p:embed followColorScheme="full"/>
                  <p:pic>
                    <p:nvPicPr>
                      <p:cNvPr id="479" name="Object 478"/>
                      <p:cNvPicPr/>
                      <p:nvPr/>
                    </p:nvPicPr>
                    <p:blipFill>
                      <a:blip r:embed="rId54"/>
                      <a:stretch>
                        <a:fillRect/>
                      </a:stretch>
                    </p:blipFill>
                    <p:spPr>
                      <a:xfrm>
                        <a:off x="17869346" y="4577193"/>
                        <a:ext cx="2762380" cy="2038500"/>
                      </a:xfrm>
                      <a:prstGeom prst="rect">
                        <a:avLst/>
                      </a:prstGeom>
                    </p:spPr>
                  </p:pic>
                </p:oleObj>
              </mc:Fallback>
            </mc:AlternateContent>
          </a:graphicData>
        </a:graphic>
      </p:graphicFrame>
      <p:graphicFrame>
        <p:nvGraphicFramePr>
          <p:cNvPr id="480" name="Object 479"/>
          <p:cNvGraphicFramePr>
            <a:graphicFrameLocks/>
          </p:cNvGraphicFramePr>
          <p:nvPr>
            <p:custDataLst>
              <p:tags r:id="rId11"/>
            </p:custDataLst>
            <p:extLst/>
          </p:nvPr>
        </p:nvGraphicFramePr>
        <p:xfrm>
          <a:off x="17869346" y="7015593"/>
          <a:ext cx="2762380" cy="2019060"/>
        </p:xfrm>
        <a:graphic>
          <a:graphicData uri="http://schemas.openxmlformats.org/presentationml/2006/ole">
            <mc:AlternateContent xmlns:mc="http://schemas.openxmlformats.org/markup-compatibility/2006">
              <mc:Choice xmlns:v="urn:schemas-microsoft-com:vml" Requires="v">
                <p:oleObj spid="_x0000_s17659" name="Chart" r:id="rId55" imgW="1381071" imgH="1009746" progId="MSGraph.Chart.8">
                  <p:embed followColorScheme="full"/>
                </p:oleObj>
              </mc:Choice>
              <mc:Fallback>
                <p:oleObj name="Chart" r:id="rId55" imgW="1381071" imgH="1009746" progId="MSGraph.Chart.8">
                  <p:embed followColorScheme="full"/>
                  <p:pic>
                    <p:nvPicPr>
                      <p:cNvPr id="480" name="Object 479"/>
                      <p:cNvPicPr/>
                      <p:nvPr/>
                    </p:nvPicPr>
                    <p:blipFill>
                      <a:blip r:embed="rId56"/>
                      <a:stretch>
                        <a:fillRect/>
                      </a:stretch>
                    </p:blipFill>
                    <p:spPr>
                      <a:xfrm>
                        <a:off x="17869346" y="7015593"/>
                        <a:ext cx="2762380" cy="2019060"/>
                      </a:xfrm>
                      <a:prstGeom prst="rect">
                        <a:avLst/>
                      </a:prstGeom>
                    </p:spPr>
                  </p:pic>
                </p:oleObj>
              </mc:Fallback>
            </mc:AlternateContent>
          </a:graphicData>
        </a:graphic>
      </p:graphicFrame>
      <p:sp>
        <p:nvSpPr>
          <p:cNvPr id="481" name="Text Placeholder"/>
          <p:cNvSpPr>
            <a:spLocks noGrp="1"/>
          </p:cNvSpPr>
          <p:nvPr>
            <p:custDataLst>
              <p:tags r:id="rId12"/>
            </p:custDataLst>
          </p:nvPr>
        </p:nvSpPr>
        <p:spPr bwMode="gray">
          <a:xfrm>
            <a:off x="18682146" y="7923644"/>
            <a:ext cx="469900" cy="301626"/>
          </a:xfrm>
          <a:prstGeom prst="rect">
            <a:avLst/>
          </a:prstGeom>
          <a:solidFill>
            <a:srgbClr val="156C9C"/>
          </a:solidFill>
        </p:spPr>
        <p:txBody>
          <a:bodyPr vert="horz" wrap="none" lIns="44450" tIns="0" rIns="4445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marR="0" lvl="0" indent="0" algn="ctr" defTabSz="1828800" rtl="0" eaLnBrk="1" fontAlgn="auto" latinLnBrk="0" hangingPunct="1">
              <a:lnSpc>
                <a:spcPct val="90000"/>
              </a:lnSpc>
              <a:spcBef>
                <a:spcPct val="0"/>
              </a:spcBef>
              <a:spcAft>
                <a:spcPts val="0"/>
              </a:spcAft>
              <a:buClrTx/>
              <a:buSzTx/>
              <a:buFont typeface="Arial Narrow" pitchFamily="34" charset="0"/>
              <a:buNone/>
              <a:tabLst/>
              <a:defRPr/>
            </a:pPr>
            <a:fld id="{739608D7-EFF1-48D2-BB8D-0E08F8D40673}" type="datetime'1''''''''''''''''3''''''''''''''''1'''''''''''''''''''''''''''">
              <a:rPr kumimoji="0" lang="en-US" altLang="en-US" sz="2200" b="1" i="0" u="none" strike="noStrike" kern="1200" cap="none" spc="0" normalizeH="0" baseline="0" noProof="0">
                <a:ln>
                  <a:noFill/>
                </a:ln>
                <a:solidFill>
                  <a:srgbClr val="FFFFFF"/>
                </a:solidFill>
                <a:effectLst/>
                <a:uLnTx/>
                <a:uFillTx/>
                <a:latin typeface="Arial Narrow"/>
                <a:ea typeface="+mn-ea"/>
                <a:cs typeface="+mn-cs"/>
                <a:sym typeface="+mn-lt"/>
              </a:rPr>
              <a:pPr marL="0" marR="0" lvl="0" indent="0" algn="ctr" defTabSz="1828800" rtl="0" eaLnBrk="1" fontAlgn="auto" latinLnBrk="0" hangingPunct="1">
                <a:lnSpc>
                  <a:spcPct val="90000"/>
                </a:lnSpc>
                <a:spcBef>
                  <a:spcPct val="0"/>
                </a:spcBef>
                <a:spcAft>
                  <a:spcPts val="0"/>
                </a:spcAft>
                <a:buClrTx/>
                <a:buSzTx/>
                <a:buFont typeface="Arial Narrow" pitchFamily="34" charset="0"/>
                <a:buNone/>
                <a:tabLst/>
                <a:defRPr/>
              </a:pPr>
              <a:t>131</a:t>
            </a:fld>
            <a:endParaRPr kumimoji="0" lang="en-US" sz="2200" b="1" i="0" u="none" strike="noStrike" kern="1200" cap="none" spc="0" normalizeH="0" baseline="0" noProof="0" dirty="0">
              <a:ln>
                <a:noFill/>
              </a:ln>
              <a:solidFill>
                <a:srgbClr val="FFFFFF"/>
              </a:solidFill>
              <a:effectLst/>
              <a:uLnTx/>
              <a:uFillTx/>
              <a:latin typeface="Arial Narrow"/>
              <a:ea typeface="+mn-ea"/>
              <a:cs typeface="+mn-cs"/>
              <a:sym typeface="+mn-lt"/>
            </a:endParaRPr>
          </a:p>
        </p:txBody>
      </p:sp>
      <p:graphicFrame>
        <p:nvGraphicFramePr>
          <p:cNvPr id="482" name="Object 481"/>
          <p:cNvGraphicFramePr>
            <a:graphicFrameLocks/>
          </p:cNvGraphicFramePr>
          <p:nvPr>
            <p:custDataLst>
              <p:tags r:id="rId13"/>
            </p:custDataLst>
            <p:extLst/>
          </p:nvPr>
        </p:nvGraphicFramePr>
        <p:xfrm>
          <a:off x="17869346" y="9453993"/>
          <a:ext cx="2762380" cy="2076300"/>
        </p:xfrm>
        <a:graphic>
          <a:graphicData uri="http://schemas.openxmlformats.org/presentationml/2006/ole">
            <mc:AlternateContent xmlns:mc="http://schemas.openxmlformats.org/markup-compatibility/2006">
              <mc:Choice xmlns:v="urn:schemas-microsoft-com:vml" Requires="v">
                <p:oleObj spid="_x0000_s17660" name="Chart" r:id="rId57" imgW="1381071" imgH="1038349" progId="MSGraph.Chart.8">
                  <p:embed followColorScheme="full"/>
                </p:oleObj>
              </mc:Choice>
              <mc:Fallback>
                <p:oleObj name="Chart" r:id="rId57" imgW="1381071" imgH="1038349" progId="MSGraph.Chart.8">
                  <p:embed followColorScheme="full"/>
                  <p:pic>
                    <p:nvPicPr>
                      <p:cNvPr id="482" name="Object 481"/>
                      <p:cNvPicPr/>
                      <p:nvPr/>
                    </p:nvPicPr>
                    <p:blipFill>
                      <a:blip r:embed="rId58"/>
                      <a:stretch>
                        <a:fillRect/>
                      </a:stretch>
                    </p:blipFill>
                    <p:spPr>
                      <a:xfrm>
                        <a:off x="17869346" y="9453993"/>
                        <a:ext cx="2762380" cy="2076300"/>
                      </a:xfrm>
                      <a:prstGeom prst="rect">
                        <a:avLst/>
                      </a:prstGeom>
                    </p:spPr>
                  </p:pic>
                </p:oleObj>
              </mc:Fallback>
            </mc:AlternateContent>
          </a:graphicData>
        </a:graphic>
      </p:graphicFrame>
      <p:sp>
        <p:nvSpPr>
          <p:cNvPr id="483" name="Text Placeholder"/>
          <p:cNvSpPr>
            <a:spLocks noGrp="1"/>
          </p:cNvSpPr>
          <p:nvPr>
            <p:custDataLst>
              <p:tags r:id="rId14"/>
            </p:custDataLst>
          </p:nvPr>
        </p:nvSpPr>
        <p:spPr bwMode="gray">
          <a:xfrm>
            <a:off x="18745646" y="11104994"/>
            <a:ext cx="342900" cy="301626"/>
          </a:xfrm>
          <a:prstGeom prst="rect">
            <a:avLst/>
          </a:prstGeom>
          <a:solidFill>
            <a:srgbClr val="156C9C"/>
          </a:solidFill>
        </p:spPr>
        <p:txBody>
          <a:bodyPr vert="horz" wrap="none" lIns="44450" tIns="0" rIns="4445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marR="0" lvl="0" indent="0" algn="ctr" defTabSz="1828800" rtl="0" eaLnBrk="1" fontAlgn="auto" latinLnBrk="0" hangingPunct="1">
              <a:lnSpc>
                <a:spcPct val="90000"/>
              </a:lnSpc>
              <a:spcBef>
                <a:spcPct val="0"/>
              </a:spcBef>
              <a:spcAft>
                <a:spcPts val="0"/>
              </a:spcAft>
              <a:buClrTx/>
              <a:buSzTx/>
              <a:buFont typeface="Arial Narrow" pitchFamily="34" charset="0"/>
              <a:buNone/>
              <a:tabLst/>
              <a:defRPr/>
            </a:pPr>
            <a:fld id="{4D7FEB28-8885-40F4-BB50-78C133E8439D}" type="datetime'''1''''''''''''''''''1'''''''''''''''''''''''''''''''''">
              <a:rPr kumimoji="0" lang="en-US" altLang="en-US" sz="2200" b="1" i="0" u="none" strike="noStrike" kern="1200" cap="none" spc="0" normalizeH="0" baseline="0" noProof="0">
                <a:ln>
                  <a:noFill/>
                </a:ln>
                <a:solidFill>
                  <a:srgbClr val="FFFFFF"/>
                </a:solidFill>
                <a:effectLst/>
                <a:uLnTx/>
                <a:uFillTx/>
                <a:latin typeface="Arial Narrow"/>
                <a:ea typeface="+mn-ea"/>
                <a:cs typeface="+mn-cs"/>
                <a:sym typeface="+mn-lt"/>
              </a:rPr>
              <a:pPr marL="0" marR="0" lvl="0" indent="0" algn="ctr" defTabSz="1828800" rtl="0" eaLnBrk="1" fontAlgn="auto" latinLnBrk="0" hangingPunct="1">
                <a:lnSpc>
                  <a:spcPct val="90000"/>
                </a:lnSpc>
                <a:spcBef>
                  <a:spcPct val="0"/>
                </a:spcBef>
                <a:spcAft>
                  <a:spcPts val="0"/>
                </a:spcAft>
                <a:buClrTx/>
                <a:buSzTx/>
                <a:buFont typeface="Arial Narrow" pitchFamily="34" charset="0"/>
                <a:buNone/>
                <a:tabLst/>
                <a:defRPr/>
              </a:pPr>
              <a:t>11</a:t>
            </a:fld>
            <a:endParaRPr kumimoji="0" lang="en-US" sz="2200" b="1" i="0" u="none" strike="noStrike" kern="1200" cap="none" spc="0" normalizeH="0" baseline="0" noProof="0" dirty="0">
              <a:ln>
                <a:noFill/>
              </a:ln>
              <a:solidFill>
                <a:srgbClr val="FFFFFF"/>
              </a:solidFill>
              <a:effectLst/>
              <a:uLnTx/>
              <a:uFillTx/>
              <a:latin typeface="Arial Narrow"/>
              <a:ea typeface="+mn-ea"/>
              <a:cs typeface="+mn-cs"/>
              <a:sym typeface="+mn-lt"/>
            </a:endParaRPr>
          </a:p>
        </p:txBody>
      </p:sp>
      <p:sp>
        <p:nvSpPr>
          <p:cNvPr id="484" name="Text Placeholder"/>
          <p:cNvSpPr>
            <a:spLocks noGrp="1"/>
          </p:cNvSpPr>
          <p:nvPr>
            <p:custDataLst>
              <p:tags r:id="rId15"/>
            </p:custDataLst>
          </p:nvPr>
        </p:nvSpPr>
        <p:spPr bwMode="gray">
          <a:xfrm>
            <a:off x="18266222" y="11162144"/>
            <a:ext cx="215900" cy="301626"/>
          </a:xfrm>
          <a:prstGeom prst="rect">
            <a:avLst/>
          </a:prstGeom>
          <a:solidFill>
            <a:srgbClr val="00AAC9"/>
          </a:solidFill>
        </p:spPr>
        <p:txBody>
          <a:bodyPr vert="horz" wrap="none" lIns="44450" tIns="0" rIns="4445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marR="0" lvl="0" indent="0" algn="ctr" defTabSz="1828800" rtl="0" eaLnBrk="1" fontAlgn="auto" latinLnBrk="0" hangingPunct="1">
              <a:lnSpc>
                <a:spcPct val="90000"/>
              </a:lnSpc>
              <a:spcBef>
                <a:spcPct val="0"/>
              </a:spcBef>
              <a:spcAft>
                <a:spcPts val="0"/>
              </a:spcAft>
              <a:buClrTx/>
              <a:buSzTx/>
              <a:buFont typeface="Arial Narrow" pitchFamily="34" charset="0"/>
              <a:buNone/>
              <a:tabLst/>
              <a:defRPr/>
            </a:pPr>
            <a:fld id="{338DFD31-259A-48F1-BE8E-F28ACCBFF200}" type="datetime'''''''''''''''''''''''''''''''''''2'''''''''''''''''''''''''''">
              <a:rPr kumimoji="0" lang="en-US" altLang="en-US" sz="2200" b="1" i="0" u="none" strike="noStrike" kern="1200" cap="none" spc="0" normalizeH="0" baseline="0" noProof="0">
                <a:ln>
                  <a:noFill/>
                </a:ln>
                <a:solidFill>
                  <a:srgbClr val="FFFFFF"/>
                </a:solidFill>
                <a:effectLst/>
                <a:uLnTx/>
                <a:uFillTx/>
                <a:latin typeface="Arial Narrow"/>
                <a:ea typeface="+mn-ea"/>
                <a:cs typeface="+mn-cs"/>
                <a:sym typeface="+mn-lt"/>
              </a:rPr>
              <a:pPr marL="0" marR="0" lvl="0" indent="0" algn="ctr" defTabSz="1828800" rtl="0" eaLnBrk="1" fontAlgn="auto" latinLnBrk="0" hangingPunct="1">
                <a:lnSpc>
                  <a:spcPct val="90000"/>
                </a:lnSpc>
                <a:spcBef>
                  <a:spcPct val="0"/>
                </a:spcBef>
                <a:spcAft>
                  <a:spcPts val="0"/>
                </a:spcAft>
                <a:buClrTx/>
                <a:buSzTx/>
                <a:buFont typeface="Arial Narrow" pitchFamily="34" charset="0"/>
                <a:buNone/>
                <a:tabLst/>
                <a:defRPr/>
              </a:pPr>
              <a:t>2</a:t>
            </a:fld>
            <a:endParaRPr kumimoji="0" lang="en-US" sz="2200" b="1" i="0" u="none" strike="noStrike" kern="1200" cap="none" spc="0" normalizeH="0" baseline="0" noProof="0" dirty="0">
              <a:ln>
                <a:noFill/>
              </a:ln>
              <a:solidFill>
                <a:srgbClr val="FFFFFF"/>
              </a:solidFill>
              <a:effectLst/>
              <a:uLnTx/>
              <a:uFillTx/>
              <a:latin typeface="Arial Narrow"/>
              <a:ea typeface="+mn-ea"/>
              <a:cs typeface="+mn-cs"/>
              <a:sym typeface="+mn-lt"/>
            </a:endParaRPr>
          </a:p>
        </p:txBody>
      </p:sp>
      <p:graphicFrame>
        <p:nvGraphicFramePr>
          <p:cNvPr id="485" name="Object 484"/>
          <p:cNvGraphicFramePr>
            <a:graphicFrameLocks/>
          </p:cNvGraphicFramePr>
          <p:nvPr>
            <p:custDataLst>
              <p:tags r:id="rId16"/>
            </p:custDataLst>
            <p:extLst/>
          </p:nvPr>
        </p:nvGraphicFramePr>
        <p:xfrm>
          <a:off x="8572944" y="3738993"/>
          <a:ext cx="2762380" cy="2076300"/>
        </p:xfrm>
        <a:graphic>
          <a:graphicData uri="http://schemas.openxmlformats.org/presentationml/2006/ole">
            <mc:AlternateContent xmlns:mc="http://schemas.openxmlformats.org/markup-compatibility/2006">
              <mc:Choice xmlns:v="urn:schemas-microsoft-com:vml" Requires="v">
                <p:oleObj spid="_x0000_s17661" name="Chart" r:id="rId59" imgW="1381071" imgH="1038349" progId="MSGraph.Chart.8">
                  <p:embed followColorScheme="full"/>
                </p:oleObj>
              </mc:Choice>
              <mc:Fallback>
                <p:oleObj name="Chart" r:id="rId59" imgW="1381071" imgH="1038349" progId="MSGraph.Chart.8">
                  <p:embed followColorScheme="full"/>
                  <p:pic>
                    <p:nvPicPr>
                      <p:cNvPr id="485" name="Object 484"/>
                      <p:cNvPicPr/>
                      <p:nvPr/>
                    </p:nvPicPr>
                    <p:blipFill>
                      <a:blip r:embed="rId60"/>
                      <a:stretch>
                        <a:fillRect/>
                      </a:stretch>
                    </p:blipFill>
                    <p:spPr>
                      <a:xfrm>
                        <a:off x="8572944" y="3738993"/>
                        <a:ext cx="2762380" cy="2076300"/>
                      </a:xfrm>
                      <a:prstGeom prst="rect">
                        <a:avLst/>
                      </a:prstGeom>
                    </p:spPr>
                  </p:pic>
                </p:oleObj>
              </mc:Fallback>
            </mc:AlternateContent>
          </a:graphicData>
        </a:graphic>
      </p:graphicFrame>
      <p:sp>
        <p:nvSpPr>
          <p:cNvPr id="486" name="Text Placeholder"/>
          <p:cNvSpPr>
            <a:spLocks noGrp="1"/>
          </p:cNvSpPr>
          <p:nvPr>
            <p:custDataLst>
              <p:tags r:id="rId17"/>
            </p:custDataLst>
          </p:nvPr>
        </p:nvSpPr>
        <p:spPr bwMode="gray">
          <a:xfrm>
            <a:off x="8988872" y="5409044"/>
            <a:ext cx="215900" cy="301626"/>
          </a:xfrm>
          <a:prstGeom prst="rect">
            <a:avLst/>
          </a:prstGeom>
          <a:solidFill>
            <a:srgbClr val="00AAC9"/>
          </a:solidFill>
        </p:spPr>
        <p:txBody>
          <a:bodyPr vert="horz" wrap="none" lIns="44450" tIns="0" rIns="4445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marR="0" lvl="0" indent="0" algn="ctr" defTabSz="1828800" rtl="0" eaLnBrk="1" fontAlgn="auto" latinLnBrk="0" hangingPunct="1">
              <a:lnSpc>
                <a:spcPct val="90000"/>
              </a:lnSpc>
              <a:spcBef>
                <a:spcPct val="0"/>
              </a:spcBef>
              <a:spcAft>
                <a:spcPts val="0"/>
              </a:spcAft>
              <a:buClrTx/>
              <a:buSzTx/>
              <a:buFont typeface="Arial Narrow" pitchFamily="34" charset="0"/>
              <a:buNone/>
              <a:tabLst/>
              <a:defRPr/>
            </a:pPr>
            <a:fld id="{379ED930-DF9D-48B7-823B-F9BF31084D97}" type="datetime'''''''''9'''''''''''''''''''">
              <a:rPr kumimoji="0" lang="en-US" altLang="en-US" sz="2200" b="1" i="0" u="none" strike="noStrike" kern="1200" cap="none" spc="0" normalizeH="0" baseline="0" noProof="0">
                <a:ln>
                  <a:noFill/>
                </a:ln>
                <a:solidFill>
                  <a:srgbClr val="FFFFFF"/>
                </a:solidFill>
                <a:effectLst/>
                <a:uLnTx/>
                <a:uFillTx/>
                <a:latin typeface="Arial Narrow"/>
                <a:ea typeface="+mn-ea"/>
                <a:cs typeface="+mn-cs"/>
                <a:sym typeface="+mn-lt"/>
              </a:rPr>
              <a:pPr marL="0" marR="0" lvl="0" indent="0" algn="ctr" defTabSz="1828800" rtl="0" eaLnBrk="1" fontAlgn="auto" latinLnBrk="0" hangingPunct="1">
                <a:lnSpc>
                  <a:spcPct val="90000"/>
                </a:lnSpc>
                <a:spcBef>
                  <a:spcPct val="0"/>
                </a:spcBef>
                <a:spcAft>
                  <a:spcPts val="0"/>
                </a:spcAft>
                <a:buClrTx/>
                <a:buSzTx/>
                <a:buFont typeface="Arial Narrow" pitchFamily="34" charset="0"/>
                <a:buNone/>
                <a:tabLst/>
                <a:defRPr/>
              </a:pPr>
              <a:t>9</a:t>
            </a:fld>
            <a:endParaRPr kumimoji="0" lang="en-US" sz="2200" b="1" i="0" u="none" strike="noStrike" kern="1200" cap="none" spc="0" normalizeH="0" baseline="0" noProof="0" dirty="0">
              <a:ln>
                <a:noFill/>
              </a:ln>
              <a:solidFill>
                <a:srgbClr val="FFFFFF"/>
              </a:solidFill>
              <a:effectLst/>
              <a:uLnTx/>
              <a:uFillTx/>
              <a:latin typeface="Arial Narrow"/>
              <a:ea typeface="+mn-ea"/>
              <a:cs typeface="+mn-cs"/>
              <a:sym typeface="+mn-lt"/>
            </a:endParaRPr>
          </a:p>
        </p:txBody>
      </p:sp>
      <p:sp>
        <p:nvSpPr>
          <p:cNvPr id="487" name="Text Placeholder"/>
          <p:cNvSpPr>
            <a:spLocks noGrp="1"/>
          </p:cNvSpPr>
          <p:nvPr>
            <p:custDataLst>
              <p:tags r:id="rId18"/>
            </p:custDataLst>
          </p:nvPr>
        </p:nvSpPr>
        <p:spPr bwMode="gray">
          <a:xfrm>
            <a:off x="9531796" y="5418570"/>
            <a:ext cx="215900" cy="301626"/>
          </a:xfrm>
          <a:prstGeom prst="rect">
            <a:avLst/>
          </a:prstGeom>
          <a:solidFill>
            <a:srgbClr val="156C9C"/>
          </a:solidFill>
        </p:spPr>
        <p:txBody>
          <a:bodyPr vert="horz" wrap="none" lIns="44450" tIns="0" rIns="4445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marL="0" marR="0" lvl="0" indent="0" algn="ctr" defTabSz="1828800" rtl="0" eaLnBrk="1" fontAlgn="auto" latinLnBrk="0" hangingPunct="1">
              <a:lnSpc>
                <a:spcPct val="90000"/>
              </a:lnSpc>
              <a:spcBef>
                <a:spcPct val="0"/>
              </a:spcBef>
              <a:spcAft>
                <a:spcPts val="0"/>
              </a:spcAft>
              <a:buClrTx/>
              <a:buSzTx/>
              <a:buFont typeface="Arial Narrow" pitchFamily="34" charset="0"/>
              <a:buNone/>
              <a:tabLst/>
              <a:defRPr/>
            </a:pPr>
            <a:fld id="{FBA59252-E087-45FB-B08C-FD3D6AB60323}" type="datetime'''''''''''''''''''''''''''''7'''''''''''''''''''''''">
              <a:rPr kumimoji="0" lang="en-US" altLang="en-US" sz="2200" b="1" i="0" u="none" strike="noStrike" kern="1200" cap="none" spc="0" normalizeH="0" baseline="0" noProof="0">
                <a:ln>
                  <a:noFill/>
                </a:ln>
                <a:solidFill>
                  <a:srgbClr val="FFFFFF"/>
                </a:solidFill>
                <a:effectLst/>
                <a:uLnTx/>
                <a:uFillTx/>
                <a:latin typeface="Arial Narrow"/>
                <a:ea typeface="+mn-ea"/>
                <a:cs typeface="+mn-cs"/>
                <a:sym typeface="+mn-lt"/>
              </a:rPr>
              <a:pPr marL="0" marR="0" lvl="0" indent="0" algn="ctr" defTabSz="1828800" rtl="0" eaLnBrk="1" fontAlgn="auto" latinLnBrk="0" hangingPunct="1">
                <a:lnSpc>
                  <a:spcPct val="90000"/>
                </a:lnSpc>
                <a:spcBef>
                  <a:spcPct val="0"/>
                </a:spcBef>
                <a:spcAft>
                  <a:spcPts val="0"/>
                </a:spcAft>
                <a:buClrTx/>
                <a:buSzTx/>
                <a:buFont typeface="Arial Narrow" pitchFamily="34" charset="0"/>
                <a:buNone/>
                <a:tabLst/>
                <a:defRPr/>
              </a:pPr>
              <a:t>7</a:t>
            </a:fld>
            <a:endParaRPr kumimoji="0" lang="en-US" sz="2200" b="1" i="0" u="none" strike="noStrike" kern="1200" cap="none" spc="0" normalizeH="0" baseline="0" noProof="0" dirty="0">
              <a:ln>
                <a:noFill/>
              </a:ln>
              <a:solidFill>
                <a:srgbClr val="FFFFFF"/>
              </a:solidFill>
              <a:effectLst/>
              <a:uLnTx/>
              <a:uFillTx/>
              <a:latin typeface="Arial Narrow"/>
              <a:ea typeface="+mn-ea"/>
              <a:cs typeface="+mn-cs"/>
              <a:sym typeface="+mn-lt"/>
            </a:endParaRPr>
          </a:p>
        </p:txBody>
      </p:sp>
      <p:grpSp>
        <p:nvGrpSpPr>
          <p:cNvPr id="489" name="Group 488"/>
          <p:cNvGrpSpPr/>
          <p:nvPr/>
        </p:nvGrpSpPr>
        <p:grpSpPr>
          <a:xfrm>
            <a:off x="7896547" y="12246245"/>
            <a:ext cx="5479648" cy="292100"/>
            <a:chOff x="2633600" y="6217677"/>
            <a:chExt cx="2739824" cy="146050"/>
          </a:xfrm>
        </p:grpSpPr>
        <p:sp>
          <p:nvSpPr>
            <p:cNvPr id="490" name="LegendIcon"/>
            <p:cNvSpPr/>
            <p:nvPr/>
          </p:nvSpPr>
          <p:spPr>
            <a:xfrm>
              <a:off x="2633600" y="6217677"/>
              <a:ext cx="215900" cy="146050"/>
            </a:xfrm>
            <a:prstGeom prst="rect">
              <a:avLst/>
            </a:prstGeom>
            <a:solidFill>
              <a:srgbClr val="8D9399"/>
            </a:solidFill>
            <a:ln w="9525" cap="flat" cmpd="sng" algn="ctr">
              <a:solidFill>
                <a:srgbClr val="FFFFFF"/>
              </a:solidFill>
              <a:prstDash val="solid"/>
            </a:ln>
            <a:effectLst/>
          </p:spPr>
          <p:txBody>
            <a:bodyPr lIns="0" tIns="0" rIns="0" bIns="0" rtlCol="0" anchor="ctr"/>
            <a:lstStyle/>
            <a:p>
              <a:pPr marL="0" marR="0" lvl="0" indent="0" algn="ctr" defTabSz="1828800" rtl="0" eaLnBrk="1" fontAlgn="auto" latinLnBrk="0" hangingPunct="1">
                <a:lnSpc>
                  <a:spcPct val="90000"/>
                </a:lnSpc>
                <a:spcBef>
                  <a:spcPts val="0"/>
                </a:spcBef>
                <a:spcAft>
                  <a:spcPts val="0"/>
                </a:spcAft>
                <a:buClrTx/>
                <a:buSzTx/>
                <a:buFontTx/>
                <a:buNone/>
                <a:tabLst/>
                <a:defRPr/>
              </a:pPr>
              <a:endParaRPr kumimoji="0" lang="en-GB" sz="2600" b="0" i="0" u="none" strike="noStrike" kern="0" cap="none" spc="0" normalizeH="0" baseline="0" noProof="0" dirty="0">
                <a:ln>
                  <a:noFill/>
                </a:ln>
                <a:solidFill>
                  <a:sysClr val="windowText" lastClr="000000"/>
                </a:solidFill>
                <a:effectLst/>
                <a:uLnTx/>
                <a:uFillTx/>
                <a:latin typeface="Arial Narrow"/>
                <a:ea typeface="+mn-ea"/>
                <a:cs typeface="+mn-cs"/>
                <a:sym typeface="+mn-lt"/>
              </a:endParaRPr>
            </a:p>
          </p:txBody>
        </p:sp>
        <p:sp>
          <p:nvSpPr>
            <p:cNvPr id="491" name="LegendText"/>
            <p:cNvSpPr txBox="1"/>
            <p:nvPr/>
          </p:nvSpPr>
          <p:spPr>
            <a:xfrm>
              <a:off x="2932050" y="6219144"/>
              <a:ext cx="2441374" cy="138500"/>
            </a:xfrm>
            <a:prstGeom prst="rect">
              <a:avLst/>
            </a:prstGeom>
            <a:noFill/>
            <a:ln w="9525">
              <a:noFill/>
            </a:ln>
          </p:spPr>
          <p:txBody>
            <a:bodyPr vert="horz" wrap="none" lIns="0" tIns="0" rIns="0" bIns="0" rtlCol="0" anchor="t" anchorCtr="0">
              <a:spAutoFit/>
            </a:bodyPr>
            <a:lstStyle/>
            <a:p>
              <a:pPr marL="0" marR="0" lvl="0" indent="0" algn="l" defTabSz="1828800" rtl="0" eaLnBrk="1" fontAlgn="auto" latinLnBrk="0" hangingPunct="1">
                <a:lnSpc>
                  <a:spcPct val="90000"/>
                </a:lnSpc>
                <a:spcBef>
                  <a:spcPts val="0"/>
                </a:spcBef>
                <a:spcAft>
                  <a:spcPts val="0"/>
                </a:spcAft>
                <a:buClr>
                  <a:srgbClr val="000000"/>
                </a:buClr>
                <a:buSzPct val="100000"/>
                <a:buFontTx/>
                <a:buNone/>
                <a:tabLst/>
                <a:defRPr/>
              </a:pPr>
              <a:r>
                <a:rPr kumimoji="0" lang="en-GB" sz="2000" b="0" i="0" u="none" strike="noStrike" kern="0" cap="none" spc="0" normalizeH="0" baseline="0" noProof="0" dirty="0">
                  <a:ln>
                    <a:noFill/>
                  </a:ln>
                  <a:solidFill>
                    <a:sysClr val="windowText" lastClr="000000"/>
                  </a:solidFill>
                  <a:effectLst/>
                  <a:uLnTx/>
                  <a:uFillTx/>
                  <a:latin typeface="Arial Narrow"/>
                  <a:ea typeface="+mn-ea"/>
                  <a:cs typeface="+mn-cs"/>
                  <a:sym typeface="+mn-lt"/>
                </a:rPr>
                <a:t>Countries with regions that participated in the survey</a:t>
              </a:r>
            </a:p>
          </p:txBody>
        </p:sp>
      </p:grpSp>
      <p:sp>
        <p:nvSpPr>
          <p:cNvPr id="492" name="Source"/>
          <p:cNvSpPr txBox="1"/>
          <p:nvPr/>
        </p:nvSpPr>
        <p:spPr>
          <a:xfrm>
            <a:off x="3762379" y="13420244"/>
            <a:ext cx="2813271" cy="249299"/>
          </a:xfrm>
          <a:prstGeom prst="rect">
            <a:avLst/>
          </a:prstGeom>
          <a:noFill/>
          <a:ln w="9525">
            <a:noFill/>
          </a:ln>
        </p:spPr>
        <p:txBody>
          <a:bodyPr vert="horz" wrap="none" lIns="0" tIns="0" rIns="0" bIns="0" rtlCol="0" anchor="b" anchorCtr="0">
            <a:spAutoFit/>
          </a:bodyPr>
          <a:lstStyle/>
          <a:p>
            <a:pPr marL="0" marR="0" lvl="0" indent="0" algn="l" defTabSz="1828800" rtl="0" eaLnBrk="1" fontAlgn="base" latinLnBrk="0" hangingPunct="1">
              <a:lnSpc>
                <a:spcPct val="90000"/>
              </a:lnSpc>
              <a:spcBef>
                <a:spcPct val="0"/>
              </a:spcBef>
              <a:spcAft>
                <a:spcPct val="0"/>
              </a:spcAft>
              <a:buClrTx/>
              <a:buSzPct val="100000"/>
              <a:buFontTx/>
              <a:buNone/>
              <a:tabLst/>
              <a:defRPr/>
            </a:pPr>
            <a:r>
              <a:rPr kumimoji="0" lang="en-GB" sz="1800" b="0" i="0" u="none" strike="noStrike" kern="1200" cap="none" spc="0" normalizeH="0" baseline="0" noProof="0" dirty="0">
                <a:ln>
                  <a:noFill/>
                </a:ln>
                <a:solidFill>
                  <a:srgbClr val="1B69AC">
                    <a:lumMod val="75000"/>
                  </a:srgbClr>
                </a:solidFill>
                <a:effectLst/>
                <a:uLnTx/>
                <a:uFillTx/>
                <a:latin typeface="Arial Narrow"/>
                <a:ea typeface="+mn-ea"/>
                <a:cs typeface="+mn-cs"/>
                <a:sym typeface="+mn-lt"/>
              </a:rPr>
              <a:t>Source: </a:t>
            </a:r>
            <a:r>
              <a:rPr kumimoji="0" lang="en-GB" sz="1800" b="0" i="0" u="none" strike="noStrike" kern="1200" cap="none" spc="0" normalizeH="0" baseline="0" noProof="0" dirty="0" err="1">
                <a:ln>
                  <a:noFill/>
                </a:ln>
                <a:solidFill>
                  <a:srgbClr val="1B69AC">
                    <a:lumMod val="75000"/>
                  </a:srgbClr>
                </a:solidFill>
                <a:effectLst/>
                <a:uLnTx/>
                <a:uFillTx/>
                <a:latin typeface="Arial Narrow"/>
                <a:ea typeface="+mn-ea"/>
                <a:cs typeface="+mn-cs"/>
                <a:sym typeface="+mn-lt"/>
              </a:rPr>
              <a:t>FCH2</a:t>
            </a:r>
            <a:r>
              <a:rPr kumimoji="0" lang="en-GB" sz="1800" b="0" i="0" u="none" strike="noStrike" kern="1200" cap="none" spc="0" normalizeH="0" baseline="0" noProof="0" dirty="0">
                <a:ln>
                  <a:noFill/>
                </a:ln>
                <a:solidFill>
                  <a:srgbClr val="1B69AC">
                    <a:lumMod val="75000"/>
                  </a:srgbClr>
                </a:solidFill>
                <a:effectLst/>
                <a:uLnTx/>
                <a:uFillTx/>
                <a:latin typeface="Arial Narrow"/>
                <a:ea typeface="+mn-ea"/>
                <a:cs typeface="+mn-cs"/>
                <a:sym typeface="+mn-lt"/>
              </a:rPr>
              <a:t> </a:t>
            </a:r>
            <a:r>
              <a:rPr kumimoji="0" lang="en-GB" sz="1800" b="0" i="0" u="none" strike="noStrike" kern="1200" cap="none" spc="0" normalizeH="0" baseline="0" noProof="0" dirty="0" err="1">
                <a:ln>
                  <a:noFill/>
                </a:ln>
                <a:solidFill>
                  <a:srgbClr val="1B69AC">
                    <a:lumMod val="75000"/>
                  </a:srgbClr>
                </a:solidFill>
                <a:effectLst/>
                <a:uLnTx/>
                <a:uFillTx/>
                <a:latin typeface="Arial Narrow"/>
                <a:ea typeface="+mn-ea"/>
                <a:cs typeface="+mn-cs"/>
                <a:sym typeface="+mn-lt"/>
              </a:rPr>
              <a:t>JU</a:t>
            </a:r>
            <a:r>
              <a:rPr kumimoji="0" lang="en-GB" sz="1800" b="0" i="0" u="none" strike="noStrike" kern="1200" cap="none" spc="0" normalizeH="0" baseline="0" noProof="0" dirty="0">
                <a:ln>
                  <a:noFill/>
                </a:ln>
                <a:solidFill>
                  <a:srgbClr val="1B69AC">
                    <a:lumMod val="75000"/>
                  </a:srgbClr>
                </a:solidFill>
                <a:effectLst/>
                <a:uLnTx/>
                <a:uFillTx/>
                <a:latin typeface="Arial Narrow"/>
                <a:ea typeface="+mn-ea"/>
                <a:cs typeface="+mn-cs"/>
                <a:sym typeface="+mn-lt"/>
              </a:rPr>
              <a:t>, Roland Berger</a:t>
            </a:r>
          </a:p>
        </p:txBody>
      </p:sp>
      <p:sp>
        <p:nvSpPr>
          <p:cNvPr id="493" name="Notes"/>
          <p:cNvSpPr txBox="1"/>
          <p:nvPr/>
        </p:nvSpPr>
        <p:spPr>
          <a:xfrm>
            <a:off x="3762377" y="13072024"/>
            <a:ext cx="17071598" cy="276999"/>
          </a:xfrm>
          <a:prstGeom prst="rect">
            <a:avLst/>
          </a:prstGeom>
          <a:noFill/>
          <a:ln w="9525">
            <a:noFill/>
          </a:ln>
        </p:spPr>
        <p:txBody>
          <a:bodyPr vert="horz" wrap="square" lIns="0" tIns="0" rIns="0" bIns="0" rtlCol="0" anchor="b" anchorCtr="0">
            <a:spAutoFit/>
          </a:bodyPr>
          <a:lstStyle/>
          <a:p>
            <a:pPr marL="0" marR="0" lvl="0" indent="0" algn="l" defTabSz="1828800" rtl="0" eaLnBrk="1" fontAlgn="base" latinLnBrk="0" hangingPunct="1">
              <a:lnSpc>
                <a:spcPct val="90000"/>
              </a:lnSpc>
              <a:spcBef>
                <a:spcPct val="0"/>
              </a:spcBef>
              <a:spcAft>
                <a:spcPct val="0"/>
              </a:spcAft>
              <a:buClrTx/>
              <a:buSzPct val="100000"/>
              <a:buFontTx/>
              <a:buNone/>
              <a:tabLst/>
              <a:defRPr/>
            </a:pPr>
            <a:r>
              <a:rPr kumimoji="0" lang="en-US" sz="2000" b="0" i="0" u="none" strike="noStrike" kern="1200" cap="none" spc="0" normalizeH="0" baseline="0" noProof="0" dirty="0">
                <a:ln>
                  <a:noFill/>
                </a:ln>
                <a:solidFill>
                  <a:srgbClr val="1B69AC">
                    <a:lumMod val="75000"/>
                  </a:srgbClr>
                </a:solidFill>
                <a:effectLst/>
                <a:uLnTx/>
                <a:uFillTx/>
                <a:latin typeface="Arial Narrow"/>
                <a:ea typeface="+mn-ea"/>
                <a:cs typeface="+mn-cs"/>
                <a:sym typeface="+mn-lt"/>
              </a:rPr>
              <a:t>1) Overall project volume in each geographic cluster  calculated as sum of all aggregated project volumes of regions/cities; </a:t>
            </a:r>
            <a:r>
              <a:rPr kumimoji="0" lang="en-US" sz="2000" b="0" i="0" u="none" strike="noStrike" kern="1200" cap="none" spc="0" normalizeH="0" baseline="0" noProof="0" dirty="0">
                <a:ln>
                  <a:noFill/>
                </a:ln>
                <a:solidFill>
                  <a:srgbClr val="1B69AC">
                    <a:lumMod val="75000"/>
                  </a:srgbClr>
                </a:solidFill>
                <a:effectLst/>
                <a:uLnTx/>
                <a:uFillTx/>
                <a:latin typeface="Arial Narrow" charset="0"/>
                <a:ea typeface="+mn-ea"/>
                <a:cs typeface="+mn-cs"/>
                <a:sym typeface="+mn-lt"/>
              </a:rPr>
              <a:t># of regions/cities refers to those with answers to this question</a:t>
            </a:r>
            <a:r>
              <a:rPr kumimoji="0" lang="en-US" sz="2000" b="0" i="0" u="none" strike="noStrike" kern="1200" cap="none" spc="0" normalizeH="0" baseline="0" noProof="0" dirty="0">
                <a:ln>
                  <a:noFill/>
                </a:ln>
                <a:solidFill>
                  <a:srgbClr val="1B69AC">
                    <a:lumMod val="75000"/>
                  </a:srgbClr>
                </a:solidFill>
                <a:effectLst/>
                <a:uLnTx/>
                <a:uFillTx/>
                <a:latin typeface="Arial Narrow"/>
                <a:ea typeface="+mn-ea"/>
                <a:cs typeface="+mn-cs"/>
                <a:sym typeface="+mn-lt"/>
              </a:rPr>
              <a:t> </a:t>
            </a:r>
          </a:p>
        </p:txBody>
      </p:sp>
      <p:sp>
        <p:nvSpPr>
          <p:cNvPr id="494" name="Subtitle"/>
          <p:cNvSpPr txBox="1">
            <a:spLocks/>
          </p:cNvSpPr>
          <p:nvPr/>
        </p:nvSpPr>
        <p:spPr>
          <a:xfrm>
            <a:off x="3800436" y="2394480"/>
            <a:ext cx="17071976" cy="581698"/>
          </a:xfrm>
          <a:prstGeom prst="rect">
            <a:avLst/>
          </a:prstGeom>
          <a:noFill/>
          <a:ln w="9525">
            <a:noFill/>
          </a:ln>
        </p:spPr>
        <p:txBody>
          <a:bodyPr vert="horz" wrap="square" lIns="0" tIns="0" rIns="0" bIns="0" rtlCol="0">
            <a:spAutoFit/>
          </a:bodyPr>
          <a:lstStyle/>
          <a:p>
            <a:pPr marL="0" marR="0" lvl="0" indent="0" algn="l" defTabSz="1828800" rtl="0" eaLnBrk="1" fontAlgn="base" latinLnBrk="0" hangingPunct="1">
              <a:lnSpc>
                <a:spcPct val="90000"/>
              </a:lnSpc>
              <a:spcBef>
                <a:spcPct val="0"/>
              </a:spcBef>
              <a:spcAft>
                <a:spcPct val="0"/>
              </a:spcAft>
              <a:buClr>
                <a:srgbClr val="000000"/>
              </a:buClr>
              <a:buSzPct val="100000"/>
              <a:buFontTx/>
              <a:buNone/>
              <a:tabLst/>
              <a:defRPr/>
            </a:pPr>
            <a:r>
              <a:rPr kumimoji="0" lang="en-GB" sz="4200" b="0" i="0" u="none" strike="noStrike" kern="1200" cap="none" spc="0" normalizeH="0" baseline="0" noProof="0" dirty="0">
                <a:ln>
                  <a:noFill/>
                </a:ln>
                <a:solidFill>
                  <a:srgbClr val="8D9399"/>
                </a:solidFill>
                <a:effectLst/>
                <a:uLnTx/>
                <a:uFillTx/>
                <a:latin typeface="Arial Narrow"/>
                <a:ea typeface="+mn-ea"/>
                <a:cs typeface="+mn-cs"/>
                <a:sym typeface="+mn-lt"/>
              </a:rPr>
              <a:t>Survey results – Total estimated project </a:t>
            </a:r>
            <a:r>
              <a:rPr kumimoji="0" lang="en-GB" sz="4200" b="0" i="0" u="none" strike="noStrike" kern="1200" cap="none" spc="0" normalizeH="0" baseline="0" noProof="0" dirty="0" err="1">
                <a:ln>
                  <a:noFill/>
                </a:ln>
                <a:solidFill>
                  <a:srgbClr val="8D9399"/>
                </a:solidFill>
                <a:effectLst/>
                <a:uLnTx/>
                <a:uFillTx/>
                <a:latin typeface="Arial Narrow"/>
                <a:ea typeface="+mn-ea"/>
                <a:cs typeface="+mn-cs"/>
                <a:sym typeface="+mn-lt"/>
              </a:rPr>
              <a:t>volume</a:t>
            </a:r>
            <a:r>
              <a:rPr kumimoji="0" lang="en-GB" sz="4200" b="0" i="0" u="none" strike="noStrike" kern="1200" cap="none" spc="0" normalizeH="0" baseline="30000" noProof="0" dirty="0" err="1">
                <a:ln>
                  <a:noFill/>
                </a:ln>
                <a:solidFill>
                  <a:srgbClr val="8D9399"/>
                </a:solidFill>
                <a:effectLst/>
                <a:uLnTx/>
                <a:uFillTx/>
                <a:latin typeface="Arial Narrow"/>
                <a:ea typeface="+mn-ea"/>
                <a:cs typeface="+mn-cs"/>
                <a:sym typeface="+mn-lt"/>
              </a:rPr>
              <a:t>1</a:t>
            </a:r>
            <a:r>
              <a:rPr kumimoji="0" lang="en-GB" sz="4200" b="0" i="0" u="none" strike="noStrike" kern="1200" cap="none" spc="0" normalizeH="0" baseline="30000" noProof="0" dirty="0">
                <a:ln>
                  <a:noFill/>
                </a:ln>
                <a:solidFill>
                  <a:srgbClr val="8D9399"/>
                </a:solidFill>
                <a:effectLst/>
                <a:uLnTx/>
                <a:uFillTx/>
                <a:latin typeface="Arial Narrow"/>
                <a:ea typeface="+mn-ea"/>
                <a:cs typeface="+mn-cs"/>
                <a:sym typeface="+mn-lt"/>
              </a:rPr>
              <a:t>) </a:t>
            </a:r>
            <a:r>
              <a:rPr kumimoji="0" lang="en-GB" sz="4200" b="0" i="0" u="none" strike="noStrike" kern="1200" cap="none" spc="0" normalizeH="0" baseline="0" noProof="0" dirty="0">
                <a:ln>
                  <a:noFill/>
                </a:ln>
                <a:solidFill>
                  <a:srgbClr val="8D9399"/>
                </a:solidFill>
                <a:effectLst/>
                <a:uLnTx/>
                <a:uFillTx/>
                <a:latin typeface="Arial Narrow"/>
                <a:ea typeface="+mn-ea"/>
                <a:cs typeface="+mn-cs"/>
                <a:sym typeface="+mn-lt"/>
              </a:rPr>
              <a:t>[m EUR] – APPROXIMATION</a:t>
            </a:r>
          </a:p>
        </p:txBody>
      </p:sp>
    </p:spTree>
    <p:extLst>
      <p:ext uri="{BB962C8B-B14F-4D97-AF65-F5344CB8AC3E}">
        <p14:creationId xmlns:p14="http://schemas.microsoft.com/office/powerpoint/2010/main" val="382948457"/>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0" name="Object 9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63" name="think-cell Slide" r:id="rId58" imgW="270" imgH="270" progId="TCLayout.ActiveDocument.1">
                  <p:embed/>
                </p:oleObj>
              </mc:Choice>
              <mc:Fallback>
                <p:oleObj name="think-cell Slide" r:id="rId58" imgW="270" imgH="270" progId="TCLayout.ActiveDocument.1">
                  <p:embed/>
                  <p:pic>
                    <p:nvPicPr>
                      <p:cNvPr id="100" name="Object 99" hidden="1"/>
                      <p:cNvPicPr/>
                      <p:nvPr/>
                    </p:nvPicPr>
                    <p:blipFill>
                      <a:blip r:embed="rId59"/>
                      <a:stretch>
                        <a:fillRect/>
                      </a:stretch>
                    </p:blipFill>
                    <p:spPr>
                      <a:xfrm>
                        <a:off x="1588" y="1588"/>
                        <a:ext cx="1587" cy="1587"/>
                      </a:xfrm>
                      <a:prstGeom prst="rect">
                        <a:avLst/>
                      </a:prstGeom>
                    </p:spPr>
                  </p:pic>
                </p:oleObj>
              </mc:Fallback>
            </mc:AlternateContent>
          </a:graphicData>
        </a:graphic>
      </p:graphicFrame>
      <p:sp>
        <p:nvSpPr>
          <p:cNvPr id="97" name="Rectangle 96" hidden="1"/>
          <p:cNvSpPr/>
          <p:nvPr>
            <p:custDataLst>
              <p:tags r:id="rId3"/>
            </p:custDataLst>
          </p:nvPr>
        </p:nvSpPr>
        <p:spPr bwMode="auto">
          <a:xfrm>
            <a:off x="0" y="0"/>
            <a:ext cx="158750" cy="158750"/>
          </a:xfrm>
          <a:prstGeom prst="rect">
            <a:avLst/>
          </a:prstGeom>
          <a:blipFill dpi="0" rotWithShape="0">
            <a:blip r:embed="rId60">
              <a:alphaModFix/>
            </a:blip>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pPr marL="0" marR="0" lvl="0" indent="0" algn="ctr" defTabSz="914400" rtl="0" eaLnBrk="1" fontAlgn="base" latinLnBrk="0" hangingPunct="1">
              <a:lnSpc>
                <a:spcPct val="90000"/>
              </a:lnSpc>
              <a:spcBef>
                <a:spcPct val="0"/>
              </a:spcBef>
              <a:spcAft>
                <a:spcPct val="0"/>
              </a:spcAft>
              <a:buClrTx/>
              <a:buSzTx/>
              <a:buFontTx/>
              <a:buNone/>
              <a:tabLst/>
              <a:defRPr/>
            </a:pPr>
            <a:endParaRPr kumimoji="0" lang="de-DE" sz="2100" b="1" i="0" u="none" strike="noStrike" kern="1200" cap="none" spc="0" normalizeH="0" baseline="0" noProof="0" dirty="0" smtClean="0">
              <a:ln>
                <a:noFill/>
              </a:ln>
              <a:solidFill>
                <a:srgbClr val="000000"/>
              </a:solidFill>
              <a:effectLst/>
              <a:uLnTx/>
              <a:uFillTx/>
              <a:latin typeface="Calibri" panose="020F0502020204030204"/>
              <a:ea typeface="+mn-ea"/>
              <a:cs typeface="+mn-cs"/>
              <a:sym typeface="+mn-lt"/>
            </a:endParaRPr>
          </a:p>
        </p:txBody>
      </p:sp>
      <p:sp>
        <p:nvSpPr>
          <p:cNvPr id="67" name="Content Placeholder 3"/>
          <p:cNvSpPr>
            <a:spLocks noGrp="1"/>
          </p:cNvSpPr>
          <p:nvPr>
            <p:ph sz="quarter" idx="22"/>
          </p:nvPr>
        </p:nvSpPr>
        <p:spPr>
          <a:xfrm>
            <a:off x="2709862" y="12474624"/>
            <a:ext cx="20067314" cy="1008112"/>
          </a:xfrm>
        </p:spPr>
        <p:txBody>
          <a:bodyPr/>
          <a:lstStyle/>
          <a:p>
            <a:pPr algn="l">
              <a:lnSpc>
                <a:spcPct val="90000"/>
              </a:lnSpc>
            </a:pPr>
            <a:r>
              <a:rPr lang="de-DE" sz="2000" dirty="0"/>
              <a:t>1) Ranking </a:t>
            </a:r>
            <a:r>
              <a:rPr lang="de-DE" sz="2000" dirty="0" err="1"/>
              <a:t>according</a:t>
            </a:r>
            <a:r>
              <a:rPr lang="de-DE" sz="2000" dirty="0"/>
              <a:t> </a:t>
            </a:r>
            <a:r>
              <a:rPr lang="de-DE" sz="2000" dirty="0" err="1"/>
              <a:t>to</a:t>
            </a:r>
            <a:r>
              <a:rPr lang="de-DE" sz="2000" dirty="0"/>
              <a:t> total </a:t>
            </a:r>
            <a:r>
              <a:rPr lang="de-DE" sz="2000" dirty="0" err="1"/>
              <a:t>points</a:t>
            </a:r>
            <a:r>
              <a:rPr lang="de-DE" sz="2000" dirty="0"/>
              <a:t> </a:t>
            </a:r>
            <a:r>
              <a:rPr lang="de-DE" sz="2000" dirty="0" err="1"/>
              <a:t>collected</a:t>
            </a:r>
            <a:r>
              <a:rPr lang="de-DE" sz="2000" dirty="0"/>
              <a:t> </a:t>
            </a:r>
            <a:r>
              <a:rPr lang="de-DE" sz="2000" dirty="0" err="1"/>
              <a:t>for</a:t>
            </a:r>
            <a:r>
              <a:rPr lang="de-DE" sz="2000" dirty="0"/>
              <a:t> </a:t>
            </a:r>
            <a:r>
              <a:rPr lang="de-DE" sz="2000" dirty="0" err="1"/>
              <a:t>each</a:t>
            </a:r>
            <a:r>
              <a:rPr lang="de-DE" sz="2000" dirty="0"/>
              <a:t> </a:t>
            </a:r>
            <a:r>
              <a:rPr lang="de-DE" sz="2000" dirty="0" err="1"/>
              <a:t>application</a:t>
            </a:r>
            <a:r>
              <a:rPr lang="de-DE" sz="2000" dirty="0"/>
              <a:t> </a:t>
            </a:r>
            <a:r>
              <a:rPr lang="de-DE" sz="2000" dirty="0" err="1"/>
              <a:t>based</a:t>
            </a:r>
            <a:r>
              <a:rPr lang="de-DE" sz="2000" dirty="0"/>
              <a:t> on a Top 1, 2 </a:t>
            </a:r>
            <a:r>
              <a:rPr lang="de-DE" sz="2000" dirty="0" err="1"/>
              <a:t>or</a:t>
            </a:r>
            <a:r>
              <a:rPr lang="de-DE" sz="2000" dirty="0"/>
              <a:t> 3 </a:t>
            </a:r>
            <a:r>
              <a:rPr lang="de-DE" sz="2000" dirty="0" err="1"/>
              <a:t>priority</a:t>
            </a:r>
            <a:r>
              <a:rPr lang="de-DE" sz="2000" dirty="0"/>
              <a:t> </a:t>
            </a:r>
            <a:r>
              <a:rPr lang="de-DE" sz="2000" dirty="0" err="1"/>
              <a:t>ranking</a:t>
            </a:r>
            <a:r>
              <a:rPr lang="de-DE" sz="2000" dirty="0"/>
              <a:t> </a:t>
            </a:r>
            <a:r>
              <a:rPr lang="de-DE" sz="2000" dirty="0" err="1"/>
              <a:t>by</a:t>
            </a:r>
            <a:r>
              <a:rPr lang="de-DE" sz="2000" dirty="0"/>
              <a:t> </a:t>
            </a:r>
            <a:r>
              <a:rPr lang="de-DE" sz="2000" dirty="0" err="1"/>
              <a:t>each</a:t>
            </a:r>
            <a:r>
              <a:rPr lang="de-DE" sz="2000" dirty="0"/>
              <a:t> </a:t>
            </a:r>
            <a:r>
              <a:rPr lang="de-DE" sz="2000" dirty="0" err="1"/>
              <a:t>survey</a:t>
            </a:r>
            <a:r>
              <a:rPr lang="de-DE" sz="2000" dirty="0"/>
              <a:t> </a:t>
            </a:r>
            <a:r>
              <a:rPr lang="de-DE" sz="2000" dirty="0" err="1"/>
              <a:t>participant</a:t>
            </a:r>
            <a:endParaRPr lang="de-DE" sz="2000" dirty="0"/>
          </a:p>
        </p:txBody>
      </p:sp>
      <p:sp>
        <p:nvSpPr>
          <p:cNvPr id="2" name="Content Placeholder 1"/>
          <p:cNvSpPr>
            <a:spLocks noGrp="1"/>
          </p:cNvSpPr>
          <p:nvPr>
            <p:ph sz="quarter" idx="20"/>
          </p:nvPr>
        </p:nvSpPr>
        <p:spPr/>
        <p:txBody>
          <a:bodyPr/>
          <a:lstStyle/>
          <a:p>
            <a:r>
              <a:rPr lang="de-DE" dirty="0" smtClean="0"/>
              <a:t>Urban </a:t>
            </a:r>
            <a:r>
              <a:rPr lang="de-DE" dirty="0" err="1" smtClean="0"/>
              <a:t>buses</a:t>
            </a:r>
            <a:r>
              <a:rPr lang="de-DE" dirty="0" smtClean="0"/>
              <a:t>, </a:t>
            </a:r>
            <a:r>
              <a:rPr lang="de-DE" dirty="0" err="1" smtClean="0"/>
              <a:t>cars</a:t>
            </a:r>
            <a:r>
              <a:rPr lang="de-DE" dirty="0" smtClean="0"/>
              <a:t>, </a:t>
            </a:r>
            <a:r>
              <a:rPr lang="de-DE" dirty="0" err="1" smtClean="0"/>
              <a:t>delivery</a:t>
            </a:r>
            <a:r>
              <a:rPr lang="de-DE" dirty="0" smtClean="0"/>
              <a:t> </a:t>
            </a:r>
            <a:r>
              <a:rPr lang="de-DE" dirty="0" err="1" smtClean="0"/>
              <a:t>vans</a:t>
            </a:r>
            <a:r>
              <a:rPr lang="de-DE" dirty="0" smtClean="0"/>
              <a:t>, </a:t>
            </a:r>
            <a:r>
              <a:rPr lang="de-DE" dirty="0" err="1" smtClean="0"/>
              <a:t>trains</a:t>
            </a:r>
            <a:r>
              <a:rPr lang="de-DE" dirty="0" smtClean="0"/>
              <a:t> </a:t>
            </a:r>
            <a:r>
              <a:rPr lang="de-DE" dirty="0" err="1" smtClean="0"/>
              <a:t>and</a:t>
            </a:r>
            <a:r>
              <a:rPr lang="de-DE" dirty="0" smtClean="0"/>
              <a:t> </a:t>
            </a:r>
            <a:r>
              <a:rPr lang="de-DE" dirty="0" err="1" smtClean="0"/>
              <a:t>garbage</a:t>
            </a:r>
            <a:r>
              <a:rPr lang="de-DE" dirty="0" smtClean="0"/>
              <a:t> </a:t>
            </a:r>
            <a:r>
              <a:rPr lang="de-DE" dirty="0" err="1" smtClean="0"/>
              <a:t>trucks</a:t>
            </a:r>
            <a:r>
              <a:rPr lang="de-DE" dirty="0" smtClean="0"/>
              <a:t> </a:t>
            </a:r>
            <a:r>
              <a:rPr lang="de-DE" dirty="0" err="1" smtClean="0"/>
              <a:t>are</a:t>
            </a:r>
            <a:r>
              <a:rPr lang="de-DE" dirty="0" smtClean="0"/>
              <a:t> </a:t>
            </a:r>
            <a:r>
              <a:rPr lang="de-DE" dirty="0" err="1" smtClean="0"/>
              <a:t>the</a:t>
            </a:r>
            <a:r>
              <a:rPr lang="de-DE" dirty="0" smtClean="0"/>
              <a:t> </a:t>
            </a:r>
            <a:r>
              <a:rPr lang="de-DE" dirty="0" err="1" smtClean="0"/>
              <a:t>most</a:t>
            </a:r>
            <a:r>
              <a:rPr lang="de-DE" dirty="0" smtClean="0"/>
              <a:t> relevant </a:t>
            </a:r>
            <a:r>
              <a:rPr lang="de-DE" dirty="0" err="1" smtClean="0"/>
              <a:t>applications</a:t>
            </a:r>
            <a:r>
              <a:rPr lang="de-DE" dirty="0" smtClean="0"/>
              <a:t> </a:t>
            </a:r>
            <a:r>
              <a:rPr lang="de-DE" dirty="0" err="1" smtClean="0"/>
              <a:t>for</a:t>
            </a:r>
            <a:r>
              <a:rPr lang="de-DE" dirty="0" smtClean="0"/>
              <a:t> </a:t>
            </a:r>
            <a:r>
              <a:rPr lang="de-DE" dirty="0" err="1" smtClean="0"/>
              <a:t>participating</a:t>
            </a:r>
            <a:r>
              <a:rPr lang="de-DE" dirty="0" smtClean="0"/>
              <a:t> </a:t>
            </a:r>
            <a:r>
              <a:rPr lang="de-DE" dirty="0" err="1" smtClean="0"/>
              <a:t>Regions</a:t>
            </a:r>
            <a:r>
              <a:rPr lang="de-DE" dirty="0" smtClean="0"/>
              <a:t> &amp; Cities</a:t>
            </a:r>
            <a:endParaRPr lang="de-DE" dirty="0"/>
          </a:p>
        </p:txBody>
      </p:sp>
      <p:sp>
        <p:nvSpPr>
          <p:cNvPr id="5" name="Slide Number Placeholder 4"/>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D1E7C23-2AAD-0D45-B01B-5A673730BB06}" type="slidenum">
              <a:rPr kumimoji="0" lang="en-US" sz="2400" b="0" i="0" u="none" strike="noStrike" kern="1200" cap="none" spc="0" normalizeH="0" baseline="0" noProof="0" smtClean="0">
                <a:ln>
                  <a:noFill/>
                </a:ln>
                <a:solidFill>
                  <a:srgbClr val="004494"/>
                </a:solidFill>
                <a:effectLst/>
                <a:uLnTx/>
                <a:uFillTx/>
                <a:latin typeface="Calibri" charset="0"/>
                <a:cs typeface="Calibri" charset="0"/>
                <a:sym typeface="Gill Sans" charset="0"/>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en-US" sz="2400" b="0" i="0" u="none" strike="noStrike" kern="1200" cap="none" spc="0" normalizeH="0" baseline="0" noProof="0" dirty="0">
              <a:ln>
                <a:noFill/>
              </a:ln>
              <a:solidFill>
                <a:srgbClr val="004494"/>
              </a:solidFill>
              <a:effectLst/>
              <a:uLnTx/>
              <a:uFillTx/>
              <a:latin typeface="Calibri" charset="0"/>
              <a:cs typeface="Calibri" charset="0"/>
              <a:sym typeface="Gill Sans" charset="0"/>
            </a:endParaRPr>
          </a:p>
        </p:txBody>
      </p:sp>
      <p:graphicFrame>
        <p:nvGraphicFramePr>
          <p:cNvPr id="101" name="Object 100"/>
          <p:cNvGraphicFramePr>
            <a:graphicFrameLocks/>
          </p:cNvGraphicFramePr>
          <p:nvPr>
            <p:custDataLst>
              <p:tags r:id="rId4"/>
            </p:custDataLst>
            <p:extLst/>
          </p:nvPr>
        </p:nvGraphicFramePr>
        <p:xfrm>
          <a:off x="3809999" y="4381499"/>
          <a:ext cx="8372500" cy="6258060"/>
        </p:xfrm>
        <a:graphic>
          <a:graphicData uri="http://schemas.openxmlformats.org/presentationml/2006/ole">
            <mc:AlternateContent xmlns:mc="http://schemas.openxmlformats.org/markup-compatibility/2006">
              <mc:Choice xmlns:v="urn:schemas-microsoft-com:vml" Requires="v">
                <p:oleObj spid="_x0000_s19564" name="Chart" r:id="rId61" imgW="8372529" imgH="6258011" progId="MSGraph.Chart.8">
                  <p:embed followColorScheme="full"/>
                </p:oleObj>
              </mc:Choice>
              <mc:Fallback>
                <p:oleObj name="Chart" r:id="rId61" imgW="8372529" imgH="6258011" progId="MSGraph.Chart.8">
                  <p:embed followColorScheme="full"/>
                  <p:pic>
                    <p:nvPicPr>
                      <p:cNvPr id="101" name="Object 100"/>
                      <p:cNvPicPr/>
                      <p:nvPr/>
                    </p:nvPicPr>
                    <p:blipFill>
                      <a:blip r:embed="rId62"/>
                      <a:stretch>
                        <a:fillRect/>
                      </a:stretch>
                    </p:blipFill>
                    <p:spPr>
                      <a:xfrm>
                        <a:off x="3809999" y="4381499"/>
                        <a:ext cx="8372500" cy="6258060"/>
                      </a:xfrm>
                      <a:prstGeom prst="rect">
                        <a:avLst/>
                      </a:prstGeom>
                    </p:spPr>
                  </p:pic>
                </p:oleObj>
              </mc:Fallback>
            </mc:AlternateContent>
          </a:graphicData>
        </a:graphic>
      </p:graphicFrame>
      <p:sp>
        <p:nvSpPr>
          <p:cNvPr id="136" name="Rectangle 135"/>
          <p:cNvSpPr/>
          <p:nvPr>
            <p:custDataLst>
              <p:tags r:id="rId5"/>
            </p:custDataLst>
          </p:nvPr>
        </p:nvSpPr>
        <p:spPr bwMode="auto">
          <a:xfrm>
            <a:off x="1147763" y="10182225"/>
            <a:ext cx="966788" cy="287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fld id="{6A04D745-D570-4BC8-BC15-EBD6D91A00F0}" type="datetime'G''''''e''''n-''''''''''''''''''se''''''t''''''s'">
              <a:rPr kumimoji="0" lang="de-DE" altLang="en-US" sz="2100" b="1"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Tx/>
                <a:buNone/>
                <a:tabLst/>
                <a:defRPr/>
              </a:pPr>
              <a:t>Gen-sets</a:t>
            </a:fld>
            <a:endParaRPr kumimoji="0" lang="de-DE" sz="2100" b="1" i="0" u="none" strike="noStrike" kern="1200" cap="none" spc="0" normalizeH="0" baseline="0" noProof="0" dirty="0" smtClean="0">
              <a:ln>
                <a:noFill/>
              </a:ln>
              <a:solidFill>
                <a:srgbClr val="7F7F7F"/>
              </a:solidFill>
              <a:effectLst/>
              <a:uLnTx/>
              <a:uFillTx/>
              <a:latin typeface="Calibri" panose="020F0502020204030204"/>
              <a:ea typeface="+mn-ea"/>
              <a:cs typeface="+mn-cs"/>
              <a:sym typeface="+mn-lt"/>
            </a:endParaRPr>
          </a:p>
        </p:txBody>
      </p:sp>
      <p:sp>
        <p:nvSpPr>
          <p:cNvPr id="135" name="Rectangle 134"/>
          <p:cNvSpPr/>
          <p:nvPr>
            <p:custDataLst>
              <p:tags r:id="rId6"/>
            </p:custDataLst>
          </p:nvPr>
        </p:nvSpPr>
        <p:spPr bwMode="auto">
          <a:xfrm>
            <a:off x="1147763" y="9967913"/>
            <a:ext cx="825500" cy="287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fld id="{02004BD5-6A55-42B8-8520-6493ECE29901}" type="datetime'''Ai''r''''''''''c''''''''''''''''r''''''''''''''''a''ft'">
              <a:rPr kumimoji="0" lang="de-DE" altLang="en-US" sz="2100" b="1"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Tx/>
                <a:buNone/>
                <a:tabLst/>
                <a:defRPr/>
              </a:pPr>
              <a:t>Aircraft</a:t>
            </a:fld>
            <a:endParaRPr kumimoji="0" lang="de-DE" sz="2100" b="1" i="0" u="none" strike="noStrike" kern="1200" cap="none" spc="0" normalizeH="0" baseline="0" noProof="0" dirty="0" smtClean="0">
              <a:ln>
                <a:noFill/>
              </a:ln>
              <a:solidFill>
                <a:srgbClr val="7F7F7F"/>
              </a:solidFill>
              <a:effectLst/>
              <a:uLnTx/>
              <a:uFillTx/>
              <a:latin typeface="Calibri" panose="020F0502020204030204"/>
              <a:ea typeface="+mn-ea"/>
              <a:cs typeface="+mn-cs"/>
              <a:sym typeface="+mn-lt"/>
            </a:endParaRPr>
          </a:p>
        </p:txBody>
      </p:sp>
      <p:sp>
        <p:nvSpPr>
          <p:cNvPr id="134" name="Rectangle 133"/>
          <p:cNvSpPr/>
          <p:nvPr>
            <p:custDataLst>
              <p:tags r:id="rId7"/>
            </p:custDataLst>
          </p:nvPr>
        </p:nvSpPr>
        <p:spPr bwMode="auto">
          <a:xfrm>
            <a:off x="1147763" y="9753600"/>
            <a:ext cx="2749550" cy="287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fld id="{34652D48-ACA8-4847-9A5A-9DAC3CF2C8A8}" type="datetime'C''on''s''''tr''u''c''ti''o''n e''''qui''''p''me''n''''t '">
              <a:rPr kumimoji="0" lang="de-DE" altLang="en-US" sz="2100" b="1"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Tx/>
                <a:buNone/>
                <a:tabLst/>
                <a:defRPr/>
              </a:pPr>
              <a:t>Construction equipment </a:t>
            </a:fld>
            <a:endParaRPr kumimoji="0" lang="de-DE" sz="2100" b="1" i="0" u="none" strike="noStrike" kern="1200" cap="none" spc="0" normalizeH="0" baseline="0" noProof="0" dirty="0" smtClean="0">
              <a:ln>
                <a:noFill/>
              </a:ln>
              <a:solidFill>
                <a:srgbClr val="7F7F7F"/>
              </a:solidFill>
              <a:effectLst/>
              <a:uLnTx/>
              <a:uFillTx/>
              <a:latin typeface="Calibri" panose="020F0502020204030204"/>
              <a:ea typeface="+mn-ea"/>
              <a:cs typeface="+mn-cs"/>
              <a:sym typeface="+mn-lt"/>
            </a:endParaRPr>
          </a:p>
        </p:txBody>
      </p:sp>
      <p:sp>
        <p:nvSpPr>
          <p:cNvPr id="133" name="Rectangle 132"/>
          <p:cNvSpPr/>
          <p:nvPr>
            <p:custDataLst>
              <p:tags r:id="rId8"/>
            </p:custDataLst>
          </p:nvPr>
        </p:nvSpPr>
        <p:spPr bwMode="auto">
          <a:xfrm>
            <a:off x="1147763" y="9534525"/>
            <a:ext cx="942975" cy="287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fld id="{20E9160B-0011-4263-99EB-2356B6CB228B}" type="datetime'''S''''''''''''c''''''o''''''''o''''''ter''''''''''s'''''''''">
              <a:rPr kumimoji="0" lang="de-DE" altLang="en-US" sz="2100" b="1"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Tx/>
                <a:buNone/>
                <a:tabLst/>
                <a:defRPr/>
              </a:pPr>
              <a:t>Scooters</a:t>
            </a:fld>
            <a:endParaRPr kumimoji="0" lang="de-DE" sz="2100" b="1" i="0" u="none" strike="noStrike" kern="1200" cap="none" spc="0" normalizeH="0" baseline="0" noProof="0" dirty="0" smtClean="0">
              <a:ln>
                <a:noFill/>
              </a:ln>
              <a:solidFill>
                <a:srgbClr val="7F7F7F"/>
              </a:solidFill>
              <a:effectLst/>
              <a:uLnTx/>
              <a:uFillTx/>
              <a:latin typeface="Calibri" panose="020F0502020204030204"/>
              <a:ea typeface="+mn-ea"/>
              <a:cs typeface="+mn-cs"/>
              <a:sym typeface="+mn-lt"/>
            </a:endParaRPr>
          </a:p>
        </p:txBody>
      </p:sp>
      <p:sp>
        <p:nvSpPr>
          <p:cNvPr id="132" name="Rectangle 131"/>
          <p:cNvSpPr/>
          <p:nvPr>
            <p:custDataLst>
              <p:tags r:id="rId9"/>
            </p:custDataLst>
          </p:nvPr>
        </p:nvSpPr>
        <p:spPr bwMode="auto">
          <a:xfrm>
            <a:off x="1147763" y="9320213"/>
            <a:ext cx="2039938" cy="287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fld id="{F259F6DE-1847-4C86-AD4B-8B31FDB779B5}" type="datetime'In''''d''''''''''''''ust''''''r''''ia''l'' us''''''e'' case'''">
              <a:rPr kumimoji="0" lang="de-DE" altLang="en-US" sz="2100" b="1"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Tx/>
                <a:buNone/>
                <a:tabLst/>
                <a:defRPr/>
              </a:pPr>
              <a:t>Industrial use case</a:t>
            </a:fld>
            <a:endParaRPr kumimoji="0" lang="de-DE" sz="2100" b="1" i="0" u="none" strike="noStrike" kern="1200" cap="none" spc="0" normalizeH="0" baseline="0" noProof="0" dirty="0" smtClean="0">
              <a:ln>
                <a:noFill/>
              </a:ln>
              <a:solidFill>
                <a:srgbClr val="7F7F7F"/>
              </a:solidFill>
              <a:effectLst/>
              <a:uLnTx/>
              <a:uFillTx/>
              <a:latin typeface="Calibri" panose="020F0502020204030204"/>
              <a:ea typeface="+mn-ea"/>
              <a:cs typeface="+mn-cs"/>
              <a:sym typeface="+mn-lt"/>
            </a:endParaRPr>
          </a:p>
        </p:txBody>
      </p:sp>
      <p:sp>
        <p:nvSpPr>
          <p:cNvPr id="131" name="Rectangle 130"/>
          <p:cNvSpPr/>
          <p:nvPr>
            <p:custDataLst>
              <p:tags r:id="rId10"/>
            </p:custDataLst>
          </p:nvPr>
        </p:nvSpPr>
        <p:spPr bwMode="auto">
          <a:xfrm>
            <a:off x="1147763" y="9105900"/>
            <a:ext cx="2576513" cy="287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fld id="{8AC10895-0307-462C-9C47-D9B6260F4F8C}" type="datetime'''Ai''rp''''ort ''''''''h''''andl''i''n''g e''q''''ui''p.'">
              <a:rPr kumimoji="0" lang="de-DE" altLang="en-US" sz="2100" b="1"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Tx/>
                <a:buNone/>
                <a:tabLst/>
                <a:defRPr/>
              </a:pPr>
              <a:t>Airport handling equip.</a:t>
            </a:fld>
            <a:endParaRPr kumimoji="0" lang="de-DE" sz="2100" b="1" i="0" u="none" strike="noStrike" kern="1200" cap="none" spc="0" normalizeH="0" baseline="0" noProof="0" dirty="0" smtClean="0">
              <a:ln>
                <a:noFill/>
              </a:ln>
              <a:solidFill>
                <a:srgbClr val="7F7F7F"/>
              </a:solidFill>
              <a:effectLst/>
              <a:uLnTx/>
              <a:uFillTx/>
              <a:latin typeface="Calibri" panose="020F0502020204030204"/>
              <a:ea typeface="+mn-ea"/>
              <a:cs typeface="+mn-cs"/>
              <a:sym typeface="+mn-lt"/>
            </a:endParaRPr>
          </a:p>
        </p:txBody>
      </p:sp>
      <p:sp>
        <p:nvSpPr>
          <p:cNvPr id="130" name="Rectangle 129"/>
          <p:cNvSpPr/>
          <p:nvPr>
            <p:custDataLst>
              <p:tags r:id="rId11"/>
            </p:custDataLst>
          </p:nvPr>
        </p:nvSpPr>
        <p:spPr bwMode="auto">
          <a:xfrm>
            <a:off x="1147763" y="8886825"/>
            <a:ext cx="1963738" cy="287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fld id="{62303F1A-0F9C-4BAC-B392-56E56977566C}" type="datetime'M''a''''''''ter''''ia''''''''''l'' ''''han''''d''l''''ing'">
              <a:rPr kumimoji="0" lang="de-DE" altLang="en-US" sz="2100" b="1"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Tx/>
                <a:buNone/>
                <a:tabLst/>
                <a:defRPr/>
              </a:pPr>
              <a:t>Material handling</a:t>
            </a:fld>
            <a:endParaRPr kumimoji="0" lang="de-DE" sz="2100" b="1" i="0" u="none" strike="noStrike" kern="1200" cap="none" spc="0" normalizeH="0" baseline="0" noProof="0" dirty="0" smtClean="0">
              <a:ln>
                <a:noFill/>
              </a:ln>
              <a:solidFill>
                <a:srgbClr val="7F7F7F"/>
              </a:solidFill>
              <a:effectLst/>
              <a:uLnTx/>
              <a:uFillTx/>
              <a:latin typeface="Calibri" panose="020F0502020204030204"/>
              <a:ea typeface="+mn-ea"/>
              <a:cs typeface="+mn-cs"/>
              <a:sym typeface="+mn-lt"/>
            </a:endParaRPr>
          </a:p>
        </p:txBody>
      </p:sp>
      <p:sp>
        <p:nvSpPr>
          <p:cNvPr id="129" name="Rectangle 128"/>
          <p:cNvSpPr/>
          <p:nvPr>
            <p:custDataLst>
              <p:tags r:id="rId12"/>
            </p:custDataLst>
          </p:nvPr>
        </p:nvSpPr>
        <p:spPr bwMode="auto">
          <a:xfrm>
            <a:off x="1147763" y="8672513"/>
            <a:ext cx="1631950" cy="287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fld id="{2B1CA800-FEEB-423E-A72C-F70589FEBB3B}" type="datetime'''''''O''''''''''f''''''f''''-''grid ''''po''we''''r'''''">
              <a:rPr kumimoji="0" lang="de-DE" altLang="en-US" sz="2100" b="1"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Tx/>
                <a:buNone/>
                <a:tabLst/>
                <a:defRPr/>
              </a:pPr>
              <a:t>Off-grid power</a:t>
            </a:fld>
            <a:endParaRPr kumimoji="0" lang="de-DE" sz="2100" b="1" i="0" u="none" strike="noStrike" kern="1200" cap="none" spc="0" normalizeH="0" baseline="0" noProof="0" dirty="0" smtClean="0">
              <a:ln>
                <a:noFill/>
              </a:ln>
              <a:solidFill>
                <a:srgbClr val="7F7F7F"/>
              </a:solidFill>
              <a:effectLst/>
              <a:uLnTx/>
              <a:uFillTx/>
              <a:latin typeface="Calibri" panose="020F0502020204030204"/>
              <a:ea typeface="+mn-ea"/>
              <a:cs typeface="+mn-cs"/>
              <a:sym typeface="+mn-lt"/>
            </a:endParaRPr>
          </a:p>
        </p:txBody>
      </p:sp>
      <p:sp>
        <p:nvSpPr>
          <p:cNvPr id="128" name="Rectangle 127"/>
          <p:cNvSpPr/>
          <p:nvPr>
            <p:custDataLst>
              <p:tags r:id="rId13"/>
            </p:custDataLst>
          </p:nvPr>
        </p:nvSpPr>
        <p:spPr bwMode="auto">
          <a:xfrm>
            <a:off x="1147763" y="8458200"/>
            <a:ext cx="1658938" cy="287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fld id="{2F39C171-A139-48A4-BFE8-70D7BE89AE05}" type="datetime'''''''Bac''''''''k''''-''''''''''up'' p''''''o''w''''e''r'">
              <a:rPr kumimoji="0" lang="de-DE" altLang="en-US" sz="2100" b="1"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Tx/>
                <a:buNone/>
                <a:tabLst/>
                <a:defRPr/>
              </a:pPr>
              <a:t>Back-up power</a:t>
            </a:fld>
            <a:endParaRPr kumimoji="0" lang="de-DE" sz="2100" b="1" i="0" u="none" strike="noStrike" kern="1200" cap="none" spc="0" normalizeH="0" baseline="0" noProof="0" dirty="0" smtClean="0">
              <a:ln>
                <a:noFill/>
              </a:ln>
              <a:solidFill>
                <a:srgbClr val="7F7F7F"/>
              </a:solidFill>
              <a:effectLst/>
              <a:uLnTx/>
              <a:uFillTx/>
              <a:latin typeface="Calibri" panose="020F0502020204030204"/>
              <a:ea typeface="+mn-ea"/>
              <a:cs typeface="+mn-cs"/>
              <a:sym typeface="+mn-lt"/>
            </a:endParaRPr>
          </a:p>
        </p:txBody>
      </p:sp>
      <p:sp>
        <p:nvSpPr>
          <p:cNvPr id="127" name="Rectangle 126"/>
          <p:cNvSpPr/>
          <p:nvPr>
            <p:custDataLst>
              <p:tags r:id="rId14"/>
            </p:custDataLst>
          </p:nvPr>
        </p:nvSpPr>
        <p:spPr bwMode="auto">
          <a:xfrm>
            <a:off x="1147763" y="8239125"/>
            <a:ext cx="1955800" cy="287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fld id="{4CA8DB0F-E43F-402C-BC3F-A04FE622ABE5}" type="datetime'''R''e''''si''d''''''. u''s''e''''''''''''''''''/ ''m''CHP'">
              <a:rPr kumimoji="0" lang="de-DE" altLang="en-US" sz="2100" b="1"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Tx/>
                <a:buNone/>
                <a:tabLst/>
                <a:defRPr/>
              </a:pPr>
              <a:t>Resid. use/ mCHP</a:t>
            </a:fld>
            <a:endParaRPr kumimoji="0" lang="de-DE" sz="2100" b="1" i="0" u="none" strike="noStrike" kern="1200" cap="none" spc="0" normalizeH="0" baseline="0" noProof="0" dirty="0" smtClean="0">
              <a:ln>
                <a:noFill/>
              </a:ln>
              <a:solidFill>
                <a:srgbClr val="7F7F7F"/>
              </a:solidFill>
              <a:effectLst/>
              <a:uLnTx/>
              <a:uFillTx/>
              <a:latin typeface="Calibri" panose="020F0502020204030204"/>
              <a:ea typeface="+mn-ea"/>
              <a:cs typeface="+mn-cs"/>
              <a:sym typeface="+mn-lt"/>
            </a:endParaRPr>
          </a:p>
        </p:txBody>
      </p:sp>
      <p:sp>
        <p:nvSpPr>
          <p:cNvPr id="126" name="Rectangle 125"/>
          <p:cNvSpPr/>
          <p:nvPr>
            <p:custDataLst>
              <p:tags r:id="rId15"/>
            </p:custDataLst>
          </p:nvPr>
        </p:nvSpPr>
        <p:spPr bwMode="auto">
          <a:xfrm>
            <a:off x="1147763" y="8024813"/>
            <a:ext cx="750888" cy="287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fld id="{54C714FE-0C41-41AC-AE9D-B6A2CEC2A2D2}" type="datetime'''''''''Fe''r''''''''r''i''e''''''''''''s'''''''''''''''">
              <a:rPr kumimoji="0" lang="de-DE" altLang="en-US" sz="2100" b="1"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Tx/>
                <a:buNone/>
                <a:tabLst/>
                <a:defRPr/>
              </a:pPr>
              <a:t>Ferries</a:t>
            </a:fld>
            <a:endParaRPr kumimoji="0" lang="de-DE" sz="2100" b="1" i="0" u="none" strike="noStrike" kern="1200" cap="none" spc="0" normalizeH="0" baseline="0" noProof="0" dirty="0" smtClean="0">
              <a:ln>
                <a:noFill/>
              </a:ln>
              <a:solidFill>
                <a:srgbClr val="7F7F7F"/>
              </a:solidFill>
              <a:effectLst/>
              <a:uLnTx/>
              <a:uFillTx/>
              <a:latin typeface="Calibri" panose="020F0502020204030204"/>
              <a:ea typeface="+mn-ea"/>
              <a:cs typeface="+mn-cs"/>
              <a:sym typeface="+mn-lt"/>
            </a:endParaRPr>
          </a:p>
        </p:txBody>
      </p:sp>
      <p:sp>
        <p:nvSpPr>
          <p:cNvPr id="125" name="Rectangle 124"/>
          <p:cNvSpPr/>
          <p:nvPr>
            <p:custDataLst>
              <p:tags r:id="rId16"/>
            </p:custDataLst>
          </p:nvPr>
        </p:nvSpPr>
        <p:spPr bwMode="auto">
          <a:xfrm>
            <a:off x="1147763" y="7810500"/>
            <a:ext cx="619125" cy="287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fld id="{791CE01A-D02E-4451-8080-8EC74254A898}" type="datetime'''''''''''''B''''''''o''''''''''''''at''''''''''''s'">
              <a:rPr kumimoji="0" lang="de-DE" altLang="en-US" sz="2100" b="1"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Tx/>
                <a:buNone/>
                <a:tabLst/>
                <a:defRPr/>
              </a:pPr>
              <a:t>Boats</a:t>
            </a:fld>
            <a:endParaRPr kumimoji="0" lang="de-DE" sz="2100" b="1" i="0" u="none" strike="noStrike" kern="1200" cap="none" spc="0" normalizeH="0" baseline="0" noProof="0" dirty="0" smtClean="0">
              <a:ln>
                <a:noFill/>
              </a:ln>
              <a:solidFill>
                <a:srgbClr val="7F7F7F"/>
              </a:solidFill>
              <a:effectLst/>
              <a:uLnTx/>
              <a:uFillTx/>
              <a:latin typeface="Calibri" panose="020F0502020204030204"/>
              <a:ea typeface="+mn-ea"/>
              <a:cs typeface="+mn-cs"/>
              <a:sym typeface="+mn-lt"/>
            </a:endParaRPr>
          </a:p>
        </p:txBody>
      </p:sp>
      <p:sp>
        <p:nvSpPr>
          <p:cNvPr id="124" name="Rectangle 123"/>
          <p:cNvSpPr/>
          <p:nvPr>
            <p:custDataLst>
              <p:tags r:id="rId17"/>
            </p:custDataLst>
          </p:nvPr>
        </p:nvSpPr>
        <p:spPr bwMode="auto">
          <a:xfrm>
            <a:off x="1147763" y="7591425"/>
            <a:ext cx="1065213" cy="287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fld id="{433A9279-12F2-4E5D-B22E-4FD65E2522FB}" type="datetime'S''''''''w''''''eepe''''''''r''s'''''''''''''">
              <a:rPr kumimoji="0" lang="de-DE" altLang="en-US" sz="2100" b="1"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Tx/>
                <a:buNone/>
                <a:tabLst/>
                <a:defRPr/>
              </a:pPr>
              <a:t>Sweepers</a:t>
            </a:fld>
            <a:endParaRPr kumimoji="0" lang="de-DE" sz="2100" b="1" i="0" u="none" strike="noStrike" kern="1200" cap="none" spc="0" normalizeH="0" baseline="0" noProof="0" dirty="0" smtClean="0">
              <a:ln>
                <a:noFill/>
              </a:ln>
              <a:solidFill>
                <a:srgbClr val="7F7F7F"/>
              </a:solidFill>
              <a:effectLst/>
              <a:uLnTx/>
              <a:uFillTx/>
              <a:latin typeface="Calibri" panose="020F0502020204030204"/>
              <a:ea typeface="+mn-ea"/>
              <a:cs typeface="+mn-cs"/>
              <a:sym typeface="+mn-lt"/>
            </a:endParaRPr>
          </a:p>
        </p:txBody>
      </p:sp>
      <p:sp>
        <p:nvSpPr>
          <p:cNvPr id="123" name="Rectangle 122"/>
          <p:cNvSpPr/>
          <p:nvPr>
            <p:custDataLst>
              <p:tags r:id="rId18"/>
            </p:custDataLst>
          </p:nvPr>
        </p:nvSpPr>
        <p:spPr bwMode="auto">
          <a:xfrm>
            <a:off x="1147763" y="7377113"/>
            <a:ext cx="1749425" cy="287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fld id="{6B0E4044-2078-497E-8F82-76E3FCDE3B7A}" type="datetime'''''Po''r''t ''''''''''o''ps.'' eq''''''u''''i''p.'''''''''''">
              <a:rPr kumimoji="0" lang="de-DE" altLang="en-US" sz="2100" b="1"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Tx/>
                <a:buNone/>
                <a:tabLst/>
                <a:defRPr/>
              </a:pPr>
              <a:t>Port ops. equip.</a:t>
            </a:fld>
            <a:endParaRPr kumimoji="0" lang="de-DE" sz="2100" b="1" i="0" u="none" strike="noStrike" kern="1200" cap="none" spc="0" normalizeH="0" baseline="0" noProof="0" dirty="0" smtClean="0">
              <a:ln>
                <a:noFill/>
              </a:ln>
              <a:solidFill>
                <a:srgbClr val="7F7F7F"/>
              </a:solidFill>
              <a:effectLst/>
              <a:uLnTx/>
              <a:uFillTx/>
              <a:latin typeface="Calibri" panose="020F0502020204030204"/>
              <a:ea typeface="+mn-ea"/>
              <a:cs typeface="+mn-cs"/>
              <a:sym typeface="+mn-lt"/>
            </a:endParaRPr>
          </a:p>
        </p:txBody>
      </p:sp>
      <p:sp>
        <p:nvSpPr>
          <p:cNvPr id="122" name="Rectangle 121"/>
          <p:cNvSpPr/>
          <p:nvPr>
            <p:custDataLst>
              <p:tags r:id="rId19"/>
            </p:custDataLst>
          </p:nvPr>
        </p:nvSpPr>
        <p:spPr bwMode="auto">
          <a:xfrm>
            <a:off x="1147763" y="7162800"/>
            <a:ext cx="2379663" cy="287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fld id="{964A891B-3F7B-414C-99F7-4E3A23EBEF89}" type="datetime'C''''''''o''m''me''''r''''c''''''''ial'' bu''i''ldin''g''s'">
              <a:rPr kumimoji="0" lang="de-DE" altLang="en-US" sz="2100" b="1"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Tx/>
                <a:buNone/>
                <a:tabLst/>
                <a:defRPr/>
              </a:pPr>
              <a:t>Commercial buildings</a:t>
            </a:fld>
            <a:endParaRPr kumimoji="0" lang="de-DE" sz="2100" b="1" i="0" u="none" strike="noStrike" kern="1200" cap="none" spc="0" normalizeH="0" baseline="0" noProof="0" dirty="0" smtClean="0">
              <a:ln>
                <a:noFill/>
              </a:ln>
              <a:solidFill>
                <a:srgbClr val="7F7F7F"/>
              </a:solidFill>
              <a:effectLst/>
              <a:uLnTx/>
              <a:uFillTx/>
              <a:latin typeface="Calibri" panose="020F0502020204030204"/>
              <a:ea typeface="+mn-ea"/>
              <a:cs typeface="+mn-cs"/>
              <a:sym typeface="+mn-lt"/>
            </a:endParaRPr>
          </a:p>
        </p:txBody>
      </p:sp>
      <p:sp>
        <p:nvSpPr>
          <p:cNvPr id="121" name="Rectangle 120"/>
          <p:cNvSpPr/>
          <p:nvPr>
            <p:custDataLst>
              <p:tags r:id="rId20"/>
            </p:custDataLst>
          </p:nvPr>
        </p:nvSpPr>
        <p:spPr bwMode="auto">
          <a:xfrm>
            <a:off x="1147763" y="6943725"/>
            <a:ext cx="581025" cy="287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fld id="{2C5BED5C-EA72-489E-A687-82EC06720FC4}" type="datetime'S''''h''''i''''''''''''''''''''p''''''s'''''''''''''''">
              <a:rPr kumimoji="0" lang="de-DE" altLang="en-US" sz="2100" b="1"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Tx/>
                <a:buNone/>
                <a:tabLst/>
                <a:defRPr/>
              </a:pPr>
              <a:t>Ships</a:t>
            </a:fld>
            <a:endParaRPr kumimoji="0" lang="de-DE" sz="2100" b="1" i="0" u="none" strike="noStrike" kern="1200" cap="none" spc="0" normalizeH="0" baseline="0" noProof="0" dirty="0" smtClean="0">
              <a:ln>
                <a:noFill/>
              </a:ln>
              <a:solidFill>
                <a:srgbClr val="7F7F7F"/>
              </a:solidFill>
              <a:effectLst/>
              <a:uLnTx/>
              <a:uFillTx/>
              <a:latin typeface="Calibri" panose="020F0502020204030204"/>
              <a:ea typeface="+mn-ea"/>
              <a:cs typeface="+mn-cs"/>
              <a:sym typeface="+mn-lt"/>
            </a:endParaRPr>
          </a:p>
        </p:txBody>
      </p:sp>
      <p:sp>
        <p:nvSpPr>
          <p:cNvPr id="120" name="Rectangle 119"/>
          <p:cNvSpPr/>
          <p:nvPr>
            <p:custDataLst>
              <p:tags r:id="rId21"/>
            </p:custDataLst>
          </p:nvPr>
        </p:nvSpPr>
        <p:spPr bwMode="auto">
          <a:xfrm>
            <a:off x="1147763" y="6729413"/>
            <a:ext cx="2668588" cy="287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fld id="{898A800E-B617-4926-92FC-621BB376F599}" type="datetime'Heav''y-''d''''u''ty ''''trans''''po''''''r''t '''' ''  '' '">
              <a:rPr kumimoji="0" lang="de-DE" altLang="en-US" sz="2100" b="1"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Tx/>
                <a:buNone/>
                <a:tabLst/>
                <a:defRPr/>
              </a:pPr>
              <a:t>Heavy-duty transport     </a:t>
            </a:fld>
            <a:endParaRPr kumimoji="0" lang="de-DE" sz="2100" b="1" i="0" u="none" strike="noStrike" kern="1200" cap="none" spc="0" normalizeH="0" baseline="0" noProof="0" dirty="0" smtClean="0">
              <a:ln>
                <a:noFill/>
              </a:ln>
              <a:solidFill>
                <a:srgbClr val="7F7F7F"/>
              </a:solidFill>
              <a:effectLst/>
              <a:uLnTx/>
              <a:uFillTx/>
              <a:latin typeface="Calibri" panose="020F0502020204030204"/>
              <a:ea typeface="+mn-ea"/>
              <a:cs typeface="+mn-cs"/>
              <a:sym typeface="+mn-lt"/>
            </a:endParaRPr>
          </a:p>
        </p:txBody>
      </p:sp>
      <p:sp>
        <p:nvSpPr>
          <p:cNvPr id="119" name="Rectangle 118"/>
          <p:cNvSpPr/>
          <p:nvPr>
            <p:custDataLst>
              <p:tags r:id="rId22"/>
            </p:custDataLst>
          </p:nvPr>
        </p:nvSpPr>
        <p:spPr bwMode="auto">
          <a:xfrm>
            <a:off x="1147763" y="6515100"/>
            <a:ext cx="576263" cy="287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fld id="{E66BE040-9454-4C2B-92DE-91930ECCFB65}" type="datetime'''''''''''''''B''''i''''k''''''e''''''''''''s'">
              <a:rPr kumimoji="0" lang="de-DE" altLang="en-US" sz="2100" b="1"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Tx/>
                <a:buNone/>
                <a:tabLst/>
                <a:defRPr/>
              </a:pPr>
              <a:t>Bikes</a:t>
            </a:fld>
            <a:endParaRPr kumimoji="0" lang="de-DE" sz="2100" b="1" i="0" u="none" strike="noStrike" kern="1200" cap="none" spc="0" normalizeH="0" baseline="0" noProof="0" dirty="0" smtClean="0">
              <a:ln>
                <a:noFill/>
              </a:ln>
              <a:solidFill>
                <a:srgbClr val="7F7F7F"/>
              </a:solidFill>
              <a:effectLst/>
              <a:uLnTx/>
              <a:uFillTx/>
              <a:latin typeface="Calibri" panose="020F0502020204030204"/>
              <a:ea typeface="+mn-ea"/>
              <a:cs typeface="+mn-cs"/>
              <a:sym typeface="+mn-lt"/>
            </a:endParaRPr>
          </a:p>
        </p:txBody>
      </p:sp>
      <p:sp>
        <p:nvSpPr>
          <p:cNvPr id="118" name="Rectangle 117"/>
          <p:cNvSpPr/>
          <p:nvPr>
            <p:custDataLst>
              <p:tags r:id="rId23"/>
            </p:custDataLst>
          </p:nvPr>
        </p:nvSpPr>
        <p:spPr bwMode="auto">
          <a:xfrm>
            <a:off x="1147763" y="6296025"/>
            <a:ext cx="1416050" cy="287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fld id="{10985049-7716-47B5-B04D-ED498E3AA465}" type="datetime'G''''''''''''r''''i''d s''''''''''e''rv''''i''''''ce''''''s'">
              <a:rPr kumimoji="0" lang="de-DE" altLang="en-US" sz="2100" b="1"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Tx/>
                <a:buNone/>
                <a:tabLst/>
                <a:defRPr/>
              </a:pPr>
              <a:t>Grid services</a:t>
            </a:fld>
            <a:endParaRPr kumimoji="0" lang="de-DE" sz="2100" b="1" i="0" u="none" strike="noStrike" kern="1200" cap="none" spc="0" normalizeH="0" baseline="0" noProof="0" dirty="0" smtClean="0">
              <a:ln>
                <a:noFill/>
              </a:ln>
              <a:solidFill>
                <a:srgbClr val="7F7F7F"/>
              </a:solidFill>
              <a:effectLst/>
              <a:uLnTx/>
              <a:uFillTx/>
              <a:latin typeface="Calibri" panose="020F0502020204030204"/>
              <a:ea typeface="+mn-ea"/>
              <a:cs typeface="+mn-cs"/>
              <a:sym typeface="+mn-lt"/>
            </a:endParaRPr>
          </a:p>
        </p:txBody>
      </p:sp>
      <p:sp>
        <p:nvSpPr>
          <p:cNvPr id="117" name="Rectangle 116"/>
          <p:cNvSpPr/>
          <p:nvPr>
            <p:custDataLst>
              <p:tags r:id="rId24"/>
            </p:custDataLst>
          </p:nvPr>
        </p:nvSpPr>
        <p:spPr bwMode="auto">
          <a:xfrm>
            <a:off x="1147763" y="6081713"/>
            <a:ext cx="1712913" cy="287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fld id="{97E26CF4-A64E-4379-BCB2-4AD7F4B11590}" type="datetime'''''''''H''2'''' ''''in''t''o'''''' ga''''''s ''gri''d'">
              <a:rPr kumimoji="0" lang="de-DE" altLang="en-US" sz="2100" b="1"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Tx/>
                <a:buNone/>
                <a:tabLst/>
                <a:defRPr/>
              </a:pPr>
              <a:t>H2 into gas grid</a:t>
            </a:fld>
            <a:endParaRPr kumimoji="0" lang="de-DE" sz="2100" b="1" i="0" u="none" strike="noStrike" kern="1200" cap="none" spc="0" normalizeH="0" baseline="0" noProof="0" dirty="0" smtClean="0">
              <a:ln>
                <a:noFill/>
              </a:ln>
              <a:solidFill>
                <a:srgbClr val="7F7F7F"/>
              </a:solidFill>
              <a:effectLst/>
              <a:uLnTx/>
              <a:uFillTx/>
              <a:latin typeface="Calibri" panose="020F0502020204030204"/>
              <a:ea typeface="+mn-ea"/>
              <a:cs typeface="+mn-cs"/>
              <a:sym typeface="+mn-lt"/>
            </a:endParaRPr>
          </a:p>
        </p:txBody>
      </p:sp>
      <p:sp>
        <p:nvSpPr>
          <p:cNvPr id="116" name="Rectangle 115"/>
          <p:cNvSpPr/>
          <p:nvPr>
            <p:custDataLst>
              <p:tags r:id="rId25"/>
            </p:custDataLst>
          </p:nvPr>
        </p:nvSpPr>
        <p:spPr bwMode="auto">
          <a:xfrm>
            <a:off x="1147763" y="5867400"/>
            <a:ext cx="844550" cy="287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fld id="{86BA0683-8C5E-4C1A-9FC3-DCDC212EFA36}" type="datetime'H2''''''''''''-t''o-''''X'''''''''''''''''''''''''''''''''''''">
              <a:rPr kumimoji="0" lang="de-DE" altLang="en-US" sz="2100" b="1"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Tx/>
                <a:buNone/>
                <a:tabLst/>
                <a:defRPr/>
              </a:pPr>
              <a:t>H2-to-X</a:t>
            </a:fld>
            <a:endParaRPr kumimoji="0" lang="de-DE" sz="2100" b="1" i="0" u="none" strike="noStrike" kern="1200" cap="none" spc="0" normalizeH="0" baseline="0" noProof="0" dirty="0" smtClean="0">
              <a:ln>
                <a:noFill/>
              </a:ln>
              <a:solidFill>
                <a:srgbClr val="7F7F7F"/>
              </a:solidFill>
              <a:effectLst/>
              <a:uLnTx/>
              <a:uFillTx/>
              <a:latin typeface="Calibri" panose="020F0502020204030204"/>
              <a:ea typeface="+mn-ea"/>
              <a:cs typeface="+mn-cs"/>
              <a:sym typeface="+mn-lt"/>
            </a:endParaRPr>
          </a:p>
        </p:txBody>
      </p:sp>
      <p:sp>
        <p:nvSpPr>
          <p:cNvPr id="115" name="Rectangle 114"/>
          <p:cNvSpPr/>
          <p:nvPr>
            <p:custDataLst>
              <p:tags r:id="rId26"/>
            </p:custDataLst>
          </p:nvPr>
        </p:nvSpPr>
        <p:spPr bwMode="auto">
          <a:xfrm>
            <a:off x="1147763" y="5648325"/>
            <a:ext cx="1477963" cy="287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fld id="{78904961-4A76-4248-B0C6-3FC4B41C9064}" type="datetime'De''''''l''i''v''''''e''r''''''''''''y'''''' ''''va''''ns'''">
              <a:rPr kumimoji="0" lang="de-DE" altLang="en-US" sz="2100" b="1"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Tx/>
                <a:buNone/>
                <a:tabLst/>
                <a:defRPr/>
              </a:pPr>
              <a:t>Delivery vans</a:t>
            </a:fld>
            <a:endParaRPr kumimoji="0" lang="de-DE" sz="2100" b="1" i="0" u="none" strike="noStrike" kern="1200" cap="none" spc="0" normalizeH="0" baseline="0" noProof="0" dirty="0" smtClean="0">
              <a:ln>
                <a:noFill/>
              </a:ln>
              <a:solidFill>
                <a:srgbClr val="7F7F7F"/>
              </a:solidFill>
              <a:effectLst/>
              <a:uLnTx/>
              <a:uFillTx/>
              <a:latin typeface="Calibri" panose="020F0502020204030204"/>
              <a:ea typeface="+mn-ea"/>
              <a:cs typeface="+mn-cs"/>
              <a:sym typeface="+mn-lt"/>
            </a:endParaRPr>
          </a:p>
        </p:txBody>
      </p:sp>
      <p:sp>
        <p:nvSpPr>
          <p:cNvPr id="114" name="Rectangle 113"/>
          <p:cNvSpPr/>
          <p:nvPr>
            <p:custDataLst>
              <p:tags r:id="rId27"/>
            </p:custDataLst>
          </p:nvPr>
        </p:nvSpPr>
        <p:spPr bwMode="auto">
          <a:xfrm>
            <a:off x="1147763" y="5434013"/>
            <a:ext cx="654050" cy="287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fld id="{41E3D0EF-CEB0-4280-92FD-170992BEE889}" type="datetime'''''''''''''''''''Tra''i''''''''''''''''''''''''''n''''s'">
              <a:rPr kumimoji="0" lang="de-DE" altLang="en-US" sz="2100" b="1"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Tx/>
                <a:buNone/>
                <a:tabLst/>
                <a:defRPr/>
              </a:pPr>
              <a:t>Trains</a:t>
            </a:fld>
            <a:endParaRPr kumimoji="0" lang="de-DE" sz="2100" b="1" i="0" u="none" strike="noStrike" kern="1200" cap="none" spc="0" normalizeH="0" baseline="0" noProof="0" dirty="0" smtClean="0">
              <a:ln>
                <a:noFill/>
              </a:ln>
              <a:solidFill>
                <a:srgbClr val="7F7F7F"/>
              </a:solidFill>
              <a:effectLst/>
              <a:uLnTx/>
              <a:uFillTx/>
              <a:latin typeface="Calibri" panose="020F0502020204030204"/>
              <a:ea typeface="+mn-ea"/>
              <a:cs typeface="+mn-cs"/>
              <a:sym typeface="+mn-lt"/>
            </a:endParaRPr>
          </a:p>
        </p:txBody>
      </p:sp>
      <p:sp>
        <p:nvSpPr>
          <p:cNvPr id="113" name="Rectangle 112"/>
          <p:cNvSpPr/>
          <p:nvPr>
            <p:custDataLst>
              <p:tags r:id="rId28"/>
            </p:custDataLst>
          </p:nvPr>
        </p:nvSpPr>
        <p:spPr bwMode="auto">
          <a:xfrm>
            <a:off x="1147763" y="5219700"/>
            <a:ext cx="1665288" cy="287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fld id="{37088A28-DB4F-462A-BD0A-23D525BA593E}" type="datetime'Ga''''''''rb''''''''''a''''''''g''''''e'' ''tru''c''k''''s'''">
              <a:rPr kumimoji="0" lang="de-DE" altLang="en-US" sz="2100" b="1"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Tx/>
                <a:buNone/>
                <a:tabLst/>
                <a:defRPr/>
              </a:pPr>
              <a:t>Garbage trucks</a:t>
            </a:fld>
            <a:endParaRPr kumimoji="0" lang="de-DE" sz="2100" b="1" i="0" u="none" strike="noStrike" kern="1200" cap="none" spc="0" normalizeH="0" baseline="0" noProof="0" dirty="0" smtClean="0">
              <a:ln>
                <a:noFill/>
              </a:ln>
              <a:solidFill>
                <a:srgbClr val="7F7F7F"/>
              </a:solidFill>
              <a:effectLst/>
              <a:uLnTx/>
              <a:uFillTx/>
              <a:latin typeface="Calibri" panose="020F0502020204030204"/>
              <a:ea typeface="+mn-ea"/>
              <a:cs typeface="+mn-cs"/>
              <a:sym typeface="+mn-lt"/>
            </a:endParaRPr>
          </a:p>
        </p:txBody>
      </p:sp>
      <p:sp>
        <p:nvSpPr>
          <p:cNvPr id="112" name="Rectangle 111"/>
          <p:cNvSpPr/>
          <p:nvPr>
            <p:custDataLst>
              <p:tags r:id="rId29"/>
            </p:custDataLst>
          </p:nvPr>
        </p:nvSpPr>
        <p:spPr bwMode="auto">
          <a:xfrm>
            <a:off x="1147763" y="5000625"/>
            <a:ext cx="1581150" cy="287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fld id="{489FD81C-B4AD-414E-982F-711555D5236D}" type="datetime'''''''H''''2'''''' p''''r''''''''''od''u''ct''''io''n'''''">
              <a:rPr kumimoji="0" lang="de-DE" altLang="en-US" sz="2100" b="1"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Tx/>
                <a:buNone/>
                <a:tabLst/>
                <a:defRPr/>
              </a:pPr>
              <a:t>H2 production</a:t>
            </a:fld>
            <a:endParaRPr kumimoji="0" lang="de-DE" sz="2100" b="1" i="0" u="none" strike="noStrike" kern="1200" cap="none" spc="0" normalizeH="0" baseline="0" noProof="0" dirty="0" smtClean="0">
              <a:ln>
                <a:noFill/>
              </a:ln>
              <a:solidFill>
                <a:srgbClr val="7F7F7F"/>
              </a:solidFill>
              <a:effectLst/>
              <a:uLnTx/>
              <a:uFillTx/>
              <a:latin typeface="Calibri" panose="020F0502020204030204"/>
              <a:ea typeface="+mn-ea"/>
              <a:cs typeface="+mn-cs"/>
              <a:sym typeface="+mn-lt"/>
            </a:endParaRPr>
          </a:p>
        </p:txBody>
      </p:sp>
      <p:sp>
        <p:nvSpPr>
          <p:cNvPr id="111" name="Rectangle 110"/>
          <p:cNvSpPr/>
          <p:nvPr>
            <p:custDataLst>
              <p:tags r:id="rId30"/>
            </p:custDataLst>
          </p:nvPr>
        </p:nvSpPr>
        <p:spPr bwMode="auto">
          <a:xfrm>
            <a:off x="1147763" y="4786313"/>
            <a:ext cx="471488" cy="287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fld id="{9941EC71-7A16-4E11-B99F-095ACC6D7BDE}" type="datetime'''''''''''Ca''''''''''''''''''''''r''''''s'''''''">
              <a:rPr kumimoji="0" lang="de-DE" altLang="en-US" sz="2100" b="1"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Tx/>
                <a:buNone/>
                <a:tabLst/>
                <a:defRPr/>
              </a:pPr>
              <a:t>Cars</a:t>
            </a:fld>
            <a:endParaRPr kumimoji="0" lang="de-DE" sz="2100" b="1" i="0" u="none" strike="noStrike" kern="1200" cap="none" spc="0" normalizeH="0" baseline="0" noProof="0" dirty="0" smtClean="0">
              <a:ln>
                <a:noFill/>
              </a:ln>
              <a:solidFill>
                <a:srgbClr val="7F7F7F"/>
              </a:solidFill>
              <a:effectLst/>
              <a:uLnTx/>
              <a:uFillTx/>
              <a:latin typeface="Calibri" panose="020F0502020204030204"/>
              <a:ea typeface="+mn-ea"/>
              <a:cs typeface="+mn-cs"/>
              <a:sym typeface="+mn-lt"/>
            </a:endParaRPr>
          </a:p>
        </p:txBody>
      </p:sp>
      <p:sp>
        <p:nvSpPr>
          <p:cNvPr id="102" name="Rectangle 101"/>
          <p:cNvSpPr/>
          <p:nvPr>
            <p:custDataLst>
              <p:tags r:id="rId31"/>
            </p:custDataLst>
          </p:nvPr>
        </p:nvSpPr>
        <p:spPr bwMode="auto">
          <a:xfrm>
            <a:off x="1147763" y="4572000"/>
            <a:ext cx="639763" cy="287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fld id="{33FEB9C1-4EC1-42F0-BB85-529C74DD1F54}" type="datetime'''''''''''''''''''B''''''''''''u''''''s''es'''''''''''''''''''">
              <a:rPr kumimoji="0" lang="de-DE" altLang="en-US" sz="2100" b="1"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Tx/>
                <a:buNone/>
                <a:tabLst/>
                <a:defRPr/>
              </a:pPr>
              <a:t>Buses</a:t>
            </a:fld>
            <a:endParaRPr kumimoji="0" lang="de-DE" sz="2100" b="1" i="0" u="none" strike="noStrike" kern="1200" cap="none" spc="0" normalizeH="0" baseline="0" noProof="0" dirty="0" smtClean="0">
              <a:ln>
                <a:noFill/>
              </a:ln>
              <a:solidFill>
                <a:srgbClr val="7F7F7F"/>
              </a:solidFill>
              <a:effectLst/>
              <a:uLnTx/>
              <a:uFillTx/>
              <a:latin typeface="Calibri" panose="020F0502020204030204"/>
              <a:ea typeface="+mn-ea"/>
              <a:cs typeface="+mn-cs"/>
              <a:sym typeface="+mn-lt"/>
            </a:endParaRPr>
          </a:p>
        </p:txBody>
      </p:sp>
      <p:cxnSp>
        <p:nvCxnSpPr>
          <p:cNvPr id="137" name="HorizontalLine6"/>
          <p:cNvCxnSpPr>
            <a:cxnSpLocks/>
          </p:cNvCxnSpPr>
          <p:nvPr/>
        </p:nvCxnSpPr>
        <p:spPr>
          <a:xfrm>
            <a:off x="1102768" y="4265712"/>
            <a:ext cx="10945216" cy="0"/>
          </a:xfrm>
          <a:prstGeom prst="line">
            <a:avLst/>
          </a:prstGeom>
          <a:ln w="47625" cmpd="sng">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38" name="TextBox 137"/>
          <p:cNvSpPr txBox="1">
            <a:spLocks/>
          </p:cNvSpPr>
          <p:nvPr/>
        </p:nvSpPr>
        <p:spPr>
          <a:xfrm>
            <a:off x="1102768" y="3617640"/>
            <a:ext cx="9683228" cy="515206"/>
          </a:xfrm>
          <a:prstGeom prst="rect">
            <a:avLst/>
          </a:prstGeom>
        </p:spPr>
        <p:txBody>
          <a:bodyPr wrap="none" lIns="0" tIns="0" rIns="0" bIns="0" rtlCol="0">
            <a:spAutoFit/>
          </a:bodyPr>
          <a:lstStyle>
            <a:defPPr>
              <a:defRPr lang="de-DE"/>
            </a:defPPr>
            <a:lvl1pPr>
              <a:lnSpc>
                <a:spcPct val="93000"/>
              </a:lnSpc>
              <a:spcBef>
                <a:spcPts val="0"/>
              </a:spcBef>
              <a:defRPr sz="1600" b="0"/>
            </a:lvl1pPr>
          </a:lstStyle>
          <a:p>
            <a:pPr marL="0" marR="0" lvl="0" indent="0" algn="l" defTabSz="914400" rtl="0" eaLnBrk="1" fontAlgn="base" latinLnBrk="0" hangingPunct="1">
              <a:lnSpc>
                <a:spcPct val="93000"/>
              </a:lnSpc>
              <a:spcBef>
                <a:spcPts val="0"/>
              </a:spcBef>
              <a:spcAft>
                <a:spcPct val="0"/>
              </a:spcAft>
              <a:buClrTx/>
              <a:buSzTx/>
              <a:buFontTx/>
              <a:buNone/>
              <a:tabLst/>
              <a:defRPr/>
            </a:pPr>
            <a:r>
              <a:rPr kumimoji="0" lang="en-GB" sz="3600" b="1" i="0" u="none" strike="noStrike" kern="1200" cap="none" spc="0" normalizeH="0" baseline="0" noProof="0" dirty="0" smtClean="0">
                <a:ln>
                  <a:noFill/>
                </a:ln>
                <a:solidFill>
                  <a:srgbClr val="3DA7AB"/>
                </a:solidFill>
                <a:effectLst/>
                <a:uLnTx/>
                <a:uFillTx/>
                <a:latin typeface="Calibri" panose="020F0502020204030204"/>
                <a:sym typeface="Gill Sans" charset="0"/>
              </a:rPr>
              <a:t>Survey results on most relevant FCH </a:t>
            </a:r>
            <a:r>
              <a:rPr kumimoji="0" lang="en-GB" sz="3600" b="1" i="0" u="none" strike="noStrike" kern="1200" cap="none" spc="0" normalizeH="0" baseline="0" noProof="0" dirty="0" err="1" smtClean="0">
                <a:ln>
                  <a:noFill/>
                </a:ln>
                <a:solidFill>
                  <a:srgbClr val="3DA7AB"/>
                </a:solidFill>
                <a:effectLst/>
                <a:uLnTx/>
                <a:uFillTx/>
                <a:latin typeface="Calibri" panose="020F0502020204030204"/>
                <a:sym typeface="Gill Sans" charset="0"/>
              </a:rPr>
              <a:t>applications</a:t>
            </a:r>
            <a:r>
              <a:rPr kumimoji="0" lang="en-GB" sz="3600" b="1" i="0" u="none" strike="noStrike" kern="1200" cap="none" spc="0" normalizeH="0" baseline="30000" noProof="0" dirty="0" err="1" smtClean="0">
                <a:ln>
                  <a:noFill/>
                </a:ln>
                <a:solidFill>
                  <a:srgbClr val="3DA7AB"/>
                </a:solidFill>
                <a:effectLst/>
                <a:uLnTx/>
                <a:uFillTx/>
                <a:latin typeface="Calibri" panose="020F0502020204030204"/>
                <a:sym typeface="Gill Sans" charset="0"/>
              </a:rPr>
              <a:t>1</a:t>
            </a:r>
            <a:r>
              <a:rPr kumimoji="0" lang="en-GB" sz="3600" b="1" i="0" u="none" strike="noStrike" kern="1200" cap="none" spc="0" normalizeH="0" baseline="30000" noProof="0" dirty="0" smtClean="0">
                <a:ln>
                  <a:noFill/>
                </a:ln>
                <a:solidFill>
                  <a:srgbClr val="3DA7AB"/>
                </a:solidFill>
                <a:effectLst/>
                <a:uLnTx/>
                <a:uFillTx/>
                <a:latin typeface="Calibri" panose="020F0502020204030204"/>
                <a:sym typeface="Gill Sans" charset="0"/>
              </a:rPr>
              <a:t>)</a:t>
            </a:r>
            <a:endParaRPr kumimoji="0" lang="en-GB" sz="3600" b="1" i="0" u="none" strike="noStrike" kern="1200" cap="none" spc="0" normalizeH="0" baseline="30000" noProof="0" dirty="0">
              <a:ln>
                <a:noFill/>
              </a:ln>
              <a:solidFill>
                <a:srgbClr val="3DA7AB"/>
              </a:solidFill>
              <a:effectLst/>
              <a:uLnTx/>
              <a:uFillTx/>
              <a:latin typeface="Calibri" panose="020F0502020204030204"/>
              <a:sym typeface="Gill Sans" charset="0"/>
            </a:endParaRPr>
          </a:p>
        </p:txBody>
      </p:sp>
      <p:sp>
        <p:nvSpPr>
          <p:cNvPr id="141" name="RBContent64"/>
          <p:cNvSpPr txBox="1">
            <a:spLocks/>
          </p:cNvSpPr>
          <p:nvPr/>
        </p:nvSpPr>
        <p:spPr>
          <a:xfrm>
            <a:off x="1102768" y="10890448"/>
            <a:ext cx="10945216" cy="830997"/>
          </a:xfrm>
          <a:prstGeom prst="rect">
            <a:avLst/>
          </a:prstGeom>
          <a:noFill/>
          <a:ln w="9525">
            <a:noFill/>
          </a:ln>
        </p:spPr>
        <p:txBody>
          <a:bodyPr vert="horz" wrap="square" lIns="0" tIns="0" rIns="0" bIns="0" rtlCol="0">
            <a:spAutoFit/>
          </a:bodyPr>
          <a:lstStyle/>
          <a:p>
            <a:pPr marL="0" marR="0" lvl="0" indent="0" algn="l" defTabSz="914400" rtl="0" eaLnBrk="1" fontAlgn="base" latinLnBrk="0" hangingPunct="1">
              <a:lnSpc>
                <a:spcPct val="90000"/>
              </a:lnSpc>
              <a:spcBef>
                <a:spcPts val="700"/>
              </a:spcBef>
              <a:spcAft>
                <a:spcPct val="0"/>
              </a:spcAft>
              <a:buClrTx/>
              <a:buSzPct val="171000"/>
              <a:buFontTx/>
              <a:buNone/>
              <a:tabLst/>
              <a:defRPr/>
            </a:pPr>
            <a:r>
              <a:rPr kumimoji="0" lang="en-GB" sz="3000" b="1" i="0" u="none" strike="noStrike" kern="1200" cap="none" spc="0" normalizeH="0" baseline="0" noProof="0" dirty="0" smtClean="0">
                <a:ln>
                  <a:noFill/>
                </a:ln>
                <a:solidFill>
                  <a:srgbClr val="7F7F7F"/>
                </a:solidFill>
                <a:effectLst/>
                <a:uLnTx/>
                <a:uFillTx/>
                <a:latin typeface="Calibri" charset="0"/>
                <a:ea typeface="Calibri" charset="0"/>
                <a:cs typeface="Calibri" charset="0"/>
                <a:sym typeface="+mn-lt"/>
              </a:rPr>
              <a:t>The survey asked participating Regions &amp; Cities which applications were most relevant to them for deployment in the next 3 to 5 years</a:t>
            </a:r>
            <a:endParaRPr kumimoji="0" lang="en-GB" sz="3000" b="0" i="0" u="none" strike="noStrike" kern="1200" cap="none" spc="0" normalizeH="0" baseline="0" noProof="0" dirty="0">
              <a:ln>
                <a:noFill/>
              </a:ln>
              <a:solidFill>
                <a:srgbClr val="7F7F7F"/>
              </a:solidFill>
              <a:effectLst/>
              <a:uLnTx/>
              <a:uFillTx/>
              <a:latin typeface="Calibri" charset="0"/>
              <a:ea typeface="Calibri" charset="0"/>
              <a:cs typeface="Calibri" charset="0"/>
              <a:sym typeface="+mn-lt"/>
            </a:endParaRPr>
          </a:p>
        </p:txBody>
      </p:sp>
      <p:graphicFrame>
        <p:nvGraphicFramePr>
          <p:cNvPr id="142" name="Object 141"/>
          <p:cNvGraphicFramePr>
            <a:graphicFrameLocks/>
          </p:cNvGraphicFramePr>
          <p:nvPr>
            <p:custDataLst>
              <p:tags r:id="rId32"/>
            </p:custDataLst>
            <p:extLst/>
          </p:nvPr>
        </p:nvGraphicFramePr>
        <p:xfrm>
          <a:off x="15392401" y="4495800"/>
          <a:ext cx="6743599" cy="6048270"/>
        </p:xfrm>
        <a:graphic>
          <a:graphicData uri="http://schemas.openxmlformats.org/presentationml/2006/ole">
            <mc:AlternateContent xmlns:mc="http://schemas.openxmlformats.org/markup-compatibility/2006">
              <mc:Choice xmlns:v="urn:schemas-microsoft-com:vml" Requires="v">
                <p:oleObj spid="_x0000_s19565" name="Chart" r:id="rId63" imgW="6743829" imgH="6048480" progId="MSGraph.Chart.8">
                  <p:embed followColorScheme="full"/>
                </p:oleObj>
              </mc:Choice>
              <mc:Fallback>
                <p:oleObj name="Chart" r:id="rId63" imgW="6743829" imgH="6048480" progId="MSGraph.Chart.8">
                  <p:embed followColorScheme="full"/>
                  <p:pic>
                    <p:nvPicPr>
                      <p:cNvPr id="142" name="Object 141"/>
                      <p:cNvPicPr/>
                      <p:nvPr/>
                    </p:nvPicPr>
                    <p:blipFill>
                      <a:blip r:embed="rId64"/>
                      <a:stretch>
                        <a:fillRect/>
                      </a:stretch>
                    </p:blipFill>
                    <p:spPr>
                      <a:xfrm>
                        <a:off x="15392401" y="4495800"/>
                        <a:ext cx="6743599" cy="6048270"/>
                      </a:xfrm>
                      <a:prstGeom prst="rect">
                        <a:avLst/>
                      </a:prstGeom>
                    </p:spPr>
                  </p:pic>
                </p:oleObj>
              </mc:Fallback>
            </mc:AlternateContent>
          </a:graphicData>
        </a:graphic>
      </p:graphicFrame>
      <p:sp useBgFill="1">
        <p:nvSpPr>
          <p:cNvPr id="28" name="Freeform 27"/>
          <p:cNvSpPr/>
          <p:nvPr>
            <p:custDataLst>
              <p:tags r:id="rId33"/>
            </p:custDataLst>
          </p:nvPr>
        </p:nvSpPr>
        <p:spPr bwMode="auto">
          <a:xfrm>
            <a:off x="21864638" y="5200650"/>
            <a:ext cx="150814" cy="349251"/>
          </a:xfrm>
          <a:custGeom>
            <a:avLst/>
            <a:gdLst/>
            <a:ahLst/>
            <a:cxnLst/>
            <a:rect l="0" t="0" r="0" b="0"/>
            <a:pathLst>
              <a:path w="150814" h="349251">
                <a:moveTo>
                  <a:pt x="150813" y="0"/>
                </a:moveTo>
                <a:lnTo>
                  <a:pt x="57150" y="349250"/>
                </a:lnTo>
                <a:lnTo>
                  <a:pt x="0" y="349250"/>
                </a:lnTo>
                <a:lnTo>
                  <a:pt x="93663" y="0"/>
                </a:lnTo>
                <a:close/>
              </a:path>
            </a:pathLst>
          </a:custGeom>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5600" b="0" i="0" u="none" strike="noStrike" kern="1200" cap="none" spc="0" normalizeH="0" baseline="0" noProof="0" smtClean="0">
              <a:ln>
                <a:noFill/>
              </a:ln>
              <a:solidFill>
                <a:srgbClr val="000000"/>
              </a:solidFill>
              <a:effectLst/>
              <a:uLnTx/>
              <a:uFillTx/>
              <a:latin typeface="Gill Sans" charset="0"/>
              <a:ea typeface="Heiti SC Light" charset="0"/>
              <a:cs typeface="Heiti SC Light" charset="0"/>
              <a:sym typeface="Gill Sans" charset="0"/>
            </a:endParaRPr>
          </a:p>
        </p:txBody>
      </p:sp>
      <p:sp>
        <p:nvSpPr>
          <p:cNvPr id="27" name="Freeform 26"/>
          <p:cNvSpPr/>
          <p:nvPr>
            <p:custDataLst>
              <p:tags r:id="rId34"/>
            </p:custDataLst>
          </p:nvPr>
        </p:nvSpPr>
        <p:spPr bwMode="auto">
          <a:xfrm>
            <a:off x="21921788" y="5200650"/>
            <a:ext cx="93664" cy="349251"/>
          </a:xfrm>
          <a:custGeom>
            <a:avLst/>
            <a:gdLst/>
            <a:ahLst/>
            <a:cxnLst/>
            <a:rect l="0" t="0" r="0" b="0"/>
            <a:pathLst>
              <a:path w="93664" h="349251">
                <a:moveTo>
                  <a:pt x="93663" y="0"/>
                </a:moveTo>
                <a:lnTo>
                  <a:pt x="0" y="349250"/>
                </a:lnTo>
              </a:path>
            </a:pathLst>
          </a:custGeom>
          <a:blipFill dpi="0" rotWithShape="0">
            <a:blip r:embed="rId60"/>
            <a:srcRect/>
            <a:tile tx="0" ty="0" sx="100000" sy="100000" flip="none" algn="tl"/>
          </a:blip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5600" b="0" i="0" u="none" strike="noStrike" kern="1200" cap="none" spc="0" normalizeH="0" baseline="0" noProof="0" smtClean="0">
              <a:ln>
                <a:noFill/>
              </a:ln>
              <a:solidFill>
                <a:srgbClr val="000000"/>
              </a:solidFill>
              <a:effectLst/>
              <a:uLnTx/>
              <a:uFillTx/>
              <a:latin typeface="Gill Sans" charset="0"/>
              <a:ea typeface="Heiti SC Light" charset="0"/>
              <a:cs typeface="Heiti SC Light" charset="0"/>
              <a:sym typeface="Gill Sans" charset="0"/>
            </a:endParaRPr>
          </a:p>
        </p:txBody>
      </p:sp>
      <p:sp>
        <p:nvSpPr>
          <p:cNvPr id="26" name="Freeform 25"/>
          <p:cNvSpPr/>
          <p:nvPr>
            <p:custDataLst>
              <p:tags r:id="rId35"/>
            </p:custDataLst>
          </p:nvPr>
        </p:nvSpPr>
        <p:spPr bwMode="auto">
          <a:xfrm>
            <a:off x="21864638" y="5200650"/>
            <a:ext cx="93664" cy="349251"/>
          </a:xfrm>
          <a:custGeom>
            <a:avLst/>
            <a:gdLst/>
            <a:ahLst/>
            <a:cxnLst/>
            <a:rect l="0" t="0" r="0" b="0"/>
            <a:pathLst>
              <a:path w="93664" h="349251">
                <a:moveTo>
                  <a:pt x="93663" y="0"/>
                </a:moveTo>
                <a:lnTo>
                  <a:pt x="0" y="349250"/>
                </a:lnTo>
              </a:path>
            </a:pathLst>
          </a:custGeom>
          <a:blipFill dpi="0" rotWithShape="0">
            <a:blip r:embed="rId60"/>
            <a:srcRect/>
            <a:tile tx="0" ty="0" sx="100000" sy="100000" flip="none" algn="tl"/>
          </a:blip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5600" b="0" i="0" u="none" strike="noStrike" kern="1200" cap="none" spc="0" normalizeH="0" baseline="0" noProof="0" smtClean="0">
              <a:ln>
                <a:noFill/>
              </a:ln>
              <a:solidFill>
                <a:srgbClr val="000000"/>
              </a:solidFill>
              <a:effectLst/>
              <a:uLnTx/>
              <a:uFillTx/>
              <a:latin typeface="Gill Sans" charset="0"/>
              <a:ea typeface="Heiti SC Light" charset="0"/>
              <a:cs typeface="Heiti SC Light" charset="0"/>
              <a:sym typeface="Gill Sans" charset="0"/>
            </a:endParaRPr>
          </a:p>
        </p:txBody>
      </p:sp>
      <p:sp>
        <p:nvSpPr>
          <p:cNvPr id="188" name="Rectangle 187"/>
          <p:cNvSpPr/>
          <p:nvPr>
            <p:custDataLst>
              <p:tags r:id="rId36"/>
            </p:custDataLst>
          </p:nvPr>
        </p:nvSpPr>
        <p:spPr bwMode="auto">
          <a:xfrm>
            <a:off x="12393613" y="10139363"/>
            <a:ext cx="1416050" cy="287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fld id="{BDEB6B2D-C8CC-4431-9C3C-4FF9C59862A0}" type="datetime'G''r''''''''i''''d s''''''''''''e''''''''r''''vi''ce''s'''">
              <a:rPr kumimoji="0" lang="de-DE" altLang="en-US" sz="2100" b="1"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Tx/>
                <a:buNone/>
                <a:tabLst/>
                <a:defRPr/>
              </a:pPr>
              <a:t>Grid services</a:t>
            </a:fld>
            <a:endParaRPr kumimoji="0" lang="de-DE" sz="2100" b="1" i="0" u="none" strike="noStrike" kern="1200" cap="none" spc="0" normalizeH="0" baseline="0" noProof="0" smtClean="0">
              <a:ln>
                <a:noFill/>
              </a:ln>
              <a:solidFill>
                <a:srgbClr val="7F7F7F"/>
              </a:solidFill>
              <a:effectLst/>
              <a:uLnTx/>
              <a:uFillTx/>
              <a:latin typeface="Calibri" panose="020F0502020204030204"/>
              <a:ea typeface="+mn-ea"/>
              <a:cs typeface="+mn-cs"/>
              <a:sym typeface="+mn-lt"/>
            </a:endParaRPr>
          </a:p>
        </p:txBody>
      </p:sp>
      <p:sp>
        <p:nvSpPr>
          <p:cNvPr id="187" name="Rectangle 186"/>
          <p:cNvSpPr/>
          <p:nvPr>
            <p:custDataLst>
              <p:tags r:id="rId37"/>
            </p:custDataLst>
          </p:nvPr>
        </p:nvSpPr>
        <p:spPr bwMode="auto">
          <a:xfrm>
            <a:off x="12393613" y="9834563"/>
            <a:ext cx="1712913" cy="287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fld id="{D097A096-D3C6-499B-8C38-142F4F8025BE}" type="datetime'''''H2 ''in''t''o'''''' ''g''as'''''''''' ''gr''''''''''id'''">
              <a:rPr kumimoji="0" lang="de-DE" altLang="en-US" sz="2100" b="1"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Tx/>
                <a:buNone/>
                <a:tabLst/>
                <a:defRPr/>
              </a:pPr>
              <a:t>H2 into gas grid</a:t>
            </a:fld>
            <a:endParaRPr kumimoji="0" lang="de-DE" sz="2100" b="1" i="0" u="none" strike="noStrike" kern="1200" cap="none" spc="0" normalizeH="0" baseline="0" noProof="0" smtClean="0">
              <a:ln>
                <a:noFill/>
              </a:ln>
              <a:solidFill>
                <a:srgbClr val="7F7F7F"/>
              </a:solidFill>
              <a:effectLst/>
              <a:uLnTx/>
              <a:uFillTx/>
              <a:latin typeface="Calibri" panose="020F0502020204030204"/>
              <a:ea typeface="+mn-ea"/>
              <a:cs typeface="+mn-cs"/>
              <a:sym typeface="+mn-lt"/>
            </a:endParaRPr>
          </a:p>
        </p:txBody>
      </p:sp>
      <p:sp>
        <p:nvSpPr>
          <p:cNvPr id="186" name="Rectangle 185"/>
          <p:cNvSpPr/>
          <p:nvPr>
            <p:custDataLst>
              <p:tags r:id="rId38"/>
            </p:custDataLst>
          </p:nvPr>
        </p:nvSpPr>
        <p:spPr bwMode="auto">
          <a:xfrm>
            <a:off x="12393613" y="9525000"/>
            <a:ext cx="844550" cy="287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fld id="{5F7C7B34-5AB1-486F-8585-A87A579D92F0}" type="datetime'''''''''H''''''''''2''''''''''-''t''''o-''''''''''''''X'''''">
              <a:rPr kumimoji="0" lang="de-DE" altLang="en-US" sz="2100" b="1"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Tx/>
                <a:buNone/>
                <a:tabLst/>
                <a:defRPr/>
              </a:pPr>
              <a:t>H2-to-X</a:t>
            </a:fld>
            <a:endParaRPr kumimoji="0" lang="de-DE" sz="2100" b="1" i="0" u="none" strike="noStrike" kern="1200" cap="none" spc="0" normalizeH="0" baseline="0" noProof="0" smtClean="0">
              <a:ln>
                <a:noFill/>
              </a:ln>
              <a:solidFill>
                <a:srgbClr val="7F7F7F"/>
              </a:solidFill>
              <a:effectLst/>
              <a:uLnTx/>
              <a:uFillTx/>
              <a:latin typeface="Calibri" panose="020F0502020204030204"/>
              <a:ea typeface="+mn-ea"/>
              <a:cs typeface="+mn-cs"/>
              <a:sym typeface="+mn-lt"/>
            </a:endParaRPr>
          </a:p>
        </p:txBody>
      </p:sp>
      <p:sp>
        <p:nvSpPr>
          <p:cNvPr id="185" name="Rectangle 184"/>
          <p:cNvSpPr/>
          <p:nvPr>
            <p:custDataLst>
              <p:tags r:id="rId39"/>
            </p:custDataLst>
          </p:nvPr>
        </p:nvSpPr>
        <p:spPr bwMode="auto">
          <a:xfrm>
            <a:off x="12393613" y="9215438"/>
            <a:ext cx="1581150" cy="287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fld id="{6835D073-7960-40DB-888A-9C289654EADF}" type="datetime'''''''H''2'''''''''''''' ''''''p''ro''''''d''''u''ction'''">
              <a:rPr kumimoji="0" lang="de-DE" altLang="en-US" sz="2100" b="1"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Tx/>
                <a:buNone/>
                <a:tabLst/>
                <a:defRPr/>
              </a:pPr>
              <a:t>H2 production</a:t>
            </a:fld>
            <a:endParaRPr kumimoji="0" lang="de-DE" sz="2100" b="1" i="0" u="none" strike="noStrike" kern="1200" cap="none" spc="0" normalizeH="0" baseline="0" noProof="0" smtClean="0">
              <a:ln>
                <a:noFill/>
              </a:ln>
              <a:solidFill>
                <a:srgbClr val="7F7F7F"/>
              </a:solidFill>
              <a:effectLst/>
              <a:uLnTx/>
              <a:uFillTx/>
              <a:latin typeface="Calibri" panose="020F0502020204030204"/>
              <a:ea typeface="+mn-ea"/>
              <a:cs typeface="+mn-cs"/>
              <a:sym typeface="+mn-lt"/>
            </a:endParaRPr>
          </a:p>
        </p:txBody>
      </p:sp>
      <p:sp>
        <p:nvSpPr>
          <p:cNvPr id="184" name="Rectangle 183"/>
          <p:cNvSpPr/>
          <p:nvPr>
            <p:custDataLst>
              <p:tags r:id="rId40"/>
            </p:custDataLst>
          </p:nvPr>
        </p:nvSpPr>
        <p:spPr bwMode="auto">
          <a:xfrm>
            <a:off x="12393613" y="8910638"/>
            <a:ext cx="1631950" cy="287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fld id="{DFA828DB-DDD5-4D8F-9304-CC06808FD27D}" type="datetime'''''''Off''-g''''''''''rid ''''''p''''''''''''o''wer'''''">
              <a:rPr kumimoji="0" lang="de-DE" altLang="en-US" sz="2100" b="1"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Tx/>
                <a:buNone/>
                <a:tabLst/>
                <a:defRPr/>
              </a:pPr>
              <a:t>Off-grid power</a:t>
            </a:fld>
            <a:endParaRPr kumimoji="0" lang="de-DE" sz="2100" b="1" i="0" u="none" strike="noStrike" kern="1200" cap="none" spc="0" normalizeH="0" baseline="0" noProof="0" smtClean="0">
              <a:ln>
                <a:noFill/>
              </a:ln>
              <a:solidFill>
                <a:srgbClr val="7F7F7F"/>
              </a:solidFill>
              <a:effectLst/>
              <a:uLnTx/>
              <a:uFillTx/>
              <a:latin typeface="Calibri" panose="020F0502020204030204"/>
              <a:ea typeface="+mn-ea"/>
              <a:cs typeface="+mn-cs"/>
              <a:sym typeface="+mn-lt"/>
            </a:endParaRPr>
          </a:p>
        </p:txBody>
      </p:sp>
      <p:sp>
        <p:nvSpPr>
          <p:cNvPr id="183" name="Rectangle 182"/>
          <p:cNvSpPr/>
          <p:nvPr>
            <p:custDataLst>
              <p:tags r:id="rId41"/>
            </p:custDataLst>
          </p:nvPr>
        </p:nvSpPr>
        <p:spPr bwMode="auto">
          <a:xfrm>
            <a:off x="12393613" y="8605838"/>
            <a:ext cx="2146300" cy="287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fld id="{41B76753-4027-46D3-B1FD-CFB196D0F8B5}" type="datetime'Ind''''''us''''''t''''ri''''''a''''''''l ''u''s''e c''ases'''">
              <a:rPr kumimoji="0" lang="de-DE" altLang="en-US" sz="2100" b="1"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Tx/>
                <a:buNone/>
                <a:tabLst/>
                <a:defRPr/>
              </a:pPr>
              <a:t>Industrial use cases</a:t>
            </a:fld>
            <a:endParaRPr kumimoji="0" lang="de-DE" sz="2100" b="1" i="0" u="none" strike="noStrike" kern="1200" cap="none" spc="0" normalizeH="0" baseline="0" noProof="0" smtClean="0">
              <a:ln>
                <a:noFill/>
              </a:ln>
              <a:solidFill>
                <a:srgbClr val="7F7F7F"/>
              </a:solidFill>
              <a:effectLst/>
              <a:uLnTx/>
              <a:uFillTx/>
              <a:latin typeface="Calibri" panose="020F0502020204030204"/>
              <a:ea typeface="+mn-ea"/>
              <a:cs typeface="+mn-cs"/>
              <a:sym typeface="+mn-lt"/>
            </a:endParaRPr>
          </a:p>
        </p:txBody>
      </p:sp>
      <p:sp>
        <p:nvSpPr>
          <p:cNvPr id="182" name="Rectangle 181"/>
          <p:cNvSpPr/>
          <p:nvPr>
            <p:custDataLst>
              <p:tags r:id="rId42"/>
            </p:custDataLst>
          </p:nvPr>
        </p:nvSpPr>
        <p:spPr bwMode="auto">
          <a:xfrm>
            <a:off x="12393613" y="8301038"/>
            <a:ext cx="2379663" cy="287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fld id="{CB9900F6-928C-4017-BF81-11C056DB5E49}" type="datetime'C''om''m''''''''''e''r''''''cia''l'' ''''''''bu''ild''ings'''">
              <a:rPr kumimoji="0" lang="de-DE" altLang="en-US" sz="2100" b="1"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Tx/>
                <a:buNone/>
                <a:tabLst/>
                <a:defRPr/>
              </a:pPr>
              <a:t>Commercial buildings</a:t>
            </a:fld>
            <a:endParaRPr kumimoji="0" lang="de-DE" sz="2100" b="1" i="0" u="none" strike="noStrike" kern="1200" cap="none" spc="0" normalizeH="0" baseline="0" noProof="0" smtClean="0">
              <a:ln>
                <a:noFill/>
              </a:ln>
              <a:solidFill>
                <a:srgbClr val="7F7F7F"/>
              </a:solidFill>
              <a:effectLst/>
              <a:uLnTx/>
              <a:uFillTx/>
              <a:latin typeface="Calibri" panose="020F0502020204030204"/>
              <a:ea typeface="+mn-ea"/>
              <a:cs typeface="+mn-cs"/>
              <a:sym typeface="+mn-lt"/>
            </a:endParaRPr>
          </a:p>
        </p:txBody>
      </p:sp>
      <p:sp>
        <p:nvSpPr>
          <p:cNvPr id="181" name="Rectangle 180"/>
          <p:cNvSpPr/>
          <p:nvPr>
            <p:custDataLst>
              <p:tags r:id="rId43"/>
            </p:custDataLst>
          </p:nvPr>
        </p:nvSpPr>
        <p:spPr bwMode="auto">
          <a:xfrm>
            <a:off x="12393613" y="7991475"/>
            <a:ext cx="2990850" cy="287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fld id="{25F60E25-35C7-467D-8EE8-36C44359195C}" type="datetime'''Port'''' ''''o''perati''''''ons'' equi''''''pme''''''n''t'">
              <a:rPr kumimoji="0" lang="de-DE" altLang="en-US" sz="2100" b="1"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Tx/>
                <a:buNone/>
                <a:tabLst/>
                <a:defRPr/>
              </a:pPr>
              <a:t>Port operations equipment</a:t>
            </a:fld>
            <a:endParaRPr kumimoji="0" lang="de-DE" sz="2100" b="1" i="0" u="none" strike="noStrike" kern="1200" cap="none" spc="0" normalizeH="0" baseline="0" noProof="0" smtClean="0">
              <a:ln>
                <a:noFill/>
              </a:ln>
              <a:solidFill>
                <a:srgbClr val="7F7F7F"/>
              </a:solidFill>
              <a:effectLst/>
              <a:uLnTx/>
              <a:uFillTx/>
              <a:latin typeface="Calibri" panose="020F0502020204030204"/>
              <a:ea typeface="+mn-ea"/>
              <a:cs typeface="+mn-cs"/>
              <a:sym typeface="+mn-lt"/>
            </a:endParaRPr>
          </a:p>
        </p:txBody>
      </p:sp>
      <p:sp>
        <p:nvSpPr>
          <p:cNvPr id="180" name="Rectangle 179"/>
          <p:cNvSpPr/>
          <p:nvPr>
            <p:custDataLst>
              <p:tags r:id="rId44"/>
            </p:custDataLst>
          </p:nvPr>
        </p:nvSpPr>
        <p:spPr bwMode="auto">
          <a:xfrm>
            <a:off x="12393613" y="7681913"/>
            <a:ext cx="581025" cy="287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fld id="{C2378588-D35C-43E3-8E31-B91A99578BDC}" type="datetime'''''S''''''''''''hi''''''''''''''''''''''''ps'''''">
              <a:rPr kumimoji="0" lang="de-DE" altLang="en-US" sz="2100" b="1"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Tx/>
                <a:buNone/>
                <a:tabLst/>
                <a:defRPr/>
              </a:pPr>
              <a:t>Ships</a:t>
            </a:fld>
            <a:endParaRPr kumimoji="0" lang="de-DE" sz="2100" b="1" i="0" u="none" strike="noStrike" kern="1200" cap="none" spc="0" normalizeH="0" baseline="0" noProof="0" smtClean="0">
              <a:ln>
                <a:noFill/>
              </a:ln>
              <a:solidFill>
                <a:srgbClr val="7F7F7F"/>
              </a:solidFill>
              <a:effectLst/>
              <a:uLnTx/>
              <a:uFillTx/>
              <a:latin typeface="Calibri" panose="020F0502020204030204"/>
              <a:ea typeface="+mn-ea"/>
              <a:cs typeface="+mn-cs"/>
              <a:sym typeface="+mn-lt"/>
            </a:endParaRPr>
          </a:p>
        </p:txBody>
      </p:sp>
      <p:sp>
        <p:nvSpPr>
          <p:cNvPr id="179" name="Rectangle 178"/>
          <p:cNvSpPr/>
          <p:nvPr>
            <p:custDataLst>
              <p:tags r:id="rId45"/>
            </p:custDataLst>
          </p:nvPr>
        </p:nvSpPr>
        <p:spPr bwMode="auto">
          <a:xfrm>
            <a:off x="12393613" y="7377113"/>
            <a:ext cx="619125" cy="287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fld id="{1B56E713-564A-4C0A-8EBA-AD36A931BB08}" type="datetime'''''B''o''''''''''''''a''''''''''''''''''''t''''''''''''''s'">
              <a:rPr kumimoji="0" lang="de-DE" altLang="en-US" sz="2100" b="1"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Tx/>
                <a:buNone/>
                <a:tabLst/>
                <a:defRPr/>
              </a:pPr>
              <a:t>Boats</a:t>
            </a:fld>
            <a:endParaRPr kumimoji="0" lang="de-DE" sz="2100" b="1" i="0" u="none" strike="noStrike" kern="1200" cap="none" spc="0" normalizeH="0" baseline="0" noProof="0" smtClean="0">
              <a:ln>
                <a:noFill/>
              </a:ln>
              <a:solidFill>
                <a:srgbClr val="7F7F7F"/>
              </a:solidFill>
              <a:effectLst/>
              <a:uLnTx/>
              <a:uFillTx/>
              <a:latin typeface="Calibri" panose="020F0502020204030204"/>
              <a:ea typeface="+mn-ea"/>
              <a:cs typeface="+mn-cs"/>
              <a:sym typeface="+mn-lt"/>
            </a:endParaRPr>
          </a:p>
        </p:txBody>
      </p:sp>
      <p:sp>
        <p:nvSpPr>
          <p:cNvPr id="178" name="Rectangle 177"/>
          <p:cNvSpPr/>
          <p:nvPr>
            <p:custDataLst>
              <p:tags r:id="rId46"/>
            </p:custDataLst>
          </p:nvPr>
        </p:nvSpPr>
        <p:spPr bwMode="auto">
          <a:xfrm>
            <a:off x="12393613" y="7072313"/>
            <a:ext cx="750888" cy="287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fld id="{C25781F8-081B-49DC-86C1-52B65B673E58}" type="datetime'Fe''''''r''ri''''e''''''''''''''''''''''''s'''''''''''''''''''">
              <a:rPr kumimoji="0" lang="de-DE" altLang="en-US" sz="2100" b="1"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Tx/>
                <a:buNone/>
                <a:tabLst/>
                <a:defRPr/>
              </a:pPr>
              <a:t>Ferries</a:t>
            </a:fld>
            <a:endParaRPr kumimoji="0" lang="de-DE" sz="2100" b="1" i="0" u="none" strike="noStrike" kern="1200" cap="none" spc="0" normalizeH="0" baseline="0" noProof="0" smtClean="0">
              <a:ln>
                <a:noFill/>
              </a:ln>
              <a:solidFill>
                <a:srgbClr val="7F7F7F"/>
              </a:solidFill>
              <a:effectLst/>
              <a:uLnTx/>
              <a:uFillTx/>
              <a:latin typeface="Calibri" panose="020F0502020204030204"/>
              <a:ea typeface="+mn-ea"/>
              <a:cs typeface="+mn-cs"/>
              <a:sym typeface="+mn-lt"/>
            </a:endParaRPr>
          </a:p>
        </p:txBody>
      </p:sp>
      <p:sp>
        <p:nvSpPr>
          <p:cNvPr id="177" name="Rectangle 176"/>
          <p:cNvSpPr/>
          <p:nvPr>
            <p:custDataLst>
              <p:tags r:id="rId47"/>
            </p:custDataLst>
          </p:nvPr>
        </p:nvSpPr>
        <p:spPr bwMode="auto">
          <a:xfrm>
            <a:off x="12393613" y="6762750"/>
            <a:ext cx="942975" cy="287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fld id="{8C049096-E2BE-4F36-908F-48EEEE101E2D}" type="datetime'''''''''''''''S''''c''''''''o''''''o''''''''''''ters'''''">
              <a:rPr kumimoji="0" lang="de-DE" altLang="en-US" sz="2100" b="1"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Tx/>
                <a:buNone/>
                <a:tabLst/>
                <a:defRPr/>
              </a:pPr>
              <a:t>Scooters</a:t>
            </a:fld>
            <a:endParaRPr kumimoji="0" lang="de-DE" sz="2100" b="1" i="0" u="none" strike="noStrike" kern="1200" cap="none" spc="0" normalizeH="0" baseline="0" noProof="0" smtClean="0">
              <a:ln>
                <a:noFill/>
              </a:ln>
              <a:solidFill>
                <a:srgbClr val="7F7F7F"/>
              </a:solidFill>
              <a:effectLst/>
              <a:uLnTx/>
              <a:uFillTx/>
              <a:latin typeface="Calibri" panose="020F0502020204030204"/>
              <a:ea typeface="+mn-ea"/>
              <a:cs typeface="+mn-cs"/>
              <a:sym typeface="+mn-lt"/>
            </a:endParaRPr>
          </a:p>
        </p:txBody>
      </p:sp>
      <p:sp>
        <p:nvSpPr>
          <p:cNvPr id="176" name="Rectangle 175"/>
          <p:cNvSpPr/>
          <p:nvPr>
            <p:custDataLst>
              <p:tags r:id="rId48"/>
            </p:custDataLst>
          </p:nvPr>
        </p:nvSpPr>
        <p:spPr bwMode="auto">
          <a:xfrm>
            <a:off x="12393613" y="6453188"/>
            <a:ext cx="576263" cy="287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fld id="{1852FDD9-DBF6-4EFB-965C-8F56EF9B1550}" type="datetime'''''''''''''''B''''i''''''''k''''''''''''''''e''''''s'''''''">
              <a:rPr kumimoji="0" lang="de-DE" altLang="en-US" sz="2100" b="1"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Tx/>
                <a:buNone/>
                <a:tabLst/>
                <a:defRPr/>
              </a:pPr>
              <a:t>Bikes</a:t>
            </a:fld>
            <a:endParaRPr kumimoji="0" lang="de-DE" sz="2100" b="1" i="0" u="none" strike="noStrike" kern="1200" cap="none" spc="0" normalizeH="0" baseline="0" noProof="0" smtClean="0">
              <a:ln>
                <a:noFill/>
              </a:ln>
              <a:solidFill>
                <a:srgbClr val="7F7F7F"/>
              </a:solidFill>
              <a:effectLst/>
              <a:uLnTx/>
              <a:uFillTx/>
              <a:latin typeface="Calibri" panose="020F0502020204030204"/>
              <a:ea typeface="+mn-ea"/>
              <a:cs typeface="+mn-cs"/>
              <a:sym typeface="+mn-lt"/>
            </a:endParaRPr>
          </a:p>
        </p:txBody>
      </p:sp>
      <p:sp>
        <p:nvSpPr>
          <p:cNvPr id="175" name="Rectangle 174"/>
          <p:cNvSpPr/>
          <p:nvPr>
            <p:custDataLst>
              <p:tags r:id="rId49"/>
            </p:custDataLst>
          </p:nvPr>
        </p:nvSpPr>
        <p:spPr bwMode="auto">
          <a:xfrm>
            <a:off x="12393613" y="6148388"/>
            <a:ext cx="1065213" cy="287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fld id="{11EAD522-3C67-42C7-A8CC-A4646962CE5D}" type="datetime'''''S''''''''''''''w''''''''''ee''p''''''''er''''''s'">
              <a:rPr kumimoji="0" lang="de-DE" altLang="en-US" sz="2100" b="1"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Tx/>
                <a:buNone/>
                <a:tabLst/>
                <a:defRPr/>
              </a:pPr>
              <a:t>Sweepers</a:t>
            </a:fld>
            <a:endParaRPr kumimoji="0" lang="de-DE" sz="2100" b="1" i="0" u="none" strike="noStrike" kern="1200" cap="none" spc="0" normalizeH="0" baseline="0" noProof="0" smtClean="0">
              <a:ln>
                <a:noFill/>
              </a:ln>
              <a:solidFill>
                <a:srgbClr val="7F7F7F"/>
              </a:solidFill>
              <a:effectLst/>
              <a:uLnTx/>
              <a:uFillTx/>
              <a:latin typeface="Calibri" panose="020F0502020204030204"/>
              <a:ea typeface="+mn-ea"/>
              <a:cs typeface="+mn-cs"/>
              <a:sym typeface="+mn-lt"/>
            </a:endParaRPr>
          </a:p>
        </p:txBody>
      </p:sp>
      <p:sp>
        <p:nvSpPr>
          <p:cNvPr id="174" name="Rectangle 173"/>
          <p:cNvSpPr/>
          <p:nvPr>
            <p:custDataLst>
              <p:tags r:id="rId50"/>
            </p:custDataLst>
          </p:nvPr>
        </p:nvSpPr>
        <p:spPr bwMode="auto">
          <a:xfrm>
            <a:off x="12393613" y="5843588"/>
            <a:ext cx="1665288" cy="287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fld id="{11A4D5E0-67B8-4881-9ECD-F0DBE4B1AD0E}" type="datetime'''G''ar''''bag''e t''''''r''''''''uc''k''''s'''''">
              <a:rPr kumimoji="0" lang="de-DE" altLang="en-US" sz="2100" b="1"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Tx/>
                <a:buNone/>
                <a:tabLst/>
                <a:defRPr/>
              </a:pPr>
              <a:t>Garbage trucks</a:t>
            </a:fld>
            <a:endParaRPr kumimoji="0" lang="de-DE" sz="2100" b="1" i="0" u="none" strike="noStrike" kern="1200" cap="none" spc="0" normalizeH="0" baseline="0" noProof="0" smtClean="0">
              <a:ln>
                <a:noFill/>
              </a:ln>
              <a:solidFill>
                <a:srgbClr val="7F7F7F"/>
              </a:solidFill>
              <a:effectLst/>
              <a:uLnTx/>
              <a:uFillTx/>
              <a:latin typeface="Calibri" panose="020F0502020204030204"/>
              <a:ea typeface="+mn-ea"/>
              <a:cs typeface="+mn-cs"/>
              <a:sym typeface="+mn-lt"/>
            </a:endParaRPr>
          </a:p>
        </p:txBody>
      </p:sp>
      <p:sp>
        <p:nvSpPr>
          <p:cNvPr id="173" name="Rectangle 172"/>
          <p:cNvSpPr/>
          <p:nvPr>
            <p:custDataLst>
              <p:tags r:id="rId51"/>
            </p:custDataLst>
          </p:nvPr>
        </p:nvSpPr>
        <p:spPr bwMode="auto">
          <a:xfrm>
            <a:off x="12393613" y="5538788"/>
            <a:ext cx="1477963" cy="287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fld id="{396AFB54-ACA2-4241-81CF-483AD304FA44}" type="datetime'''''D''''''''''''''''''eli''ve''''ry'''''' ''v''a''''n''''s'''">
              <a:rPr kumimoji="0" lang="de-DE" altLang="en-US" sz="2100" b="1"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Tx/>
                <a:buNone/>
                <a:tabLst/>
                <a:defRPr/>
              </a:pPr>
              <a:t>Delivery vans</a:t>
            </a:fld>
            <a:endParaRPr kumimoji="0" lang="de-DE" sz="2100" b="1" i="0" u="none" strike="noStrike" kern="1200" cap="none" spc="0" normalizeH="0" baseline="0" noProof="0" smtClean="0">
              <a:ln>
                <a:noFill/>
              </a:ln>
              <a:solidFill>
                <a:srgbClr val="7F7F7F"/>
              </a:solidFill>
              <a:effectLst/>
              <a:uLnTx/>
              <a:uFillTx/>
              <a:latin typeface="Calibri" panose="020F0502020204030204"/>
              <a:ea typeface="+mn-ea"/>
              <a:cs typeface="+mn-cs"/>
              <a:sym typeface="+mn-lt"/>
            </a:endParaRPr>
          </a:p>
        </p:txBody>
      </p:sp>
      <p:sp>
        <p:nvSpPr>
          <p:cNvPr id="190" name="Rectangle 189"/>
          <p:cNvSpPr/>
          <p:nvPr>
            <p:custDataLst>
              <p:tags r:id="rId52"/>
            </p:custDataLst>
          </p:nvPr>
        </p:nvSpPr>
        <p:spPr bwMode="gray">
          <a:xfrm>
            <a:off x="21856700" y="5538788"/>
            <a:ext cx="608013" cy="287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fld id="{6BA4FA91-1459-45B1-BDDE-E13E82C953C2}" type="datetime'''''1,''''''''''''''''''2''1''''''''''7'''''''''''''''''">
              <a:rPr kumimoji="0" lang="de-DE" altLang="en-US" sz="2100" b="1"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Tx/>
                <a:buNone/>
                <a:tabLst/>
                <a:defRPr/>
              </a:pPr>
              <a:t>1,217</a:t>
            </a:fld>
            <a:endParaRPr kumimoji="0" lang="de-DE" sz="2100" b="1" i="0" u="none" strike="noStrike" kern="1200" cap="none" spc="0" normalizeH="0" baseline="0" noProof="0" smtClean="0">
              <a:ln>
                <a:noFill/>
              </a:ln>
              <a:solidFill>
                <a:srgbClr val="7F7F7F"/>
              </a:solidFill>
              <a:effectLst/>
              <a:uLnTx/>
              <a:uFillTx/>
              <a:latin typeface="Calibri" panose="020F0502020204030204"/>
              <a:ea typeface="+mn-ea"/>
              <a:cs typeface="+mn-cs"/>
              <a:sym typeface="+mn-lt"/>
            </a:endParaRPr>
          </a:p>
        </p:txBody>
      </p:sp>
      <p:sp>
        <p:nvSpPr>
          <p:cNvPr id="172" name="Rectangle 171"/>
          <p:cNvSpPr/>
          <p:nvPr>
            <p:custDataLst>
              <p:tags r:id="rId53"/>
            </p:custDataLst>
          </p:nvPr>
        </p:nvSpPr>
        <p:spPr bwMode="auto">
          <a:xfrm>
            <a:off x="12393613" y="5229225"/>
            <a:ext cx="471488" cy="287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fld id="{E1FF90B7-23E6-411B-8CA3-1797C8D34C68}" type="datetime'''''''''''C''''a''''''''''r''''''''''''''''''s'''">
              <a:rPr kumimoji="0" lang="de-DE" altLang="en-US" sz="2100" b="1"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Tx/>
                <a:buNone/>
                <a:tabLst/>
                <a:defRPr/>
              </a:pPr>
              <a:t>Cars</a:t>
            </a:fld>
            <a:endParaRPr kumimoji="0" lang="de-DE" sz="2100" b="1" i="0" u="none" strike="noStrike" kern="1200" cap="none" spc="0" normalizeH="0" baseline="0" noProof="0" smtClean="0">
              <a:ln>
                <a:noFill/>
              </a:ln>
              <a:solidFill>
                <a:srgbClr val="7F7F7F"/>
              </a:solidFill>
              <a:effectLst/>
              <a:uLnTx/>
              <a:uFillTx/>
              <a:latin typeface="Calibri" panose="020F0502020204030204"/>
              <a:ea typeface="+mn-ea"/>
              <a:cs typeface="+mn-cs"/>
              <a:sym typeface="+mn-lt"/>
            </a:endParaRPr>
          </a:p>
        </p:txBody>
      </p:sp>
      <p:sp>
        <p:nvSpPr>
          <p:cNvPr id="189" name="Rectangle 188"/>
          <p:cNvSpPr/>
          <p:nvPr>
            <p:custDataLst>
              <p:tags r:id="rId54"/>
            </p:custDataLst>
          </p:nvPr>
        </p:nvSpPr>
        <p:spPr bwMode="gray">
          <a:xfrm>
            <a:off x="22056725" y="5229225"/>
            <a:ext cx="608013" cy="287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fld id="{C8737C33-8095-4411-A3F0-53EC3A645938}" type="datetime'''3'''''',''''''''''''''''''''''''''''6''0''''''0'">
              <a:rPr kumimoji="0" lang="de-DE" altLang="en-US" sz="2100" b="1"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Tx/>
                <a:buNone/>
                <a:tabLst/>
                <a:defRPr/>
              </a:pPr>
              <a:t>3,600</a:t>
            </a:fld>
            <a:endParaRPr kumimoji="0" lang="de-DE" sz="2100" b="1" i="0" u="none" strike="noStrike" kern="1200" cap="none" spc="0" normalizeH="0" baseline="0" noProof="0" smtClean="0">
              <a:ln>
                <a:noFill/>
              </a:ln>
              <a:solidFill>
                <a:srgbClr val="7F7F7F"/>
              </a:solidFill>
              <a:effectLst/>
              <a:uLnTx/>
              <a:uFillTx/>
              <a:latin typeface="Calibri" panose="020F0502020204030204"/>
              <a:ea typeface="+mn-ea"/>
              <a:cs typeface="+mn-cs"/>
              <a:sym typeface="+mn-lt"/>
            </a:endParaRPr>
          </a:p>
        </p:txBody>
      </p:sp>
      <p:sp>
        <p:nvSpPr>
          <p:cNvPr id="171" name="Rectangle 170"/>
          <p:cNvSpPr/>
          <p:nvPr>
            <p:custDataLst>
              <p:tags r:id="rId55"/>
            </p:custDataLst>
          </p:nvPr>
        </p:nvSpPr>
        <p:spPr bwMode="auto">
          <a:xfrm>
            <a:off x="12393613" y="4919663"/>
            <a:ext cx="639763" cy="287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fld id="{64B0E6F1-0F1D-4563-B6B6-832AC70738B1}" type="datetime'''B''''''''''u''''''s''''''''''es'''''''''''''''''''''''">
              <a:rPr kumimoji="0" lang="de-DE" altLang="en-US" sz="2100" b="1"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Tx/>
                <a:buNone/>
                <a:tabLst/>
                <a:defRPr/>
              </a:pPr>
              <a:t>Buses</a:t>
            </a:fld>
            <a:endParaRPr kumimoji="0" lang="de-DE" sz="2100" b="1" i="0" u="none" strike="noStrike" kern="1200" cap="none" spc="0" normalizeH="0" baseline="0" noProof="0" smtClean="0">
              <a:ln>
                <a:noFill/>
              </a:ln>
              <a:solidFill>
                <a:srgbClr val="7F7F7F"/>
              </a:solidFill>
              <a:effectLst/>
              <a:uLnTx/>
              <a:uFillTx/>
              <a:latin typeface="Calibri" panose="020F0502020204030204"/>
              <a:ea typeface="+mn-ea"/>
              <a:cs typeface="+mn-cs"/>
              <a:sym typeface="+mn-lt"/>
            </a:endParaRPr>
          </a:p>
        </p:txBody>
      </p:sp>
      <p:sp>
        <p:nvSpPr>
          <p:cNvPr id="170" name="Rectangle 169"/>
          <p:cNvSpPr/>
          <p:nvPr>
            <p:custDataLst>
              <p:tags r:id="rId56"/>
            </p:custDataLst>
          </p:nvPr>
        </p:nvSpPr>
        <p:spPr bwMode="auto">
          <a:xfrm>
            <a:off x="12393613" y="4614863"/>
            <a:ext cx="654050" cy="287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fld id="{F6C1F2BB-6BC5-4B31-AFD7-21C7D4462A56}" type="datetime'''''Tr''''''''a''''''in''''s'''''">
              <a:rPr kumimoji="0" lang="de-DE" altLang="en-US" sz="2100" b="1" i="0" u="none" strike="noStrike" kern="1200" cap="none" spc="0" normalizeH="0" baseline="0" noProof="0">
                <a:ln>
                  <a:noFill/>
                </a:ln>
                <a:solidFill>
                  <a:srgbClr val="7F7F7F"/>
                </a:solidFill>
                <a:effectLst/>
                <a:uLnTx/>
                <a:uFillTx/>
                <a:latin typeface="Calibri" panose="020F0502020204030204"/>
                <a:ea typeface="+mn-ea"/>
                <a:cs typeface="+mn-cs"/>
                <a:sym typeface="+mn-lt"/>
              </a:rPr>
              <a:pPr marL="0" marR="0" lvl="0" indent="0" algn="l" defTabSz="914400" rtl="0" eaLnBrk="1" fontAlgn="base" latinLnBrk="0" hangingPunct="1">
                <a:lnSpc>
                  <a:spcPct val="90000"/>
                </a:lnSpc>
                <a:spcBef>
                  <a:spcPct val="0"/>
                </a:spcBef>
                <a:spcAft>
                  <a:spcPct val="0"/>
                </a:spcAft>
                <a:buClrTx/>
                <a:buSzTx/>
                <a:buFontTx/>
                <a:buNone/>
                <a:tabLst/>
                <a:defRPr/>
              </a:pPr>
              <a:t>Trains</a:t>
            </a:fld>
            <a:endParaRPr kumimoji="0" lang="de-DE" sz="2100" b="1" i="0" u="none" strike="noStrike" kern="1200" cap="none" spc="0" normalizeH="0" baseline="0" noProof="0" dirty="0" smtClean="0">
              <a:ln>
                <a:noFill/>
              </a:ln>
              <a:solidFill>
                <a:srgbClr val="7F7F7F"/>
              </a:solidFill>
              <a:effectLst/>
              <a:uLnTx/>
              <a:uFillTx/>
              <a:latin typeface="Calibri" panose="020F0502020204030204"/>
              <a:ea typeface="+mn-ea"/>
              <a:cs typeface="+mn-cs"/>
              <a:sym typeface="+mn-lt"/>
            </a:endParaRPr>
          </a:p>
        </p:txBody>
      </p:sp>
      <p:sp>
        <p:nvSpPr>
          <p:cNvPr id="203" name="RBContent64"/>
          <p:cNvSpPr txBox="1">
            <a:spLocks/>
          </p:cNvSpPr>
          <p:nvPr/>
        </p:nvSpPr>
        <p:spPr>
          <a:xfrm>
            <a:off x="12343187" y="10890448"/>
            <a:ext cx="10945216" cy="830997"/>
          </a:xfrm>
          <a:prstGeom prst="rect">
            <a:avLst/>
          </a:prstGeom>
          <a:noFill/>
          <a:ln w="9525">
            <a:noFill/>
          </a:ln>
        </p:spPr>
        <p:txBody>
          <a:bodyPr vert="horz" wrap="square" lIns="0" tIns="0" rIns="0" bIns="0" rtlCol="0">
            <a:spAutoFit/>
          </a:bodyPr>
          <a:lstStyle/>
          <a:p>
            <a:pPr marL="0" marR="0" lvl="1" indent="0" algn="l" defTabSz="914400" rtl="0" eaLnBrk="1" fontAlgn="base" latinLnBrk="0" hangingPunct="1">
              <a:lnSpc>
                <a:spcPct val="90000"/>
              </a:lnSpc>
              <a:spcBef>
                <a:spcPts val="700"/>
              </a:spcBef>
              <a:spcAft>
                <a:spcPct val="0"/>
              </a:spcAft>
              <a:buClrTx/>
              <a:buSzPct val="171000"/>
              <a:buFontTx/>
              <a:buNone/>
              <a:tabLst/>
              <a:defRPr/>
            </a:pPr>
            <a:r>
              <a:rPr kumimoji="0" lang="en-GB" sz="3000" b="1" i="0" u="none" strike="noStrike" kern="1200" cap="none" spc="0" normalizeH="0" baseline="0" noProof="0" dirty="0" smtClean="0">
                <a:ln>
                  <a:noFill/>
                </a:ln>
                <a:solidFill>
                  <a:srgbClr val="7F7F7F"/>
                </a:solidFill>
                <a:effectLst/>
                <a:uLnTx/>
                <a:uFillTx/>
                <a:latin typeface="Calibri" charset="0"/>
                <a:ea typeface="Calibri" charset="0"/>
                <a:cs typeface="Calibri" charset="0"/>
                <a:sym typeface="+mn-lt"/>
              </a:rPr>
              <a:t>Regions </a:t>
            </a:r>
            <a:r>
              <a:rPr kumimoji="0" lang="en-GB" sz="3000" b="1" i="0" u="none" strike="noStrike" kern="1200" cap="none" spc="0" normalizeH="0" baseline="0" noProof="0" dirty="0">
                <a:ln>
                  <a:noFill/>
                </a:ln>
                <a:solidFill>
                  <a:srgbClr val="7F7F7F"/>
                </a:solidFill>
                <a:effectLst/>
                <a:uLnTx/>
                <a:uFillTx/>
                <a:latin typeface="Calibri" charset="0"/>
                <a:ea typeface="Calibri" charset="0"/>
                <a:cs typeface="Calibri" charset="0"/>
                <a:sym typeface="+mn-lt"/>
              </a:rPr>
              <a:t>&amp; Cities </a:t>
            </a:r>
            <a:r>
              <a:rPr kumimoji="0" lang="en-GB" sz="3000" b="1" i="0" u="none" strike="noStrike" kern="1200" cap="none" spc="0" normalizeH="0" baseline="0" noProof="0" dirty="0" smtClean="0">
                <a:ln>
                  <a:noFill/>
                </a:ln>
                <a:solidFill>
                  <a:srgbClr val="7F7F7F"/>
                </a:solidFill>
                <a:effectLst/>
                <a:uLnTx/>
                <a:uFillTx/>
                <a:latin typeface="Calibri" charset="0"/>
                <a:ea typeface="Calibri" charset="0"/>
                <a:cs typeface="Calibri" charset="0"/>
                <a:sym typeface="+mn-lt"/>
              </a:rPr>
              <a:t>were also asked to indicate potential deployment volumes for each top 3  application selected in the </a:t>
            </a:r>
            <a:r>
              <a:rPr kumimoji="0" lang="en-GB" sz="3000" b="1" i="0" u="none" strike="noStrike" kern="1200" cap="none" spc="0" normalizeH="0" baseline="0" noProof="0" dirty="0">
                <a:ln>
                  <a:noFill/>
                </a:ln>
                <a:solidFill>
                  <a:srgbClr val="7F7F7F"/>
                </a:solidFill>
                <a:effectLst/>
                <a:uLnTx/>
                <a:uFillTx/>
                <a:latin typeface="Calibri" charset="0"/>
                <a:ea typeface="Calibri" charset="0"/>
                <a:cs typeface="Calibri" charset="0"/>
                <a:sym typeface="+mn-lt"/>
              </a:rPr>
              <a:t>next 3 to 5 years</a:t>
            </a:r>
          </a:p>
        </p:txBody>
      </p:sp>
      <p:cxnSp>
        <p:nvCxnSpPr>
          <p:cNvPr id="204" name="HorizontalLine6"/>
          <p:cNvCxnSpPr>
            <a:cxnSpLocks/>
          </p:cNvCxnSpPr>
          <p:nvPr/>
        </p:nvCxnSpPr>
        <p:spPr>
          <a:xfrm>
            <a:off x="12343187" y="4265712"/>
            <a:ext cx="10945216" cy="0"/>
          </a:xfrm>
          <a:prstGeom prst="line">
            <a:avLst/>
          </a:prstGeom>
          <a:ln w="47625" cmpd="sng">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205" name="TextBox 204"/>
          <p:cNvSpPr txBox="1">
            <a:spLocks/>
          </p:cNvSpPr>
          <p:nvPr/>
        </p:nvSpPr>
        <p:spPr>
          <a:xfrm>
            <a:off x="12343187" y="3617640"/>
            <a:ext cx="10013895" cy="515206"/>
          </a:xfrm>
          <a:prstGeom prst="rect">
            <a:avLst/>
          </a:prstGeom>
        </p:spPr>
        <p:txBody>
          <a:bodyPr wrap="none" lIns="0" tIns="0" rIns="0" bIns="0" rtlCol="0">
            <a:spAutoFit/>
          </a:bodyPr>
          <a:lstStyle>
            <a:defPPr>
              <a:defRPr lang="de-DE"/>
            </a:defPPr>
            <a:lvl1pPr>
              <a:lnSpc>
                <a:spcPct val="93000"/>
              </a:lnSpc>
              <a:spcBef>
                <a:spcPts val="0"/>
              </a:spcBef>
              <a:defRPr sz="1600" b="0"/>
            </a:lvl1pPr>
          </a:lstStyle>
          <a:p>
            <a:pPr marL="0" marR="0" lvl="0" indent="0" algn="l" defTabSz="914400" rtl="0" eaLnBrk="1" fontAlgn="base" latinLnBrk="0" hangingPunct="1">
              <a:lnSpc>
                <a:spcPct val="93000"/>
              </a:lnSpc>
              <a:spcBef>
                <a:spcPts val="0"/>
              </a:spcBef>
              <a:spcAft>
                <a:spcPct val="0"/>
              </a:spcAft>
              <a:buClrTx/>
              <a:buSzTx/>
              <a:buFontTx/>
              <a:buNone/>
              <a:tabLst/>
              <a:defRPr/>
            </a:pPr>
            <a:r>
              <a:rPr kumimoji="0" lang="en-GB" sz="3600" b="1" i="0" u="none" strike="noStrike" kern="1200" cap="none" spc="0" normalizeH="0" baseline="0" noProof="0" dirty="0" smtClean="0">
                <a:ln>
                  <a:noFill/>
                </a:ln>
                <a:solidFill>
                  <a:srgbClr val="3DA7AB"/>
                </a:solidFill>
                <a:effectLst/>
                <a:uLnTx/>
                <a:uFillTx/>
                <a:latin typeface="Calibri" panose="020F0502020204030204"/>
                <a:sym typeface="Gill Sans" charset="0"/>
              </a:rPr>
              <a:t>Preliminary indicative deployment volumes [# units]</a:t>
            </a:r>
            <a:endParaRPr kumimoji="0" lang="en-GB" sz="3600" b="1" i="0" u="none" strike="noStrike" kern="1200" cap="none" spc="0" normalizeH="0" baseline="30000" noProof="0" dirty="0">
              <a:ln>
                <a:noFill/>
              </a:ln>
              <a:solidFill>
                <a:srgbClr val="3DA7AB"/>
              </a:solidFill>
              <a:effectLst/>
              <a:uLnTx/>
              <a:uFillTx/>
              <a:latin typeface="Calibri" panose="020F0502020204030204"/>
              <a:sym typeface="Gill Sans" charset="0"/>
            </a:endParaRPr>
          </a:p>
        </p:txBody>
      </p:sp>
      <p:sp>
        <p:nvSpPr>
          <p:cNvPr id="90" name="rbStamp_Illustrative"/>
          <p:cNvSpPr txBox="1"/>
          <p:nvPr/>
        </p:nvSpPr>
        <p:spPr>
          <a:xfrm rot="629458">
            <a:off x="18880583" y="7530461"/>
            <a:ext cx="4144896" cy="1475001"/>
          </a:xfrm>
          <a:prstGeom prst="rect">
            <a:avLst/>
          </a:prstGeom>
          <a:noFill/>
          <a:ln w="15875" cmpd="sng">
            <a:solidFill>
              <a:schemeClr val="accent6"/>
            </a:solidFill>
          </a:ln>
        </p:spPr>
        <p:txBody>
          <a:bodyPr vert="horz" wrap="square" lIns="72000" tIns="72000" rIns="72000" bIns="72000" rtlCol="0" anchor="ctr">
            <a:spAutoFit/>
          </a:bodyPr>
          <a:lstStyle/>
          <a:p>
            <a:pPr marL="0" marR="0" lvl="0" indent="0" algn="ctr" defTabSz="914400" rtl="0" eaLnBrk="1" fontAlgn="base" latinLnBrk="0" hangingPunct="1">
              <a:lnSpc>
                <a:spcPct val="90000"/>
              </a:lnSpc>
              <a:spcBef>
                <a:spcPts val="400"/>
              </a:spcBef>
              <a:spcAft>
                <a:spcPct val="0"/>
              </a:spcAft>
              <a:buClrTx/>
              <a:buSzPct val="100000"/>
              <a:buFontTx/>
              <a:buNone/>
              <a:tabLst/>
              <a:defRPr/>
            </a:pPr>
            <a:r>
              <a:rPr kumimoji="0" lang="en-GB" sz="2400" b="0" i="0" u="none" strike="noStrike" kern="1200" cap="none" spc="0" normalizeH="0" baseline="0" noProof="0" dirty="0" smtClean="0">
                <a:ln>
                  <a:noFill/>
                </a:ln>
                <a:solidFill>
                  <a:srgbClr val="62C4DD"/>
                </a:solidFill>
                <a:effectLst/>
                <a:uLnTx/>
                <a:uFillTx/>
                <a:latin typeface="Calibri" panose="020F0502020204030204"/>
                <a:cs typeface="Arial Narrow" pitchFamily="34" charset="0"/>
                <a:sym typeface="Gill Sans" charset="0"/>
              </a:rPr>
              <a:t>Highly preliminary – Indicative potential as outlined by survey participants where figures have been provided</a:t>
            </a:r>
            <a:endParaRPr kumimoji="0" lang="en-GB" sz="2400" b="0" i="0" u="none" strike="noStrike" kern="1200" cap="none" spc="0" normalizeH="0" baseline="0" noProof="0" dirty="0">
              <a:ln>
                <a:noFill/>
              </a:ln>
              <a:solidFill>
                <a:srgbClr val="62C4DD"/>
              </a:solidFill>
              <a:effectLst/>
              <a:uLnTx/>
              <a:uFillTx/>
              <a:latin typeface="Calibri" panose="020F0502020204030204"/>
              <a:cs typeface="Arial Narrow" pitchFamily="34" charset="0"/>
              <a:sym typeface="Gill Sans" charset="0"/>
            </a:endParaRPr>
          </a:p>
        </p:txBody>
      </p:sp>
    </p:spTree>
    <p:extLst>
      <p:ext uri="{BB962C8B-B14F-4D97-AF65-F5344CB8AC3E}">
        <p14:creationId xmlns:p14="http://schemas.microsoft.com/office/powerpoint/2010/main" val="1037398499"/>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uj3WXF1QVU.ruY1PRNsnm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0lgOYXf3S02x.CGxJzReS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LkZwMc6ZToCgVKFDk_5JG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abDs4.jYT2iIaX_cSKhbc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yQZzrTHaTI.s54NSEUzh.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DCwPZu19Tc.5Mv8wO2XAt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tZzp003RQiG19dzkfEsPe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SNInjK4hQRO0sNuLICqzw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bAIfPAzxQ4CGfW1rvM1Qs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vLVU5lEKQDa3PEfq6iikI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GOHg7TGRQHqz3AAgoqsGj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ThDsMQVNgk.piv7xwWmGa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O0GaO3hqT_WrTgnLGfiz8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0AjZugaeRQWTj84bb9zuT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NTKRKQ_ZRDuoZKHIPwoZX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lLd_ado_Qqe7LLvJoyAtC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C3pHSH9RKSYtKe4VWlSD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m97lSbl2R5CHuEQ3iufqi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LbXO4lddTRKQDBOWVNoQd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48vNT1h0SIaP_NPExDy0F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fgZZafl7QZWMBxNqghSHu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skkHU8jNT_qV_97Iyc9ja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2CqdZAdCEKbLQtyrn1In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QYaZXL61RG2dVYrCAdiSh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SoFYyFoNRBiUdISFnLtId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u_RczwqdRsm71UxTHShiT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nW8pYJYzS4uNCaVI5FbOt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J2Ji8YoDR0uSMxBfoMKC2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TlR5J._FTcK3W9_z8YFXn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9KOGDDgwQH.szdH1f4X5c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zhrUPjXkR9i28w1d6knqe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cUs7Ss57Sby8Yuz.rITxY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D1M.BbJNTsCPvdnDNm9Js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wwA.biiSYU26m_jcBvWXU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fyXa7aW3TGKayCYQq.epg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3k7bS76bQZGg3QzAwRAw7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3b.YHPt0QpiqatfKeRUl3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EsqcPu0hSqSexQcq0y6Eh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BOv.uUokSB2Ka9oDJmY5C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o055N5PMSTibVy3vIltaE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MOO6I5yDRc..irvlwH0wf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LXIXNeUCRJmsyEXDeO_wC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019fH1thQwy0MyBy0l9_E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yQJbZIE.SyCUkfOBuKEDh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jS2X8DcEWX8EOT1bcOD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yvHr..FYQca8KeBJe1OWQ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uWqZ4buSD6FSIbL42je6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g3cAzdyPScyxNIbpujit8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S9vtmtHzSF62EyyPSHFK.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B7ev9JE5Q_SVuIFXNqrFb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QDmTNUFlTqaY9EuTICfxM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6jwYXjC_uk6LTZf1VuhFc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Ec4YMnd4S2qOBIMgq41BN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7IkboZPcTN2StxXZNZJT0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muRJgAilRDW7NN4NuU86.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Sex.11pBkaelBCxwdHXx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k6hbIvQ5SiuOIdDKDCpj7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qXUYlMCKTx6lS8vBzrY8A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MShnz.CFSjWtL6H_GBLU2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tFeKhu8jS3Ghsbc5dMEYh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TmPoy2lzRdescJc7ulcQt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jgWgfSd.R9O.Ys77G_2nn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uEtplvPqSPO3w01uMZ7gi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9O62kwUUR5apc04IaKsBe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fP_tLiSZQhuyVH2a5bAau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013AZJeuR7GEUo5xbSCH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T7qYHghb0.SBKgrOCodl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k52ymnTZSUGxaMXodEJlU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1n2nHXktQxWcjxPV5REIZ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8YegeNpYRRq06Kj1GJ5VZ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gjI9mLDLRZafaYVgWNE_.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AixTGJrsQUeee8Mn0HUO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5XDGDt0TTKjQS6jUkwPF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8l1LZz68Sxm_4kKulEH1r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zXR07MxLSOCwcIo6ShXML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3LzEJeK0QhGD71KeNC01V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pmj659kZQuuMAYnCvX3FF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2gYH951AEWGwLen.v7ND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xu81cOlVQKWZd_xX0mROz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vxM6qKORS4GNModUH19iw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2TqGC2eXTKealHkjBUiEs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bjQc72ENQfm3U0FSkworN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I3cPop.NSRiiDDKdbPm2y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VK0e_nxUTaWHM7ynORrse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Ze3dPKkeQ4OAmSBdulA2T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RRti0UxxRymhEpdGCDpSF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oDPNj0rFSua.Jey8ARZ8I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frQyocXhSsiUehKJkZ4D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4w0WA9aelkGO5iE.YXYuE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fLQtYvRMRZilWIiPltrEM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qkPOzJcNQLap2BSKgX9Zp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A.iGmwGPT8WNNq72smnkW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yGxJjHYgSx62rg3PEAW0K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mo9Gii7WRY273GzC_G6MD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7_Cvc4AHSZO5jKCLPMdif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BDWe3zgsQjKm4KDwpugSa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jfALq6uSuWE.UVlEDkre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8s5ZfXKy1U.Y_1jt7pp_3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R2i05pLALU6E.dFr1VMx6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Ufm2XWojkKWJcmiCaUCw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E1TfhnpNcES1lhdsJlVJl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SBlOiEJt90SOHCYhaP4h_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fdasOXx22U.Mbj9A4wtX3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wO0VlweHP0a1UG1sDx0zT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dzYmNs0czkqKyUO0P84ZG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QUBqWOPO_U6q8rdosrcfB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0vG.wCPKX0uCxYYQ8vP_E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Z7BE5TNPkmUHRK1D0o1_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fKmmQd0Tn0y7HCQc5Ddey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lqrm5sXM0ONEl6ysHqY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5wkK7aSSDk.dGpkULzy5n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yrr81ISNQESC2FL104haD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wangBTF32E6KSLzC1Vhg6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0ZkfC3BYGUGKskeIUZ89A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7lafau_zE0.pukp.Jn47F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yr.OeDSxhUaer_B0miFqE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fxCf5tvEOvfZ9nKTPQG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1oTLDx4lUGXkH9Df1Tsz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CtmyrOIq7E67Q02qLTW3R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GLG0FsLx1EmZMZftZlcau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RYLpw6I.Q0e6_Fg_ux0l7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fSBjTombEusXiPi4eGwm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5cWmtquQjkO3x2LU619MG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enEBErmYZEOl8tNPi7yXi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B2UAvd6jSka1It3EwQmW5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FL39KvisvUSXON6ntUX0f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g_MwCb3U.YEequfLgvT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CerkE4s1SzaL9dQ9jpWOT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pswD1oxTRoy.NJHNZS0gA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snK3_uJGRo6ureTmJ9pky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QNNXKCxKSRydUI6JCJZg.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NWqpmY5OESItvvWwxfxR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7rFvocpgSYSKgikXnw62C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y0b5QtgqRna_oN7bRvhBN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CvlI6iBuRgOV3nxqoTMJB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gsb7EfzkTu.gc2veLwl0B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5vBL.ramRtSiRVssGsbvI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33RNHj5RkWSXZFl1l.qL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fkcM4ysJQO6R2FKCSodF9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NfjoBGX4RYWxlrfX7fZBB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mYJhs7dZSDCkLVzt.j4HI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YQusUG3UQPOOsWl4CAFzyg"/>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Blank">
  <a:themeElements>
    <a:clrScheme name="FCH JU Color Scheme Final">
      <a:dk1>
        <a:srgbClr val="7F7F7F"/>
      </a:dk1>
      <a:lt1>
        <a:srgbClr val="FFFFFF"/>
      </a:lt1>
      <a:dk2>
        <a:srgbClr val="7F7F7F"/>
      </a:dk2>
      <a:lt2>
        <a:srgbClr val="808080"/>
      </a:lt2>
      <a:accent1>
        <a:srgbClr val="004494"/>
      </a:accent1>
      <a:accent2>
        <a:srgbClr val="0081C7"/>
      </a:accent2>
      <a:accent3>
        <a:srgbClr val="3DA7AB"/>
      </a:accent3>
      <a:accent4>
        <a:srgbClr val="FFD616"/>
      </a:accent4>
      <a:accent5>
        <a:srgbClr val="25A14D"/>
      </a:accent5>
      <a:accent6>
        <a:srgbClr val="62C4DD"/>
      </a:accent6>
      <a:hlink>
        <a:srgbClr val="009999"/>
      </a:hlink>
      <a:folHlink>
        <a:srgbClr val="99CC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5600" b="0" i="0" u="none" strike="noStrike" cap="none" normalizeH="0" baseline="0" smtClean="0">
            <a:ln>
              <a:noFill/>
            </a:ln>
            <a:solidFill>
              <a:srgbClr val="000000"/>
            </a:solidFill>
            <a:effectLst/>
            <a:latin typeface="Gill Sans" charset="0"/>
            <a:ea typeface="Heiti SC Light" charset="0"/>
            <a:cs typeface="Heiti SC Light" charset="0"/>
            <a:sym typeface="Gill Sans"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5600" b="0" i="0" u="none" strike="noStrike" cap="none" normalizeH="0" baseline="0" smtClean="0">
            <a:ln>
              <a:noFill/>
            </a:ln>
            <a:solidFill>
              <a:srgbClr val="000000"/>
            </a:solidFill>
            <a:effectLst/>
            <a:latin typeface="Gill Sans" charset="0"/>
            <a:ea typeface="Heiti SC Light" charset="0"/>
            <a:cs typeface="Heiti SC Light" charset="0"/>
            <a:sym typeface="Gill Sans" charset="0"/>
          </a:defRPr>
        </a:defPPr>
      </a:lstStyle>
    </a:lnDef>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Bureau">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Bureau">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8682</TotalTime>
  <Pages>0</Pages>
  <Words>1677</Words>
  <Characters>0</Characters>
  <Application>Microsoft Office PowerPoint</Application>
  <PresentationFormat>Custom</PresentationFormat>
  <Lines>0</Lines>
  <Paragraphs>380</Paragraphs>
  <Slides>15</Slides>
  <Notes>7</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2</vt:i4>
      </vt:variant>
      <vt:variant>
        <vt:lpstr>Slide Titles</vt:lpstr>
      </vt:variant>
      <vt:variant>
        <vt:i4>15</vt:i4>
      </vt:variant>
    </vt:vector>
  </HeadingPairs>
  <TitlesOfParts>
    <vt:vector size="26" baseType="lpstr">
      <vt:lpstr>Arial</vt:lpstr>
      <vt:lpstr>Arial Narrow</vt:lpstr>
      <vt:lpstr>Calibri</vt:lpstr>
      <vt:lpstr>DIN Condensed</vt:lpstr>
      <vt:lpstr>DIN Regular</vt:lpstr>
      <vt:lpstr>Gill Sans</vt:lpstr>
      <vt:lpstr>Heiti SC Light</vt:lpstr>
      <vt:lpstr>新細明體</vt:lpstr>
      <vt:lpstr>Blank</vt:lpstr>
      <vt:lpstr>think-cell Slide</vt:lpstr>
      <vt:lpstr>Char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Aurelie Peters (AdGrafics Design Studio);info@adgrafics.eu</dc:creator>
  <cp:keywords/>
  <dc:description/>
  <cp:lastModifiedBy>BIEBUYCK Bart ( FCH )</cp:lastModifiedBy>
  <cp:revision>795</cp:revision>
  <cp:lastPrinted>2018-03-07T08:20:26Z</cp:lastPrinted>
  <dcterms:modified xsi:type="dcterms:W3CDTF">2018-03-07T08:20:36Z</dcterms:modified>
</cp:coreProperties>
</file>